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1.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2.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90" r:id="rId4"/>
    <p:sldMasterId id="2147483714" r:id="rId5"/>
    <p:sldMasterId id="2147483731" r:id="rId6"/>
  </p:sldMasterIdLst>
  <p:notesMasterIdLst>
    <p:notesMasterId r:id="rId29"/>
  </p:notesMasterIdLst>
  <p:handoutMasterIdLst>
    <p:handoutMasterId r:id="rId30"/>
  </p:handoutMasterIdLst>
  <p:sldIdLst>
    <p:sldId id="15090" r:id="rId7"/>
    <p:sldId id="15104" r:id="rId8"/>
    <p:sldId id="15112" r:id="rId9"/>
    <p:sldId id="15099" r:id="rId10"/>
    <p:sldId id="15111" r:id="rId11"/>
    <p:sldId id="15093" r:id="rId12"/>
    <p:sldId id="15115" r:id="rId13"/>
    <p:sldId id="15113" r:id="rId14"/>
    <p:sldId id="15095" r:id="rId15"/>
    <p:sldId id="15116" r:id="rId16"/>
    <p:sldId id="15096" r:id="rId17"/>
    <p:sldId id="15087" r:id="rId18"/>
    <p:sldId id="15097" r:id="rId19"/>
    <p:sldId id="15092" r:id="rId20"/>
    <p:sldId id="15079" r:id="rId21"/>
    <p:sldId id="273" r:id="rId22"/>
    <p:sldId id="272" r:id="rId23"/>
    <p:sldId id="275" r:id="rId24"/>
    <p:sldId id="276" r:id="rId25"/>
    <p:sldId id="15100" r:id="rId26"/>
    <p:sldId id="281" r:id="rId27"/>
    <p:sldId id="258" r:id="rId28"/>
  </p:sldIdLst>
  <p:sldSz cx="13455650" cy="7569200"/>
  <p:notesSz cx="6797675" cy="9926638"/>
  <p:custDataLst>
    <p:tags r:id="rId31"/>
  </p:custDataLst>
  <p:defaultTextStyle>
    <a:defPPr>
      <a:defRPr lang="fr-FR"/>
    </a:defPPr>
    <a:lvl1pPr marL="0" algn="l" defTabSz="1044789" rtl="0" eaLnBrk="1" latinLnBrk="0" hangingPunct="1">
      <a:defRPr sz="2100" kern="1200">
        <a:solidFill>
          <a:schemeClr val="tx1"/>
        </a:solidFill>
        <a:latin typeface="+mn-lt"/>
        <a:ea typeface="+mn-ea"/>
        <a:cs typeface="+mn-cs"/>
      </a:defRPr>
    </a:lvl1pPr>
    <a:lvl2pPr marL="522394" algn="l" defTabSz="1044789" rtl="0" eaLnBrk="1" latinLnBrk="0" hangingPunct="1">
      <a:defRPr sz="2100" kern="1200">
        <a:solidFill>
          <a:schemeClr val="tx1"/>
        </a:solidFill>
        <a:latin typeface="+mn-lt"/>
        <a:ea typeface="+mn-ea"/>
        <a:cs typeface="+mn-cs"/>
      </a:defRPr>
    </a:lvl2pPr>
    <a:lvl3pPr marL="1044789" algn="l" defTabSz="1044789" rtl="0" eaLnBrk="1" latinLnBrk="0" hangingPunct="1">
      <a:defRPr sz="2100" kern="1200">
        <a:solidFill>
          <a:schemeClr val="tx1"/>
        </a:solidFill>
        <a:latin typeface="+mn-lt"/>
        <a:ea typeface="+mn-ea"/>
        <a:cs typeface="+mn-cs"/>
      </a:defRPr>
    </a:lvl3pPr>
    <a:lvl4pPr marL="1567183" algn="l" defTabSz="1044789" rtl="0" eaLnBrk="1" latinLnBrk="0" hangingPunct="1">
      <a:defRPr sz="2100" kern="1200">
        <a:solidFill>
          <a:schemeClr val="tx1"/>
        </a:solidFill>
        <a:latin typeface="+mn-lt"/>
        <a:ea typeface="+mn-ea"/>
        <a:cs typeface="+mn-cs"/>
      </a:defRPr>
    </a:lvl4pPr>
    <a:lvl5pPr marL="2089576" algn="l" defTabSz="1044789" rtl="0" eaLnBrk="1" latinLnBrk="0" hangingPunct="1">
      <a:defRPr sz="2100" kern="1200">
        <a:solidFill>
          <a:schemeClr val="tx1"/>
        </a:solidFill>
        <a:latin typeface="+mn-lt"/>
        <a:ea typeface="+mn-ea"/>
        <a:cs typeface="+mn-cs"/>
      </a:defRPr>
    </a:lvl5pPr>
    <a:lvl6pPr marL="2611971" algn="l" defTabSz="1044789" rtl="0" eaLnBrk="1" latinLnBrk="0" hangingPunct="1">
      <a:defRPr sz="2100" kern="1200">
        <a:solidFill>
          <a:schemeClr val="tx1"/>
        </a:solidFill>
        <a:latin typeface="+mn-lt"/>
        <a:ea typeface="+mn-ea"/>
        <a:cs typeface="+mn-cs"/>
      </a:defRPr>
    </a:lvl6pPr>
    <a:lvl7pPr marL="3134366" algn="l" defTabSz="1044789" rtl="0" eaLnBrk="1" latinLnBrk="0" hangingPunct="1">
      <a:defRPr sz="2100" kern="1200">
        <a:solidFill>
          <a:schemeClr val="tx1"/>
        </a:solidFill>
        <a:latin typeface="+mn-lt"/>
        <a:ea typeface="+mn-ea"/>
        <a:cs typeface="+mn-cs"/>
      </a:defRPr>
    </a:lvl7pPr>
    <a:lvl8pPr marL="3656759" algn="l" defTabSz="1044789" rtl="0" eaLnBrk="1" latinLnBrk="0" hangingPunct="1">
      <a:defRPr sz="2100" kern="1200">
        <a:solidFill>
          <a:schemeClr val="tx1"/>
        </a:solidFill>
        <a:latin typeface="+mn-lt"/>
        <a:ea typeface="+mn-ea"/>
        <a:cs typeface="+mn-cs"/>
      </a:defRPr>
    </a:lvl8pPr>
    <a:lvl9pPr marL="4179154" algn="l" defTabSz="1044789"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185" userDrawn="1">
          <p15:clr>
            <a:srgbClr val="A4A3A4"/>
          </p15:clr>
        </p15:guide>
        <p15:guide id="2" pos="3179"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CA1"/>
    <a:srgbClr val="F8BCC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187" autoAdjust="0"/>
    <p:restoredTop sz="95226" autoAdjust="0"/>
  </p:normalViewPr>
  <p:slideViewPr>
    <p:cSldViewPr>
      <p:cViewPr varScale="1">
        <p:scale>
          <a:sx n="71" d="100"/>
          <a:sy n="71" d="100"/>
        </p:scale>
        <p:origin x="125" y="58"/>
      </p:cViewPr>
      <p:guideLst>
        <p:guide orient="horz" pos="3185"/>
        <p:guide pos="317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p:cViewPr varScale="1">
        <p:scale>
          <a:sx n="76" d="100"/>
          <a:sy n="76" d="100"/>
        </p:scale>
        <p:origin x="-4050" y="-102"/>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handoutMaster" Target="handoutMasters/handoutMaster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7252"/>
          </a:xfrm>
          <a:prstGeom prst="rect">
            <a:avLst/>
          </a:prstGeom>
        </p:spPr>
        <p:txBody>
          <a:bodyPr vert="horz" lIns="91440" tIns="45720" rIns="91440" bIns="45720" rtlCol="0"/>
          <a:lstStyle>
            <a:lvl1pPr algn="l">
              <a:defRPr sz="1200"/>
            </a:lvl1pPr>
          </a:lstStyle>
          <a:p>
            <a:r>
              <a:rPr lang="fr-FR"/>
              <a:t>Nom de la prés</a:t>
            </a:r>
          </a:p>
        </p:txBody>
      </p:sp>
      <p:sp>
        <p:nvSpPr>
          <p:cNvPr id="3" name="Date Placeholder 2"/>
          <p:cNvSpPr>
            <a:spLocks noGrp="1"/>
          </p:cNvSpPr>
          <p:nvPr>
            <p:ph type="dt" sz="quarter" idx="1"/>
          </p:nvPr>
        </p:nvSpPr>
        <p:spPr>
          <a:xfrm>
            <a:off x="3850837" y="0"/>
            <a:ext cx="2945659" cy="497252"/>
          </a:xfrm>
          <a:prstGeom prst="rect">
            <a:avLst/>
          </a:prstGeom>
        </p:spPr>
        <p:txBody>
          <a:bodyPr vert="horz" lIns="91440" tIns="45720" rIns="91440" bIns="45720" rtlCol="0"/>
          <a:lstStyle>
            <a:lvl1pPr algn="r">
              <a:defRPr sz="1200"/>
            </a:lvl1pPr>
          </a:lstStyle>
          <a:p>
            <a:r>
              <a:rPr lang="fr-FR"/>
              <a:t>06.02.19</a:t>
            </a:r>
          </a:p>
        </p:txBody>
      </p:sp>
      <p:sp>
        <p:nvSpPr>
          <p:cNvPr id="4" name="Footer Placeholder 3"/>
          <p:cNvSpPr>
            <a:spLocks noGrp="1"/>
          </p:cNvSpPr>
          <p:nvPr>
            <p:ph type="ftr" sz="quarter" idx="2"/>
          </p:nvPr>
        </p:nvSpPr>
        <p:spPr>
          <a:xfrm>
            <a:off x="1" y="9429387"/>
            <a:ext cx="2945659" cy="494951"/>
          </a:xfrm>
          <a:prstGeom prst="rect">
            <a:avLst/>
          </a:prstGeom>
        </p:spPr>
        <p:txBody>
          <a:bodyPr vert="horz" lIns="91440" tIns="45720" rIns="91440" bIns="45720" rtlCol="0" anchor="b"/>
          <a:lstStyle>
            <a:lvl1pPr algn="l">
              <a:defRPr sz="1200"/>
            </a:lvl1pPr>
          </a:lstStyle>
          <a:p>
            <a:r>
              <a:rPr lang="fr-FR"/>
              <a:t>Name pres</a:t>
            </a:r>
          </a:p>
        </p:txBody>
      </p:sp>
      <p:sp>
        <p:nvSpPr>
          <p:cNvPr id="5" name="Slide Number Placeholder 4"/>
          <p:cNvSpPr>
            <a:spLocks noGrp="1"/>
          </p:cNvSpPr>
          <p:nvPr>
            <p:ph type="sldNum" sz="quarter" idx="3"/>
          </p:nvPr>
        </p:nvSpPr>
        <p:spPr>
          <a:xfrm>
            <a:off x="3850837" y="9429387"/>
            <a:ext cx="2945659" cy="494951"/>
          </a:xfrm>
          <a:prstGeom prst="rect">
            <a:avLst/>
          </a:prstGeom>
        </p:spPr>
        <p:txBody>
          <a:bodyPr vert="horz" lIns="91440" tIns="45720" rIns="91440" bIns="45720" rtlCol="0" anchor="b"/>
          <a:lstStyle>
            <a:lvl1pPr algn="r">
              <a:defRPr sz="1200"/>
            </a:lvl1pPr>
          </a:lstStyle>
          <a:p>
            <a:fld id="{DD614D9E-0D55-42AD-A27E-C3B98F5B8385}" type="slidenum">
              <a:rPr lang="fr-FR" smtClean="0"/>
              <a:t>‹N°›</a:t>
            </a:fld>
            <a:endParaRPr lang="fr-FR"/>
          </a:p>
        </p:txBody>
      </p:sp>
    </p:spTree>
    <p:extLst>
      <p:ext uri="{BB962C8B-B14F-4D97-AF65-F5344CB8AC3E}">
        <p14:creationId xmlns:p14="http://schemas.microsoft.com/office/powerpoint/2010/main" val="420974880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7252"/>
          </a:xfrm>
          <a:prstGeom prst="rect">
            <a:avLst/>
          </a:prstGeom>
        </p:spPr>
        <p:txBody>
          <a:bodyPr vert="horz" lIns="91440" tIns="45720" rIns="91440" bIns="45720" rtlCol="0"/>
          <a:lstStyle>
            <a:lvl1pPr algn="l">
              <a:defRPr sz="1200"/>
            </a:lvl1pPr>
          </a:lstStyle>
          <a:p>
            <a:r>
              <a:rPr lang="fr-FR"/>
              <a:t>Nom de la prés</a:t>
            </a:r>
          </a:p>
        </p:txBody>
      </p:sp>
      <p:sp>
        <p:nvSpPr>
          <p:cNvPr id="3" name="Date Placeholder 2"/>
          <p:cNvSpPr>
            <a:spLocks noGrp="1"/>
          </p:cNvSpPr>
          <p:nvPr>
            <p:ph type="dt" idx="1"/>
          </p:nvPr>
        </p:nvSpPr>
        <p:spPr>
          <a:xfrm>
            <a:off x="3850837" y="0"/>
            <a:ext cx="2945659" cy="497252"/>
          </a:xfrm>
          <a:prstGeom prst="rect">
            <a:avLst/>
          </a:prstGeom>
        </p:spPr>
        <p:txBody>
          <a:bodyPr vert="horz" lIns="91440" tIns="45720" rIns="91440" bIns="45720" rtlCol="0"/>
          <a:lstStyle>
            <a:lvl1pPr algn="r">
              <a:defRPr sz="1200"/>
            </a:lvl1pPr>
          </a:lstStyle>
          <a:p>
            <a:r>
              <a:rPr lang="fr-FR"/>
              <a:t>06.02.19</a:t>
            </a:r>
          </a:p>
        </p:txBody>
      </p:sp>
      <p:sp>
        <p:nvSpPr>
          <p:cNvPr id="4" name="Slide Image Placeholder 3"/>
          <p:cNvSpPr>
            <a:spLocks noGrp="1" noRot="1" noChangeAspect="1"/>
          </p:cNvSpPr>
          <p:nvPr>
            <p:ph type="sldImg" idx="2"/>
          </p:nvPr>
        </p:nvSpPr>
        <p:spPr>
          <a:xfrm>
            <a:off x="90488" y="742950"/>
            <a:ext cx="6616700" cy="3722688"/>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79768" y="4714693"/>
            <a:ext cx="5438140" cy="4468369"/>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6" name="Footer Placeholder 5"/>
          <p:cNvSpPr>
            <a:spLocks noGrp="1"/>
          </p:cNvSpPr>
          <p:nvPr>
            <p:ph type="ftr" sz="quarter" idx="4"/>
          </p:nvPr>
        </p:nvSpPr>
        <p:spPr>
          <a:xfrm>
            <a:off x="1" y="9429387"/>
            <a:ext cx="2945659" cy="494951"/>
          </a:xfrm>
          <a:prstGeom prst="rect">
            <a:avLst/>
          </a:prstGeom>
        </p:spPr>
        <p:txBody>
          <a:bodyPr vert="horz" lIns="91440" tIns="45720" rIns="91440" bIns="45720" rtlCol="0" anchor="b"/>
          <a:lstStyle>
            <a:lvl1pPr algn="l">
              <a:defRPr sz="1200"/>
            </a:lvl1pPr>
          </a:lstStyle>
          <a:p>
            <a:r>
              <a:rPr lang="fr-FR"/>
              <a:t>Name pres</a:t>
            </a:r>
          </a:p>
        </p:txBody>
      </p:sp>
      <p:sp>
        <p:nvSpPr>
          <p:cNvPr id="7" name="Slide Number Placeholder 6"/>
          <p:cNvSpPr>
            <a:spLocks noGrp="1"/>
          </p:cNvSpPr>
          <p:nvPr>
            <p:ph type="sldNum" sz="quarter" idx="5"/>
          </p:nvPr>
        </p:nvSpPr>
        <p:spPr>
          <a:xfrm>
            <a:off x="3850837" y="9429387"/>
            <a:ext cx="2945659" cy="494951"/>
          </a:xfrm>
          <a:prstGeom prst="rect">
            <a:avLst/>
          </a:prstGeom>
        </p:spPr>
        <p:txBody>
          <a:bodyPr vert="horz" lIns="91440" tIns="45720" rIns="91440" bIns="45720" rtlCol="0" anchor="b"/>
          <a:lstStyle>
            <a:lvl1pPr algn="r">
              <a:defRPr sz="1200"/>
            </a:lvl1pPr>
          </a:lstStyle>
          <a:p>
            <a:fld id="{1DAA52AC-9864-42D4-9C92-D1917FFA33BA}" type="slidenum">
              <a:rPr lang="fr-FR" smtClean="0"/>
              <a:t>‹N°›</a:t>
            </a:fld>
            <a:endParaRPr lang="fr-FR"/>
          </a:p>
        </p:txBody>
      </p:sp>
    </p:spTree>
    <p:extLst>
      <p:ext uri="{BB962C8B-B14F-4D97-AF65-F5344CB8AC3E}">
        <p14:creationId xmlns:p14="http://schemas.microsoft.com/office/powerpoint/2010/main" val="2915320317"/>
      </p:ext>
    </p:extLst>
  </p:cSld>
  <p:clrMap bg1="lt1" tx1="dk1" bg2="lt2" tx2="dk2" accent1="accent1" accent2="accent2" accent3="accent3" accent4="accent4" accent5="accent5" accent6="accent6" hlink="hlink" folHlink="folHlink"/>
  <p:hf hdr="0" ftr="0" dt="0"/>
  <p:notesStyle>
    <a:lvl1pPr marL="285750" indent="-285750" algn="l" defTabSz="1044789" rtl="0" eaLnBrk="1" latinLnBrk="0" hangingPunct="1">
      <a:buFont typeface="Arial" pitchFamily="34" charset="0"/>
      <a:buChar char="•"/>
      <a:defRPr sz="1400" kern="1200">
        <a:solidFill>
          <a:schemeClr val="tx1"/>
        </a:solidFill>
        <a:latin typeface="+mn-lt"/>
        <a:ea typeface="+mn-ea"/>
        <a:cs typeface="Arial" pitchFamily="34" charset="0"/>
      </a:defRPr>
    </a:lvl1pPr>
    <a:lvl2pPr marL="808144" indent="-285750" algn="l" defTabSz="1044789" rtl="0" eaLnBrk="1" latinLnBrk="0" hangingPunct="1">
      <a:buFont typeface="Arial" pitchFamily="34" charset="0"/>
      <a:buChar char="•"/>
      <a:defRPr sz="1400" kern="1200">
        <a:solidFill>
          <a:schemeClr val="tx1"/>
        </a:solidFill>
        <a:latin typeface="+mn-lt"/>
        <a:ea typeface="+mn-ea"/>
        <a:cs typeface="Arial" pitchFamily="34" charset="0"/>
      </a:defRPr>
    </a:lvl2pPr>
    <a:lvl3pPr marL="1330539" indent="-285750" algn="l" defTabSz="1044789" rtl="0" eaLnBrk="1" latinLnBrk="0" hangingPunct="1">
      <a:buFont typeface="Arial" pitchFamily="34" charset="0"/>
      <a:buChar char="•"/>
      <a:defRPr sz="1400" kern="1200">
        <a:solidFill>
          <a:schemeClr val="tx1"/>
        </a:solidFill>
        <a:latin typeface="+mn-lt"/>
        <a:ea typeface="+mn-ea"/>
        <a:cs typeface="Arial" pitchFamily="34" charset="0"/>
      </a:defRPr>
    </a:lvl3pPr>
    <a:lvl4pPr marL="1852933" indent="-285750" algn="l" defTabSz="1044789" rtl="0" eaLnBrk="1" latinLnBrk="0" hangingPunct="1">
      <a:buFont typeface="Arial" pitchFamily="34" charset="0"/>
      <a:buChar char="•"/>
      <a:defRPr sz="1400" kern="1200">
        <a:solidFill>
          <a:schemeClr val="tx1"/>
        </a:solidFill>
        <a:latin typeface="+mn-lt"/>
        <a:ea typeface="+mn-ea"/>
        <a:cs typeface="Arial" pitchFamily="34" charset="0"/>
      </a:defRPr>
    </a:lvl4pPr>
    <a:lvl5pPr marL="2375326" indent="-285750" algn="l" defTabSz="1044789" rtl="0" eaLnBrk="1" latinLnBrk="0" hangingPunct="1">
      <a:buFont typeface="Arial" pitchFamily="34" charset="0"/>
      <a:buChar char="•"/>
      <a:defRPr sz="1400" kern="1200">
        <a:solidFill>
          <a:schemeClr val="tx1"/>
        </a:solidFill>
        <a:latin typeface="+mn-lt"/>
        <a:ea typeface="+mn-ea"/>
        <a:cs typeface="Arial" pitchFamily="34" charset="0"/>
      </a:defRPr>
    </a:lvl5pPr>
    <a:lvl6pPr marL="2611971" algn="l" defTabSz="1044789" rtl="0" eaLnBrk="1" latinLnBrk="0" hangingPunct="1">
      <a:defRPr sz="1400" kern="1200">
        <a:solidFill>
          <a:schemeClr val="tx1"/>
        </a:solidFill>
        <a:latin typeface="+mn-lt"/>
        <a:ea typeface="+mn-ea"/>
        <a:cs typeface="+mn-cs"/>
      </a:defRPr>
    </a:lvl6pPr>
    <a:lvl7pPr marL="3134366" algn="l" defTabSz="1044789" rtl="0" eaLnBrk="1" latinLnBrk="0" hangingPunct="1">
      <a:defRPr sz="1400" kern="1200">
        <a:solidFill>
          <a:schemeClr val="tx1"/>
        </a:solidFill>
        <a:latin typeface="+mn-lt"/>
        <a:ea typeface="+mn-ea"/>
        <a:cs typeface="+mn-cs"/>
      </a:defRPr>
    </a:lvl7pPr>
    <a:lvl8pPr marL="3656759" algn="l" defTabSz="1044789" rtl="0" eaLnBrk="1" latinLnBrk="0" hangingPunct="1">
      <a:defRPr sz="1400" kern="1200">
        <a:solidFill>
          <a:schemeClr val="tx1"/>
        </a:solidFill>
        <a:latin typeface="+mn-lt"/>
        <a:ea typeface="+mn-ea"/>
        <a:cs typeface="+mn-cs"/>
      </a:defRPr>
    </a:lvl8pPr>
    <a:lvl9pPr marL="4179154" algn="l" defTabSz="1044789"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1DAA52AC-9864-42D4-9C92-D1917FFA33BA}" type="slidenum">
              <a:rPr lang="fr-FR" smtClean="0"/>
              <a:t>8</a:t>
            </a:fld>
            <a:endParaRPr lang="fr-FR"/>
          </a:p>
        </p:txBody>
      </p:sp>
    </p:spTree>
    <p:extLst>
      <p:ext uri="{BB962C8B-B14F-4D97-AF65-F5344CB8AC3E}">
        <p14:creationId xmlns:p14="http://schemas.microsoft.com/office/powerpoint/2010/main" val="3445716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1DAA52AC-9864-42D4-9C92-D1917FFA33BA}" type="slidenum">
              <a:rPr lang="fr-FR" smtClean="0"/>
              <a:t>15</a:t>
            </a:fld>
            <a:endParaRPr lang="fr-FR" dirty="0"/>
          </a:p>
        </p:txBody>
      </p:sp>
    </p:spTree>
    <p:extLst>
      <p:ext uri="{BB962C8B-B14F-4D97-AF65-F5344CB8AC3E}">
        <p14:creationId xmlns:p14="http://schemas.microsoft.com/office/powerpoint/2010/main" val="25869714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4.png"/><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3.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4.png"/><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4.png"/><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4.png"/><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4.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4.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4.png"/><Relationship Id="rId2" Type="http://schemas.openxmlformats.org/officeDocument/2006/relationships/tags" Target="../tags/tag42.xml"/><Relationship Id="rId1" Type="http://schemas.openxmlformats.org/officeDocument/2006/relationships/vmlDrawing" Target="../drawings/vmlDrawing22.vml"/><Relationship Id="rId6" Type="http://schemas.openxmlformats.org/officeDocument/2006/relationships/image" Target="../media/image3.emf"/><Relationship Id="rId5" Type="http://schemas.openxmlformats.org/officeDocument/2006/relationships/oleObject" Target="../embeddings/oleObject22.bin"/><Relationship Id="rId4"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4.png"/><Relationship Id="rId2" Type="http://schemas.openxmlformats.org/officeDocument/2006/relationships/tags" Target="../tags/tag44.xml"/><Relationship Id="rId1" Type="http://schemas.openxmlformats.org/officeDocument/2006/relationships/vmlDrawing" Target="../drawings/vmlDrawing23.vml"/><Relationship Id="rId6" Type="http://schemas.openxmlformats.org/officeDocument/2006/relationships/image" Target="../media/image3.emf"/><Relationship Id="rId5" Type="http://schemas.openxmlformats.org/officeDocument/2006/relationships/oleObject" Target="../embeddings/oleObject23.bin"/><Relationship Id="rId4"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4.png"/><Relationship Id="rId2" Type="http://schemas.openxmlformats.org/officeDocument/2006/relationships/tags" Target="../tags/tag46.xml"/><Relationship Id="rId1" Type="http://schemas.openxmlformats.org/officeDocument/2006/relationships/vmlDrawing" Target="../drawings/vmlDrawing24.vml"/><Relationship Id="rId6" Type="http://schemas.openxmlformats.org/officeDocument/2006/relationships/image" Target="../media/image3.emf"/><Relationship Id="rId5" Type="http://schemas.openxmlformats.org/officeDocument/2006/relationships/oleObject" Target="../embeddings/oleObject24.bin"/><Relationship Id="rId4"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4.png"/><Relationship Id="rId2" Type="http://schemas.openxmlformats.org/officeDocument/2006/relationships/tags" Target="../tags/tag48.xml"/><Relationship Id="rId1" Type="http://schemas.openxmlformats.org/officeDocument/2006/relationships/vmlDrawing" Target="../drawings/vmlDrawing25.vml"/><Relationship Id="rId6" Type="http://schemas.openxmlformats.org/officeDocument/2006/relationships/image" Target="../media/image3.emf"/><Relationship Id="rId5" Type="http://schemas.openxmlformats.org/officeDocument/2006/relationships/oleObject" Target="../embeddings/oleObject25.bin"/><Relationship Id="rId4"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8.xml"/><Relationship Id="rId1" Type="http://schemas.openxmlformats.org/officeDocument/2006/relationships/vmlDrawing" Target="../drawings/vmlDrawing30.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4.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ront cover basic">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6388E4B-B97A-403D-9A96-64D6CE6024F0}"/>
              </a:ext>
            </a:extLst>
          </p:cNvPr>
          <p:cNvGraphicFramePr>
            <a:graphicFrameLocks noChangeAspect="1"/>
          </p:cNvGraphicFramePr>
          <p:nvPr userDrawn="1">
            <p:custDataLst>
              <p:tags r:id="rId2"/>
            </p:custDataLst>
            <p:extLst>
              <p:ext uri="{D42A27DB-BD31-4B8C-83A1-F6EECF244321}">
                <p14:modId xmlns:p14="http://schemas.microsoft.com/office/powerpoint/2010/main" val="1620166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 name="Diapositive think-cell" r:id="rId5" imgW="592" imgH="584" progId="TCLayout.ActiveDocument.1">
                  <p:embed/>
                </p:oleObj>
              </mc:Choice>
              <mc:Fallback>
                <p:oleObj name="Diapositive think-cell" r:id="rId5" imgW="592" imgH="584" progId="TCLayout.ActiveDocument.1">
                  <p:embed/>
                  <p:pic>
                    <p:nvPicPr>
                      <p:cNvPr id="3" name="Objet 2" hidden="1">
                        <a:extLst>
                          <a:ext uri="{FF2B5EF4-FFF2-40B4-BE49-F238E27FC236}">
                            <a16:creationId xmlns:a16="http://schemas.microsoft.com/office/drawing/2014/main" id="{76388E4B-B97A-403D-9A96-64D6CE6024F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E9A4C4-AD04-4F9B-829B-0821D29C7B19}"/>
              </a:ext>
            </a:extLst>
          </p:cNvPr>
          <p:cNvSpPr/>
          <p:nvPr userDrawn="1">
            <p:custDataLst>
              <p:tags r:id="rId3"/>
            </p:custDataLst>
          </p:nvPr>
        </p:nvSpPr>
        <p:spPr>
          <a:xfrm>
            <a:off x="0" y="0"/>
            <a:ext cx="158750" cy="158750"/>
          </a:xfrm>
          <a:prstGeom prst="rect">
            <a:avLst/>
          </a:prstGeom>
          <a:solidFill>
            <a:schemeClr val="tx2"/>
          </a:solidFill>
        </p:spPr>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600" b="1" i="0" baseline="0" dirty="0" err="1">
              <a:solidFill>
                <a:schemeClr val="bg1"/>
              </a:solidFill>
              <a:latin typeface="Calibri Light" panose="020F0302020204030204" pitchFamily="34" charset="0"/>
              <a:ea typeface="+mj-ea"/>
              <a:cs typeface="Arial" panose="020B0604020202020204" pitchFamily="34" charset="0"/>
              <a:sym typeface="Calibri Light" panose="020F0302020204030204" pitchFamily="34" charset="0"/>
            </a:endParaRPr>
          </a:p>
        </p:txBody>
      </p:sp>
      <p:sp>
        <p:nvSpPr>
          <p:cNvPr id="24" name="Text Placeholder 11"/>
          <p:cNvSpPr>
            <a:spLocks noGrp="1"/>
          </p:cNvSpPr>
          <p:nvPr>
            <p:ph type="body" sz="quarter" idx="12" hasCustomPrompt="1"/>
          </p:nvPr>
        </p:nvSpPr>
        <p:spPr>
          <a:xfrm>
            <a:off x="878932" y="4699165"/>
            <a:ext cx="11948796" cy="457680"/>
          </a:xfrm>
          <a:prstGeom prst="rect">
            <a:avLst/>
          </a:prstGeom>
        </p:spPr>
        <p:txBody>
          <a:bodyPr>
            <a:normAutofit/>
          </a:bodyPr>
          <a:lstStyle>
            <a:lvl1pPr marL="0" indent="0">
              <a:buNone/>
              <a:defRPr sz="2000" b="0" cap="none" spc="126" baseline="0">
                <a:solidFill>
                  <a:schemeClr val="tx2"/>
                </a:solidFill>
                <a:latin typeface="+mj-lt"/>
              </a:defRPr>
            </a:lvl1pPr>
          </a:lstStyle>
          <a:p>
            <a:r>
              <a:rPr lang="en-US" dirty="0"/>
              <a:t>NAME OF CITY  -  DATE OF DOCUMENT</a:t>
            </a:r>
            <a:endParaRPr lang="fr-FR" dirty="0"/>
          </a:p>
        </p:txBody>
      </p:sp>
      <p:sp>
        <p:nvSpPr>
          <p:cNvPr id="8" name="Subtitle"/>
          <p:cNvSpPr>
            <a:spLocks noGrp="1"/>
          </p:cNvSpPr>
          <p:nvPr>
            <p:ph type="subTitle" idx="1" hasCustomPrompt="1"/>
          </p:nvPr>
        </p:nvSpPr>
        <p:spPr>
          <a:xfrm>
            <a:off x="878933" y="3784599"/>
            <a:ext cx="11948798" cy="369332"/>
          </a:xfrm>
          <a:prstGeom prst="rect">
            <a:avLst/>
          </a:prstGeom>
        </p:spPr>
        <p:txBody>
          <a:bodyPr vert="horz" wrap="square" lIns="0" tIns="0" rIns="0" bIns="0" anchor="t" anchorCtr="0">
            <a:noAutofit/>
          </a:bodyPr>
          <a:lstStyle>
            <a:lvl1pPr marL="0" indent="0" algn="l">
              <a:lnSpc>
                <a:spcPct val="100000"/>
              </a:lnSpc>
              <a:spcBef>
                <a:spcPts val="754"/>
              </a:spcBef>
              <a:spcAft>
                <a:spcPts val="0"/>
              </a:spcAft>
              <a:buNone/>
              <a:defRPr sz="2400" b="1" i="0" u="none" kern="1200" spc="126">
                <a:solidFill>
                  <a:schemeClr val="accent2">
                    <a:lumMod val="100000"/>
                  </a:schemeClr>
                </a:solidFill>
                <a:latin typeface="Calibri Light" panose="020F0302020204030204" pitchFamily="34" charset="0"/>
              </a:defRPr>
            </a:lvl1pPr>
            <a:lvl2pPr marL="574700" indent="0" algn="ctr">
              <a:buNone/>
              <a:defRPr>
                <a:solidFill>
                  <a:schemeClr val="tx1">
                    <a:tint val="75000"/>
                  </a:schemeClr>
                </a:solidFill>
              </a:defRPr>
            </a:lvl2pPr>
            <a:lvl3pPr marL="1149401" indent="0" algn="ctr">
              <a:buNone/>
              <a:defRPr>
                <a:solidFill>
                  <a:schemeClr val="tx1">
                    <a:tint val="75000"/>
                  </a:schemeClr>
                </a:solidFill>
              </a:defRPr>
            </a:lvl3pPr>
            <a:lvl4pPr marL="1724101" indent="0" algn="ctr">
              <a:buNone/>
              <a:defRPr>
                <a:solidFill>
                  <a:schemeClr val="tx1">
                    <a:tint val="75000"/>
                  </a:schemeClr>
                </a:solidFill>
              </a:defRPr>
            </a:lvl4pPr>
            <a:lvl5pPr marL="2298802" indent="0" algn="ctr">
              <a:buNone/>
              <a:defRPr>
                <a:solidFill>
                  <a:schemeClr val="tx1">
                    <a:tint val="75000"/>
                  </a:schemeClr>
                </a:solidFill>
              </a:defRPr>
            </a:lvl5pPr>
            <a:lvl6pPr marL="2873502" indent="0" algn="ctr">
              <a:buNone/>
              <a:defRPr>
                <a:solidFill>
                  <a:schemeClr val="tx1">
                    <a:tint val="75000"/>
                  </a:schemeClr>
                </a:solidFill>
              </a:defRPr>
            </a:lvl6pPr>
            <a:lvl7pPr marL="3448202" indent="0" algn="ctr">
              <a:buNone/>
              <a:defRPr>
                <a:solidFill>
                  <a:schemeClr val="tx1">
                    <a:tint val="75000"/>
                  </a:schemeClr>
                </a:solidFill>
              </a:defRPr>
            </a:lvl7pPr>
            <a:lvl8pPr marL="4022903" indent="0" algn="ctr">
              <a:buNone/>
              <a:defRPr>
                <a:solidFill>
                  <a:schemeClr val="tx1">
                    <a:tint val="75000"/>
                  </a:schemeClr>
                </a:solidFill>
              </a:defRPr>
            </a:lvl8pPr>
            <a:lvl9pPr marL="4597603" indent="0" algn="ctr">
              <a:buNone/>
              <a:defRPr>
                <a:solidFill>
                  <a:schemeClr val="tx1">
                    <a:tint val="75000"/>
                  </a:schemeClr>
                </a:solidFill>
              </a:defRPr>
            </a:lvl9pPr>
          </a:lstStyle>
          <a:p>
            <a:pPr lvl="0"/>
            <a:r>
              <a:rPr lang="en-US" dirty="0"/>
              <a:t>Click to add subtitle</a:t>
            </a:r>
            <a:endParaRPr lang="fr-FR" dirty="0"/>
          </a:p>
        </p:txBody>
      </p:sp>
      <p:sp>
        <p:nvSpPr>
          <p:cNvPr id="9" name="Title 1"/>
          <p:cNvSpPr>
            <a:spLocks noGrp="1"/>
          </p:cNvSpPr>
          <p:nvPr>
            <p:ph type="title" hasCustomPrompt="1"/>
          </p:nvPr>
        </p:nvSpPr>
        <p:spPr>
          <a:xfrm>
            <a:off x="874937" y="2257198"/>
            <a:ext cx="11951122" cy="1263600"/>
          </a:xfrm>
          <a:prstGeom prst="rect">
            <a:avLst/>
          </a:prstGeom>
        </p:spPr>
        <p:txBody>
          <a:bodyPr anchor="b">
            <a:normAutofit/>
          </a:bodyPr>
          <a:lstStyle>
            <a:lvl1pPr>
              <a:defRPr sz="3600" b="1" baseline="0">
                <a:solidFill>
                  <a:schemeClr val="tx2"/>
                </a:solidFill>
                <a:latin typeface="+mj-lt"/>
              </a:defRPr>
            </a:lvl1pPr>
          </a:lstStyle>
          <a:p>
            <a:pPr lvl="0"/>
            <a:r>
              <a:rPr lang="en-US" dirty="0"/>
              <a:t>Click to add title</a:t>
            </a:r>
          </a:p>
        </p:txBody>
      </p:sp>
      <p:sp>
        <p:nvSpPr>
          <p:cNvPr id="10" name="object 18">
            <a:extLst>
              <a:ext uri="{FF2B5EF4-FFF2-40B4-BE49-F238E27FC236}">
                <a16:creationId xmlns:a16="http://schemas.microsoft.com/office/drawing/2014/main" id="{303F57C8-658E-4BF6-9E7E-4664CA64754F}"/>
              </a:ext>
            </a:extLst>
          </p:cNvPr>
          <p:cNvSpPr>
            <a:spLocks noChangeAspect="1"/>
          </p:cNvSpPr>
          <p:nvPr userDrawn="1"/>
        </p:nvSpPr>
        <p:spPr>
          <a:xfrm>
            <a:off x="0" y="2"/>
            <a:ext cx="1332000" cy="3528000"/>
          </a:xfrm>
          <a:custGeom>
            <a:avLst/>
            <a:gdLst/>
            <a:ahLst/>
            <a:cxnLst/>
            <a:rect l="l" t="t" r="r" b="b"/>
            <a:pathLst>
              <a:path w="1167130" h="2886075">
                <a:moveTo>
                  <a:pt x="1166888" y="0"/>
                </a:moveTo>
                <a:lnTo>
                  <a:pt x="0" y="0"/>
                </a:lnTo>
                <a:lnTo>
                  <a:pt x="0" y="2885516"/>
                </a:lnTo>
                <a:lnTo>
                  <a:pt x="1066" y="2885516"/>
                </a:lnTo>
                <a:lnTo>
                  <a:pt x="1166888" y="0"/>
                </a:lnTo>
                <a:close/>
              </a:path>
            </a:pathLst>
          </a:custGeom>
          <a:solidFill>
            <a:schemeClr val="tx2"/>
          </a:solidFill>
        </p:spPr>
        <p:txBody>
          <a:bodyPr wrap="square" lIns="0" tIns="0" rIns="0" bIns="0" rtlCol="0"/>
          <a:lstStyle/>
          <a:p>
            <a:endParaRPr spc="100" baseline="0"/>
          </a:p>
        </p:txBody>
      </p:sp>
      <p:pic>
        <p:nvPicPr>
          <p:cNvPr id="11" name="Image 11">
            <a:extLst>
              <a:ext uri="{FF2B5EF4-FFF2-40B4-BE49-F238E27FC236}">
                <a16:creationId xmlns:a16="http://schemas.microsoft.com/office/drawing/2014/main" id="{C849C626-35B1-4806-B223-87E8A56A8C51}"/>
              </a:ext>
            </a:extLst>
          </p:cNvPr>
          <p:cNvPicPr>
            <a:picLocks noChangeAspect="1"/>
          </p:cNvPicPr>
          <p:nvPr userDrawn="1"/>
        </p:nvPicPr>
        <p:blipFill>
          <a:blip r:embed="rId7"/>
          <a:stretch>
            <a:fillRect/>
          </a:stretch>
        </p:blipFill>
        <p:spPr>
          <a:xfrm>
            <a:off x="10498710" y="6265746"/>
            <a:ext cx="2325115" cy="973020"/>
          </a:xfrm>
          <a:prstGeom prst="rect">
            <a:avLst/>
          </a:prstGeom>
        </p:spPr>
      </p:pic>
      <p:sp>
        <p:nvSpPr>
          <p:cNvPr id="12" name="object 18">
            <a:extLst>
              <a:ext uri="{FF2B5EF4-FFF2-40B4-BE49-F238E27FC236}">
                <a16:creationId xmlns:a16="http://schemas.microsoft.com/office/drawing/2014/main" id="{5B0E54B0-EAF5-487E-9252-4D0D096382DB}"/>
              </a:ext>
            </a:extLst>
          </p:cNvPr>
          <p:cNvSpPr>
            <a:spLocks noChangeAspect="1"/>
          </p:cNvSpPr>
          <p:nvPr userDrawn="1"/>
        </p:nvSpPr>
        <p:spPr>
          <a:xfrm>
            <a:off x="9888476" y="6274115"/>
            <a:ext cx="360374" cy="956283"/>
          </a:xfrm>
          <a:custGeom>
            <a:avLst/>
            <a:gdLst/>
            <a:ahLst/>
            <a:cxnLst/>
            <a:rect l="l" t="t" r="r" b="b"/>
            <a:pathLst>
              <a:path w="546734" h="1352550">
                <a:moveTo>
                  <a:pt x="0" y="1352428"/>
                </a:moveTo>
                <a:lnTo>
                  <a:pt x="546414" y="0"/>
                </a:lnTo>
              </a:path>
            </a:pathLst>
          </a:custGeom>
          <a:ln w="12700">
            <a:solidFill>
              <a:schemeClr val="accent2"/>
            </a:solidFill>
          </a:ln>
        </p:spPr>
        <p:txBody>
          <a:bodyPr wrap="square" lIns="0" tIns="0" rIns="0" bIns="0" rtlCol="0"/>
          <a:lstStyle/>
          <a:p>
            <a:pPr marL="0" marR="0" lvl="0" indent="0" algn="l" defTabSz="1045848" rtl="0" eaLnBrk="1" fontAlgn="auto" latinLnBrk="0" hangingPunct="1">
              <a:lnSpc>
                <a:spcPct val="100000"/>
              </a:lnSpc>
              <a:spcBef>
                <a:spcPts val="0"/>
              </a:spcBef>
              <a:spcAft>
                <a:spcPts val="0"/>
              </a:spcAft>
              <a:buClrTx/>
              <a:buSzTx/>
              <a:buFontTx/>
              <a:buNone/>
              <a:tabLst/>
              <a:defRPr/>
            </a:pPr>
            <a:endParaRPr kumimoji="0" sz="2300" b="0" i="0" u="none" strike="noStrike" kern="1200" cap="none" spc="10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3154635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ack cover dark">
    <p:bg>
      <p:bgPr>
        <a:solidFill>
          <a:schemeClr val="tx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4036696" y="3531826"/>
            <a:ext cx="5382260" cy="428674"/>
          </a:xfrm>
          <a:prstGeom prst="rect">
            <a:avLst/>
          </a:prstGeom>
        </p:spPr>
        <p:txBody>
          <a:bodyPr lIns="104487" tIns="52244" rIns="104487" bIns="52244">
            <a:normAutofit/>
          </a:bodyPr>
          <a:lstStyle>
            <a:lvl1pPr marL="135756" indent="0" algn="ctr">
              <a:buNone/>
              <a:defRPr sz="2100" cap="none" baseline="0">
                <a:solidFill>
                  <a:schemeClr val="accent3"/>
                </a:solidFill>
                <a:latin typeface="+mn-lt"/>
                <a:cs typeface="Arial" pitchFamily="34" charset="0"/>
              </a:defRPr>
            </a:lvl1pPr>
          </a:lstStyle>
          <a:p>
            <a:pPr lvl="0"/>
            <a:r>
              <a:rPr lang="en-US" dirty="0"/>
              <a:t>for your attention</a:t>
            </a:r>
            <a:endParaRPr lang="fr-FR" dirty="0"/>
          </a:p>
        </p:txBody>
      </p:sp>
      <p:sp>
        <p:nvSpPr>
          <p:cNvPr id="7" name="Text Placeholder 6"/>
          <p:cNvSpPr>
            <a:spLocks noGrp="1"/>
          </p:cNvSpPr>
          <p:nvPr>
            <p:ph type="body" sz="quarter" idx="11" hasCustomPrompt="1"/>
          </p:nvPr>
        </p:nvSpPr>
        <p:spPr>
          <a:xfrm>
            <a:off x="4036696" y="2795376"/>
            <a:ext cx="5382260" cy="736450"/>
          </a:xfrm>
          <a:prstGeom prst="rect">
            <a:avLst/>
          </a:prstGeom>
          <a:ln>
            <a:noFill/>
          </a:ln>
        </p:spPr>
        <p:txBody>
          <a:bodyPr lIns="104487" tIns="52244" rIns="104487" bIns="52244" anchor="b">
            <a:normAutofit/>
          </a:bodyPr>
          <a:lstStyle>
            <a:lvl1pPr marL="135756" indent="0" algn="ctr">
              <a:buNone/>
              <a:defRPr sz="4100" b="1" cap="none" baseline="0">
                <a:solidFill>
                  <a:schemeClr val="accent3"/>
                </a:solidFill>
                <a:latin typeface="+mn-lt"/>
                <a:cs typeface="Arial" pitchFamily="34" charset="0"/>
              </a:defRPr>
            </a:lvl1pPr>
          </a:lstStyle>
          <a:p>
            <a:pPr lvl="0"/>
            <a:r>
              <a:rPr lang="en-US" dirty="0"/>
              <a:t>Thank you</a:t>
            </a:r>
          </a:p>
        </p:txBody>
      </p:sp>
      <p:sp>
        <p:nvSpPr>
          <p:cNvPr id="9" name="object 18">
            <a:extLst>
              <a:ext uri="{FF2B5EF4-FFF2-40B4-BE49-F238E27FC236}">
                <a16:creationId xmlns:a16="http://schemas.microsoft.com/office/drawing/2014/main" id="{227F4778-8A14-401A-9C86-9316595A39E5}"/>
              </a:ext>
            </a:extLst>
          </p:cNvPr>
          <p:cNvSpPr>
            <a:spLocks noChangeAspect="1"/>
          </p:cNvSpPr>
          <p:nvPr userDrawn="1"/>
        </p:nvSpPr>
        <p:spPr>
          <a:xfrm>
            <a:off x="0" y="2"/>
            <a:ext cx="1332000" cy="3528000"/>
          </a:xfrm>
          <a:custGeom>
            <a:avLst/>
            <a:gdLst/>
            <a:ahLst/>
            <a:cxnLst/>
            <a:rect l="l" t="t" r="r" b="b"/>
            <a:pathLst>
              <a:path w="1167130" h="2886075">
                <a:moveTo>
                  <a:pt x="1166888" y="0"/>
                </a:moveTo>
                <a:lnTo>
                  <a:pt x="0" y="0"/>
                </a:lnTo>
                <a:lnTo>
                  <a:pt x="0" y="2885516"/>
                </a:lnTo>
                <a:lnTo>
                  <a:pt x="1066" y="2885516"/>
                </a:lnTo>
                <a:lnTo>
                  <a:pt x="1166888" y="0"/>
                </a:lnTo>
                <a:close/>
              </a:path>
            </a:pathLst>
          </a:custGeom>
          <a:solidFill>
            <a:schemeClr val="bg1"/>
          </a:solidFill>
        </p:spPr>
        <p:txBody>
          <a:bodyPr wrap="square" lIns="0" tIns="0" rIns="0" bIns="0" rtlCol="0"/>
          <a:lstStyle/>
          <a:p>
            <a:endParaRPr spc="100" baseline="0" dirty="0"/>
          </a:p>
        </p:txBody>
      </p:sp>
    </p:spTree>
    <p:extLst>
      <p:ext uri="{BB962C8B-B14F-4D97-AF65-F5344CB8AC3E}">
        <p14:creationId xmlns:p14="http://schemas.microsoft.com/office/powerpoint/2010/main" val="40323271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Front cover Std presentation">
    <p:bg>
      <p:bgPr>
        <a:solidFill>
          <a:schemeClr val="tx2"/>
        </a:solidFill>
        <a:effectLst/>
      </p:bgPr>
    </p:bg>
    <p:spTree>
      <p:nvGrpSpPr>
        <p:cNvPr id="1" name=""/>
        <p:cNvGrpSpPr/>
        <p:nvPr/>
      </p:nvGrpSpPr>
      <p:grpSpPr>
        <a:xfrm>
          <a:off x="0" y="0"/>
          <a:ext cx="0" cy="0"/>
          <a:chOff x="0" y="0"/>
          <a:chExt cx="0" cy="0"/>
        </a:xfrm>
      </p:grpSpPr>
      <p:sp>
        <p:nvSpPr>
          <p:cNvPr id="4" name="object 18">
            <a:extLst>
              <a:ext uri="{FF2B5EF4-FFF2-40B4-BE49-F238E27FC236}">
                <a16:creationId xmlns:a16="http://schemas.microsoft.com/office/drawing/2014/main" id="{0F6EAAF2-B91E-4092-8808-C9C0CF0A19FE}"/>
              </a:ext>
            </a:extLst>
          </p:cNvPr>
          <p:cNvSpPr>
            <a:spLocks noChangeAspect="1"/>
          </p:cNvSpPr>
          <p:nvPr userDrawn="1"/>
        </p:nvSpPr>
        <p:spPr>
          <a:xfrm>
            <a:off x="0" y="2"/>
            <a:ext cx="1332000" cy="3528000"/>
          </a:xfrm>
          <a:custGeom>
            <a:avLst/>
            <a:gdLst/>
            <a:ahLst/>
            <a:cxnLst/>
            <a:rect l="l" t="t" r="r" b="b"/>
            <a:pathLst>
              <a:path w="1167130" h="2886075">
                <a:moveTo>
                  <a:pt x="1166888" y="0"/>
                </a:moveTo>
                <a:lnTo>
                  <a:pt x="0" y="0"/>
                </a:lnTo>
                <a:lnTo>
                  <a:pt x="0" y="2885516"/>
                </a:lnTo>
                <a:lnTo>
                  <a:pt x="1066" y="2885516"/>
                </a:lnTo>
                <a:lnTo>
                  <a:pt x="1166888" y="0"/>
                </a:lnTo>
                <a:close/>
              </a:path>
            </a:pathLst>
          </a:custGeom>
          <a:solidFill>
            <a:schemeClr val="bg1"/>
          </a:solidFill>
        </p:spPr>
        <p:txBody>
          <a:bodyPr wrap="square" lIns="0" tIns="0" rIns="0" bIns="0" rtlCol="0"/>
          <a:lstStyle/>
          <a:p>
            <a:endParaRPr spc="100" baseline="0" dirty="0"/>
          </a:p>
        </p:txBody>
      </p:sp>
      <p:pic>
        <p:nvPicPr>
          <p:cNvPr id="5" name="Image 11">
            <a:extLst>
              <a:ext uri="{FF2B5EF4-FFF2-40B4-BE49-F238E27FC236}">
                <a16:creationId xmlns:a16="http://schemas.microsoft.com/office/drawing/2014/main" id="{DADF3B0A-53C4-4FDD-942D-7A6E5872E809}"/>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4902625" y="2256971"/>
            <a:ext cx="3650400" cy="1527629"/>
          </a:xfrm>
          <a:prstGeom prst="rect">
            <a:avLst/>
          </a:prstGeom>
        </p:spPr>
      </p:pic>
    </p:spTree>
    <p:extLst>
      <p:ext uri="{BB962C8B-B14F-4D97-AF65-F5344CB8AC3E}">
        <p14:creationId xmlns:p14="http://schemas.microsoft.com/office/powerpoint/2010/main" val="20365094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Back cover dark">
    <p:bg>
      <p:bgPr>
        <a:solidFill>
          <a:schemeClr val="tx2"/>
        </a:solidFill>
        <a:effectLst/>
      </p:bgPr>
    </p:bg>
    <p:spTree>
      <p:nvGrpSpPr>
        <p:cNvPr id="1" name=""/>
        <p:cNvGrpSpPr/>
        <p:nvPr/>
      </p:nvGrpSpPr>
      <p:grpSpPr>
        <a:xfrm>
          <a:off x="0" y="0"/>
          <a:ext cx="0" cy="0"/>
          <a:chOff x="0" y="0"/>
          <a:chExt cx="0" cy="0"/>
        </a:xfrm>
      </p:grpSpPr>
      <p:sp>
        <p:nvSpPr>
          <p:cNvPr id="4" name="Text Placeholder 2"/>
          <p:cNvSpPr txBox="1">
            <a:spLocks/>
          </p:cNvSpPr>
          <p:nvPr userDrawn="1"/>
        </p:nvSpPr>
        <p:spPr>
          <a:xfrm>
            <a:off x="336392" y="6814190"/>
            <a:ext cx="12782867" cy="674066"/>
          </a:xfrm>
          <a:prstGeom prst="rect">
            <a:avLst/>
          </a:prstGeom>
        </p:spPr>
        <p:txBody>
          <a:bodyPr lIns="131341" tIns="65671" rIns="131341" bIns="65671"/>
          <a:lstStyle>
            <a:lvl1pPr marL="0" indent="0" algn="just" defTabSz="914328" rtl="0" eaLnBrk="1" latinLnBrk="0" hangingPunct="1">
              <a:spcBef>
                <a:spcPts val="0"/>
              </a:spcBef>
              <a:buFont typeface="Arial" pitchFamily="34" charset="0"/>
              <a:buNone/>
              <a:defRPr lang="fr-FR" sz="700" b="0" i="0" kern="1200" cap="all" spc="90" baseline="0" dirty="0">
                <a:solidFill>
                  <a:schemeClr val="bg1"/>
                </a:solidFill>
                <a:latin typeface="Arial"/>
                <a:ea typeface="+mn-ea"/>
                <a:cs typeface="Arial"/>
              </a:defRPr>
            </a:lvl1pPr>
            <a:lvl2pPr marL="457164" indent="0" algn="ctr" defTabSz="914328" rtl="0" eaLnBrk="1" latinLnBrk="0" hangingPunct="1">
              <a:spcBef>
                <a:spcPct val="20000"/>
              </a:spcBef>
              <a:buFont typeface="Arial" pitchFamily="34" charset="0"/>
              <a:buNone/>
              <a:defRPr sz="1400" kern="1200" cap="all" baseline="0">
                <a:solidFill>
                  <a:schemeClr val="tx1"/>
                </a:solidFill>
                <a:latin typeface="Arial" pitchFamily="34" charset="0"/>
                <a:ea typeface="+mn-ea"/>
                <a:cs typeface="Arial" pitchFamily="34" charset="0"/>
              </a:defRPr>
            </a:lvl2pPr>
            <a:lvl3pPr marL="914328" indent="0" algn="ctr" defTabSz="914328" rtl="0" eaLnBrk="1" latinLnBrk="0" hangingPunct="1">
              <a:spcBef>
                <a:spcPct val="20000"/>
              </a:spcBef>
              <a:buFont typeface="Arial" pitchFamily="34" charset="0"/>
              <a:buNone/>
              <a:defRPr sz="1400" kern="1200" cap="all" baseline="0">
                <a:solidFill>
                  <a:schemeClr val="tx1"/>
                </a:solidFill>
                <a:latin typeface="Arial" pitchFamily="34" charset="0"/>
                <a:ea typeface="+mn-ea"/>
                <a:cs typeface="Arial" pitchFamily="34" charset="0"/>
              </a:defRPr>
            </a:lvl3pPr>
            <a:lvl4pPr marL="1600074" indent="-228582" algn="l" defTabSz="914328"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238" indent="-228582" algn="l" defTabSz="914328"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402" indent="-228582" algn="l" defTabSz="91432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66" indent="-228582" algn="l" defTabSz="91432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32" indent="-228582" algn="l" defTabSz="91432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95" indent="-228582" algn="l" defTabSz="91432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900" spc="126" baseline="0" dirty="0">
                <a:latin typeface="+mn-lt"/>
                <a:cs typeface="Arial" pitchFamily="34" charset="0"/>
              </a:rPr>
              <a:t>© CYLAD Consulting. All rights reserved. Confidential and proprietary document. This document and all information contained herein is the sole property of CYLAD Consulting. No intellectual property rights are granted by the delivery of this document or the disclosure of the content. This document shall not be reproduced or disclosed without the written agreement of CYLAD Consulting. </a:t>
            </a:r>
          </a:p>
        </p:txBody>
      </p:sp>
      <p:sp>
        <p:nvSpPr>
          <p:cNvPr id="5" name="object 18">
            <a:extLst>
              <a:ext uri="{FF2B5EF4-FFF2-40B4-BE49-F238E27FC236}">
                <a16:creationId xmlns:a16="http://schemas.microsoft.com/office/drawing/2014/main" id="{738A69D0-48A6-4D87-9995-7DCC3E6129C5}"/>
              </a:ext>
            </a:extLst>
          </p:cNvPr>
          <p:cNvSpPr>
            <a:spLocks noChangeAspect="1"/>
          </p:cNvSpPr>
          <p:nvPr userDrawn="1"/>
        </p:nvSpPr>
        <p:spPr>
          <a:xfrm>
            <a:off x="0" y="2"/>
            <a:ext cx="1332000" cy="3528000"/>
          </a:xfrm>
          <a:custGeom>
            <a:avLst/>
            <a:gdLst/>
            <a:ahLst/>
            <a:cxnLst/>
            <a:rect l="l" t="t" r="r" b="b"/>
            <a:pathLst>
              <a:path w="1167130" h="2886075">
                <a:moveTo>
                  <a:pt x="1166888" y="0"/>
                </a:moveTo>
                <a:lnTo>
                  <a:pt x="0" y="0"/>
                </a:lnTo>
                <a:lnTo>
                  <a:pt x="0" y="2885516"/>
                </a:lnTo>
                <a:lnTo>
                  <a:pt x="1066" y="2885516"/>
                </a:lnTo>
                <a:lnTo>
                  <a:pt x="1166888" y="0"/>
                </a:lnTo>
                <a:close/>
              </a:path>
            </a:pathLst>
          </a:custGeom>
          <a:solidFill>
            <a:schemeClr val="bg1"/>
          </a:solidFill>
        </p:spPr>
        <p:txBody>
          <a:bodyPr wrap="square" lIns="0" tIns="0" rIns="0" bIns="0" rtlCol="0"/>
          <a:lstStyle/>
          <a:p>
            <a:endParaRPr spc="100" baseline="0" dirty="0"/>
          </a:p>
        </p:txBody>
      </p:sp>
      <p:pic>
        <p:nvPicPr>
          <p:cNvPr id="7" name="Picture 4">
            <a:extLst>
              <a:ext uri="{FF2B5EF4-FFF2-40B4-BE49-F238E27FC236}">
                <a16:creationId xmlns:a16="http://schemas.microsoft.com/office/drawing/2014/main" id="{13A1372B-D481-4D6F-B2FB-08D683A492E9}"/>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5779590" y="3401206"/>
            <a:ext cx="1896469" cy="7667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27325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ack cover light">
    <p:bg>
      <p:bgPr>
        <a:solidFill>
          <a:schemeClr val="bg1"/>
        </a:solidFill>
        <a:effectLst/>
      </p:bgPr>
    </p:bg>
    <p:spTree>
      <p:nvGrpSpPr>
        <p:cNvPr id="1" name=""/>
        <p:cNvGrpSpPr/>
        <p:nvPr/>
      </p:nvGrpSpPr>
      <p:grpSpPr>
        <a:xfrm>
          <a:off x="0" y="0"/>
          <a:ext cx="0" cy="0"/>
          <a:chOff x="0" y="0"/>
          <a:chExt cx="0" cy="0"/>
        </a:xfrm>
      </p:grpSpPr>
      <p:sp>
        <p:nvSpPr>
          <p:cNvPr id="22" name="Text Placeholder 4"/>
          <p:cNvSpPr>
            <a:spLocks noGrp="1"/>
          </p:cNvSpPr>
          <p:nvPr>
            <p:ph type="body" sz="quarter" idx="11" hasCustomPrompt="1"/>
          </p:nvPr>
        </p:nvSpPr>
        <p:spPr>
          <a:xfrm>
            <a:off x="4162843" y="3517783"/>
            <a:ext cx="5129967" cy="428674"/>
          </a:xfrm>
          <a:prstGeom prst="rect">
            <a:avLst/>
          </a:prstGeom>
        </p:spPr>
        <p:txBody>
          <a:bodyPr lIns="104487" tIns="52244" rIns="104487" bIns="52244"/>
          <a:lstStyle>
            <a:lvl1pPr marL="135756" indent="0" algn="ctr">
              <a:buNone/>
              <a:defRPr sz="2100" cap="none" spc="126" baseline="0">
                <a:solidFill>
                  <a:schemeClr val="tx2"/>
                </a:solidFill>
                <a:latin typeface="+mn-lt"/>
              </a:defRPr>
            </a:lvl1pPr>
          </a:lstStyle>
          <a:p>
            <a:pPr lvl="0"/>
            <a:r>
              <a:rPr lang="en-US" dirty="0"/>
              <a:t>for your attention</a:t>
            </a:r>
            <a:endParaRPr lang="fr-FR" dirty="0"/>
          </a:p>
        </p:txBody>
      </p:sp>
      <p:sp>
        <p:nvSpPr>
          <p:cNvPr id="23" name="Text Placeholder 6"/>
          <p:cNvSpPr>
            <a:spLocks noGrp="1"/>
          </p:cNvSpPr>
          <p:nvPr>
            <p:ph type="body" sz="quarter" idx="12" hasCustomPrompt="1"/>
          </p:nvPr>
        </p:nvSpPr>
        <p:spPr>
          <a:xfrm>
            <a:off x="4148827" y="2795376"/>
            <a:ext cx="5158000" cy="736450"/>
          </a:xfrm>
          <a:prstGeom prst="rect">
            <a:avLst/>
          </a:prstGeom>
        </p:spPr>
        <p:txBody>
          <a:bodyPr lIns="104487" tIns="52244" rIns="104487" bIns="52244" anchor="b"/>
          <a:lstStyle>
            <a:lvl1pPr marL="135756" indent="0" algn="ctr">
              <a:buNone/>
              <a:defRPr sz="4100" b="1" cap="none" spc="126" baseline="0">
                <a:solidFill>
                  <a:schemeClr val="tx2"/>
                </a:solidFill>
                <a:latin typeface="+mn-lt"/>
              </a:defRPr>
            </a:lvl1pPr>
          </a:lstStyle>
          <a:p>
            <a:pPr lvl="0"/>
            <a:r>
              <a:rPr lang="en-US" dirty="0"/>
              <a:t>Thank you</a:t>
            </a:r>
          </a:p>
        </p:txBody>
      </p:sp>
      <p:sp>
        <p:nvSpPr>
          <p:cNvPr id="8" name="Rectangle 7"/>
          <p:cNvSpPr/>
          <p:nvPr userDrawn="1"/>
        </p:nvSpPr>
        <p:spPr>
          <a:xfrm>
            <a:off x="0" y="6451600"/>
            <a:ext cx="2130195" cy="1117600"/>
          </a:xfrm>
          <a:prstGeom prst="rect">
            <a:avLst/>
          </a:prstGeom>
          <a:solidFill>
            <a:schemeClr val="bg1"/>
          </a:solidFill>
        </p:spPr>
        <p:txBody>
          <a:bodyPr wrap="square" lIns="0" tIns="0" rIns="0" bIns="0" rtlCol="0" anchor="ctr"/>
          <a:lstStyle/>
          <a:p>
            <a:pPr algn="ctr"/>
            <a:endParaRPr lang="en-US" sz="2011" b="0" dirty="0" err="1">
              <a:ln>
                <a:solidFill>
                  <a:schemeClr val="bg1"/>
                </a:solidFill>
              </a:ln>
              <a:solidFill>
                <a:schemeClr val="bg1"/>
              </a:solidFill>
            </a:endParaRPr>
          </a:p>
        </p:txBody>
      </p:sp>
      <p:sp>
        <p:nvSpPr>
          <p:cNvPr id="6" name="object 18">
            <a:extLst>
              <a:ext uri="{FF2B5EF4-FFF2-40B4-BE49-F238E27FC236}">
                <a16:creationId xmlns:a16="http://schemas.microsoft.com/office/drawing/2014/main" id="{652E6480-ADD5-49CE-9429-3B98E12DB814}"/>
              </a:ext>
            </a:extLst>
          </p:cNvPr>
          <p:cNvSpPr>
            <a:spLocks noChangeAspect="1"/>
          </p:cNvSpPr>
          <p:nvPr userDrawn="1"/>
        </p:nvSpPr>
        <p:spPr>
          <a:xfrm>
            <a:off x="0" y="2"/>
            <a:ext cx="1332000" cy="3528000"/>
          </a:xfrm>
          <a:custGeom>
            <a:avLst/>
            <a:gdLst/>
            <a:ahLst/>
            <a:cxnLst/>
            <a:rect l="l" t="t" r="r" b="b"/>
            <a:pathLst>
              <a:path w="1167130" h="2886075">
                <a:moveTo>
                  <a:pt x="1166888" y="0"/>
                </a:moveTo>
                <a:lnTo>
                  <a:pt x="0" y="0"/>
                </a:lnTo>
                <a:lnTo>
                  <a:pt x="0" y="2885516"/>
                </a:lnTo>
                <a:lnTo>
                  <a:pt x="1066" y="2885516"/>
                </a:lnTo>
                <a:lnTo>
                  <a:pt x="1166888" y="0"/>
                </a:lnTo>
                <a:close/>
              </a:path>
            </a:pathLst>
          </a:custGeom>
          <a:solidFill>
            <a:schemeClr val="tx2"/>
          </a:solidFill>
        </p:spPr>
        <p:txBody>
          <a:bodyPr wrap="square" lIns="0" tIns="0" rIns="0" bIns="0" rtlCol="0"/>
          <a:lstStyle/>
          <a:p>
            <a:endParaRPr spc="100" baseline="0"/>
          </a:p>
        </p:txBody>
      </p:sp>
    </p:spTree>
    <p:extLst>
      <p:ext uri="{BB962C8B-B14F-4D97-AF65-F5344CB8AC3E}">
        <p14:creationId xmlns:p14="http://schemas.microsoft.com/office/powerpoint/2010/main" val="31006514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Back cover light">
    <p:bg>
      <p:bgPr>
        <a:solidFill>
          <a:schemeClr val="bg1"/>
        </a:solidFill>
        <a:effectLst/>
      </p:bgPr>
    </p:bg>
    <p:spTree>
      <p:nvGrpSpPr>
        <p:cNvPr id="1" name=""/>
        <p:cNvGrpSpPr/>
        <p:nvPr/>
      </p:nvGrpSpPr>
      <p:grpSpPr>
        <a:xfrm>
          <a:off x="0" y="0"/>
          <a:ext cx="0" cy="0"/>
          <a:chOff x="0" y="0"/>
          <a:chExt cx="0" cy="0"/>
        </a:xfrm>
      </p:grpSpPr>
      <p:pic>
        <p:nvPicPr>
          <p:cNvPr id="37" name="Picture 4"/>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5535888" y="3401207"/>
            <a:ext cx="2383875" cy="766788"/>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2"/>
          <p:cNvSpPr txBox="1">
            <a:spLocks/>
          </p:cNvSpPr>
          <p:nvPr userDrawn="1"/>
        </p:nvSpPr>
        <p:spPr>
          <a:xfrm>
            <a:off x="336392" y="6801782"/>
            <a:ext cx="12782867" cy="674066"/>
          </a:xfrm>
          <a:prstGeom prst="rect">
            <a:avLst/>
          </a:prstGeom>
          <a:ln>
            <a:noFill/>
          </a:ln>
        </p:spPr>
        <p:txBody>
          <a:bodyPr lIns="131341" tIns="65671" rIns="131341" bIns="65671"/>
          <a:lstStyle>
            <a:lvl1pPr marL="0" indent="0" algn="just" defTabSz="914328" rtl="0" eaLnBrk="1" latinLnBrk="0" hangingPunct="1">
              <a:spcBef>
                <a:spcPts val="0"/>
              </a:spcBef>
              <a:buFont typeface="Arial" pitchFamily="34" charset="0"/>
              <a:buNone/>
              <a:defRPr lang="fr-FR" sz="700" b="0" i="0" kern="1200" cap="all" spc="90" baseline="0" dirty="0">
                <a:solidFill>
                  <a:schemeClr val="bg1"/>
                </a:solidFill>
                <a:latin typeface="Arial"/>
                <a:ea typeface="+mn-ea"/>
                <a:cs typeface="Arial"/>
              </a:defRPr>
            </a:lvl1pPr>
            <a:lvl2pPr marL="457164" indent="0" algn="ctr" defTabSz="914328" rtl="0" eaLnBrk="1" latinLnBrk="0" hangingPunct="1">
              <a:spcBef>
                <a:spcPct val="20000"/>
              </a:spcBef>
              <a:buFont typeface="Arial" pitchFamily="34" charset="0"/>
              <a:buNone/>
              <a:defRPr sz="1400" kern="1200" cap="all" baseline="0">
                <a:solidFill>
                  <a:schemeClr val="tx1"/>
                </a:solidFill>
                <a:latin typeface="Arial" pitchFamily="34" charset="0"/>
                <a:ea typeface="+mn-ea"/>
                <a:cs typeface="Arial" pitchFamily="34" charset="0"/>
              </a:defRPr>
            </a:lvl2pPr>
            <a:lvl3pPr marL="914328" indent="0" algn="ctr" defTabSz="914328" rtl="0" eaLnBrk="1" latinLnBrk="0" hangingPunct="1">
              <a:spcBef>
                <a:spcPct val="20000"/>
              </a:spcBef>
              <a:buFont typeface="Arial" pitchFamily="34" charset="0"/>
              <a:buNone/>
              <a:defRPr sz="1400" kern="1200" cap="all" baseline="0">
                <a:solidFill>
                  <a:schemeClr val="tx1"/>
                </a:solidFill>
                <a:latin typeface="Arial" pitchFamily="34" charset="0"/>
                <a:ea typeface="+mn-ea"/>
                <a:cs typeface="Arial" pitchFamily="34" charset="0"/>
              </a:defRPr>
            </a:lvl3pPr>
            <a:lvl4pPr marL="1600074" indent="-228582" algn="l" defTabSz="914328"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238" indent="-228582" algn="l" defTabSz="914328"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402" indent="-228582" algn="l" defTabSz="91432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66" indent="-228582" algn="l" defTabSz="91432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32" indent="-228582" algn="l" defTabSz="91432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95" indent="-228582" algn="l" defTabSz="91432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900" spc="126" baseline="0" dirty="0">
                <a:solidFill>
                  <a:schemeClr val="tx2"/>
                </a:solidFill>
                <a:latin typeface="+mn-lt"/>
                <a:cs typeface="Arial" pitchFamily="34" charset="0"/>
              </a:rPr>
              <a:t>© CYLAD Consulting. All rights reserved. Confidential and proprietary document. This document and all information contained herein is the sole property of CYLAD Consulting. No intellectual property rights are granted by the delivery of this document or the disclosure of the content. This document shall not be reproduced or disclosed without the written agreement of CYLAD Consulting. </a:t>
            </a:r>
          </a:p>
        </p:txBody>
      </p:sp>
      <p:sp>
        <p:nvSpPr>
          <p:cNvPr id="6" name="object 18">
            <a:extLst>
              <a:ext uri="{FF2B5EF4-FFF2-40B4-BE49-F238E27FC236}">
                <a16:creationId xmlns:a16="http://schemas.microsoft.com/office/drawing/2014/main" id="{E5037120-C108-4ECF-A9D7-729137127FD3}"/>
              </a:ext>
            </a:extLst>
          </p:cNvPr>
          <p:cNvSpPr>
            <a:spLocks noChangeAspect="1"/>
          </p:cNvSpPr>
          <p:nvPr userDrawn="1"/>
        </p:nvSpPr>
        <p:spPr>
          <a:xfrm>
            <a:off x="0" y="2"/>
            <a:ext cx="1332000" cy="3528000"/>
          </a:xfrm>
          <a:custGeom>
            <a:avLst/>
            <a:gdLst/>
            <a:ahLst/>
            <a:cxnLst/>
            <a:rect l="l" t="t" r="r" b="b"/>
            <a:pathLst>
              <a:path w="1167130" h="2886075">
                <a:moveTo>
                  <a:pt x="1166888" y="0"/>
                </a:moveTo>
                <a:lnTo>
                  <a:pt x="0" y="0"/>
                </a:lnTo>
                <a:lnTo>
                  <a:pt x="0" y="2885516"/>
                </a:lnTo>
                <a:lnTo>
                  <a:pt x="1066" y="2885516"/>
                </a:lnTo>
                <a:lnTo>
                  <a:pt x="1166888" y="0"/>
                </a:lnTo>
                <a:close/>
              </a:path>
            </a:pathLst>
          </a:custGeom>
          <a:solidFill>
            <a:schemeClr val="tx2"/>
          </a:solidFill>
        </p:spPr>
        <p:txBody>
          <a:bodyPr wrap="square" lIns="0" tIns="0" rIns="0" bIns="0" rtlCol="0"/>
          <a:lstStyle/>
          <a:p>
            <a:endParaRPr spc="100" baseline="0"/>
          </a:p>
        </p:txBody>
      </p:sp>
      <p:pic>
        <p:nvPicPr>
          <p:cNvPr id="9" name="Picture 3">
            <a:extLst>
              <a:ext uri="{FF2B5EF4-FFF2-40B4-BE49-F238E27FC236}">
                <a16:creationId xmlns:a16="http://schemas.microsoft.com/office/drawing/2014/main" id="{52D6CC73-F33F-4D2D-8BB8-3F56593C479E}"/>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779590" y="3401207"/>
            <a:ext cx="1896469" cy="7648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4853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Full green">
    <p:bg>
      <p:bgPr>
        <a:solidFill>
          <a:schemeClr val="tx2"/>
        </a:solidFill>
        <a:effectLst/>
      </p:bgPr>
    </p:bg>
    <p:spTree>
      <p:nvGrpSpPr>
        <p:cNvPr id="1" name=""/>
        <p:cNvGrpSpPr/>
        <p:nvPr/>
      </p:nvGrpSpPr>
      <p:grpSpPr>
        <a:xfrm>
          <a:off x="0" y="0"/>
          <a:ext cx="0" cy="0"/>
          <a:chOff x="0" y="0"/>
          <a:chExt cx="0" cy="0"/>
        </a:xfrm>
      </p:grpSpPr>
      <p:pic>
        <p:nvPicPr>
          <p:cNvPr id="3" name="Picture 4">
            <a:extLst>
              <a:ext uri="{FF2B5EF4-FFF2-40B4-BE49-F238E27FC236}">
                <a16:creationId xmlns:a16="http://schemas.microsoft.com/office/drawing/2014/main" id="{B2F361F7-891F-4168-8F11-99840BEF6A99}"/>
              </a:ext>
            </a:extLst>
          </p:cNvPr>
          <p:cNvPicPr>
            <a:picLocks noChangeAspect="1" noChangeArrowheads="1"/>
          </p:cNvPicPr>
          <p:nvPr userDrawn="1"/>
        </p:nvPicPr>
        <p:blipFill rotWithShape="1">
          <a:blip r:embed="rId2" cstate="print">
            <a:lum bright="70000" contrast="-70000"/>
            <a:extLst>
              <a:ext uri="{28A0092B-C50C-407E-A947-70E740481C1C}">
                <a14:useLocalDpi xmlns:a14="http://schemas.microsoft.com/office/drawing/2010/main" val="0"/>
              </a:ext>
            </a:extLst>
          </a:blip>
          <a:srcRect b="30786"/>
          <a:stretch/>
        </p:blipFill>
        <p:spPr bwMode="auto">
          <a:xfrm>
            <a:off x="181976" y="7160052"/>
            <a:ext cx="756786" cy="2112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2948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Front cover basic">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6388E4B-B97A-403D-9A96-64D6CE6024F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0" name="Diapositive think-cell" r:id="rId5" imgW="592" imgH="584" progId="TCLayout.ActiveDocument.1">
                  <p:embed/>
                </p:oleObj>
              </mc:Choice>
              <mc:Fallback>
                <p:oleObj name="Diapositive think-cell" r:id="rId5" imgW="592" imgH="584" progId="TCLayout.ActiveDocument.1">
                  <p:embed/>
                  <p:pic>
                    <p:nvPicPr>
                      <p:cNvPr id="3" name="Objet 2" hidden="1">
                        <a:extLst>
                          <a:ext uri="{FF2B5EF4-FFF2-40B4-BE49-F238E27FC236}">
                            <a16:creationId xmlns:a16="http://schemas.microsoft.com/office/drawing/2014/main" id="{76388E4B-B97A-403D-9A96-64D6CE6024F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E9A4C4-AD04-4F9B-829B-0821D29C7B19}"/>
              </a:ext>
            </a:extLst>
          </p:cNvPr>
          <p:cNvSpPr/>
          <p:nvPr userDrawn="1">
            <p:custDataLst>
              <p:tags r:id="rId3"/>
            </p:custDataLst>
          </p:nvPr>
        </p:nvSpPr>
        <p:spPr>
          <a:xfrm>
            <a:off x="0" y="0"/>
            <a:ext cx="158750" cy="158750"/>
          </a:xfrm>
          <a:prstGeom prst="rect">
            <a:avLst/>
          </a:prstGeom>
          <a:solidFill>
            <a:schemeClr val="tx2"/>
          </a:solidFill>
        </p:spPr>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600" b="1" i="0" baseline="0" dirty="0" err="1">
              <a:solidFill>
                <a:schemeClr val="bg1"/>
              </a:solidFill>
              <a:latin typeface="Calibri Light" panose="020F0302020204030204" pitchFamily="34" charset="0"/>
              <a:ea typeface="+mj-ea"/>
              <a:cs typeface="Arial" panose="020B0604020202020204" pitchFamily="34" charset="0"/>
              <a:sym typeface="Calibri Light" panose="020F0302020204030204" pitchFamily="34" charset="0"/>
            </a:endParaRPr>
          </a:p>
        </p:txBody>
      </p:sp>
      <p:sp>
        <p:nvSpPr>
          <p:cNvPr id="24" name="Text Placeholder 11"/>
          <p:cNvSpPr>
            <a:spLocks noGrp="1"/>
          </p:cNvSpPr>
          <p:nvPr>
            <p:ph type="body" sz="quarter" idx="12" hasCustomPrompt="1"/>
          </p:nvPr>
        </p:nvSpPr>
        <p:spPr>
          <a:xfrm>
            <a:off x="878932" y="4699165"/>
            <a:ext cx="11948796" cy="457680"/>
          </a:xfrm>
          <a:prstGeom prst="rect">
            <a:avLst/>
          </a:prstGeom>
        </p:spPr>
        <p:txBody>
          <a:bodyPr>
            <a:normAutofit/>
          </a:bodyPr>
          <a:lstStyle>
            <a:lvl1pPr marL="0" indent="0">
              <a:buNone/>
              <a:defRPr sz="2000" b="0" cap="none" spc="126" baseline="0">
                <a:solidFill>
                  <a:schemeClr val="tx2"/>
                </a:solidFill>
                <a:latin typeface="+mj-lt"/>
              </a:defRPr>
            </a:lvl1pPr>
          </a:lstStyle>
          <a:p>
            <a:r>
              <a:rPr lang="en-US" dirty="0"/>
              <a:t>NAME OF CITY  -  DATE OF DOCUMENT</a:t>
            </a:r>
            <a:endParaRPr lang="fr-FR" dirty="0"/>
          </a:p>
        </p:txBody>
      </p:sp>
      <p:sp>
        <p:nvSpPr>
          <p:cNvPr id="8" name="Subtitle"/>
          <p:cNvSpPr>
            <a:spLocks noGrp="1"/>
          </p:cNvSpPr>
          <p:nvPr>
            <p:ph type="subTitle" idx="1" hasCustomPrompt="1"/>
          </p:nvPr>
        </p:nvSpPr>
        <p:spPr>
          <a:xfrm>
            <a:off x="878933" y="3784599"/>
            <a:ext cx="11948798" cy="369332"/>
          </a:xfrm>
          <a:prstGeom prst="rect">
            <a:avLst/>
          </a:prstGeom>
        </p:spPr>
        <p:txBody>
          <a:bodyPr vert="horz" wrap="square" lIns="0" tIns="0" rIns="0" bIns="0" anchor="t" anchorCtr="0">
            <a:noAutofit/>
          </a:bodyPr>
          <a:lstStyle>
            <a:lvl1pPr marL="0" indent="0" algn="l">
              <a:lnSpc>
                <a:spcPct val="100000"/>
              </a:lnSpc>
              <a:spcBef>
                <a:spcPts val="754"/>
              </a:spcBef>
              <a:spcAft>
                <a:spcPts val="0"/>
              </a:spcAft>
              <a:buNone/>
              <a:defRPr sz="2400" b="1" i="0" u="none" kern="1200" spc="126">
                <a:solidFill>
                  <a:schemeClr val="accent2">
                    <a:lumMod val="100000"/>
                  </a:schemeClr>
                </a:solidFill>
                <a:latin typeface="Calibri Light" panose="020F0302020204030204" pitchFamily="34" charset="0"/>
              </a:defRPr>
            </a:lvl1pPr>
            <a:lvl2pPr marL="574700" indent="0" algn="ctr">
              <a:buNone/>
              <a:defRPr>
                <a:solidFill>
                  <a:schemeClr val="tx1">
                    <a:tint val="75000"/>
                  </a:schemeClr>
                </a:solidFill>
              </a:defRPr>
            </a:lvl2pPr>
            <a:lvl3pPr marL="1149401" indent="0" algn="ctr">
              <a:buNone/>
              <a:defRPr>
                <a:solidFill>
                  <a:schemeClr val="tx1">
                    <a:tint val="75000"/>
                  </a:schemeClr>
                </a:solidFill>
              </a:defRPr>
            </a:lvl3pPr>
            <a:lvl4pPr marL="1724101" indent="0" algn="ctr">
              <a:buNone/>
              <a:defRPr>
                <a:solidFill>
                  <a:schemeClr val="tx1">
                    <a:tint val="75000"/>
                  </a:schemeClr>
                </a:solidFill>
              </a:defRPr>
            </a:lvl4pPr>
            <a:lvl5pPr marL="2298802" indent="0" algn="ctr">
              <a:buNone/>
              <a:defRPr>
                <a:solidFill>
                  <a:schemeClr val="tx1">
                    <a:tint val="75000"/>
                  </a:schemeClr>
                </a:solidFill>
              </a:defRPr>
            </a:lvl5pPr>
            <a:lvl6pPr marL="2873502" indent="0" algn="ctr">
              <a:buNone/>
              <a:defRPr>
                <a:solidFill>
                  <a:schemeClr val="tx1">
                    <a:tint val="75000"/>
                  </a:schemeClr>
                </a:solidFill>
              </a:defRPr>
            </a:lvl6pPr>
            <a:lvl7pPr marL="3448202" indent="0" algn="ctr">
              <a:buNone/>
              <a:defRPr>
                <a:solidFill>
                  <a:schemeClr val="tx1">
                    <a:tint val="75000"/>
                  </a:schemeClr>
                </a:solidFill>
              </a:defRPr>
            </a:lvl7pPr>
            <a:lvl8pPr marL="4022903" indent="0" algn="ctr">
              <a:buNone/>
              <a:defRPr>
                <a:solidFill>
                  <a:schemeClr val="tx1">
                    <a:tint val="75000"/>
                  </a:schemeClr>
                </a:solidFill>
              </a:defRPr>
            </a:lvl8pPr>
            <a:lvl9pPr marL="4597603" indent="0" algn="ctr">
              <a:buNone/>
              <a:defRPr>
                <a:solidFill>
                  <a:schemeClr val="tx1">
                    <a:tint val="75000"/>
                  </a:schemeClr>
                </a:solidFill>
              </a:defRPr>
            </a:lvl9pPr>
          </a:lstStyle>
          <a:p>
            <a:pPr lvl="0"/>
            <a:r>
              <a:rPr lang="en-US" dirty="0"/>
              <a:t>Click to add subtitle</a:t>
            </a:r>
            <a:endParaRPr lang="fr-FR" dirty="0"/>
          </a:p>
        </p:txBody>
      </p:sp>
      <p:sp>
        <p:nvSpPr>
          <p:cNvPr id="9" name="Title 1"/>
          <p:cNvSpPr>
            <a:spLocks noGrp="1"/>
          </p:cNvSpPr>
          <p:nvPr>
            <p:ph type="title" hasCustomPrompt="1"/>
          </p:nvPr>
        </p:nvSpPr>
        <p:spPr>
          <a:xfrm>
            <a:off x="874937" y="2257198"/>
            <a:ext cx="11951122" cy="1263600"/>
          </a:xfrm>
          <a:prstGeom prst="rect">
            <a:avLst/>
          </a:prstGeom>
        </p:spPr>
        <p:txBody>
          <a:bodyPr anchor="b">
            <a:normAutofit/>
          </a:bodyPr>
          <a:lstStyle>
            <a:lvl1pPr>
              <a:defRPr sz="3600" b="1" baseline="0">
                <a:solidFill>
                  <a:schemeClr val="tx2"/>
                </a:solidFill>
                <a:latin typeface="+mj-lt"/>
              </a:defRPr>
            </a:lvl1pPr>
          </a:lstStyle>
          <a:p>
            <a:pPr lvl="0"/>
            <a:r>
              <a:rPr lang="en-US" dirty="0"/>
              <a:t>Click to add title</a:t>
            </a:r>
          </a:p>
        </p:txBody>
      </p:sp>
      <p:sp>
        <p:nvSpPr>
          <p:cNvPr id="10" name="object 18">
            <a:extLst>
              <a:ext uri="{FF2B5EF4-FFF2-40B4-BE49-F238E27FC236}">
                <a16:creationId xmlns:a16="http://schemas.microsoft.com/office/drawing/2014/main" id="{303F57C8-658E-4BF6-9E7E-4664CA64754F}"/>
              </a:ext>
            </a:extLst>
          </p:cNvPr>
          <p:cNvSpPr>
            <a:spLocks noChangeAspect="1"/>
          </p:cNvSpPr>
          <p:nvPr userDrawn="1"/>
        </p:nvSpPr>
        <p:spPr>
          <a:xfrm>
            <a:off x="0" y="2"/>
            <a:ext cx="1332000" cy="3528000"/>
          </a:xfrm>
          <a:custGeom>
            <a:avLst/>
            <a:gdLst/>
            <a:ahLst/>
            <a:cxnLst/>
            <a:rect l="l" t="t" r="r" b="b"/>
            <a:pathLst>
              <a:path w="1167130" h="2886075">
                <a:moveTo>
                  <a:pt x="1166888" y="0"/>
                </a:moveTo>
                <a:lnTo>
                  <a:pt x="0" y="0"/>
                </a:lnTo>
                <a:lnTo>
                  <a:pt x="0" y="2885516"/>
                </a:lnTo>
                <a:lnTo>
                  <a:pt x="1066" y="2885516"/>
                </a:lnTo>
                <a:lnTo>
                  <a:pt x="1166888" y="0"/>
                </a:lnTo>
                <a:close/>
              </a:path>
            </a:pathLst>
          </a:custGeom>
          <a:solidFill>
            <a:schemeClr val="tx2"/>
          </a:solidFill>
        </p:spPr>
        <p:txBody>
          <a:bodyPr wrap="square" lIns="0" tIns="0" rIns="0" bIns="0" rtlCol="0"/>
          <a:lstStyle/>
          <a:p>
            <a:endParaRPr spc="100" baseline="0"/>
          </a:p>
        </p:txBody>
      </p:sp>
      <p:pic>
        <p:nvPicPr>
          <p:cNvPr id="11" name="Image 11">
            <a:extLst>
              <a:ext uri="{FF2B5EF4-FFF2-40B4-BE49-F238E27FC236}">
                <a16:creationId xmlns:a16="http://schemas.microsoft.com/office/drawing/2014/main" id="{C849C626-35B1-4806-B223-87E8A56A8C51}"/>
              </a:ext>
            </a:extLst>
          </p:cNvPr>
          <p:cNvPicPr>
            <a:picLocks noChangeAspect="1"/>
          </p:cNvPicPr>
          <p:nvPr userDrawn="1"/>
        </p:nvPicPr>
        <p:blipFill>
          <a:blip r:embed="rId7"/>
          <a:stretch>
            <a:fillRect/>
          </a:stretch>
        </p:blipFill>
        <p:spPr>
          <a:xfrm>
            <a:off x="10498710" y="6265746"/>
            <a:ext cx="2325115" cy="973020"/>
          </a:xfrm>
          <a:prstGeom prst="rect">
            <a:avLst/>
          </a:prstGeom>
        </p:spPr>
      </p:pic>
      <p:sp>
        <p:nvSpPr>
          <p:cNvPr id="12" name="object 18">
            <a:extLst>
              <a:ext uri="{FF2B5EF4-FFF2-40B4-BE49-F238E27FC236}">
                <a16:creationId xmlns:a16="http://schemas.microsoft.com/office/drawing/2014/main" id="{5B0E54B0-EAF5-487E-9252-4D0D096382DB}"/>
              </a:ext>
            </a:extLst>
          </p:cNvPr>
          <p:cNvSpPr>
            <a:spLocks noChangeAspect="1"/>
          </p:cNvSpPr>
          <p:nvPr userDrawn="1"/>
        </p:nvSpPr>
        <p:spPr>
          <a:xfrm>
            <a:off x="9888476" y="6274115"/>
            <a:ext cx="360374" cy="956283"/>
          </a:xfrm>
          <a:custGeom>
            <a:avLst/>
            <a:gdLst/>
            <a:ahLst/>
            <a:cxnLst/>
            <a:rect l="l" t="t" r="r" b="b"/>
            <a:pathLst>
              <a:path w="546734" h="1352550">
                <a:moveTo>
                  <a:pt x="0" y="1352428"/>
                </a:moveTo>
                <a:lnTo>
                  <a:pt x="546414" y="0"/>
                </a:lnTo>
              </a:path>
            </a:pathLst>
          </a:custGeom>
          <a:ln w="12700">
            <a:solidFill>
              <a:schemeClr val="accent2"/>
            </a:solidFill>
          </a:ln>
        </p:spPr>
        <p:txBody>
          <a:bodyPr wrap="square" lIns="0" tIns="0" rIns="0" bIns="0" rtlCol="0"/>
          <a:lstStyle/>
          <a:p>
            <a:pPr marL="0" marR="0" lvl="0" indent="0" algn="l" defTabSz="1045848" rtl="0" eaLnBrk="1" fontAlgn="auto" latinLnBrk="0" hangingPunct="1">
              <a:lnSpc>
                <a:spcPct val="100000"/>
              </a:lnSpc>
              <a:spcBef>
                <a:spcPts val="0"/>
              </a:spcBef>
              <a:spcAft>
                <a:spcPts val="0"/>
              </a:spcAft>
              <a:buClrTx/>
              <a:buSzTx/>
              <a:buFontTx/>
              <a:buNone/>
              <a:tabLst/>
              <a:defRPr/>
            </a:pPr>
            <a:endParaRPr kumimoji="0" sz="2300" b="0" i="0" u="none" strike="noStrike" kern="1200" cap="none" spc="10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2578041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ront cover client logo">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EE0B2A0-794F-45D2-8FA6-099FFE848F3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14" name="Diapositive think-cell" r:id="rId5" imgW="592" imgH="584" progId="TCLayout.ActiveDocument.1">
                  <p:embed/>
                </p:oleObj>
              </mc:Choice>
              <mc:Fallback>
                <p:oleObj name="Diapositive think-cell" r:id="rId5" imgW="592" imgH="584" progId="TCLayout.ActiveDocument.1">
                  <p:embed/>
                  <p:pic>
                    <p:nvPicPr>
                      <p:cNvPr id="3" name="Objet 2" hidden="1">
                        <a:extLst>
                          <a:ext uri="{FF2B5EF4-FFF2-40B4-BE49-F238E27FC236}">
                            <a16:creationId xmlns:a16="http://schemas.microsoft.com/office/drawing/2014/main" id="{8EE0B2A0-794F-45D2-8FA6-099FFE848F3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165C3D2-21AF-48C9-8FA9-330F0E00C7DC}"/>
              </a:ext>
            </a:extLst>
          </p:cNvPr>
          <p:cNvSpPr/>
          <p:nvPr userDrawn="1">
            <p:custDataLst>
              <p:tags r:id="rId3"/>
            </p:custDataLst>
          </p:nvPr>
        </p:nvSpPr>
        <p:spPr>
          <a:xfrm>
            <a:off x="0" y="0"/>
            <a:ext cx="158750" cy="158750"/>
          </a:xfrm>
          <a:prstGeom prst="rect">
            <a:avLst/>
          </a:prstGeom>
          <a:solidFill>
            <a:schemeClr val="tx2"/>
          </a:solidFill>
        </p:spPr>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600" b="1" i="0" baseline="0" dirty="0" err="1">
              <a:solidFill>
                <a:schemeClr val="bg1"/>
              </a:solidFill>
              <a:latin typeface="Calibri Light" panose="020F0302020204030204" pitchFamily="34" charset="0"/>
              <a:ea typeface="+mj-ea"/>
              <a:cs typeface="Arial" panose="020B0604020202020204" pitchFamily="34" charset="0"/>
              <a:sym typeface="Calibri Light" panose="020F0302020204030204" pitchFamily="34" charset="0"/>
            </a:endParaRPr>
          </a:p>
        </p:txBody>
      </p:sp>
      <p:sp>
        <p:nvSpPr>
          <p:cNvPr id="10" name="Picture Placeholder 9"/>
          <p:cNvSpPr>
            <a:spLocks noGrp="1"/>
          </p:cNvSpPr>
          <p:nvPr>
            <p:ph type="pic" sz="quarter" idx="11" hasCustomPrompt="1"/>
          </p:nvPr>
        </p:nvSpPr>
        <p:spPr>
          <a:xfrm>
            <a:off x="5995044" y="6218693"/>
            <a:ext cx="3643572" cy="1067126"/>
          </a:xfrm>
          <a:prstGeom prst="rect">
            <a:avLst/>
          </a:prstGeom>
        </p:spPr>
        <p:txBody>
          <a:bodyPr anchor="ctr"/>
          <a:lstStyle>
            <a:lvl1pPr marL="135756" indent="0" algn="ctr">
              <a:buNone/>
              <a:defRPr spc="126" baseline="0"/>
            </a:lvl1pPr>
          </a:lstStyle>
          <a:p>
            <a:r>
              <a:rPr lang="fr-FR" dirty="0" err="1"/>
              <a:t>Add</a:t>
            </a:r>
            <a:r>
              <a:rPr lang="fr-FR" dirty="0"/>
              <a:t> logo</a:t>
            </a:r>
          </a:p>
        </p:txBody>
      </p:sp>
      <p:sp>
        <p:nvSpPr>
          <p:cNvPr id="16" name="Text Placeholder 11"/>
          <p:cNvSpPr>
            <a:spLocks noGrp="1"/>
          </p:cNvSpPr>
          <p:nvPr>
            <p:ph type="body" sz="quarter" idx="12" hasCustomPrompt="1"/>
          </p:nvPr>
        </p:nvSpPr>
        <p:spPr>
          <a:xfrm>
            <a:off x="878932" y="4699165"/>
            <a:ext cx="11948796" cy="457680"/>
          </a:xfrm>
          <a:prstGeom prst="rect">
            <a:avLst/>
          </a:prstGeom>
        </p:spPr>
        <p:txBody>
          <a:bodyPr>
            <a:normAutofit/>
          </a:bodyPr>
          <a:lstStyle>
            <a:lvl1pPr marL="0" indent="0">
              <a:buNone/>
              <a:defRPr sz="2000" b="0" cap="none" spc="126" baseline="0">
                <a:solidFill>
                  <a:schemeClr val="tx2"/>
                </a:solidFill>
                <a:latin typeface="+mj-lt"/>
              </a:defRPr>
            </a:lvl1pPr>
          </a:lstStyle>
          <a:p>
            <a:r>
              <a:rPr lang="en-US" dirty="0"/>
              <a:t>NAME OF CITY  -  DATE OF DOCUMENT</a:t>
            </a:r>
            <a:endParaRPr lang="fr-FR" dirty="0"/>
          </a:p>
        </p:txBody>
      </p:sp>
      <p:sp>
        <p:nvSpPr>
          <p:cNvPr id="11" name="Title 1"/>
          <p:cNvSpPr>
            <a:spLocks noGrp="1"/>
          </p:cNvSpPr>
          <p:nvPr>
            <p:ph type="title" hasCustomPrompt="1"/>
          </p:nvPr>
        </p:nvSpPr>
        <p:spPr>
          <a:xfrm>
            <a:off x="874937" y="2257198"/>
            <a:ext cx="11951122" cy="1263600"/>
          </a:xfrm>
          <a:prstGeom prst="rect">
            <a:avLst/>
          </a:prstGeom>
        </p:spPr>
        <p:txBody>
          <a:bodyPr anchor="b">
            <a:normAutofit/>
          </a:bodyPr>
          <a:lstStyle>
            <a:lvl1pPr>
              <a:defRPr sz="3600" b="1" baseline="0">
                <a:solidFill>
                  <a:schemeClr val="tx2"/>
                </a:solidFill>
                <a:latin typeface="+mj-lt"/>
              </a:defRPr>
            </a:lvl1pPr>
          </a:lstStyle>
          <a:p>
            <a:pPr lvl="0"/>
            <a:r>
              <a:rPr lang="en-US" dirty="0"/>
              <a:t>Click to add title</a:t>
            </a:r>
          </a:p>
        </p:txBody>
      </p:sp>
      <p:sp>
        <p:nvSpPr>
          <p:cNvPr id="9" name="Subtitle"/>
          <p:cNvSpPr>
            <a:spLocks noGrp="1"/>
          </p:cNvSpPr>
          <p:nvPr>
            <p:ph type="subTitle" idx="1" hasCustomPrompt="1"/>
          </p:nvPr>
        </p:nvSpPr>
        <p:spPr>
          <a:xfrm>
            <a:off x="878933" y="3784599"/>
            <a:ext cx="11948798" cy="369332"/>
          </a:xfrm>
          <a:prstGeom prst="rect">
            <a:avLst/>
          </a:prstGeom>
        </p:spPr>
        <p:txBody>
          <a:bodyPr vert="horz" wrap="square" lIns="0" tIns="0" rIns="0" bIns="0" anchor="t" anchorCtr="0">
            <a:noAutofit/>
          </a:bodyPr>
          <a:lstStyle>
            <a:lvl1pPr marL="0" indent="0" algn="l">
              <a:lnSpc>
                <a:spcPct val="100000"/>
              </a:lnSpc>
              <a:spcBef>
                <a:spcPts val="754"/>
              </a:spcBef>
              <a:spcAft>
                <a:spcPts val="0"/>
              </a:spcAft>
              <a:buNone/>
              <a:defRPr sz="2400" b="1" i="0" u="none" kern="1200" spc="126">
                <a:solidFill>
                  <a:schemeClr val="accent2">
                    <a:lumMod val="100000"/>
                  </a:schemeClr>
                </a:solidFill>
                <a:latin typeface="Calibri Light" panose="020F0302020204030204" pitchFamily="34" charset="0"/>
              </a:defRPr>
            </a:lvl1pPr>
            <a:lvl2pPr marL="574700" indent="0" algn="ctr">
              <a:buNone/>
              <a:defRPr>
                <a:solidFill>
                  <a:schemeClr val="tx1">
                    <a:tint val="75000"/>
                  </a:schemeClr>
                </a:solidFill>
              </a:defRPr>
            </a:lvl2pPr>
            <a:lvl3pPr marL="1149401" indent="0" algn="ctr">
              <a:buNone/>
              <a:defRPr>
                <a:solidFill>
                  <a:schemeClr val="tx1">
                    <a:tint val="75000"/>
                  </a:schemeClr>
                </a:solidFill>
              </a:defRPr>
            </a:lvl3pPr>
            <a:lvl4pPr marL="1724101" indent="0" algn="ctr">
              <a:buNone/>
              <a:defRPr>
                <a:solidFill>
                  <a:schemeClr val="tx1">
                    <a:tint val="75000"/>
                  </a:schemeClr>
                </a:solidFill>
              </a:defRPr>
            </a:lvl4pPr>
            <a:lvl5pPr marL="2298802" indent="0" algn="ctr">
              <a:buNone/>
              <a:defRPr>
                <a:solidFill>
                  <a:schemeClr val="tx1">
                    <a:tint val="75000"/>
                  </a:schemeClr>
                </a:solidFill>
              </a:defRPr>
            </a:lvl5pPr>
            <a:lvl6pPr marL="2873502" indent="0" algn="ctr">
              <a:buNone/>
              <a:defRPr>
                <a:solidFill>
                  <a:schemeClr val="tx1">
                    <a:tint val="75000"/>
                  </a:schemeClr>
                </a:solidFill>
              </a:defRPr>
            </a:lvl6pPr>
            <a:lvl7pPr marL="3448202" indent="0" algn="ctr">
              <a:buNone/>
              <a:defRPr>
                <a:solidFill>
                  <a:schemeClr val="tx1">
                    <a:tint val="75000"/>
                  </a:schemeClr>
                </a:solidFill>
              </a:defRPr>
            </a:lvl7pPr>
            <a:lvl8pPr marL="4022903" indent="0" algn="ctr">
              <a:buNone/>
              <a:defRPr>
                <a:solidFill>
                  <a:schemeClr val="tx1">
                    <a:tint val="75000"/>
                  </a:schemeClr>
                </a:solidFill>
              </a:defRPr>
            </a:lvl8pPr>
            <a:lvl9pPr marL="4597603" indent="0" algn="ctr">
              <a:buNone/>
              <a:defRPr>
                <a:solidFill>
                  <a:schemeClr val="tx1">
                    <a:tint val="75000"/>
                  </a:schemeClr>
                </a:solidFill>
              </a:defRPr>
            </a:lvl9pPr>
          </a:lstStyle>
          <a:p>
            <a:pPr lvl="0"/>
            <a:r>
              <a:rPr lang="en-US" dirty="0"/>
              <a:t>Click to add subtitle</a:t>
            </a:r>
            <a:endParaRPr lang="fr-FR" dirty="0"/>
          </a:p>
        </p:txBody>
      </p:sp>
      <p:pic>
        <p:nvPicPr>
          <p:cNvPr id="13" name="Image 11">
            <a:extLst>
              <a:ext uri="{FF2B5EF4-FFF2-40B4-BE49-F238E27FC236}">
                <a16:creationId xmlns:a16="http://schemas.microsoft.com/office/drawing/2014/main" id="{A8E12E29-C1BE-490F-9A0D-8E5B991E32B3}"/>
              </a:ext>
            </a:extLst>
          </p:cNvPr>
          <p:cNvPicPr>
            <a:picLocks noChangeAspect="1"/>
          </p:cNvPicPr>
          <p:nvPr userDrawn="1"/>
        </p:nvPicPr>
        <p:blipFill>
          <a:blip r:embed="rId7"/>
          <a:stretch>
            <a:fillRect/>
          </a:stretch>
        </p:blipFill>
        <p:spPr>
          <a:xfrm>
            <a:off x="10498710" y="6265746"/>
            <a:ext cx="2325115" cy="973020"/>
          </a:xfrm>
          <a:prstGeom prst="rect">
            <a:avLst/>
          </a:prstGeom>
        </p:spPr>
      </p:pic>
      <p:sp>
        <p:nvSpPr>
          <p:cNvPr id="14" name="object 18">
            <a:extLst>
              <a:ext uri="{FF2B5EF4-FFF2-40B4-BE49-F238E27FC236}">
                <a16:creationId xmlns:a16="http://schemas.microsoft.com/office/drawing/2014/main" id="{73C00858-943C-4DF6-9CEC-2FBB0E6E72C6}"/>
              </a:ext>
            </a:extLst>
          </p:cNvPr>
          <p:cNvSpPr>
            <a:spLocks noChangeAspect="1"/>
          </p:cNvSpPr>
          <p:nvPr userDrawn="1"/>
        </p:nvSpPr>
        <p:spPr>
          <a:xfrm>
            <a:off x="9888476" y="6274115"/>
            <a:ext cx="360374" cy="956283"/>
          </a:xfrm>
          <a:custGeom>
            <a:avLst/>
            <a:gdLst/>
            <a:ahLst/>
            <a:cxnLst/>
            <a:rect l="l" t="t" r="r" b="b"/>
            <a:pathLst>
              <a:path w="546734" h="1352550">
                <a:moveTo>
                  <a:pt x="0" y="1352428"/>
                </a:moveTo>
                <a:lnTo>
                  <a:pt x="546414" y="0"/>
                </a:lnTo>
              </a:path>
            </a:pathLst>
          </a:custGeom>
          <a:ln w="12700">
            <a:solidFill>
              <a:schemeClr val="accent2"/>
            </a:solidFill>
          </a:ln>
        </p:spPr>
        <p:txBody>
          <a:bodyPr wrap="square" lIns="0" tIns="0" rIns="0" bIns="0" rtlCol="0"/>
          <a:lstStyle/>
          <a:p>
            <a:pPr marL="0" marR="0" lvl="0" indent="0" algn="l" defTabSz="1045848" rtl="0" eaLnBrk="1" fontAlgn="auto" latinLnBrk="0" hangingPunct="1">
              <a:lnSpc>
                <a:spcPct val="100000"/>
              </a:lnSpc>
              <a:spcBef>
                <a:spcPts val="0"/>
              </a:spcBef>
              <a:spcAft>
                <a:spcPts val="0"/>
              </a:spcAft>
              <a:buClrTx/>
              <a:buSzTx/>
              <a:buFontTx/>
              <a:buNone/>
              <a:tabLst/>
              <a:defRPr/>
            </a:pPr>
            <a:endParaRPr kumimoji="0" sz="2300" b="0" i="0" u="none" strike="noStrike" kern="1200" cap="none" spc="100" normalizeH="0" baseline="0" noProof="0">
              <a:ln>
                <a:noFill/>
              </a:ln>
              <a:solidFill>
                <a:srgbClr val="000000"/>
              </a:solidFill>
              <a:effectLst/>
              <a:uLnTx/>
              <a:uFillTx/>
              <a:latin typeface="Arial"/>
              <a:ea typeface="+mn-ea"/>
              <a:cs typeface="+mn-cs"/>
            </a:endParaRPr>
          </a:p>
        </p:txBody>
      </p:sp>
      <p:sp>
        <p:nvSpPr>
          <p:cNvPr id="20" name="object 18">
            <a:extLst>
              <a:ext uri="{FF2B5EF4-FFF2-40B4-BE49-F238E27FC236}">
                <a16:creationId xmlns:a16="http://schemas.microsoft.com/office/drawing/2014/main" id="{0293DA46-07AC-4AEF-931E-98A1DCD8D60A}"/>
              </a:ext>
            </a:extLst>
          </p:cNvPr>
          <p:cNvSpPr>
            <a:spLocks noChangeAspect="1"/>
          </p:cNvSpPr>
          <p:nvPr userDrawn="1"/>
        </p:nvSpPr>
        <p:spPr>
          <a:xfrm>
            <a:off x="0" y="2"/>
            <a:ext cx="1332000" cy="3528000"/>
          </a:xfrm>
          <a:custGeom>
            <a:avLst/>
            <a:gdLst/>
            <a:ahLst/>
            <a:cxnLst/>
            <a:rect l="l" t="t" r="r" b="b"/>
            <a:pathLst>
              <a:path w="1167130" h="2886075">
                <a:moveTo>
                  <a:pt x="1166888" y="0"/>
                </a:moveTo>
                <a:lnTo>
                  <a:pt x="0" y="0"/>
                </a:lnTo>
                <a:lnTo>
                  <a:pt x="0" y="2885516"/>
                </a:lnTo>
                <a:lnTo>
                  <a:pt x="1066" y="2885516"/>
                </a:lnTo>
                <a:lnTo>
                  <a:pt x="1166888" y="0"/>
                </a:lnTo>
                <a:close/>
              </a:path>
            </a:pathLst>
          </a:custGeom>
          <a:solidFill>
            <a:schemeClr val="tx2"/>
          </a:solidFill>
        </p:spPr>
        <p:txBody>
          <a:bodyPr wrap="square" lIns="0" tIns="0" rIns="0" bIns="0" rtlCol="0"/>
          <a:lstStyle/>
          <a:p>
            <a:endParaRPr spc="100" baseline="0" dirty="0"/>
          </a:p>
        </p:txBody>
      </p:sp>
    </p:spTree>
    <p:extLst>
      <p:ext uri="{BB962C8B-B14F-4D97-AF65-F5344CB8AC3E}">
        <p14:creationId xmlns:p14="http://schemas.microsoft.com/office/powerpoint/2010/main" val="41437733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ront cover with pictur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687CE0A6-61BA-4D73-8FD3-1869951AF58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38" name="Diapositive think-cell" r:id="rId5" imgW="592" imgH="584" progId="TCLayout.ActiveDocument.1">
                  <p:embed/>
                </p:oleObj>
              </mc:Choice>
              <mc:Fallback>
                <p:oleObj name="Diapositive think-cell" r:id="rId5" imgW="592" imgH="584" progId="TCLayout.ActiveDocument.1">
                  <p:embed/>
                  <p:pic>
                    <p:nvPicPr>
                      <p:cNvPr id="3" name="Objet 2" hidden="1">
                        <a:extLst>
                          <a:ext uri="{FF2B5EF4-FFF2-40B4-BE49-F238E27FC236}">
                            <a16:creationId xmlns:a16="http://schemas.microsoft.com/office/drawing/2014/main" id="{687CE0A6-61BA-4D73-8FD3-1869951AF5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072AFCB-68E8-4049-8457-CAF856139051}"/>
              </a:ext>
            </a:extLst>
          </p:cNvPr>
          <p:cNvSpPr/>
          <p:nvPr userDrawn="1">
            <p:custDataLst>
              <p:tags r:id="rId3"/>
            </p:custDataLst>
          </p:nvPr>
        </p:nvSpPr>
        <p:spPr>
          <a:xfrm>
            <a:off x="0" y="0"/>
            <a:ext cx="158750" cy="158750"/>
          </a:xfrm>
          <a:prstGeom prst="rect">
            <a:avLst/>
          </a:prstGeom>
          <a:solidFill>
            <a:schemeClr val="tx2"/>
          </a:solidFill>
        </p:spPr>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600" b="1" i="0" baseline="0" dirty="0" err="1">
              <a:solidFill>
                <a:schemeClr val="bg1"/>
              </a:solidFill>
              <a:latin typeface="Calibri Light" panose="020F0302020204030204" pitchFamily="34" charset="0"/>
              <a:ea typeface="+mj-ea"/>
              <a:cs typeface="Arial" panose="020B0604020202020204" pitchFamily="34" charset="0"/>
              <a:sym typeface="Calibri Light" panose="020F0302020204030204" pitchFamily="34" charset="0"/>
            </a:endParaRPr>
          </a:p>
        </p:txBody>
      </p:sp>
      <p:sp>
        <p:nvSpPr>
          <p:cNvPr id="12" name="Text Placeholder 11"/>
          <p:cNvSpPr>
            <a:spLocks noGrp="1"/>
          </p:cNvSpPr>
          <p:nvPr>
            <p:ph type="body" sz="quarter" idx="12" hasCustomPrompt="1"/>
          </p:nvPr>
        </p:nvSpPr>
        <p:spPr>
          <a:xfrm>
            <a:off x="5293360" y="4699165"/>
            <a:ext cx="7532699" cy="457680"/>
          </a:xfrm>
          <a:prstGeom prst="rect">
            <a:avLst/>
          </a:prstGeom>
        </p:spPr>
        <p:txBody>
          <a:bodyPr>
            <a:normAutofit/>
          </a:bodyPr>
          <a:lstStyle>
            <a:lvl1pPr marL="0" indent="0">
              <a:buNone/>
              <a:defRPr sz="2000" b="0" cap="none" baseline="0">
                <a:solidFill>
                  <a:schemeClr val="tx2"/>
                </a:solidFill>
                <a:latin typeface="+mj-lt"/>
              </a:defRPr>
            </a:lvl1pPr>
          </a:lstStyle>
          <a:p>
            <a:r>
              <a:rPr lang="en-US" dirty="0"/>
              <a:t>NAME OF CITY  -  DATE OF DOCUMENT</a:t>
            </a:r>
            <a:endParaRPr lang="fr-FR" dirty="0"/>
          </a:p>
        </p:txBody>
      </p:sp>
      <p:sp>
        <p:nvSpPr>
          <p:cNvPr id="8" name="Subtitle"/>
          <p:cNvSpPr>
            <a:spLocks noGrp="1"/>
          </p:cNvSpPr>
          <p:nvPr>
            <p:ph type="subTitle" idx="1" hasCustomPrompt="1"/>
          </p:nvPr>
        </p:nvSpPr>
        <p:spPr>
          <a:xfrm>
            <a:off x="5293360" y="3784599"/>
            <a:ext cx="7532699" cy="369332"/>
          </a:xfrm>
          <a:prstGeom prst="rect">
            <a:avLst/>
          </a:prstGeom>
        </p:spPr>
        <p:txBody>
          <a:bodyPr vert="horz" wrap="square" lIns="0" tIns="0" rIns="0" bIns="0" anchor="t" anchorCtr="0">
            <a:noAutofit/>
          </a:bodyPr>
          <a:lstStyle>
            <a:lvl1pPr marL="0" indent="0" algn="l">
              <a:lnSpc>
                <a:spcPct val="100000"/>
              </a:lnSpc>
              <a:spcBef>
                <a:spcPts val="754"/>
              </a:spcBef>
              <a:spcAft>
                <a:spcPts val="0"/>
              </a:spcAft>
              <a:buNone/>
              <a:defRPr sz="2400" b="1" i="0" u="none" kern="1200" spc="126">
                <a:solidFill>
                  <a:schemeClr val="accent2">
                    <a:lumMod val="100000"/>
                  </a:schemeClr>
                </a:solidFill>
                <a:latin typeface="Calibri Light" panose="020F0302020204030204" pitchFamily="34" charset="0"/>
              </a:defRPr>
            </a:lvl1pPr>
            <a:lvl2pPr marL="574700" indent="0" algn="ctr">
              <a:buNone/>
              <a:defRPr>
                <a:solidFill>
                  <a:schemeClr val="tx1">
                    <a:tint val="75000"/>
                  </a:schemeClr>
                </a:solidFill>
              </a:defRPr>
            </a:lvl2pPr>
            <a:lvl3pPr marL="1149401" indent="0" algn="ctr">
              <a:buNone/>
              <a:defRPr>
                <a:solidFill>
                  <a:schemeClr val="tx1">
                    <a:tint val="75000"/>
                  </a:schemeClr>
                </a:solidFill>
              </a:defRPr>
            </a:lvl3pPr>
            <a:lvl4pPr marL="1724101" indent="0" algn="ctr">
              <a:buNone/>
              <a:defRPr>
                <a:solidFill>
                  <a:schemeClr val="tx1">
                    <a:tint val="75000"/>
                  </a:schemeClr>
                </a:solidFill>
              </a:defRPr>
            </a:lvl4pPr>
            <a:lvl5pPr marL="2298802" indent="0" algn="ctr">
              <a:buNone/>
              <a:defRPr>
                <a:solidFill>
                  <a:schemeClr val="tx1">
                    <a:tint val="75000"/>
                  </a:schemeClr>
                </a:solidFill>
              </a:defRPr>
            </a:lvl5pPr>
            <a:lvl6pPr marL="2873502" indent="0" algn="ctr">
              <a:buNone/>
              <a:defRPr>
                <a:solidFill>
                  <a:schemeClr val="tx1">
                    <a:tint val="75000"/>
                  </a:schemeClr>
                </a:solidFill>
              </a:defRPr>
            </a:lvl6pPr>
            <a:lvl7pPr marL="3448202" indent="0" algn="ctr">
              <a:buNone/>
              <a:defRPr>
                <a:solidFill>
                  <a:schemeClr val="tx1">
                    <a:tint val="75000"/>
                  </a:schemeClr>
                </a:solidFill>
              </a:defRPr>
            </a:lvl7pPr>
            <a:lvl8pPr marL="4022903" indent="0" algn="ctr">
              <a:buNone/>
              <a:defRPr>
                <a:solidFill>
                  <a:schemeClr val="tx1">
                    <a:tint val="75000"/>
                  </a:schemeClr>
                </a:solidFill>
              </a:defRPr>
            </a:lvl8pPr>
            <a:lvl9pPr marL="4597603" indent="0" algn="ctr">
              <a:buNone/>
              <a:defRPr>
                <a:solidFill>
                  <a:schemeClr val="tx1">
                    <a:tint val="75000"/>
                  </a:schemeClr>
                </a:solidFill>
              </a:defRPr>
            </a:lvl9pPr>
          </a:lstStyle>
          <a:p>
            <a:pPr lvl="0"/>
            <a:r>
              <a:rPr lang="en-US" dirty="0"/>
              <a:t>Click to add subtitle</a:t>
            </a:r>
            <a:endParaRPr lang="fr-FR" dirty="0"/>
          </a:p>
        </p:txBody>
      </p:sp>
      <p:sp>
        <p:nvSpPr>
          <p:cNvPr id="11" name="Picture Placeholder 3"/>
          <p:cNvSpPr>
            <a:spLocks noGrp="1"/>
          </p:cNvSpPr>
          <p:nvPr>
            <p:ph type="pic" sz="quarter" idx="19" hasCustomPrompt="1"/>
          </p:nvPr>
        </p:nvSpPr>
        <p:spPr>
          <a:xfrm>
            <a:off x="-11211" y="-7230"/>
            <a:ext cx="4968000" cy="7560000"/>
          </a:xfrm>
          <a:custGeom>
            <a:avLst/>
            <a:gdLst>
              <a:gd name="connsiteX0" fmla="*/ 0 w 6324600"/>
              <a:gd name="connsiteY0" fmla="*/ 5589064 h 5589064"/>
              <a:gd name="connsiteX1" fmla="*/ 2236967 w 6324600"/>
              <a:gd name="connsiteY1" fmla="*/ 0 h 5589064"/>
              <a:gd name="connsiteX2" fmla="*/ 6324600 w 6324600"/>
              <a:gd name="connsiteY2" fmla="*/ 0 h 5589064"/>
              <a:gd name="connsiteX3" fmla="*/ 4087633 w 6324600"/>
              <a:gd name="connsiteY3" fmla="*/ 5589064 h 5589064"/>
              <a:gd name="connsiteX4" fmla="*/ 0 w 6324600"/>
              <a:gd name="connsiteY4" fmla="*/ 5589064 h 5589064"/>
              <a:gd name="connsiteX0" fmla="*/ 0 w 6384618"/>
              <a:gd name="connsiteY0" fmla="*/ 5592595 h 5592595"/>
              <a:gd name="connsiteX1" fmla="*/ 2236967 w 6384618"/>
              <a:gd name="connsiteY1" fmla="*/ 3531 h 5592595"/>
              <a:gd name="connsiteX2" fmla="*/ 6384618 w 6384618"/>
              <a:gd name="connsiteY2" fmla="*/ 0 h 5592595"/>
              <a:gd name="connsiteX3" fmla="*/ 4087633 w 6384618"/>
              <a:gd name="connsiteY3" fmla="*/ 5592595 h 5592595"/>
              <a:gd name="connsiteX4" fmla="*/ 0 w 6384618"/>
              <a:gd name="connsiteY4" fmla="*/ 5592595 h 5592595"/>
              <a:gd name="connsiteX0" fmla="*/ 0 w 6384618"/>
              <a:gd name="connsiteY0" fmla="*/ 5592595 h 5599656"/>
              <a:gd name="connsiteX1" fmla="*/ 2236967 w 6384618"/>
              <a:gd name="connsiteY1" fmla="*/ 3531 h 5599656"/>
              <a:gd name="connsiteX2" fmla="*/ 6384618 w 6384618"/>
              <a:gd name="connsiteY2" fmla="*/ 0 h 5599656"/>
              <a:gd name="connsiteX3" fmla="*/ 4129999 w 6384618"/>
              <a:gd name="connsiteY3" fmla="*/ 5599656 h 5599656"/>
              <a:gd name="connsiteX4" fmla="*/ 0 w 6384618"/>
              <a:gd name="connsiteY4" fmla="*/ 5592595 h 5599656"/>
              <a:gd name="connsiteX0" fmla="*/ 41413 w 4147651"/>
              <a:gd name="connsiteY0" fmla="*/ 5604025 h 5604025"/>
              <a:gd name="connsiteX1" fmla="*/ 0 w 4147651"/>
              <a:gd name="connsiteY1" fmla="*/ 3531 h 5604025"/>
              <a:gd name="connsiteX2" fmla="*/ 4147651 w 4147651"/>
              <a:gd name="connsiteY2" fmla="*/ 0 h 5604025"/>
              <a:gd name="connsiteX3" fmla="*/ 1893032 w 4147651"/>
              <a:gd name="connsiteY3" fmla="*/ 5599656 h 5604025"/>
              <a:gd name="connsiteX4" fmla="*/ 41413 w 4147651"/>
              <a:gd name="connsiteY4" fmla="*/ 5604025 h 5604025"/>
              <a:gd name="connsiteX0" fmla="*/ 0 w 4106238"/>
              <a:gd name="connsiteY0" fmla="*/ 5604304 h 5604304"/>
              <a:gd name="connsiteX1" fmla="*/ 497 w 4106238"/>
              <a:gd name="connsiteY1" fmla="*/ 0 h 5604304"/>
              <a:gd name="connsiteX2" fmla="*/ 4106238 w 4106238"/>
              <a:gd name="connsiteY2" fmla="*/ 279 h 5604304"/>
              <a:gd name="connsiteX3" fmla="*/ 1851619 w 4106238"/>
              <a:gd name="connsiteY3" fmla="*/ 5599935 h 5604304"/>
              <a:gd name="connsiteX4" fmla="*/ 0 w 4106238"/>
              <a:gd name="connsiteY4" fmla="*/ 5604304 h 5604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6238" h="5604304">
                <a:moveTo>
                  <a:pt x="0" y="5604304"/>
                </a:moveTo>
                <a:cubicBezTo>
                  <a:pt x="166" y="3736203"/>
                  <a:pt x="331" y="1868101"/>
                  <a:pt x="497" y="0"/>
                </a:cubicBezTo>
                <a:lnTo>
                  <a:pt x="4106238" y="279"/>
                </a:lnTo>
                <a:lnTo>
                  <a:pt x="1851619" y="5599935"/>
                </a:lnTo>
                <a:lnTo>
                  <a:pt x="0" y="5604304"/>
                </a:lnTo>
                <a:close/>
              </a:path>
            </a:pathLst>
          </a:custGeom>
          <a:ln>
            <a:noFill/>
          </a:ln>
        </p:spPr>
        <p:txBody>
          <a:bodyPr anchor="ctr"/>
          <a:lstStyle>
            <a:lvl1pPr marL="290827" indent="0" algn="l">
              <a:buNone/>
              <a:defRPr baseline="0"/>
            </a:lvl1pPr>
          </a:lstStyle>
          <a:p>
            <a:r>
              <a:rPr lang="fr-FR" dirty="0" err="1"/>
              <a:t>Add</a:t>
            </a:r>
            <a:r>
              <a:rPr lang="fr-FR" dirty="0"/>
              <a:t> Picture</a:t>
            </a:r>
          </a:p>
        </p:txBody>
      </p:sp>
      <p:sp>
        <p:nvSpPr>
          <p:cNvPr id="14" name="Title 1"/>
          <p:cNvSpPr>
            <a:spLocks noGrp="1"/>
          </p:cNvSpPr>
          <p:nvPr>
            <p:ph type="title" hasCustomPrompt="1"/>
          </p:nvPr>
        </p:nvSpPr>
        <p:spPr>
          <a:xfrm>
            <a:off x="5291065" y="2257198"/>
            <a:ext cx="7534994" cy="1263600"/>
          </a:xfrm>
          <a:prstGeom prst="rect">
            <a:avLst/>
          </a:prstGeom>
        </p:spPr>
        <p:txBody>
          <a:bodyPr anchor="b">
            <a:normAutofit/>
          </a:bodyPr>
          <a:lstStyle>
            <a:lvl1pPr>
              <a:defRPr sz="3600" b="1" baseline="0">
                <a:solidFill>
                  <a:schemeClr val="tx2"/>
                </a:solidFill>
                <a:latin typeface="+mj-lt"/>
              </a:defRPr>
            </a:lvl1pPr>
          </a:lstStyle>
          <a:p>
            <a:pPr lvl="0"/>
            <a:r>
              <a:rPr lang="en-US" dirty="0"/>
              <a:t>Click to add title</a:t>
            </a:r>
          </a:p>
        </p:txBody>
      </p:sp>
      <p:pic>
        <p:nvPicPr>
          <p:cNvPr id="13" name="Image 11">
            <a:extLst>
              <a:ext uri="{FF2B5EF4-FFF2-40B4-BE49-F238E27FC236}">
                <a16:creationId xmlns:a16="http://schemas.microsoft.com/office/drawing/2014/main" id="{A2D7D42D-2FA2-4A50-A9BD-37FFBE340F52}"/>
              </a:ext>
            </a:extLst>
          </p:cNvPr>
          <p:cNvPicPr>
            <a:picLocks noChangeAspect="1"/>
          </p:cNvPicPr>
          <p:nvPr userDrawn="1"/>
        </p:nvPicPr>
        <p:blipFill>
          <a:blip r:embed="rId7"/>
          <a:stretch>
            <a:fillRect/>
          </a:stretch>
        </p:blipFill>
        <p:spPr>
          <a:xfrm>
            <a:off x="10498710" y="6265746"/>
            <a:ext cx="2325115" cy="973020"/>
          </a:xfrm>
          <a:prstGeom prst="rect">
            <a:avLst/>
          </a:prstGeom>
        </p:spPr>
      </p:pic>
      <p:sp>
        <p:nvSpPr>
          <p:cNvPr id="15" name="object 18">
            <a:extLst>
              <a:ext uri="{FF2B5EF4-FFF2-40B4-BE49-F238E27FC236}">
                <a16:creationId xmlns:a16="http://schemas.microsoft.com/office/drawing/2014/main" id="{809DBEED-DC42-43D7-9938-E3EDFC983F7A}"/>
              </a:ext>
            </a:extLst>
          </p:cNvPr>
          <p:cNvSpPr>
            <a:spLocks noChangeAspect="1"/>
          </p:cNvSpPr>
          <p:nvPr userDrawn="1"/>
        </p:nvSpPr>
        <p:spPr>
          <a:xfrm>
            <a:off x="9888476" y="6274115"/>
            <a:ext cx="360374" cy="956283"/>
          </a:xfrm>
          <a:custGeom>
            <a:avLst/>
            <a:gdLst/>
            <a:ahLst/>
            <a:cxnLst/>
            <a:rect l="l" t="t" r="r" b="b"/>
            <a:pathLst>
              <a:path w="546734" h="1352550">
                <a:moveTo>
                  <a:pt x="0" y="1352428"/>
                </a:moveTo>
                <a:lnTo>
                  <a:pt x="546414" y="0"/>
                </a:lnTo>
              </a:path>
            </a:pathLst>
          </a:custGeom>
          <a:ln w="12700">
            <a:solidFill>
              <a:schemeClr val="accent2"/>
            </a:solidFill>
          </a:ln>
        </p:spPr>
        <p:txBody>
          <a:bodyPr wrap="square" lIns="0" tIns="0" rIns="0" bIns="0" rtlCol="0"/>
          <a:lstStyle/>
          <a:p>
            <a:pPr marL="0" marR="0" lvl="0" indent="0" algn="l" defTabSz="1045848" rtl="0" eaLnBrk="1" fontAlgn="auto" latinLnBrk="0" hangingPunct="1">
              <a:lnSpc>
                <a:spcPct val="100000"/>
              </a:lnSpc>
              <a:spcBef>
                <a:spcPts val="0"/>
              </a:spcBef>
              <a:spcAft>
                <a:spcPts val="0"/>
              </a:spcAft>
              <a:buClrTx/>
              <a:buSzTx/>
              <a:buFontTx/>
              <a:buNone/>
              <a:tabLst/>
              <a:defRPr/>
            </a:pPr>
            <a:endParaRPr kumimoji="0" sz="2300" b="0" i="0" u="none" strike="noStrike" kern="1200" cap="none" spc="10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6456054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Front cover with picture client logo">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D6D56C8-FCDC-4BC3-8F10-9B0727EB010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62" name="Diapositive think-cell" r:id="rId5" imgW="592" imgH="584" progId="TCLayout.ActiveDocument.1">
                  <p:embed/>
                </p:oleObj>
              </mc:Choice>
              <mc:Fallback>
                <p:oleObj name="Diapositive think-cell" r:id="rId5" imgW="592" imgH="584" progId="TCLayout.ActiveDocument.1">
                  <p:embed/>
                  <p:pic>
                    <p:nvPicPr>
                      <p:cNvPr id="3" name="Objet 2" hidden="1">
                        <a:extLst>
                          <a:ext uri="{FF2B5EF4-FFF2-40B4-BE49-F238E27FC236}">
                            <a16:creationId xmlns:a16="http://schemas.microsoft.com/office/drawing/2014/main" id="{8D6D56C8-FCDC-4BC3-8F10-9B0727EB01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C331535-53C2-4261-B338-E9BC1AFBAA07}"/>
              </a:ext>
            </a:extLst>
          </p:cNvPr>
          <p:cNvSpPr/>
          <p:nvPr userDrawn="1">
            <p:custDataLst>
              <p:tags r:id="rId3"/>
            </p:custDataLst>
          </p:nvPr>
        </p:nvSpPr>
        <p:spPr>
          <a:xfrm>
            <a:off x="0" y="0"/>
            <a:ext cx="158750" cy="158750"/>
          </a:xfrm>
          <a:prstGeom prst="rect">
            <a:avLst/>
          </a:prstGeom>
          <a:solidFill>
            <a:schemeClr val="tx2"/>
          </a:solidFill>
        </p:spPr>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600" b="1" i="0" baseline="0" dirty="0" err="1">
              <a:solidFill>
                <a:schemeClr val="bg1"/>
              </a:solidFill>
              <a:latin typeface="Calibri Light" panose="020F0302020204030204" pitchFamily="34" charset="0"/>
              <a:ea typeface="+mj-ea"/>
              <a:cs typeface="Arial" panose="020B0604020202020204" pitchFamily="34" charset="0"/>
              <a:sym typeface="Calibri Light" panose="020F0302020204030204" pitchFamily="34" charset="0"/>
            </a:endParaRPr>
          </a:p>
        </p:txBody>
      </p:sp>
      <p:sp>
        <p:nvSpPr>
          <p:cNvPr id="14" name="Picture Placeholder 3">
            <a:extLst>
              <a:ext uri="{FF2B5EF4-FFF2-40B4-BE49-F238E27FC236}">
                <a16:creationId xmlns:a16="http://schemas.microsoft.com/office/drawing/2014/main" id="{C71E5ECE-500A-4A3D-BC96-5C578F611CA6}"/>
              </a:ext>
            </a:extLst>
          </p:cNvPr>
          <p:cNvSpPr>
            <a:spLocks noGrp="1"/>
          </p:cNvSpPr>
          <p:nvPr>
            <p:ph type="pic" sz="quarter" idx="19" hasCustomPrompt="1"/>
          </p:nvPr>
        </p:nvSpPr>
        <p:spPr>
          <a:xfrm>
            <a:off x="-11211" y="-7230"/>
            <a:ext cx="4968000" cy="7560000"/>
          </a:xfrm>
          <a:custGeom>
            <a:avLst/>
            <a:gdLst>
              <a:gd name="connsiteX0" fmla="*/ 0 w 6324600"/>
              <a:gd name="connsiteY0" fmla="*/ 5589064 h 5589064"/>
              <a:gd name="connsiteX1" fmla="*/ 2236967 w 6324600"/>
              <a:gd name="connsiteY1" fmla="*/ 0 h 5589064"/>
              <a:gd name="connsiteX2" fmla="*/ 6324600 w 6324600"/>
              <a:gd name="connsiteY2" fmla="*/ 0 h 5589064"/>
              <a:gd name="connsiteX3" fmla="*/ 4087633 w 6324600"/>
              <a:gd name="connsiteY3" fmla="*/ 5589064 h 5589064"/>
              <a:gd name="connsiteX4" fmla="*/ 0 w 6324600"/>
              <a:gd name="connsiteY4" fmla="*/ 5589064 h 5589064"/>
              <a:gd name="connsiteX0" fmla="*/ 0 w 6384618"/>
              <a:gd name="connsiteY0" fmla="*/ 5592595 h 5592595"/>
              <a:gd name="connsiteX1" fmla="*/ 2236967 w 6384618"/>
              <a:gd name="connsiteY1" fmla="*/ 3531 h 5592595"/>
              <a:gd name="connsiteX2" fmla="*/ 6384618 w 6384618"/>
              <a:gd name="connsiteY2" fmla="*/ 0 h 5592595"/>
              <a:gd name="connsiteX3" fmla="*/ 4087633 w 6384618"/>
              <a:gd name="connsiteY3" fmla="*/ 5592595 h 5592595"/>
              <a:gd name="connsiteX4" fmla="*/ 0 w 6384618"/>
              <a:gd name="connsiteY4" fmla="*/ 5592595 h 5592595"/>
              <a:gd name="connsiteX0" fmla="*/ 0 w 6384618"/>
              <a:gd name="connsiteY0" fmla="*/ 5592595 h 5599656"/>
              <a:gd name="connsiteX1" fmla="*/ 2236967 w 6384618"/>
              <a:gd name="connsiteY1" fmla="*/ 3531 h 5599656"/>
              <a:gd name="connsiteX2" fmla="*/ 6384618 w 6384618"/>
              <a:gd name="connsiteY2" fmla="*/ 0 h 5599656"/>
              <a:gd name="connsiteX3" fmla="*/ 4129999 w 6384618"/>
              <a:gd name="connsiteY3" fmla="*/ 5599656 h 5599656"/>
              <a:gd name="connsiteX4" fmla="*/ 0 w 6384618"/>
              <a:gd name="connsiteY4" fmla="*/ 5592595 h 5599656"/>
              <a:gd name="connsiteX0" fmla="*/ 41413 w 4147651"/>
              <a:gd name="connsiteY0" fmla="*/ 5604025 h 5604025"/>
              <a:gd name="connsiteX1" fmla="*/ 0 w 4147651"/>
              <a:gd name="connsiteY1" fmla="*/ 3531 h 5604025"/>
              <a:gd name="connsiteX2" fmla="*/ 4147651 w 4147651"/>
              <a:gd name="connsiteY2" fmla="*/ 0 h 5604025"/>
              <a:gd name="connsiteX3" fmla="*/ 1893032 w 4147651"/>
              <a:gd name="connsiteY3" fmla="*/ 5599656 h 5604025"/>
              <a:gd name="connsiteX4" fmla="*/ 41413 w 4147651"/>
              <a:gd name="connsiteY4" fmla="*/ 5604025 h 5604025"/>
              <a:gd name="connsiteX0" fmla="*/ 0 w 4106238"/>
              <a:gd name="connsiteY0" fmla="*/ 5604304 h 5604304"/>
              <a:gd name="connsiteX1" fmla="*/ 497 w 4106238"/>
              <a:gd name="connsiteY1" fmla="*/ 0 h 5604304"/>
              <a:gd name="connsiteX2" fmla="*/ 4106238 w 4106238"/>
              <a:gd name="connsiteY2" fmla="*/ 279 h 5604304"/>
              <a:gd name="connsiteX3" fmla="*/ 1851619 w 4106238"/>
              <a:gd name="connsiteY3" fmla="*/ 5599935 h 5604304"/>
              <a:gd name="connsiteX4" fmla="*/ 0 w 4106238"/>
              <a:gd name="connsiteY4" fmla="*/ 5604304 h 5604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6238" h="5604304">
                <a:moveTo>
                  <a:pt x="0" y="5604304"/>
                </a:moveTo>
                <a:cubicBezTo>
                  <a:pt x="166" y="3736203"/>
                  <a:pt x="331" y="1868101"/>
                  <a:pt x="497" y="0"/>
                </a:cubicBezTo>
                <a:lnTo>
                  <a:pt x="4106238" y="279"/>
                </a:lnTo>
                <a:lnTo>
                  <a:pt x="1851619" y="5599935"/>
                </a:lnTo>
                <a:lnTo>
                  <a:pt x="0" y="5604304"/>
                </a:lnTo>
                <a:close/>
              </a:path>
            </a:pathLst>
          </a:custGeom>
          <a:ln>
            <a:noFill/>
          </a:ln>
        </p:spPr>
        <p:txBody>
          <a:bodyPr anchor="ctr"/>
          <a:lstStyle>
            <a:lvl1pPr marL="290827" indent="0" algn="l">
              <a:buNone/>
              <a:defRPr baseline="0"/>
            </a:lvl1pPr>
          </a:lstStyle>
          <a:p>
            <a:r>
              <a:rPr lang="fr-FR" dirty="0" err="1"/>
              <a:t>Add</a:t>
            </a:r>
            <a:r>
              <a:rPr lang="fr-FR" dirty="0"/>
              <a:t> Picture</a:t>
            </a:r>
          </a:p>
        </p:txBody>
      </p:sp>
      <p:sp>
        <p:nvSpPr>
          <p:cNvPr id="11" name="Text Placeholder 11"/>
          <p:cNvSpPr>
            <a:spLocks noGrp="1"/>
          </p:cNvSpPr>
          <p:nvPr>
            <p:ph type="body" sz="quarter" idx="12" hasCustomPrompt="1"/>
          </p:nvPr>
        </p:nvSpPr>
        <p:spPr>
          <a:xfrm>
            <a:off x="5293360" y="4699165"/>
            <a:ext cx="7532699" cy="457680"/>
          </a:xfrm>
          <a:prstGeom prst="rect">
            <a:avLst/>
          </a:prstGeom>
        </p:spPr>
        <p:txBody>
          <a:bodyPr>
            <a:normAutofit/>
          </a:bodyPr>
          <a:lstStyle>
            <a:lvl1pPr marL="0" indent="0">
              <a:buNone/>
              <a:defRPr sz="2000" b="0" cap="none" baseline="0">
                <a:solidFill>
                  <a:schemeClr val="tx2"/>
                </a:solidFill>
                <a:latin typeface="+mj-lt"/>
              </a:defRPr>
            </a:lvl1pPr>
          </a:lstStyle>
          <a:p>
            <a:r>
              <a:rPr lang="en-US" dirty="0"/>
              <a:t>NAME OF CITY  -  DATE OF DOCUMENT</a:t>
            </a:r>
            <a:endParaRPr lang="fr-FR" dirty="0"/>
          </a:p>
        </p:txBody>
      </p:sp>
      <p:sp>
        <p:nvSpPr>
          <p:cNvPr id="16" name="Title 1"/>
          <p:cNvSpPr>
            <a:spLocks noGrp="1"/>
          </p:cNvSpPr>
          <p:nvPr>
            <p:ph type="title" hasCustomPrompt="1"/>
          </p:nvPr>
        </p:nvSpPr>
        <p:spPr>
          <a:xfrm>
            <a:off x="5291065" y="2257198"/>
            <a:ext cx="7534994" cy="1263600"/>
          </a:xfrm>
          <a:prstGeom prst="rect">
            <a:avLst/>
          </a:prstGeom>
        </p:spPr>
        <p:txBody>
          <a:bodyPr anchor="b">
            <a:normAutofit/>
          </a:bodyPr>
          <a:lstStyle>
            <a:lvl1pPr>
              <a:defRPr sz="3600" b="1" baseline="0">
                <a:solidFill>
                  <a:schemeClr val="tx2"/>
                </a:solidFill>
                <a:latin typeface="+mj-lt"/>
              </a:defRPr>
            </a:lvl1pPr>
          </a:lstStyle>
          <a:p>
            <a:pPr lvl="0"/>
            <a:r>
              <a:rPr lang="en-US" dirty="0"/>
              <a:t>Click to add title</a:t>
            </a:r>
          </a:p>
        </p:txBody>
      </p:sp>
      <p:sp>
        <p:nvSpPr>
          <p:cNvPr id="9" name="Subtitle"/>
          <p:cNvSpPr>
            <a:spLocks noGrp="1"/>
          </p:cNvSpPr>
          <p:nvPr>
            <p:ph type="subTitle" idx="1" hasCustomPrompt="1"/>
          </p:nvPr>
        </p:nvSpPr>
        <p:spPr>
          <a:xfrm>
            <a:off x="5293360" y="3784599"/>
            <a:ext cx="7532699" cy="369332"/>
          </a:xfrm>
          <a:prstGeom prst="rect">
            <a:avLst/>
          </a:prstGeom>
        </p:spPr>
        <p:txBody>
          <a:bodyPr vert="horz" wrap="square" lIns="0" tIns="0" rIns="0" bIns="0" anchor="t" anchorCtr="0">
            <a:noAutofit/>
          </a:bodyPr>
          <a:lstStyle>
            <a:lvl1pPr marL="0" indent="0" algn="l">
              <a:lnSpc>
                <a:spcPct val="100000"/>
              </a:lnSpc>
              <a:spcBef>
                <a:spcPts val="754"/>
              </a:spcBef>
              <a:spcAft>
                <a:spcPts val="0"/>
              </a:spcAft>
              <a:buNone/>
              <a:defRPr sz="2400" b="1" i="0" u="none" kern="1200" spc="126">
                <a:solidFill>
                  <a:schemeClr val="accent2">
                    <a:lumMod val="100000"/>
                  </a:schemeClr>
                </a:solidFill>
                <a:latin typeface="Calibri Light" panose="020F0302020204030204" pitchFamily="34" charset="0"/>
              </a:defRPr>
            </a:lvl1pPr>
            <a:lvl2pPr marL="574700" indent="0" algn="ctr">
              <a:buNone/>
              <a:defRPr>
                <a:solidFill>
                  <a:schemeClr val="tx1">
                    <a:tint val="75000"/>
                  </a:schemeClr>
                </a:solidFill>
              </a:defRPr>
            </a:lvl2pPr>
            <a:lvl3pPr marL="1149401" indent="0" algn="ctr">
              <a:buNone/>
              <a:defRPr>
                <a:solidFill>
                  <a:schemeClr val="tx1">
                    <a:tint val="75000"/>
                  </a:schemeClr>
                </a:solidFill>
              </a:defRPr>
            </a:lvl3pPr>
            <a:lvl4pPr marL="1724101" indent="0" algn="ctr">
              <a:buNone/>
              <a:defRPr>
                <a:solidFill>
                  <a:schemeClr val="tx1">
                    <a:tint val="75000"/>
                  </a:schemeClr>
                </a:solidFill>
              </a:defRPr>
            </a:lvl4pPr>
            <a:lvl5pPr marL="2298802" indent="0" algn="ctr">
              <a:buNone/>
              <a:defRPr>
                <a:solidFill>
                  <a:schemeClr val="tx1">
                    <a:tint val="75000"/>
                  </a:schemeClr>
                </a:solidFill>
              </a:defRPr>
            </a:lvl5pPr>
            <a:lvl6pPr marL="2873502" indent="0" algn="ctr">
              <a:buNone/>
              <a:defRPr>
                <a:solidFill>
                  <a:schemeClr val="tx1">
                    <a:tint val="75000"/>
                  </a:schemeClr>
                </a:solidFill>
              </a:defRPr>
            </a:lvl6pPr>
            <a:lvl7pPr marL="3448202" indent="0" algn="ctr">
              <a:buNone/>
              <a:defRPr>
                <a:solidFill>
                  <a:schemeClr val="tx1">
                    <a:tint val="75000"/>
                  </a:schemeClr>
                </a:solidFill>
              </a:defRPr>
            </a:lvl7pPr>
            <a:lvl8pPr marL="4022903" indent="0" algn="ctr">
              <a:buNone/>
              <a:defRPr>
                <a:solidFill>
                  <a:schemeClr val="tx1">
                    <a:tint val="75000"/>
                  </a:schemeClr>
                </a:solidFill>
              </a:defRPr>
            </a:lvl8pPr>
            <a:lvl9pPr marL="4597603" indent="0" algn="ctr">
              <a:buNone/>
              <a:defRPr>
                <a:solidFill>
                  <a:schemeClr val="tx1">
                    <a:tint val="75000"/>
                  </a:schemeClr>
                </a:solidFill>
              </a:defRPr>
            </a:lvl9pPr>
          </a:lstStyle>
          <a:p>
            <a:pPr lvl="0"/>
            <a:r>
              <a:rPr lang="en-US" dirty="0"/>
              <a:t>Click to add subtitle</a:t>
            </a:r>
            <a:endParaRPr lang="fr-FR" dirty="0"/>
          </a:p>
        </p:txBody>
      </p:sp>
      <p:sp>
        <p:nvSpPr>
          <p:cNvPr id="15" name="Picture Placeholder 9">
            <a:extLst>
              <a:ext uri="{FF2B5EF4-FFF2-40B4-BE49-F238E27FC236}">
                <a16:creationId xmlns:a16="http://schemas.microsoft.com/office/drawing/2014/main" id="{6F94812C-1B67-4225-B7E3-282154A232B6}"/>
              </a:ext>
            </a:extLst>
          </p:cNvPr>
          <p:cNvSpPr>
            <a:spLocks noGrp="1"/>
          </p:cNvSpPr>
          <p:nvPr>
            <p:ph type="pic" sz="quarter" idx="11" hasCustomPrompt="1"/>
          </p:nvPr>
        </p:nvSpPr>
        <p:spPr>
          <a:xfrm>
            <a:off x="5995044" y="6218693"/>
            <a:ext cx="3643572" cy="1067126"/>
          </a:xfrm>
          <a:prstGeom prst="rect">
            <a:avLst/>
          </a:prstGeom>
        </p:spPr>
        <p:txBody>
          <a:bodyPr anchor="ctr"/>
          <a:lstStyle>
            <a:lvl1pPr marL="135756" indent="0" algn="ctr">
              <a:buNone/>
              <a:defRPr spc="126" baseline="0"/>
            </a:lvl1pPr>
          </a:lstStyle>
          <a:p>
            <a:r>
              <a:rPr lang="fr-FR" dirty="0" err="1"/>
              <a:t>Add</a:t>
            </a:r>
            <a:r>
              <a:rPr lang="fr-FR" dirty="0"/>
              <a:t> logo</a:t>
            </a:r>
          </a:p>
        </p:txBody>
      </p:sp>
      <p:pic>
        <p:nvPicPr>
          <p:cNvPr id="17" name="Image 11">
            <a:extLst>
              <a:ext uri="{FF2B5EF4-FFF2-40B4-BE49-F238E27FC236}">
                <a16:creationId xmlns:a16="http://schemas.microsoft.com/office/drawing/2014/main" id="{1FE6B2A9-EB3F-4CC8-A95A-8B6BB93FA86D}"/>
              </a:ext>
            </a:extLst>
          </p:cNvPr>
          <p:cNvPicPr>
            <a:picLocks noChangeAspect="1"/>
          </p:cNvPicPr>
          <p:nvPr userDrawn="1"/>
        </p:nvPicPr>
        <p:blipFill>
          <a:blip r:embed="rId7"/>
          <a:stretch>
            <a:fillRect/>
          </a:stretch>
        </p:blipFill>
        <p:spPr>
          <a:xfrm>
            <a:off x="10498710" y="6265746"/>
            <a:ext cx="2325115" cy="973020"/>
          </a:xfrm>
          <a:prstGeom prst="rect">
            <a:avLst/>
          </a:prstGeom>
        </p:spPr>
      </p:pic>
      <p:sp>
        <p:nvSpPr>
          <p:cNvPr id="18" name="object 18">
            <a:extLst>
              <a:ext uri="{FF2B5EF4-FFF2-40B4-BE49-F238E27FC236}">
                <a16:creationId xmlns:a16="http://schemas.microsoft.com/office/drawing/2014/main" id="{998B2012-B42F-4D46-A198-5A283E4D6C0C}"/>
              </a:ext>
            </a:extLst>
          </p:cNvPr>
          <p:cNvSpPr>
            <a:spLocks noChangeAspect="1"/>
          </p:cNvSpPr>
          <p:nvPr userDrawn="1"/>
        </p:nvSpPr>
        <p:spPr>
          <a:xfrm>
            <a:off x="9888476" y="6274115"/>
            <a:ext cx="360374" cy="956283"/>
          </a:xfrm>
          <a:custGeom>
            <a:avLst/>
            <a:gdLst/>
            <a:ahLst/>
            <a:cxnLst/>
            <a:rect l="l" t="t" r="r" b="b"/>
            <a:pathLst>
              <a:path w="546734" h="1352550">
                <a:moveTo>
                  <a:pt x="0" y="1352428"/>
                </a:moveTo>
                <a:lnTo>
                  <a:pt x="546414" y="0"/>
                </a:lnTo>
              </a:path>
            </a:pathLst>
          </a:custGeom>
          <a:ln w="12700">
            <a:solidFill>
              <a:schemeClr val="accent2"/>
            </a:solidFill>
          </a:ln>
        </p:spPr>
        <p:txBody>
          <a:bodyPr wrap="square" lIns="0" tIns="0" rIns="0" bIns="0" rtlCol="0"/>
          <a:lstStyle/>
          <a:p>
            <a:pPr marL="0" marR="0" lvl="0" indent="0" algn="l" defTabSz="1045848" rtl="0" eaLnBrk="1" fontAlgn="auto" latinLnBrk="0" hangingPunct="1">
              <a:lnSpc>
                <a:spcPct val="100000"/>
              </a:lnSpc>
              <a:spcBef>
                <a:spcPts val="0"/>
              </a:spcBef>
              <a:spcAft>
                <a:spcPts val="0"/>
              </a:spcAft>
              <a:buClrTx/>
              <a:buSzTx/>
              <a:buFontTx/>
              <a:buNone/>
              <a:tabLst/>
              <a:defRPr/>
            </a:pPr>
            <a:endParaRPr kumimoji="0" sz="2300" b="0" i="0" u="none" strike="noStrike" kern="1200" cap="none" spc="10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5456225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Front cover client logo">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EE0B2A0-794F-45D2-8FA6-099FFE848F34}"/>
              </a:ext>
            </a:extLst>
          </p:cNvPr>
          <p:cNvGraphicFramePr>
            <a:graphicFrameLocks noChangeAspect="1"/>
          </p:cNvGraphicFramePr>
          <p:nvPr userDrawn="1">
            <p:custDataLst>
              <p:tags r:id="rId2"/>
            </p:custDataLst>
            <p:extLst>
              <p:ext uri="{D42A27DB-BD31-4B8C-83A1-F6EECF244321}">
                <p14:modId xmlns:p14="http://schemas.microsoft.com/office/powerpoint/2010/main" val="1866058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 name="Diapositive think-cell" r:id="rId5" imgW="592" imgH="584" progId="TCLayout.ActiveDocument.1">
                  <p:embed/>
                </p:oleObj>
              </mc:Choice>
              <mc:Fallback>
                <p:oleObj name="Diapositive think-cell" r:id="rId5" imgW="592" imgH="584" progId="TCLayout.ActiveDocument.1">
                  <p:embed/>
                  <p:pic>
                    <p:nvPicPr>
                      <p:cNvPr id="3" name="Objet 2" hidden="1">
                        <a:extLst>
                          <a:ext uri="{FF2B5EF4-FFF2-40B4-BE49-F238E27FC236}">
                            <a16:creationId xmlns:a16="http://schemas.microsoft.com/office/drawing/2014/main" id="{8EE0B2A0-794F-45D2-8FA6-099FFE848F3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165C3D2-21AF-48C9-8FA9-330F0E00C7DC}"/>
              </a:ext>
            </a:extLst>
          </p:cNvPr>
          <p:cNvSpPr/>
          <p:nvPr userDrawn="1">
            <p:custDataLst>
              <p:tags r:id="rId3"/>
            </p:custDataLst>
          </p:nvPr>
        </p:nvSpPr>
        <p:spPr>
          <a:xfrm>
            <a:off x="0" y="0"/>
            <a:ext cx="158750" cy="158750"/>
          </a:xfrm>
          <a:prstGeom prst="rect">
            <a:avLst/>
          </a:prstGeom>
          <a:solidFill>
            <a:schemeClr val="tx2"/>
          </a:solidFill>
        </p:spPr>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600" b="1" i="0" baseline="0" dirty="0" err="1">
              <a:solidFill>
                <a:schemeClr val="bg1"/>
              </a:solidFill>
              <a:latin typeface="Calibri Light" panose="020F0302020204030204" pitchFamily="34" charset="0"/>
              <a:ea typeface="+mj-ea"/>
              <a:cs typeface="Arial" panose="020B0604020202020204" pitchFamily="34" charset="0"/>
              <a:sym typeface="Calibri Light" panose="020F0302020204030204" pitchFamily="34" charset="0"/>
            </a:endParaRPr>
          </a:p>
        </p:txBody>
      </p:sp>
      <p:sp>
        <p:nvSpPr>
          <p:cNvPr id="10" name="Picture Placeholder 9"/>
          <p:cNvSpPr>
            <a:spLocks noGrp="1"/>
          </p:cNvSpPr>
          <p:nvPr>
            <p:ph type="pic" sz="quarter" idx="11" hasCustomPrompt="1"/>
          </p:nvPr>
        </p:nvSpPr>
        <p:spPr>
          <a:xfrm>
            <a:off x="5995044" y="6218693"/>
            <a:ext cx="3643572" cy="1067126"/>
          </a:xfrm>
          <a:prstGeom prst="rect">
            <a:avLst/>
          </a:prstGeom>
        </p:spPr>
        <p:txBody>
          <a:bodyPr anchor="ctr"/>
          <a:lstStyle>
            <a:lvl1pPr marL="135756" indent="0" algn="ctr">
              <a:buNone/>
              <a:defRPr spc="126" baseline="0"/>
            </a:lvl1pPr>
          </a:lstStyle>
          <a:p>
            <a:r>
              <a:rPr lang="fr-FR" dirty="0" err="1"/>
              <a:t>Add</a:t>
            </a:r>
            <a:r>
              <a:rPr lang="fr-FR" dirty="0"/>
              <a:t> logo</a:t>
            </a:r>
          </a:p>
        </p:txBody>
      </p:sp>
      <p:sp>
        <p:nvSpPr>
          <p:cNvPr id="16" name="Text Placeholder 11"/>
          <p:cNvSpPr>
            <a:spLocks noGrp="1"/>
          </p:cNvSpPr>
          <p:nvPr>
            <p:ph type="body" sz="quarter" idx="12" hasCustomPrompt="1"/>
          </p:nvPr>
        </p:nvSpPr>
        <p:spPr>
          <a:xfrm>
            <a:off x="878932" y="4699165"/>
            <a:ext cx="11948796" cy="457680"/>
          </a:xfrm>
          <a:prstGeom prst="rect">
            <a:avLst/>
          </a:prstGeom>
        </p:spPr>
        <p:txBody>
          <a:bodyPr>
            <a:normAutofit/>
          </a:bodyPr>
          <a:lstStyle>
            <a:lvl1pPr marL="0" indent="0">
              <a:buNone/>
              <a:defRPr sz="2000" b="0" cap="none" spc="126" baseline="0">
                <a:solidFill>
                  <a:schemeClr val="tx2"/>
                </a:solidFill>
                <a:latin typeface="+mj-lt"/>
              </a:defRPr>
            </a:lvl1pPr>
          </a:lstStyle>
          <a:p>
            <a:r>
              <a:rPr lang="en-US" dirty="0"/>
              <a:t>NAME OF CITY  -  DATE OF DOCUMENT</a:t>
            </a:r>
            <a:endParaRPr lang="fr-FR" dirty="0"/>
          </a:p>
        </p:txBody>
      </p:sp>
      <p:sp>
        <p:nvSpPr>
          <p:cNvPr id="11" name="Title 1"/>
          <p:cNvSpPr>
            <a:spLocks noGrp="1"/>
          </p:cNvSpPr>
          <p:nvPr>
            <p:ph type="title" hasCustomPrompt="1"/>
          </p:nvPr>
        </p:nvSpPr>
        <p:spPr>
          <a:xfrm>
            <a:off x="874937" y="2257198"/>
            <a:ext cx="11951122" cy="1263600"/>
          </a:xfrm>
          <a:prstGeom prst="rect">
            <a:avLst/>
          </a:prstGeom>
        </p:spPr>
        <p:txBody>
          <a:bodyPr anchor="b">
            <a:normAutofit/>
          </a:bodyPr>
          <a:lstStyle>
            <a:lvl1pPr>
              <a:defRPr sz="3600" b="1" baseline="0">
                <a:solidFill>
                  <a:schemeClr val="tx2"/>
                </a:solidFill>
                <a:latin typeface="+mj-lt"/>
              </a:defRPr>
            </a:lvl1pPr>
          </a:lstStyle>
          <a:p>
            <a:pPr lvl="0"/>
            <a:r>
              <a:rPr lang="en-US" dirty="0"/>
              <a:t>Click to add title</a:t>
            </a:r>
          </a:p>
        </p:txBody>
      </p:sp>
      <p:sp>
        <p:nvSpPr>
          <p:cNvPr id="9" name="Subtitle"/>
          <p:cNvSpPr>
            <a:spLocks noGrp="1"/>
          </p:cNvSpPr>
          <p:nvPr>
            <p:ph type="subTitle" idx="1" hasCustomPrompt="1"/>
          </p:nvPr>
        </p:nvSpPr>
        <p:spPr>
          <a:xfrm>
            <a:off x="878933" y="3784599"/>
            <a:ext cx="11948798" cy="369332"/>
          </a:xfrm>
          <a:prstGeom prst="rect">
            <a:avLst/>
          </a:prstGeom>
        </p:spPr>
        <p:txBody>
          <a:bodyPr vert="horz" wrap="square" lIns="0" tIns="0" rIns="0" bIns="0" anchor="t" anchorCtr="0">
            <a:noAutofit/>
          </a:bodyPr>
          <a:lstStyle>
            <a:lvl1pPr marL="0" indent="0" algn="l">
              <a:lnSpc>
                <a:spcPct val="100000"/>
              </a:lnSpc>
              <a:spcBef>
                <a:spcPts val="754"/>
              </a:spcBef>
              <a:spcAft>
                <a:spcPts val="0"/>
              </a:spcAft>
              <a:buNone/>
              <a:defRPr sz="2400" b="1" i="0" u="none" kern="1200" spc="126">
                <a:solidFill>
                  <a:schemeClr val="accent2">
                    <a:lumMod val="100000"/>
                  </a:schemeClr>
                </a:solidFill>
                <a:latin typeface="Calibri Light" panose="020F0302020204030204" pitchFamily="34" charset="0"/>
              </a:defRPr>
            </a:lvl1pPr>
            <a:lvl2pPr marL="574700" indent="0" algn="ctr">
              <a:buNone/>
              <a:defRPr>
                <a:solidFill>
                  <a:schemeClr val="tx1">
                    <a:tint val="75000"/>
                  </a:schemeClr>
                </a:solidFill>
              </a:defRPr>
            </a:lvl2pPr>
            <a:lvl3pPr marL="1149401" indent="0" algn="ctr">
              <a:buNone/>
              <a:defRPr>
                <a:solidFill>
                  <a:schemeClr val="tx1">
                    <a:tint val="75000"/>
                  </a:schemeClr>
                </a:solidFill>
              </a:defRPr>
            </a:lvl3pPr>
            <a:lvl4pPr marL="1724101" indent="0" algn="ctr">
              <a:buNone/>
              <a:defRPr>
                <a:solidFill>
                  <a:schemeClr val="tx1">
                    <a:tint val="75000"/>
                  </a:schemeClr>
                </a:solidFill>
              </a:defRPr>
            </a:lvl4pPr>
            <a:lvl5pPr marL="2298802" indent="0" algn="ctr">
              <a:buNone/>
              <a:defRPr>
                <a:solidFill>
                  <a:schemeClr val="tx1">
                    <a:tint val="75000"/>
                  </a:schemeClr>
                </a:solidFill>
              </a:defRPr>
            </a:lvl5pPr>
            <a:lvl6pPr marL="2873502" indent="0" algn="ctr">
              <a:buNone/>
              <a:defRPr>
                <a:solidFill>
                  <a:schemeClr val="tx1">
                    <a:tint val="75000"/>
                  </a:schemeClr>
                </a:solidFill>
              </a:defRPr>
            </a:lvl6pPr>
            <a:lvl7pPr marL="3448202" indent="0" algn="ctr">
              <a:buNone/>
              <a:defRPr>
                <a:solidFill>
                  <a:schemeClr val="tx1">
                    <a:tint val="75000"/>
                  </a:schemeClr>
                </a:solidFill>
              </a:defRPr>
            </a:lvl7pPr>
            <a:lvl8pPr marL="4022903" indent="0" algn="ctr">
              <a:buNone/>
              <a:defRPr>
                <a:solidFill>
                  <a:schemeClr val="tx1">
                    <a:tint val="75000"/>
                  </a:schemeClr>
                </a:solidFill>
              </a:defRPr>
            </a:lvl8pPr>
            <a:lvl9pPr marL="4597603" indent="0" algn="ctr">
              <a:buNone/>
              <a:defRPr>
                <a:solidFill>
                  <a:schemeClr val="tx1">
                    <a:tint val="75000"/>
                  </a:schemeClr>
                </a:solidFill>
              </a:defRPr>
            </a:lvl9pPr>
          </a:lstStyle>
          <a:p>
            <a:pPr lvl="0"/>
            <a:r>
              <a:rPr lang="en-US" dirty="0"/>
              <a:t>Click to add subtitle</a:t>
            </a:r>
            <a:endParaRPr lang="fr-FR" dirty="0"/>
          </a:p>
        </p:txBody>
      </p:sp>
      <p:pic>
        <p:nvPicPr>
          <p:cNvPr id="13" name="Image 11">
            <a:extLst>
              <a:ext uri="{FF2B5EF4-FFF2-40B4-BE49-F238E27FC236}">
                <a16:creationId xmlns:a16="http://schemas.microsoft.com/office/drawing/2014/main" id="{A8E12E29-C1BE-490F-9A0D-8E5B991E32B3}"/>
              </a:ext>
            </a:extLst>
          </p:cNvPr>
          <p:cNvPicPr>
            <a:picLocks noChangeAspect="1"/>
          </p:cNvPicPr>
          <p:nvPr userDrawn="1"/>
        </p:nvPicPr>
        <p:blipFill>
          <a:blip r:embed="rId7"/>
          <a:stretch>
            <a:fillRect/>
          </a:stretch>
        </p:blipFill>
        <p:spPr>
          <a:xfrm>
            <a:off x="10498710" y="6265746"/>
            <a:ext cx="2325115" cy="973020"/>
          </a:xfrm>
          <a:prstGeom prst="rect">
            <a:avLst/>
          </a:prstGeom>
        </p:spPr>
      </p:pic>
      <p:sp>
        <p:nvSpPr>
          <p:cNvPr id="14" name="object 18">
            <a:extLst>
              <a:ext uri="{FF2B5EF4-FFF2-40B4-BE49-F238E27FC236}">
                <a16:creationId xmlns:a16="http://schemas.microsoft.com/office/drawing/2014/main" id="{73C00858-943C-4DF6-9CEC-2FBB0E6E72C6}"/>
              </a:ext>
            </a:extLst>
          </p:cNvPr>
          <p:cNvSpPr>
            <a:spLocks noChangeAspect="1"/>
          </p:cNvSpPr>
          <p:nvPr userDrawn="1"/>
        </p:nvSpPr>
        <p:spPr>
          <a:xfrm>
            <a:off x="9888476" y="6274115"/>
            <a:ext cx="360374" cy="956283"/>
          </a:xfrm>
          <a:custGeom>
            <a:avLst/>
            <a:gdLst/>
            <a:ahLst/>
            <a:cxnLst/>
            <a:rect l="l" t="t" r="r" b="b"/>
            <a:pathLst>
              <a:path w="546734" h="1352550">
                <a:moveTo>
                  <a:pt x="0" y="1352428"/>
                </a:moveTo>
                <a:lnTo>
                  <a:pt x="546414" y="0"/>
                </a:lnTo>
              </a:path>
            </a:pathLst>
          </a:custGeom>
          <a:ln w="12700">
            <a:solidFill>
              <a:schemeClr val="accent2"/>
            </a:solidFill>
          </a:ln>
        </p:spPr>
        <p:txBody>
          <a:bodyPr wrap="square" lIns="0" tIns="0" rIns="0" bIns="0" rtlCol="0"/>
          <a:lstStyle/>
          <a:p>
            <a:pPr marL="0" marR="0" lvl="0" indent="0" algn="l" defTabSz="1045848" rtl="0" eaLnBrk="1" fontAlgn="auto" latinLnBrk="0" hangingPunct="1">
              <a:lnSpc>
                <a:spcPct val="100000"/>
              </a:lnSpc>
              <a:spcBef>
                <a:spcPts val="0"/>
              </a:spcBef>
              <a:spcAft>
                <a:spcPts val="0"/>
              </a:spcAft>
              <a:buClrTx/>
              <a:buSzTx/>
              <a:buFontTx/>
              <a:buNone/>
              <a:tabLst/>
              <a:defRPr/>
            </a:pPr>
            <a:endParaRPr kumimoji="0" sz="2300" b="0" i="0" u="none" strike="noStrike" kern="1200" cap="none" spc="100" normalizeH="0" baseline="0" noProof="0">
              <a:ln>
                <a:noFill/>
              </a:ln>
              <a:solidFill>
                <a:srgbClr val="000000"/>
              </a:solidFill>
              <a:effectLst/>
              <a:uLnTx/>
              <a:uFillTx/>
              <a:latin typeface="Arial"/>
              <a:ea typeface="+mn-ea"/>
              <a:cs typeface="+mn-cs"/>
            </a:endParaRPr>
          </a:p>
        </p:txBody>
      </p:sp>
      <p:sp>
        <p:nvSpPr>
          <p:cNvPr id="20" name="object 18">
            <a:extLst>
              <a:ext uri="{FF2B5EF4-FFF2-40B4-BE49-F238E27FC236}">
                <a16:creationId xmlns:a16="http://schemas.microsoft.com/office/drawing/2014/main" id="{0293DA46-07AC-4AEF-931E-98A1DCD8D60A}"/>
              </a:ext>
            </a:extLst>
          </p:cNvPr>
          <p:cNvSpPr>
            <a:spLocks noChangeAspect="1"/>
          </p:cNvSpPr>
          <p:nvPr userDrawn="1"/>
        </p:nvSpPr>
        <p:spPr>
          <a:xfrm>
            <a:off x="0" y="2"/>
            <a:ext cx="1332000" cy="3528000"/>
          </a:xfrm>
          <a:custGeom>
            <a:avLst/>
            <a:gdLst/>
            <a:ahLst/>
            <a:cxnLst/>
            <a:rect l="l" t="t" r="r" b="b"/>
            <a:pathLst>
              <a:path w="1167130" h="2886075">
                <a:moveTo>
                  <a:pt x="1166888" y="0"/>
                </a:moveTo>
                <a:lnTo>
                  <a:pt x="0" y="0"/>
                </a:lnTo>
                <a:lnTo>
                  <a:pt x="0" y="2885516"/>
                </a:lnTo>
                <a:lnTo>
                  <a:pt x="1066" y="2885516"/>
                </a:lnTo>
                <a:lnTo>
                  <a:pt x="1166888" y="0"/>
                </a:lnTo>
                <a:close/>
              </a:path>
            </a:pathLst>
          </a:custGeom>
          <a:solidFill>
            <a:schemeClr val="tx2"/>
          </a:solidFill>
        </p:spPr>
        <p:txBody>
          <a:bodyPr wrap="square" lIns="0" tIns="0" rIns="0" bIns="0" rtlCol="0"/>
          <a:lstStyle/>
          <a:p>
            <a:endParaRPr spc="100" baseline="0" dirty="0"/>
          </a:p>
        </p:txBody>
      </p:sp>
    </p:spTree>
    <p:extLst>
      <p:ext uri="{BB962C8B-B14F-4D97-AF65-F5344CB8AC3E}">
        <p14:creationId xmlns:p14="http://schemas.microsoft.com/office/powerpoint/2010/main" val="18493273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with 1 text box">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1FBF80BA-6356-47AD-A4F9-DB2BE93FA971}"/>
              </a:ext>
            </a:extLst>
          </p:cNvPr>
          <p:cNvGraphicFramePr>
            <a:graphicFrameLocks noChangeAspect="1"/>
          </p:cNvGraphicFramePr>
          <p:nvPr userDrawn="1">
            <p:custDataLst>
              <p:tags r:id="rId2"/>
            </p:custDataLst>
          </p:nvPr>
        </p:nvGraphicFramePr>
        <p:xfrm>
          <a:off x="1996" y="1588"/>
          <a:ext cx="1996" cy="1588"/>
        </p:xfrm>
        <a:graphic>
          <a:graphicData uri="http://schemas.openxmlformats.org/presentationml/2006/ole">
            <mc:AlternateContent xmlns:mc="http://schemas.openxmlformats.org/markup-compatibility/2006">
              <mc:Choice xmlns:v="urn:schemas-microsoft-com:vml" Requires="v">
                <p:oleObj spid="_x0000_s16486" name="Diapositive think-cell" r:id="rId5" imgW="473" imgH="470" progId="TCLayout.ActiveDocument.1">
                  <p:embed/>
                </p:oleObj>
              </mc:Choice>
              <mc:Fallback>
                <p:oleObj name="Diapositive think-cell" r:id="rId5" imgW="473" imgH="470" progId="TCLayout.ActiveDocument.1">
                  <p:embed/>
                  <p:pic>
                    <p:nvPicPr>
                      <p:cNvPr id="3" name="Objet 2" hidden="1">
                        <a:extLst>
                          <a:ext uri="{FF2B5EF4-FFF2-40B4-BE49-F238E27FC236}">
                            <a16:creationId xmlns:a16="http://schemas.microsoft.com/office/drawing/2014/main" id="{1FBF80BA-6356-47AD-A4F9-DB2BE93FA971}"/>
                          </a:ext>
                        </a:extLst>
                      </p:cNvPr>
                      <p:cNvPicPr/>
                      <p:nvPr/>
                    </p:nvPicPr>
                    <p:blipFill>
                      <a:blip r:embed="rId6"/>
                      <a:stretch>
                        <a:fillRect/>
                      </a:stretch>
                    </p:blipFill>
                    <p:spPr>
                      <a:xfrm>
                        <a:off x="1996" y="1588"/>
                        <a:ext cx="1996"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CE5BF3E-8E9E-4D55-90EB-4C2719841617}"/>
              </a:ext>
            </a:extLst>
          </p:cNvPr>
          <p:cNvSpPr/>
          <p:nvPr userDrawn="1">
            <p:custDataLst>
              <p:tags r:id="rId3"/>
            </p:custDataLst>
          </p:nvPr>
        </p:nvSpPr>
        <p:spPr>
          <a:xfrm>
            <a:off x="0" y="0"/>
            <a:ext cx="199550" cy="158750"/>
          </a:xfrm>
          <a:prstGeom prst="rect">
            <a:avLst/>
          </a:prstGeom>
          <a:solidFill>
            <a:schemeClr val="tx2"/>
          </a:solidFill>
        </p:spPr>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200" b="1" i="0" baseline="0" dirty="0" err="1">
              <a:solidFill>
                <a:schemeClr val="bg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5" name="Title 6"/>
          <p:cNvSpPr>
            <a:spLocks noGrp="1"/>
          </p:cNvSpPr>
          <p:nvPr>
            <p:ph type="title" hasCustomPrompt="1"/>
          </p:nvPr>
        </p:nvSpPr>
        <p:spPr>
          <a:xfrm>
            <a:off x="609618" y="545662"/>
            <a:ext cx="12218110" cy="338554"/>
          </a:xfrm>
          <a:prstGeom prst="rect">
            <a:avLst/>
          </a:prstGeom>
        </p:spPr>
        <p:txBody>
          <a:bodyPr anchor="b" anchorCtr="0">
            <a:spAutoFit/>
          </a:bodyPr>
          <a:lstStyle>
            <a:lvl1pPr marL="0" algn="l">
              <a:spcBef>
                <a:spcPts val="0"/>
              </a:spcBef>
              <a:defRPr sz="2200" b="1" cap="none" spc="126" baseline="0">
                <a:solidFill>
                  <a:schemeClr val="tx2"/>
                </a:solidFill>
                <a:latin typeface="Calibri Light" panose="020F0302020204030204" pitchFamily="34" charset="0"/>
                <a:cs typeface="Calibri Light" panose="020F0302020204030204" pitchFamily="34" charset="0"/>
              </a:defRPr>
            </a:lvl1pPr>
          </a:lstStyle>
          <a:p>
            <a:r>
              <a:rPr lang="en-US" dirty="0"/>
              <a:t>Click to add title</a:t>
            </a:r>
          </a:p>
        </p:txBody>
      </p:sp>
      <p:sp>
        <p:nvSpPr>
          <p:cNvPr id="6" name="Text Placeholder 3"/>
          <p:cNvSpPr>
            <a:spLocks noGrp="1"/>
          </p:cNvSpPr>
          <p:nvPr>
            <p:ph type="body" sz="quarter" idx="15" hasCustomPrompt="1"/>
          </p:nvPr>
        </p:nvSpPr>
        <p:spPr>
          <a:xfrm>
            <a:off x="609618" y="960054"/>
            <a:ext cx="12218110" cy="277290"/>
          </a:xfrm>
          <a:prstGeom prst="rect">
            <a:avLst/>
          </a:prstGeom>
        </p:spPr>
        <p:txBody>
          <a:bodyPr wrap="square">
            <a:noAutofit/>
          </a:bodyPr>
          <a:lstStyle>
            <a:lvl1pPr marL="0" indent="0" algn="l">
              <a:spcAft>
                <a:spcPts val="0"/>
              </a:spcAft>
              <a:buNone/>
              <a:defRPr sz="1800" b="1" cap="none" spc="126" baseline="0">
                <a:solidFill>
                  <a:schemeClr val="accent2"/>
                </a:solidFill>
                <a:latin typeface="Calibri Light" panose="020F0302020204030204" pitchFamily="34" charset="0"/>
                <a:cs typeface="Calibri Light" panose="020F0302020204030204" pitchFamily="34" charset="0"/>
              </a:defRPr>
            </a:lvl1pPr>
          </a:lstStyle>
          <a:p>
            <a:pPr lvl="0"/>
            <a:r>
              <a:rPr lang="en-US" dirty="0"/>
              <a:t>Click to add subtitle </a:t>
            </a:r>
            <a:endParaRPr lang="fr-FR" dirty="0"/>
          </a:p>
        </p:txBody>
      </p:sp>
      <p:sp>
        <p:nvSpPr>
          <p:cNvPr id="11" name="Text Placeholder 4"/>
          <p:cNvSpPr>
            <a:spLocks noGrp="1"/>
          </p:cNvSpPr>
          <p:nvPr>
            <p:ph type="body" sz="quarter" idx="11" hasCustomPrompt="1"/>
          </p:nvPr>
        </p:nvSpPr>
        <p:spPr>
          <a:xfrm>
            <a:off x="609709" y="6842166"/>
            <a:ext cx="12218110" cy="153888"/>
          </a:xfrm>
        </p:spPr>
        <p:txBody>
          <a:bodyPr wrap="square" anchor="ctr">
            <a:noAutofit/>
          </a:bodyPr>
          <a:lstStyle>
            <a:lvl1pPr marL="135756" indent="0">
              <a:buNone/>
              <a:defRPr sz="1000" b="0" cap="none" spc="0" baseline="0">
                <a:solidFill>
                  <a:schemeClr val="tx1"/>
                </a:solidFill>
                <a:latin typeface="+mn-lt"/>
              </a:defRPr>
            </a:lvl1pPr>
            <a:lvl2pPr>
              <a:defRPr sz="1131" b="0" cap="none" baseline="0">
                <a:solidFill>
                  <a:schemeClr val="tx2"/>
                </a:solidFill>
              </a:defRPr>
            </a:lvl2pPr>
            <a:lvl3pPr>
              <a:defRPr sz="1131" b="0" cap="none" baseline="0">
                <a:solidFill>
                  <a:schemeClr val="tx2"/>
                </a:solidFill>
              </a:defRPr>
            </a:lvl3pPr>
            <a:lvl4pPr>
              <a:defRPr sz="1131" b="0" cap="none" baseline="0">
                <a:solidFill>
                  <a:schemeClr val="tx2"/>
                </a:solidFill>
              </a:defRPr>
            </a:lvl4pPr>
            <a:lvl5pPr>
              <a:defRPr sz="1131" b="0" cap="none" baseline="0">
                <a:solidFill>
                  <a:schemeClr val="tx2"/>
                </a:solidFill>
              </a:defRPr>
            </a:lvl5pPr>
          </a:lstStyle>
          <a:p>
            <a:pPr lvl="0"/>
            <a:r>
              <a:rPr lang="en-US" dirty="0"/>
              <a:t>Click to add comment</a:t>
            </a:r>
            <a:endParaRPr lang="fr-FR" dirty="0"/>
          </a:p>
        </p:txBody>
      </p:sp>
      <p:sp>
        <p:nvSpPr>
          <p:cNvPr id="12" name="object 23">
            <a:extLst>
              <a:ext uri="{FF2B5EF4-FFF2-40B4-BE49-F238E27FC236}">
                <a16:creationId xmlns:a16="http://schemas.microsoft.com/office/drawing/2014/main" id="{BE244BFF-60B1-4FF7-A295-E092356AAC38}"/>
              </a:ext>
            </a:extLst>
          </p:cNvPr>
          <p:cNvSpPr>
            <a:spLocks noChangeAspect="1"/>
          </p:cNvSpPr>
          <p:nvPr userDrawn="1"/>
        </p:nvSpPr>
        <p:spPr>
          <a:xfrm>
            <a:off x="1" y="0"/>
            <a:ext cx="484975" cy="1237344"/>
          </a:xfrm>
          <a:custGeom>
            <a:avLst/>
            <a:gdLst/>
            <a:ahLst/>
            <a:cxnLst/>
            <a:rect l="l" t="t" r="r" b="b"/>
            <a:pathLst>
              <a:path w="799465" h="1977389">
                <a:moveTo>
                  <a:pt x="798918" y="0"/>
                </a:moveTo>
                <a:lnTo>
                  <a:pt x="0" y="0"/>
                </a:lnTo>
                <a:lnTo>
                  <a:pt x="0" y="1977389"/>
                </a:lnTo>
                <a:lnTo>
                  <a:pt x="798918" y="0"/>
                </a:lnTo>
                <a:close/>
              </a:path>
            </a:pathLst>
          </a:custGeom>
          <a:solidFill>
            <a:schemeClr val="accent1"/>
          </a:solidFill>
        </p:spPr>
        <p:txBody>
          <a:bodyPr wrap="square" lIns="0" tIns="0" rIns="0" bIns="0" rtlCol="0"/>
          <a:lstStyle/>
          <a:p>
            <a:endParaRPr spc="100" baseline="0"/>
          </a:p>
        </p:txBody>
      </p:sp>
      <p:sp>
        <p:nvSpPr>
          <p:cNvPr id="13" name="Text Placeholder 8">
            <a:extLst>
              <a:ext uri="{FF2B5EF4-FFF2-40B4-BE49-F238E27FC236}">
                <a16:creationId xmlns:a16="http://schemas.microsoft.com/office/drawing/2014/main" id="{DC183C76-18A7-4BBE-819B-8268E75741C4}"/>
              </a:ext>
            </a:extLst>
          </p:cNvPr>
          <p:cNvSpPr>
            <a:spLocks noGrp="1"/>
          </p:cNvSpPr>
          <p:nvPr>
            <p:ph type="body" sz="quarter" idx="16"/>
          </p:nvPr>
        </p:nvSpPr>
        <p:spPr>
          <a:xfrm>
            <a:off x="609618" y="1483199"/>
            <a:ext cx="12218110" cy="5040000"/>
          </a:xfrm>
          <a:prstGeom prst="rect">
            <a:avLst/>
          </a:prstGeom>
        </p:spPr>
        <p:txBody>
          <a:bodyPr wrap="square">
            <a:noAutofit/>
          </a:bodyPr>
          <a:lstStyle>
            <a:lvl1pPr marL="362016" indent="-226260" algn="l">
              <a:spcBef>
                <a:spcPts val="754"/>
              </a:spcBef>
              <a:spcAft>
                <a:spcPts val="0"/>
              </a:spcAft>
              <a:buFont typeface="Wingdings" pitchFamily="2" charset="2"/>
              <a:buChar char="§"/>
              <a:defRPr sz="1600" b="0" spc="0" baseline="0">
                <a:solidFill>
                  <a:schemeClr val="tx1"/>
                </a:solidFill>
                <a:latin typeface="Calibri" pitchFamily="34" charset="0"/>
                <a:cs typeface="Calibri" pitchFamily="34" charset="0"/>
              </a:defRPr>
            </a:lvl1pPr>
            <a:lvl2pPr marL="497772" indent="-226260">
              <a:buFont typeface="Webdings" panose="05030102010509060703" pitchFamily="18" charset="2"/>
              <a:buChar char="4"/>
              <a:defRPr sz="1600" b="0">
                <a:solidFill>
                  <a:schemeClr val="tx1"/>
                </a:solidFill>
                <a:latin typeface="Calibri" pitchFamily="34" charset="0"/>
                <a:cs typeface="Calibri" pitchFamily="34" charset="0"/>
              </a:defRPr>
            </a:lvl2pPr>
            <a:lvl3pPr marL="814536" indent="-226260" algn="l">
              <a:spcBef>
                <a:spcPts val="754"/>
              </a:spcBef>
              <a:spcAft>
                <a:spcPts val="0"/>
              </a:spcAft>
              <a:buFont typeface="Calibri" panose="020F0502020204030204" pitchFamily="34" charset="0"/>
              <a:buChar char="̶"/>
              <a:defRPr lang="en-US" sz="1600" b="0" kern="1200" spc="0" noProof="0" dirty="0" smtClean="0">
                <a:solidFill>
                  <a:schemeClr val="tx1"/>
                </a:solidFill>
                <a:latin typeface="Calibri" pitchFamily="34" charset="0"/>
                <a:ea typeface="+mn-ea"/>
                <a:cs typeface="Calibri" pitchFamily="34" charset="0"/>
              </a:defRPr>
            </a:lvl3pPr>
            <a:lvl4pPr marL="1040796" indent="-226260" algn="l">
              <a:spcBef>
                <a:spcPts val="754"/>
              </a:spcBef>
              <a:spcAft>
                <a:spcPts val="0"/>
              </a:spcAft>
              <a:buFont typeface="Arial" panose="020B0604020202020204" pitchFamily="34" charset="0"/>
              <a:buChar char="•"/>
              <a:defRPr sz="1600" spc="0">
                <a:solidFill>
                  <a:schemeClr val="tx1"/>
                </a:solidFill>
                <a:latin typeface="Calibri" pitchFamily="34" charset="0"/>
                <a:cs typeface="Calibri" pitchFamily="34" charset="0"/>
              </a:defRPr>
            </a:lvl4pPr>
            <a:lvl5pPr marL="1267056" indent="-226260" algn="l">
              <a:spcBef>
                <a:spcPts val="754"/>
              </a:spcBef>
              <a:spcAft>
                <a:spcPts val="0"/>
              </a:spcAft>
              <a:buSzPct val="65000"/>
              <a:buFont typeface="Wingdings" panose="05000000000000000000" pitchFamily="2" charset="2"/>
              <a:buChar char="w"/>
              <a:defRPr lang="en-US" sz="1600" b="0" i="0" kern="1200" spc="0" baseline="0" noProof="0" dirty="0">
                <a:solidFill>
                  <a:schemeClr val="tx1"/>
                </a:solidFill>
                <a:latin typeface="Calibri" pitchFamily="34" charset="0"/>
                <a:ea typeface="+mn-ea"/>
                <a:cs typeface="Calibri" pitchFamily="34" charset="0"/>
              </a:defRPr>
            </a:lvl5pPr>
            <a:lvl6pPr marL="1493316" indent="-226260" algn="l">
              <a:spcBef>
                <a:spcPts val="754"/>
              </a:spcBef>
              <a:spcAft>
                <a:spcPts val="0"/>
              </a:spcAft>
              <a:buFont typeface="Wingdings" panose="05000000000000000000" pitchFamily="2" charset="2"/>
              <a:buChar char=""/>
              <a:defRPr sz="1600" spc="0">
                <a:solidFill>
                  <a:schemeClr val="tx1"/>
                </a:solidFill>
                <a:latin typeface="Calibri" pitchFamily="34" charset="0"/>
                <a:cs typeface="Calibri" pitchFamily="34" charset="0"/>
              </a:defRPr>
            </a:lvl6pPr>
            <a:lvl7pPr>
              <a:defRPr sz="1600"/>
            </a:lvl7pPr>
          </a:lstStyle>
          <a:p>
            <a:pPr lvl="0"/>
            <a:endParaRPr lang="en-US" noProof="0" dirty="0"/>
          </a:p>
        </p:txBody>
      </p:sp>
    </p:spTree>
    <p:extLst>
      <p:ext uri="{BB962C8B-B14F-4D97-AF65-F5344CB8AC3E}">
        <p14:creationId xmlns:p14="http://schemas.microsoft.com/office/powerpoint/2010/main" val="39339847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with 2 text box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E93E76EB-A342-45E0-9B83-950E83ABECC6}"/>
              </a:ext>
            </a:extLst>
          </p:cNvPr>
          <p:cNvGraphicFramePr>
            <a:graphicFrameLocks noChangeAspect="1"/>
          </p:cNvGraphicFramePr>
          <p:nvPr userDrawn="1">
            <p:custDataLst>
              <p:tags r:id="rId2"/>
            </p:custDataLst>
          </p:nvPr>
        </p:nvGraphicFramePr>
        <p:xfrm>
          <a:off x="1996" y="1588"/>
          <a:ext cx="1996" cy="1588"/>
        </p:xfrm>
        <a:graphic>
          <a:graphicData uri="http://schemas.openxmlformats.org/presentationml/2006/ole">
            <mc:AlternateContent xmlns:mc="http://schemas.openxmlformats.org/markup-compatibility/2006">
              <mc:Choice xmlns:v="urn:schemas-microsoft-com:vml" Requires="v">
                <p:oleObj spid="_x0000_s17510" name="Diapositive think-cell" r:id="rId5" imgW="473" imgH="470" progId="TCLayout.ActiveDocument.1">
                  <p:embed/>
                </p:oleObj>
              </mc:Choice>
              <mc:Fallback>
                <p:oleObj name="Diapositive think-cell" r:id="rId5" imgW="473" imgH="470" progId="TCLayout.ActiveDocument.1">
                  <p:embed/>
                  <p:pic>
                    <p:nvPicPr>
                      <p:cNvPr id="3" name="Objet 2" hidden="1">
                        <a:extLst>
                          <a:ext uri="{FF2B5EF4-FFF2-40B4-BE49-F238E27FC236}">
                            <a16:creationId xmlns:a16="http://schemas.microsoft.com/office/drawing/2014/main" id="{E93E76EB-A342-45E0-9B83-950E83ABECC6}"/>
                          </a:ext>
                        </a:extLst>
                      </p:cNvPr>
                      <p:cNvPicPr/>
                      <p:nvPr/>
                    </p:nvPicPr>
                    <p:blipFill>
                      <a:blip r:embed="rId6"/>
                      <a:stretch>
                        <a:fillRect/>
                      </a:stretch>
                    </p:blipFill>
                    <p:spPr>
                      <a:xfrm>
                        <a:off x="1996" y="1588"/>
                        <a:ext cx="1996"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CA46389-5E45-415C-8481-E2E2A3E84F8A}"/>
              </a:ext>
            </a:extLst>
          </p:cNvPr>
          <p:cNvSpPr/>
          <p:nvPr userDrawn="1">
            <p:custDataLst>
              <p:tags r:id="rId3"/>
            </p:custDataLst>
          </p:nvPr>
        </p:nvSpPr>
        <p:spPr>
          <a:xfrm>
            <a:off x="0" y="0"/>
            <a:ext cx="199550" cy="158750"/>
          </a:xfrm>
          <a:prstGeom prst="rect">
            <a:avLst/>
          </a:prstGeom>
          <a:solidFill>
            <a:schemeClr val="tx2"/>
          </a:solidFill>
        </p:spPr>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200" b="1" i="0" baseline="0" dirty="0" err="1">
              <a:solidFill>
                <a:schemeClr val="bg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10" name="Title 6">
            <a:extLst>
              <a:ext uri="{FF2B5EF4-FFF2-40B4-BE49-F238E27FC236}">
                <a16:creationId xmlns:a16="http://schemas.microsoft.com/office/drawing/2014/main" id="{85D30E09-D509-42CF-81C1-9838AE482746}"/>
              </a:ext>
            </a:extLst>
          </p:cNvPr>
          <p:cNvSpPr>
            <a:spLocks noGrp="1"/>
          </p:cNvSpPr>
          <p:nvPr>
            <p:ph type="title" hasCustomPrompt="1"/>
          </p:nvPr>
        </p:nvSpPr>
        <p:spPr>
          <a:xfrm>
            <a:off x="609618" y="545662"/>
            <a:ext cx="12218110" cy="338554"/>
          </a:xfrm>
          <a:prstGeom prst="rect">
            <a:avLst/>
          </a:prstGeom>
        </p:spPr>
        <p:txBody>
          <a:bodyPr anchor="b" anchorCtr="0">
            <a:spAutoFit/>
          </a:bodyPr>
          <a:lstStyle>
            <a:lvl1pPr marL="0" algn="l">
              <a:spcBef>
                <a:spcPts val="0"/>
              </a:spcBef>
              <a:defRPr sz="2200" b="1" cap="none" spc="126" baseline="0">
                <a:solidFill>
                  <a:schemeClr val="tx2"/>
                </a:solidFill>
                <a:latin typeface="Calibri Light" panose="020F0302020204030204" pitchFamily="34" charset="0"/>
                <a:cs typeface="Calibri Light" panose="020F0302020204030204" pitchFamily="34" charset="0"/>
              </a:defRPr>
            </a:lvl1pPr>
          </a:lstStyle>
          <a:p>
            <a:r>
              <a:rPr lang="en-US" dirty="0"/>
              <a:t>Click to add title</a:t>
            </a:r>
          </a:p>
        </p:txBody>
      </p:sp>
      <p:sp>
        <p:nvSpPr>
          <p:cNvPr id="13" name="Text Placeholder 3">
            <a:extLst>
              <a:ext uri="{FF2B5EF4-FFF2-40B4-BE49-F238E27FC236}">
                <a16:creationId xmlns:a16="http://schemas.microsoft.com/office/drawing/2014/main" id="{C17FF2BA-8B8F-4C3C-9016-4F6DAFAB8D70}"/>
              </a:ext>
            </a:extLst>
          </p:cNvPr>
          <p:cNvSpPr>
            <a:spLocks noGrp="1"/>
          </p:cNvSpPr>
          <p:nvPr>
            <p:ph type="body" sz="quarter" idx="15" hasCustomPrompt="1"/>
          </p:nvPr>
        </p:nvSpPr>
        <p:spPr>
          <a:xfrm>
            <a:off x="609618" y="960054"/>
            <a:ext cx="12218110" cy="277290"/>
          </a:xfrm>
          <a:prstGeom prst="rect">
            <a:avLst/>
          </a:prstGeom>
        </p:spPr>
        <p:txBody>
          <a:bodyPr wrap="square">
            <a:noAutofit/>
          </a:bodyPr>
          <a:lstStyle>
            <a:lvl1pPr marL="0" indent="0" algn="l">
              <a:spcAft>
                <a:spcPts val="0"/>
              </a:spcAft>
              <a:buFontTx/>
              <a:buNone/>
              <a:defRPr sz="1800" b="1" cap="none" spc="126" baseline="0">
                <a:solidFill>
                  <a:schemeClr val="accent2"/>
                </a:solidFill>
                <a:latin typeface="Calibri Light" panose="020F0302020204030204" pitchFamily="34" charset="0"/>
                <a:cs typeface="Calibri Light" panose="020F0302020204030204" pitchFamily="34" charset="0"/>
              </a:defRPr>
            </a:lvl1pPr>
          </a:lstStyle>
          <a:p>
            <a:pPr lvl="0"/>
            <a:r>
              <a:rPr lang="en-US" dirty="0"/>
              <a:t>Click to add subtitle </a:t>
            </a:r>
            <a:endParaRPr lang="fr-FR" dirty="0"/>
          </a:p>
        </p:txBody>
      </p:sp>
      <p:sp>
        <p:nvSpPr>
          <p:cNvPr id="15" name="Text Placeholder 8">
            <a:extLst>
              <a:ext uri="{FF2B5EF4-FFF2-40B4-BE49-F238E27FC236}">
                <a16:creationId xmlns:a16="http://schemas.microsoft.com/office/drawing/2014/main" id="{4F34D793-910D-46D2-9D86-B78B1393B8BF}"/>
              </a:ext>
            </a:extLst>
          </p:cNvPr>
          <p:cNvSpPr>
            <a:spLocks noGrp="1"/>
          </p:cNvSpPr>
          <p:nvPr>
            <p:ph type="body" sz="quarter" idx="16"/>
          </p:nvPr>
        </p:nvSpPr>
        <p:spPr>
          <a:xfrm>
            <a:off x="609618" y="1483199"/>
            <a:ext cx="5792289" cy="5040000"/>
          </a:xfrm>
          <a:prstGeom prst="rect">
            <a:avLst/>
          </a:prstGeom>
        </p:spPr>
        <p:txBody>
          <a:bodyPr wrap="square">
            <a:noAutofit/>
          </a:bodyPr>
          <a:lstStyle>
            <a:lvl1pPr marL="362016" indent="-226260" algn="l">
              <a:spcBef>
                <a:spcPts val="754"/>
              </a:spcBef>
              <a:spcAft>
                <a:spcPts val="0"/>
              </a:spcAft>
              <a:buFont typeface="Wingdings" pitchFamily="2" charset="2"/>
              <a:buChar char="§"/>
              <a:defRPr sz="1600" b="0" spc="0" baseline="0">
                <a:solidFill>
                  <a:schemeClr val="tx1"/>
                </a:solidFill>
                <a:latin typeface="Calibri" pitchFamily="34" charset="0"/>
                <a:cs typeface="Calibri" pitchFamily="34" charset="0"/>
              </a:defRPr>
            </a:lvl1pPr>
            <a:lvl2pPr marL="497772" indent="-226260">
              <a:buFont typeface="Webdings" panose="05030102010509060703" pitchFamily="18" charset="2"/>
              <a:buChar char="4"/>
              <a:defRPr sz="1600" b="0">
                <a:solidFill>
                  <a:schemeClr val="tx1"/>
                </a:solidFill>
                <a:latin typeface="Calibri" pitchFamily="34" charset="0"/>
                <a:cs typeface="Calibri" pitchFamily="34" charset="0"/>
              </a:defRPr>
            </a:lvl2pPr>
            <a:lvl3pPr marL="814536" indent="-226260" algn="l">
              <a:spcBef>
                <a:spcPts val="754"/>
              </a:spcBef>
              <a:spcAft>
                <a:spcPts val="0"/>
              </a:spcAft>
              <a:buFont typeface="Calibri" panose="020F0502020204030204" pitchFamily="34" charset="0"/>
              <a:buChar char="̶"/>
              <a:defRPr lang="en-US" sz="1600" b="0" kern="1200" spc="0" noProof="0" dirty="0" smtClean="0">
                <a:solidFill>
                  <a:schemeClr val="tx1"/>
                </a:solidFill>
                <a:latin typeface="Calibri" pitchFamily="34" charset="0"/>
                <a:ea typeface="+mn-ea"/>
                <a:cs typeface="Calibri" pitchFamily="34" charset="0"/>
              </a:defRPr>
            </a:lvl3pPr>
            <a:lvl4pPr marL="1040796" indent="-226260" algn="l">
              <a:spcBef>
                <a:spcPts val="754"/>
              </a:spcBef>
              <a:spcAft>
                <a:spcPts val="0"/>
              </a:spcAft>
              <a:buFont typeface="Arial" panose="020B0604020202020204" pitchFamily="34" charset="0"/>
              <a:buChar char="•"/>
              <a:defRPr sz="1600" spc="0">
                <a:solidFill>
                  <a:schemeClr val="tx1"/>
                </a:solidFill>
                <a:latin typeface="Calibri" pitchFamily="34" charset="0"/>
                <a:cs typeface="Calibri" pitchFamily="34" charset="0"/>
              </a:defRPr>
            </a:lvl4pPr>
            <a:lvl5pPr marL="1267056" indent="-226260" algn="l">
              <a:spcBef>
                <a:spcPts val="754"/>
              </a:spcBef>
              <a:spcAft>
                <a:spcPts val="0"/>
              </a:spcAft>
              <a:buSzPct val="65000"/>
              <a:buFont typeface="Wingdings" panose="05000000000000000000" pitchFamily="2" charset="2"/>
              <a:buChar char="w"/>
              <a:defRPr lang="en-US" sz="1600" b="0" i="0" kern="1200" spc="0" baseline="0" noProof="0" dirty="0">
                <a:solidFill>
                  <a:schemeClr val="tx1"/>
                </a:solidFill>
                <a:latin typeface="Calibri" pitchFamily="34" charset="0"/>
                <a:ea typeface="+mn-ea"/>
                <a:cs typeface="Calibri" pitchFamily="34" charset="0"/>
              </a:defRPr>
            </a:lvl5pPr>
            <a:lvl6pPr marL="1493316" indent="-226260" algn="l">
              <a:spcBef>
                <a:spcPts val="754"/>
              </a:spcBef>
              <a:spcAft>
                <a:spcPts val="0"/>
              </a:spcAft>
              <a:buFont typeface="Wingdings" panose="05000000000000000000" pitchFamily="2" charset="2"/>
              <a:buChar char=""/>
              <a:defRPr sz="1600" spc="0">
                <a:solidFill>
                  <a:schemeClr val="tx1"/>
                </a:solidFill>
                <a:latin typeface="Calibri" pitchFamily="34" charset="0"/>
                <a:cs typeface="Calibri" pitchFamily="34" charset="0"/>
              </a:defRPr>
            </a:lvl6pPr>
            <a:lvl7pPr>
              <a:defRPr sz="1600"/>
            </a:lvl7pPr>
          </a:lstStyle>
          <a:p>
            <a:pPr lvl="0"/>
            <a:endParaRPr lang="en-US" noProof="0" dirty="0"/>
          </a:p>
        </p:txBody>
      </p:sp>
      <p:sp>
        <p:nvSpPr>
          <p:cNvPr id="11" name="Text Placeholder 4"/>
          <p:cNvSpPr>
            <a:spLocks noGrp="1"/>
          </p:cNvSpPr>
          <p:nvPr>
            <p:ph type="body" sz="quarter" idx="11" hasCustomPrompt="1"/>
          </p:nvPr>
        </p:nvSpPr>
        <p:spPr>
          <a:xfrm>
            <a:off x="609709" y="6842166"/>
            <a:ext cx="12218110" cy="153888"/>
          </a:xfrm>
        </p:spPr>
        <p:txBody>
          <a:bodyPr wrap="square" anchor="ctr">
            <a:noAutofit/>
          </a:bodyPr>
          <a:lstStyle>
            <a:lvl1pPr marL="135756" indent="0">
              <a:buNone/>
              <a:defRPr sz="1000" b="0" cap="none" spc="0" baseline="0">
                <a:solidFill>
                  <a:schemeClr val="tx1"/>
                </a:solidFill>
                <a:latin typeface="+mn-lt"/>
              </a:defRPr>
            </a:lvl1pPr>
            <a:lvl2pPr>
              <a:defRPr sz="1131" b="0" cap="none" baseline="0">
                <a:solidFill>
                  <a:schemeClr val="tx2"/>
                </a:solidFill>
              </a:defRPr>
            </a:lvl2pPr>
            <a:lvl3pPr>
              <a:defRPr sz="1131" b="0" cap="none" baseline="0">
                <a:solidFill>
                  <a:schemeClr val="tx2"/>
                </a:solidFill>
              </a:defRPr>
            </a:lvl3pPr>
            <a:lvl4pPr>
              <a:defRPr sz="1131" b="0" cap="none" baseline="0">
                <a:solidFill>
                  <a:schemeClr val="tx2"/>
                </a:solidFill>
              </a:defRPr>
            </a:lvl4pPr>
            <a:lvl5pPr>
              <a:defRPr sz="1131" b="0" cap="none" baseline="0">
                <a:solidFill>
                  <a:schemeClr val="tx2"/>
                </a:solidFill>
              </a:defRPr>
            </a:lvl5pPr>
          </a:lstStyle>
          <a:p>
            <a:pPr lvl="0"/>
            <a:r>
              <a:rPr lang="en-US" dirty="0"/>
              <a:t>Click to add comment</a:t>
            </a:r>
            <a:endParaRPr lang="fr-FR" dirty="0"/>
          </a:p>
        </p:txBody>
      </p:sp>
      <p:sp>
        <p:nvSpPr>
          <p:cNvPr id="12" name="object 23">
            <a:extLst>
              <a:ext uri="{FF2B5EF4-FFF2-40B4-BE49-F238E27FC236}">
                <a16:creationId xmlns:a16="http://schemas.microsoft.com/office/drawing/2014/main" id="{BCA3D42C-C9C0-4691-899E-AD83BD150BBE}"/>
              </a:ext>
            </a:extLst>
          </p:cNvPr>
          <p:cNvSpPr>
            <a:spLocks noChangeAspect="1"/>
          </p:cNvSpPr>
          <p:nvPr userDrawn="1"/>
        </p:nvSpPr>
        <p:spPr>
          <a:xfrm>
            <a:off x="1" y="0"/>
            <a:ext cx="484975" cy="1237344"/>
          </a:xfrm>
          <a:custGeom>
            <a:avLst/>
            <a:gdLst/>
            <a:ahLst/>
            <a:cxnLst/>
            <a:rect l="l" t="t" r="r" b="b"/>
            <a:pathLst>
              <a:path w="799465" h="1977389">
                <a:moveTo>
                  <a:pt x="798918" y="0"/>
                </a:moveTo>
                <a:lnTo>
                  <a:pt x="0" y="0"/>
                </a:lnTo>
                <a:lnTo>
                  <a:pt x="0" y="1977389"/>
                </a:lnTo>
                <a:lnTo>
                  <a:pt x="798918" y="0"/>
                </a:lnTo>
                <a:close/>
              </a:path>
            </a:pathLst>
          </a:custGeom>
          <a:solidFill>
            <a:schemeClr val="accent1"/>
          </a:solidFill>
        </p:spPr>
        <p:txBody>
          <a:bodyPr wrap="square" lIns="0" tIns="0" rIns="0" bIns="0" rtlCol="0"/>
          <a:lstStyle/>
          <a:p>
            <a:endParaRPr spc="100" baseline="0"/>
          </a:p>
        </p:txBody>
      </p:sp>
      <p:sp>
        <p:nvSpPr>
          <p:cNvPr id="14" name="Text Placeholder 8">
            <a:extLst>
              <a:ext uri="{FF2B5EF4-FFF2-40B4-BE49-F238E27FC236}">
                <a16:creationId xmlns:a16="http://schemas.microsoft.com/office/drawing/2014/main" id="{57BF88AB-9535-4BD7-80B4-1C732022D059}"/>
              </a:ext>
            </a:extLst>
          </p:cNvPr>
          <p:cNvSpPr>
            <a:spLocks noGrp="1"/>
          </p:cNvSpPr>
          <p:nvPr>
            <p:ph type="body" sz="quarter" idx="17"/>
          </p:nvPr>
        </p:nvSpPr>
        <p:spPr>
          <a:xfrm>
            <a:off x="7035439" y="1483199"/>
            <a:ext cx="5792289" cy="5040000"/>
          </a:xfrm>
          <a:prstGeom prst="rect">
            <a:avLst/>
          </a:prstGeom>
        </p:spPr>
        <p:txBody>
          <a:bodyPr wrap="square">
            <a:noAutofit/>
          </a:bodyPr>
          <a:lstStyle>
            <a:lvl1pPr marL="362016" indent="-226260" algn="l">
              <a:spcBef>
                <a:spcPts val="754"/>
              </a:spcBef>
              <a:spcAft>
                <a:spcPts val="0"/>
              </a:spcAft>
              <a:buFont typeface="Wingdings" pitchFamily="2" charset="2"/>
              <a:buChar char="§"/>
              <a:defRPr sz="1600" b="0" spc="0" baseline="0">
                <a:solidFill>
                  <a:schemeClr val="tx1"/>
                </a:solidFill>
                <a:latin typeface="Calibri" pitchFamily="34" charset="0"/>
                <a:cs typeface="Calibri" pitchFamily="34" charset="0"/>
              </a:defRPr>
            </a:lvl1pPr>
            <a:lvl2pPr marL="497772" indent="-226260">
              <a:buFont typeface="Webdings" panose="05030102010509060703" pitchFamily="18" charset="2"/>
              <a:buChar char="4"/>
              <a:defRPr sz="1600" b="0">
                <a:solidFill>
                  <a:schemeClr val="tx1"/>
                </a:solidFill>
                <a:latin typeface="Calibri" pitchFamily="34" charset="0"/>
                <a:cs typeface="Calibri" pitchFamily="34" charset="0"/>
              </a:defRPr>
            </a:lvl2pPr>
            <a:lvl3pPr marL="814536" indent="-226260" algn="l">
              <a:spcBef>
                <a:spcPts val="754"/>
              </a:spcBef>
              <a:spcAft>
                <a:spcPts val="0"/>
              </a:spcAft>
              <a:buFont typeface="Calibri" panose="020F0502020204030204" pitchFamily="34" charset="0"/>
              <a:buChar char="̶"/>
              <a:defRPr lang="en-US" sz="1600" b="0" kern="1200" spc="0" noProof="0" dirty="0" smtClean="0">
                <a:solidFill>
                  <a:schemeClr val="tx1"/>
                </a:solidFill>
                <a:latin typeface="Calibri" pitchFamily="34" charset="0"/>
                <a:ea typeface="+mn-ea"/>
                <a:cs typeface="Calibri" pitchFamily="34" charset="0"/>
              </a:defRPr>
            </a:lvl3pPr>
            <a:lvl4pPr marL="1040796" indent="-226260" algn="l">
              <a:spcBef>
                <a:spcPts val="754"/>
              </a:spcBef>
              <a:spcAft>
                <a:spcPts val="0"/>
              </a:spcAft>
              <a:buFont typeface="Arial" panose="020B0604020202020204" pitchFamily="34" charset="0"/>
              <a:buChar char="•"/>
              <a:defRPr sz="1600" spc="0">
                <a:solidFill>
                  <a:schemeClr val="tx1"/>
                </a:solidFill>
                <a:latin typeface="Calibri" pitchFamily="34" charset="0"/>
                <a:cs typeface="Calibri" pitchFamily="34" charset="0"/>
              </a:defRPr>
            </a:lvl4pPr>
            <a:lvl5pPr marL="1267056" indent="-226260" algn="l">
              <a:spcBef>
                <a:spcPts val="754"/>
              </a:spcBef>
              <a:spcAft>
                <a:spcPts val="0"/>
              </a:spcAft>
              <a:buSzPct val="65000"/>
              <a:buFont typeface="Wingdings" panose="05000000000000000000" pitchFamily="2" charset="2"/>
              <a:buChar char="w"/>
              <a:defRPr lang="en-US" sz="1600" b="0" i="0" kern="1200" spc="0" baseline="0" noProof="0" dirty="0">
                <a:solidFill>
                  <a:schemeClr val="tx1"/>
                </a:solidFill>
                <a:latin typeface="Calibri" pitchFamily="34" charset="0"/>
                <a:ea typeface="+mn-ea"/>
                <a:cs typeface="Calibri" pitchFamily="34" charset="0"/>
              </a:defRPr>
            </a:lvl5pPr>
            <a:lvl6pPr marL="1493316" indent="-226260" algn="l">
              <a:spcBef>
                <a:spcPts val="754"/>
              </a:spcBef>
              <a:spcAft>
                <a:spcPts val="0"/>
              </a:spcAft>
              <a:buFont typeface="Wingdings" panose="05000000000000000000" pitchFamily="2" charset="2"/>
              <a:buChar char=""/>
              <a:defRPr sz="1600" spc="0">
                <a:solidFill>
                  <a:schemeClr val="tx1"/>
                </a:solidFill>
                <a:latin typeface="Calibri" pitchFamily="34" charset="0"/>
                <a:cs typeface="Calibri" pitchFamily="34" charset="0"/>
              </a:defRPr>
            </a:lvl6pPr>
            <a:lvl7pPr>
              <a:defRPr sz="1600"/>
            </a:lvl7pPr>
          </a:lstStyle>
          <a:p>
            <a:pPr lvl="0"/>
            <a:endParaRPr lang="en-US" noProof="0" dirty="0"/>
          </a:p>
        </p:txBody>
      </p:sp>
    </p:spTree>
    <p:extLst>
      <p:ext uri="{BB962C8B-B14F-4D97-AF65-F5344CB8AC3E}">
        <p14:creationId xmlns:p14="http://schemas.microsoft.com/office/powerpoint/2010/main" val="33135060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E93E76EB-A342-45E0-9B83-950E83ABECC6}"/>
              </a:ext>
            </a:extLst>
          </p:cNvPr>
          <p:cNvGraphicFramePr>
            <a:graphicFrameLocks noChangeAspect="1"/>
          </p:cNvGraphicFramePr>
          <p:nvPr userDrawn="1">
            <p:custDataLst>
              <p:tags r:id="rId2"/>
            </p:custDataLst>
          </p:nvPr>
        </p:nvGraphicFramePr>
        <p:xfrm>
          <a:off x="1996" y="1588"/>
          <a:ext cx="1996" cy="1588"/>
        </p:xfrm>
        <a:graphic>
          <a:graphicData uri="http://schemas.openxmlformats.org/presentationml/2006/ole">
            <mc:AlternateContent xmlns:mc="http://schemas.openxmlformats.org/markup-compatibility/2006">
              <mc:Choice xmlns:v="urn:schemas-microsoft-com:vml" Requires="v">
                <p:oleObj spid="_x0000_s18534" name="Diapositive think-cell" r:id="rId5" imgW="473" imgH="470" progId="TCLayout.ActiveDocument.1">
                  <p:embed/>
                </p:oleObj>
              </mc:Choice>
              <mc:Fallback>
                <p:oleObj name="Diapositive think-cell" r:id="rId5" imgW="473" imgH="470" progId="TCLayout.ActiveDocument.1">
                  <p:embed/>
                  <p:pic>
                    <p:nvPicPr>
                      <p:cNvPr id="3" name="Objet 2" hidden="1">
                        <a:extLst>
                          <a:ext uri="{FF2B5EF4-FFF2-40B4-BE49-F238E27FC236}">
                            <a16:creationId xmlns:a16="http://schemas.microsoft.com/office/drawing/2014/main" id="{E93E76EB-A342-45E0-9B83-950E83ABECC6}"/>
                          </a:ext>
                        </a:extLst>
                      </p:cNvPr>
                      <p:cNvPicPr/>
                      <p:nvPr/>
                    </p:nvPicPr>
                    <p:blipFill>
                      <a:blip r:embed="rId6"/>
                      <a:stretch>
                        <a:fillRect/>
                      </a:stretch>
                    </p:blipFill>
                    <p:spPr>
                      <a:xfrm>
                        <a:off x="1996" y="1588"/>
                        <a:ext cx="1996"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CA46389-5E45-415C-8481-E2E2A3E84F8A}"/>
              </a:ext>
            </a:extLst>
          </p:cNvPr>
          <p:cNvSpPr/>
          <p:nvPr userDrawn="1">
            <p:custDataLst>
              <p:tags r:id="rId3"/>
            </p:custDataLst>
          </p:nvPr>
        </p:nvSpPr>
        <p:spPr>
          <a:xfrm>
            <a:off x="0" y="0"/>
            <a:ext cx="199550" cy="158750"/>
          </a:xfrm>
          <a:prstGeom prst="rect">
            <a:avLst/>
          </a:prstGeom>
          <a:solidFill>
            <a:schemeClr val="tx2"/>
          </a:solidFill>
        </p:spPr>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200" b="1" i="0" baseline="0" dirty="0" err="1">
              <a:solidFill>
                <a:schemeClr val="bg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10" name="Title 6">
            <a:extLst>
              <a:ext uri="{FF2B5EF4-FFF2-40B4-BE49-F238E27FC236}">
                <a16:creationId xmlns:a16="http://schemas.microsoft.com/office/drawing/2014/main" id="{85D30E09-D509-42CF-81C1-9838AE482746}"/>
              </a:ext>
            </a:extLst>
          </p:cNvPr>
          <p:cNvSpPr>
            <a:spLocks noGrp="1"/>
          </p:cNvSpPr>
          <p:nvPr>
            <p:ph type="title" hasCustomPrompt="1"/>
          </p:nvPr>
        </p:nvSpPr>
        <p:spPr>
          <a:xfrm>
            <a:off x="609618" y="545662"/>
            <a:ext cx="12218110" cy="338554"/>
          </a:xfrm>
          <a:prstGeom prst="rect">
            <a:avLst/>
          </a:prstGeom>
        </p:spPr>
        <p:txBody>
          <a:bodyPr anchor="b" anchorCtr="0">
            <a:spAutoFit/>
          </a:bodyPr>
          <a:lstStyle>
            <a:lvl1pPr marL="0" algn="l">
              <a:spcBef>
                <a:spcPts val="0"/>
              </a:spcBef>
              <a:defRPr sz="2200" b="1" cap="none" spc="126" baseline="0">
                <a:solidFill>
                  <a:schemeClr val="tx2"/>
                </a:solidFill>
                <a:latin typeface="Calibri Light" panose="020F0302020204030204" pitchFamily="34" charset="0"/>
                <a:cs typeface="Calibri Light" panose="020F0302020204030204" pitchFamily="34" charset="0"/>
              </a:defRPr>
            </a:lvl1pPr>
          </a:lstStyle>
          <a:p>
            <a:r>
              <a:rPr lang="en-US" dirty="0"/>
              <a:t>Click to add title</a:t>
            </a:r>
          </a:p>
        </p:txBody>
      </p:sp>
      <p:sp>
        <p:nvSpPr>
          <p:cNvPr id="13" name="Text Placeholder 3">
            <a:extLst>
              <a:ext uri="{FF2B5EF4-FFF2-40B4-BE49-F238E27FC236}">
                <a16:creationId xmlns:a16="http://schemas.microsoft.com/office/drawing/2014/main" id="{C17FF2BA-8B8F-4C3C-9016-4F6DAFAB8D70}"/>
              </a:ext>
            </a:extLst>
          </p:cNvPr>
          <p:cNvSpPr>
            <a:spLocks noGrp="1"/>
          </p:cNvSpPr>
          <p:nvPr>
            <p:ph type="body" sz="quarter" idx="15" hasCustomPrompt="1"/>
          </p:nvPr>
        </p:nvSpPr>
        <p:spPr>
          <a:xfrm>
            <a:off x="609618" y="960054"/>
            <a:ext cx="12218110" cy="277290"/>
          </a:xfrm>
          <a:prstGeom prst="rect">
            <a:avLst/>
          </a:prstGeom>
        </p:spPr>
        <p:txBody>
          <a:bodyPr wrap="square">
            <a:noAutofit/>
          </a:bodyPr>
          <a:lstStyle>
            <a:lvl1pPr marL="0" indent="0" algn="l">
              <a:spcAft>
                <a:spcPts val="0"/>
              </a:spcAft>
              <a:buFontTx/>
              <a:buNone/>
              <a:defRPr sz="1800" b="1" cap="none" spc="126" baseline="0">
                <a:solidFill>
                  <a:schemeClr val="accent2"/>
                </a:solidFill>
                <a:latin typeface="Calibri Light" panose="020F0302020204030204" pitchFamily="34" charset="0"/>
                <a:cs typeface="Calibri Light" panose="020F0302020204030204" pitchFamily="34" charset="0"/>
              </a:defRPr>
            </a:lvl1pPr>
          </a:lstStyle>
          <a:p>
            <a:pPr lvl="0"/>
            <a:r>
              <a:rPr lang="en-US" dirty="0"/>
              <a:t>Click to add subtitle </a:t>
            </a:r>
            <a:endParaRPr lang="fr-FR" dirty="0"/>
          </a:p>
        </p:txBody>
      </p:sp>
      <p:sp>
        <p:nvSpPr>
          <p:cNvPr id="14" name="Text Placeholder 4"/>
          <p:cNvSpPr>
            <a:spLocks noGrp="1"/>
          </p:cNvSpPr>
          <p:nvPr>
            <p:ph type="body" sz="quarter" idx="11" hasCustomPrompt="1"/>
          </p:nvPr>
        </p:nvSpPr>
        <p:spPr>
          <a:xfrm>
            <a:off x="609709" y="6842166"/>
            <a:ext cx="12218110" cy="153888"/>
          </a:xfrm>
        </p:spPr>
        <p:txBody>
          <a:bodyPr wrap="square" anchor="ctr">
            <a:noAutofit/>
          </a:bodyPr>
          <a:lstStyle>
            <a:lvl1pPr marL="135756" indent="0">
              <a:buNone/>
              <a:defRPr sz="1000" b="0" cap="none" spc="0" baseline="0">
                <a:solidFill>
                  <a:schemeClr val="tx1"/>
                </a:solidFill>
                <a:latin typeface="+mn-lt"/>
              </a:defRPr>
            </a:lvl1pPr>
            <a:lvl2pPr>
              <a:defRPr sz="1131" b="0" cap="none" baseline="0">
                <a:solidFill>
                  <a:schemeClr val="tx2"/>
                </a:solidFill>
              </a:defRPr>
            </a:lvl2pPr>
            <a:lvl3pPr>
              <a:defRPr sz="1131" b="0" cap="none" baseline="0">
                <a:solidFill>
                  <a:schemeClr val="tx2"/>
                </a:solidFill>
              </a:defRPr>
            </a:lvl3pPr>
            <a:lvl4pPr>
              <a:defRPr sz="1131" b="0" cap="none" baseline="0">
                <a:solidFill>
                  <a:schemeClr val="tx2"/>
                </a:solidFill>
              </a:defRPr>
            </a:lvl4pPr>
            <a:lvl5pPr>
              <a:defRPr sz="1131" b="0" cap="none" baseline="0">
                <a:solidFill>
                  <a:schemeClr val="tx2"/>
                </a:solidFill>
              </a:defRPr>
            </a:lvl5pPr>
          </a:lstStyle>
          <a:p>
            <a:pPr lvl="0"/>
            <a:r>
              <a:rPr lang="en-US" dirty="0"/>
              <a:t>Click to add comment</a:t>
            </a:r>
            <a:endParaRPr lang="fr-FR" dirty="0"/>
          </a:p>
        </p:txBody>
      </p:sp>
      <p:sp>
        <p:nvSpPr>
          <p:cNvPr id="8" name="object 23">
            <a:extLst>
              <a:ext uri="{FF2B5EF4-FFF2-40B4-BE49-F238E27FC236}">
                <a16:creationId xmlns:a16="http://schemas.microsoft.com/office/drawing/2014/main" id="{BD7B8096-5437-48F9-8BC7-C269B5BABFF0}"/>
              </a:ext>
            </a:extLst>
          </p:cNvPr>
          <p:cNvSpPr>
            <a:spLocks noChangeAspect="1"/>
          </p:cNvSpPr>
          <p:nvPr userDrawn="1"/>
        </p:nvSpPr>
        <p:spPr>
          <a:xfrm>
            <a:off x="1" y="0"/>
            <a:ext cx="484975" cy="1237344"/>
          </a:xfrm>
          <a:custGeom>
            <a:avLst/>
            <a:gdLst/>
            <a:ahLst/>
            <a:cxnLst/>
            <a:rect l="l" t="t" r="r" b="b"/>
            <a:pathLst>
              <a:path w="799465" h="1977389">
                <a:moveTo>
                  <a:pt x="798918" y="0"/>
                </a:moveTo>
                <a:lnTo>
                  <a:pt x="0" y="0"/>
                </a:lnTo>
                <a:lnTo>
                  <a:pt x="0" y="1977389"/>
                </a:lnTo>
                <a:lnTo>
                  <a:pt x="798918" y="0"/>
                </a:lnTo>
                <a:close/>
              </a:path>
            </a:pathLst>
          </a:custGeom>
          <a:solidFill>
            <a:schemeClr val="accent1"/>
          </a:solidFill>
        </p:spPr>
        <p:txBody>
          <a:bodyPr wrap="square" lIns="0" tIns="0" rIns="0" bIns="0" rtlCol="0"/>
          <a:lstStyle/>
          <a:p>
            <a:endParaRPr spc="100" baseline="0"/>
          </a:p>
        </p:txBody>
      </p:sp>
    </p:spTree>
    <p:extLst>
      <p:ext uri="{BB962C8B-B14F-4D97-AF65-F5344CB8AC3E}">
        <p14:creationId xmlns:p14="http://schemas.microsoft.com/office/powerpoint/2010/main" val="34397376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5C7A1C2-09A5-4F1E-902A-F7A8E9B4B76C}"/>
              </a:ext>
            </a:extLst>
          </p:cNvPr>
          <p:cNvGraphicFramePr>
            <a:graphicFrameLocks noChangeAspect="1"/>
          </p:cNvGraphicFramePr>
          <p:nvPr userDrawn="1">
            <p:custDataLst>
              <p:tags r:id="rId2"/>
            </p:custDataLst>
          </p:nvPr>
        </p:nvGraphicFramePr>
        <p:xfrm>
          <a:off x="1996" y="1588"/>
          <a:ext cx="1996" cy="1588"/>
        </p:xfrm>
        <a:graphic>
          <a:graphicData uri="http://schemas.openxmlformats.org/presentationml/2006/ole">
            <mc:AlternateContent xmlns:mc="http://schemas.openxmlformats.org/markup-compatibility/2006">
              <mc:Choice xmlns:v="urn:schemas-microsoft-com:vml" Requires="v">
                <p:oleObj spid="_x0000_s19558" name="Diapositive think-cell" r:id="rId5" imgW="473" imgH="470" progId="TCLayout.ActiveDocument.1">
                  <p:embed/>
                </p:oleObj>
              </mc:Choice>
              <mc:Fallback>
                <p:oleObj name="Diapositive think-cell" r:id="rId5" imgW="473" imgH="470" progId="TCLayout.ActiveDocument.1">
                  <p:embed/>
                  <p:pic>
                    <p:nvPicPr>
                      <p:cNvPr id="5" name="Objet 4" hidden="1">
                        <a:extLst>
                          <a:ext uri="{FF2B5EF4-FFF2-40B4-BE49-F238E27FC236}">
                            <a16:creationId xmlns:a16="http://schemas.microsoft.com/office/drawing/2014/main" id="{65C7A1C2-09A5-4F1E-902A-F7A8E9B4B76C}"/>
                          </a:ext>
                        </a:extLst>
                      </p:cNvPr>
                      <p:cNvPicPr/>
                      <p:nvPr/>
                    </p:nvPicPr>
                    <p:blipFill>
                      <a:blip r:embed="rId6"/>
                      <a:stretch>
                        <a:fillRect/>
                      </a:stretch>
                    </p:blipFill>
                    <p:spPr>
                      <a:xfrm>
                        <a:off x="1996" y="1588"/>
                        <a:ext cx="1996"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D645FE-EAF4-4EC9-B6AF-A31971AD21E4}"/>
              </a:ext>
            </a:extLst>
          </p:cNvPr>
          <p:cNvSpPr/>
          <p:nvPr userDrawn="1">
            <p:custDataLst>
              <p:tags r:id="rId3"/>
            </p:custDataLst>
          </p:nvPr>
        </p:nvSpPr>
        <p:spPr>
          <a:xfrm>
            <a:off x="0" y="0"/>
            <a:ext cx="199550" cy="158750"/>
          </a:xfrm>
          <a:prstGeom prst="rect">
            <a:avLst/>
          </a:prstGeom>
          <a:solidFill>
            <a:schemeClr val="tx2"/>
          </a:solidFill>
        </p:spPr>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200" b="1" i="0" baseline="0" dirty="0" err="1">
              <a:solidFill>
                <a:schemeClr val="bg1"/>
              </a:solidFill>
              <a:latin typeface="Calibri Light" panose="020F0302020204030204" pitchFamily="34" charset="0"/>
              <a:ea typeface="+mj-ea"/>
              <a:cs typeface="Arial" panose="020B0604020202020204" pitchFamily="34" charset="0"/>
              <a:sym typeface="Calibri Light" panose="020F0302020204030204" pitchFamily="34" charset="0"/>
            </a:endParaRPr>
          </a:p>
        </p:txBody>
      </p:sp>
      <p:sp>
        <p:nvSpPr>
          <p:cNvPr id="38" name="Title 6"/>
          <p:cNvSpPr>
            <a:spLocks noGrp="1"/>
          </p:cNvSpPr>
          <p:nvPr userDrawn="1">
            <p:ph type="title" hasCustomPrompt="1"/>
          </p:nvPr>
        </p:nvSpPr>
        <p:spPr>
          <a:xfrm>
            <a:off x="5285900" y="545309"/>
            <a:ext cx="7541828" cy="285632"/>
          </a:xfrm>
          <a:prstGeom prst="rect">
            <a:avLst/>
          </a:prstGeom>
        </p:spPr>
        <p:txBody>
          <a:bodyPr anchor="b" anchorCtr="0">
            <a:noAutofit/>
          </a:bodyPr>
          <a:lstStyle>
            <a:lvl1pPr marL="0">
              <a:spcBef>
                <a:spcPts val="0"/>
              </a:spcBef>
              <a:defRPr sz="2200" b="1" cap="none" spc="126" baseline="0">
                <a:solidFill>
                  <a:schemeClr val="tx2"/>
                </a:solidFill>
                <a:latin typeface="+mj-lt"/>
              </a:defRPr>
            </a:lvl1pPr>
          </a:lstStyle>
          <a:p>
            <a:r>
              <a:rPr lang="en-US" dirty="0"/>
              <a:t>Click to add title </a:t>
            </a:r>
          </a:p>
        </p:txBody>
      </p:sp>
      <p:sp>
        <p:nvSpPr>
          <p:cNvPr id="40" name="Text Placeholder 3"/>
          <p:cNvSpPr>
            <a:spLocks noGrp="1"/>
          </p:cNvSpPr>
          <p:nvPr userDrawn="1">
            <p:ph type="body" sz="quarter" idx="15" hasCustomPrompt="1"/>
          </p:nvPr>
        </p:nvSpPr>
        <p:spPr>
          <a:xfrm>
            <a:off x="5286997" y="960347"/>
            <a:ext cx="7540731" cy="233454"/>
          </a:xfrm>
          <a:prstGeom prst="rect">
            <a:avLst/>
          </a:prstGeom>
        </p:spPr>
        <p:txBody>
          <a:bodyPr wrap="square">
            <a:noAutofit/>
          </a:bodyPr>
          <a:lstStyle>
            <a:lvl1pPr marL="0" indent="0">
              <a:spcAft>
                <a:spcPts val="0"/>
              </a:spcAft>
              <a:buNone/>
              <a:defRPr sz="1800" b="1" cap="none" spc="126" baseline="0">
                <a:solidFill>
                  <a:schemeClr val="accent2"/>
                </a:solidFill>
                <a:latin typeface="+mj-lt"/>
              </a:defRPr>
            </a:lvl1pPr>
          </a:lstStyle>
          <a:p>
            <a:pPr lvl="0"/>
            <a:r>
              <a:rPr lang="en-US" dirty="0"/>
              <a:t>Click to add subtitle </a:t>
            </a:r>
            <a:endParaRPr lang="fr-FR" dirty="0"/>
          </a:p>
        </p:txBody>
      </p:sp>
      <p:sp>
        <p:nvSpPr>
          <p:cNvPr id="3" name="Text Placeholder 2"/>
          <p:cNvSpPr>
            <a:spLocks noGrp="1" noChangeAspect="1"/>
          </p:cNvSpPr>
          <p:nvPr userDrawn="1">
            <p:ph type="body" sz="quarter" idx="17" hasCustomPrompt="1"/>
          </p:nvPr>
        </p:nvSpPr>
        <p:spPr>
          <a:xfrm>
            <a:off x="5286997" y="3859551"/>
            <a:ext cx="7540731" cy="307777"/>
          </a:xfrm>
          <a:prstGeom prst="rect">
            <a:avLst/>
          </a:prstGeom>
        </p:spPr>
        <p:txBody>
          <a:bodyPr wrap="square" anchor="ctr">
            <a:spAutoFit/>
          </a:bodyPr>
          <a:lstStyle>
            <a:lvl1pPr marL="135756" indent="0" algn="r">
              <a:buNone/>
              <a:defRPr sz="2000" b="0" cap="none" spc="126" baseline="0">
                <a:solidFill>
                  <a:schemeClr val="tx2"/>
                </a:solidFill>
                <a:latin typeface="+mn-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dirty="0"/>
              <a:t>Click to add text</a:t>
            </a:r>
          </a:p>
        </p:txBody>
      </p:sp>
      <p:sp>
        <p:nvSpPr>
          <p:cNvPr id="8" name="Picture Placeholder 3">
            <a:extLst>
              <a:ext uri="{FF2B5EF4-FFF2-40B4-BE49-F238E27FC236}">
                <a16:creationId xmlns:a16="http://schemas.microsoft.com/office/drawing/2014/main" id="{0C7D8EF3-4E56-4965-9488-AE26D53DCF3C}"/>
              </a:ext>
            </a:extLst>
          </p:cNvPr>
          <p:cNvSpPr>
            <a:spLocks noGrp="1"/>
          </p:cNvSpPr>
          <p:nvPr>
            <p:ph type="pic" sz="quarter" idx="19" hasCustomPrompt="1"/>
          </p:nvPr>
        </p:nvSpPr>
        <p:spPr>
          <a:xfrm>
            <a:off x="-11211" y="-7230"/>
            <a:ext cx="4968000" cy="7560000"/>
          </a:xfrm>
          <a:custGeom>
            <a:avLst/>
            <a:gdLst>
              <a:gd name="connsiteX0" fmla="*/ 0 w 6324600"/>
              <a:gd name="connsiteY0" fmla="*/ 5589064 h 5589064"/>
              <a:gd name="connsiteX1" fmla="*/ 2236967 w 6324600"/>
              <a:gd name="connsiteY1" fmla="*/ 0 h 5589064"/>
              <a:gd name="connsiteX2" fmla="*/ 6324600 w 6324600"/>
              <a:gd name="connsiteY2" fmla="*/ 0 h 5589064"/>
              <a:gd name="connsiteX3" fmla="*/ 4087633 w 6324600"/>
              <a:gd name="connsiteY3" fmla="*/ 5589064 h 5589064"/>
              <a:gd name="connsiteX4" fmla="*/ 0 w 6324600"/>
              <a:gd name="connsiteY4" fmla="*/ 5589064 h 5589064"/>
              <a:gd name="connsiteX0" fmla="*/ 0 w 6384618"/>
              <a:gd name="connsiteY0" fmla="*/ 5592595 h 5592595"/>
              <a:gd name="connsiteX1" fmla="*/ 2236967 w 6384618"/>
              <a:gd name="connsiteY1" fmla="*/ 3531 h 5592595"/>
              <a:gd name="connsiteX2" fmla="*/ 6384618 w 6384618"/>
              <a:gd name="connsiteY2" fmla="*/ 0 h 5592595"/>
              <a:gd name="connsiteX3" fmla="*/ 4087633 w 6384618"/>
              <a:gd name="connsiteY3" fmla="*/ 5592595 h 5592595"/>
              <a:gd name="connsiteX4" fmla="*/ 0 w 6384618"/>
              <a:gd name="connsiteY4" fmla="*/ 5592595 h 5592595"/>
              <a:gd name="connsiteX0" fmla="*/ 0 w 6384618"/>
              <a:gd name="connsiteY0" fmla="*/ 5592595 h 5599656"/>
              <a:gd name="connsiteX1" fmla="*/ 2236967 w 6384618"/>
              <a:gd name="connsiteY1" fmla="*/ 3531 h 5599656"/>
              <a:gd name="connsiteX2" fmla="*/ 6384618 w 6384618"/>
              <a:gd name="connsiteY2" fmla="*/ 0 h 5599656"/>
              <a:gd name="connsiteX3" fmla="*/ 4129999 w 6384618"/>
              <a:gd name="connsiteY3" fmla="*/ 5599656 h 5599656"/>
              <a:gd name="connsiteX4" fmla="*/ 0 w 6384618"/>
              <a:gd name="connsiteY4" fmla="*/ 5592595 h 5599656"/>
              <a:gd name="connsiteX0" fmla="*/ 41413 w 4147651"/>
              <a:gd name="connsiteY0" fmla="*/ 5604025 h 5604025"/>
              <a:gd name="connsiteX1" fmla="*/ 0 w 4147651"/>
              <a:gd name="connsiteY1" fmla="*/ 3531 h 5604025"/>
              <a:gd name="connsiteX2" fmla="*/ 4147651 w 4147651"/>
              <a:gd name="connsiteY2" fmla="*/ 0 h 5604025"/>
              <a:gd name="connsiteX3" fmla="*/ 1893032 w 4147651"/>
              <a:gd name="connsiteY3" fmla="*/ 5599656 h 5604025"/>
              <a:gd name="connsiteX4" fmla="*/ 41413 w 4147651"/>
              <a:gd name="connsiteY4" fmla="*/ 5604025 h 5604025"/>
              <a:gd name="connsiteX0" fmla="*/ 0 w 4106238"/>
              <a:gd name="connsiteY0" fmla="*/ 5604304 h 5604304"/>
              <a:gd name="connsiteX1" fmla="*/ 497 w 4106238"/>
              <a:gd name="connsiteY1" fmla="*/ 0 h 5604304"/>
              <a:gd name="connsiteX2" fmla="*/ 4106238 w 4106238"/>
              <a:gd name="connsiteY2" fmla="*/ 279 h 5604304"/>
              <a:gd name="connsiteX3" fmla="*/ 1851619 w 4106238"/>
              <a:gd name="connsiteY3" fmla="*/ 5599935 h 5604304"/>
              <a:gd name="connsiteX4" fmla="*/ 0 w 4106238"/>
              <a:gd name="connsiteY4" fmla="*/ 5604304 h 5604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6238" h="5604304">
                <a:moveTo>
                  <a:pt x="0" y="5604304"/>
                </a:moveTo>
                <a:cubicBezTo>
                  <a:pt x="166" y="3736203"/>
                  <a:pt x="331" y="1868101"/>
                  <a:pt x="497" y="0"/>
                </a:cubicBezTo>
                <a:lnTo>
                  <a:pt x="4106238" y="279"/>
                </a:lnTo>
                <a:lnTo>
                  <a:pt x="1851619" y="5599935"/>
                </a:lnTo>
                <a:lnTo>
                  <a:pt x="0" y="5604304"/>
                </a:lnTo>
                <a:close/>
              </a:path>
            </a:pathLst>
          </a:custGeom>
          <a:ln>
            <a:noFill/>
          </a:ln>
        </p:spPr>
        <p:txBody>
          <a:bodyPr anchor="ctr"/>
          <a:lstStyle>
            <a:lvl1pPr marL="290827" indent="0" algn="l">
              <a:buNone/>
              <a:defRPr baseline="0"/>
            </a:lvl1pPr>
          </a:lstStyle>
          <a:p>
            <a:r>
              <a:rPr lang="fr-FR" dirty="0" err="1"/>
              <a:t>Add</a:t>
            </a:r>
            <a:r>
              <a:rPr lang="fr-FR" dirty="0"/>
              <a:t> Picture</a:t>
            </a:r>
          </a:p>
        </p:txBody>
      </p:sp>
    </p:spTree>
    <p:extLst>
      <p:ext uri="{BB962C8B-B14F-4D97-AF65-F5344CB8AC3E}">
        <p14:creationId xmlns:p14="http://schemas.microsoft.com/office/powerpoint/2010/main" val="34345307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ink-cell agenda">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E8EDB328-C9E5-4C49-A643-A95F0A6CB10C}"/>
              </a:ext>
            </a:extLst>
          </p:cNvPr>
          <p:cNvGraphicFramePr>
            <a:graphicFrameLocks noChangeAspect="1"/>
          </p:cNvGraphicFramePr>
          <p:nvPr userDrawn="1">
            <p:custDataLst>
              <p:tags r:id="rId2"/>
            </p:custDataLst>
            <p:extLst>
              <p:ext uri="{D42A27DB-BD31-4B8C-83A1-F6EECF244321}">
                <p14:modId xmlns:p14="http://schemas.microsoft.com/office/powerpoint/2010/main" val="4136512228"/>
              </p:ext>
            </p:extLst>
          </p:nvPr>
        </p:nvGraphicFramePr>
        <p:xfrm>
          <a:off x="1996" y="1588"/>
          <a:ext cx="1996" cy="1588"/>
        </p:xfrm>
        <a:graphic>
          <a:graphicData uri="http://schemas.openxmlformats.org/presentationml/2006/ole">
            <mc:AlternateContent xmlns:mc="http://schemas.openxmlformats.org/markup-compatibility/2006">
              <mc:Choice xmlns:v="urn:schemas-microsoft-com:vml" Requires="v">
                <p:oleObj spid="_x0000_s20584" name="Diapositive think-cell" r:id="rId4" imgW="473" imgH="470" progId="TCLayout.ActiveDocument.1">
                  <p:embed/>
                </p:oleObj>
              </mc:Choice>
              <mc:Fallback>
                <p:oleObj name="Diapositive think-cell" r:id="rId4" imgW="473" imgH="470" progId="TCLayout.ActiveDocument.1">
                  <p:embed/>
                  <p:pic>
                    <p:nvPicPr>
                      <p:cNvPr id="3" name="Objet 2" hidden="1">
                        <a:extLst>
                          <a:ext uri="{FF2B5EF4-FFF2-40B4-BE49-F238E27FC236}">
                            <a16:creationId xmlns:a16="http://schemas.microsoft.com/office/drawing/2014/main" id="{E8EDB328-C9E5-4C49-A643-A95F0A6CB10C}"/>
                          </a:ext>
                        </a:extLst>
                      </p:cNvPr>
                      <p:cNvPicPr/>
                      <p:nvPr/>
                    </p:nvPicPr>
                    <p:blipFill>
                      <a:blip r:embed="rId5"/>
                      <a:stretch>
                        <a:fillRect/>
                      </a:stretch>
                    </p:blipFill>
                    <p:spPr>
                      <a:xfrm>
                        <a:off x="1996" y="1588"/>
                        <a:ext cx="1996" cy="1588"/>
                      </a:xfrm>
                      <a:prstGeom prst="rect">
                        <a:avLst/>
                      </a:prstGeom>
                    </p:spPr>
                  </p:pic>
                </p:oleObj>
              </mc:Fallback>
            </mc:AlternateContent>
          </a:graphicData>
        </a:graphic>
      </p:graphicFrame>
      <p:sp>
        <p:nvSpPr>
          <p:cNvPr id="7" name="object 2"/>
          <p:cNvSpPr/>
          <p:nvPr userDrawn="1"/>
        </p:nvSpPr>
        <p:spPr>
          <a:xfrm>
            <a:off x="1" y="3176"/>
            <a:ext cx="4701600" cy="7566025"/>
          </a:xfrm>
          <a:custGeom>
            <a:avLst/>
            <a:gdLst/>
            <a:ahLst/>
            <a:cxnLst/>
            <a:rect l="l" t="t" r="r" b="b"/>
            <a:pathLst>
              <a:path w="7137400" h="9144000">
                <a:moveTo>
                  <a:pt x="7136879" y="0"/>
                </a:moveTo>
                <a:lnTo>
                  <a:pt x="794283" y="0"/>
                </a:lnTo>
                <a:lnTo>
                  <a:pt x="0" y="1965934"/>
                </a:lnTo>
                <a:lnTo>
                  <a:pt x="0" y="9144000"/>
                </a:lnTo>
                <a:lnTo>
                  <a:pt x="3442462" y="9144000"/>
                </a:lnTo>
                <a:lnTo>
                  <a:pt x="7136879" y="0"/>
                </a:lnTo>
                <a:close/>
              </a:path>
            </a:pathLst>
          </a:custGeom>
          <a:solidFill>
            <a:schemeClr val="tx2"/>
          </a:solidFill>
        </p:spPr>
        <p:txBody>
          <a:bodyPr wrap="square" lIns="0" tIns="0" rIns="0" bIns="0" rtlCol="0"/>
          <a:lstStyle/>
          <a:p>
            <a:endParaRPr sz="2640" spc="126" baseline="0" dirty="0"/>
          </a:p>
        </p:txBody>
      </p:sp>
      <p:sp>
        <p:nvSpPr>
          <p:cNvPr id="5" name="Rectangle 4">
            <a:extLst>
              <a:ext uri="{FF2B5EF4-FFF2-40B4-BE49-F238E27FC236}">
                <a16:creationId xmlns:a16="http://schemas.microsoft.com/office/drawing/2014/main" id="{834201C8-0F97-4F5E-A0CB-9F800FC6983C}"/>
              </a:ext>
            </a:extLst>
          </p:cNvPr>
          <p:cNvSpPr/>
          <p:nvPr userDrawn="1"/>
        </p:nvSpPr>
        <p:spPr>
          <a:xfrm>
            <a:off x="597652" y="1422400"/>
            <a:ext cx="2873518" cy="523220"/>
          </a:xfrm>
          <a:prstGeom prst="rect">
            <a:avLst/>
          </a:prstGeom>
        </p:spPr>
        <p:txBody>
          <a:bodyPr wrap="square">
            <a:spAutoFit/>
          </a:bodyPr>
          <a:lstStyle/>
          <a:p>
            <a:pPr marL="23970" eaLnBrk="1" hangingPunct="1">
              <a:spcBef>
                <a:spcPts val="812"/>
              </a:spcBef>
              <a:tabLst>
                <a:tab pos="1821705" algn="l"/>
                <a:tab pos="4901824" algn="l"/>
                <a:tab pos="6076343" algn="l"/>
                <a:tab pos="8752172" algn="l"/>
              </a:tabLst>
            </a:pPr>
            <a:r>
              <a:rPr lang="fr-FR" sz="2800" b="1" i="0" kern="1200" cap="none" spc="126" baseline="0" dirty="0">
                <a:solidFill>
                  <a:schemeClr val="bg1"/>
                </a:solidFill>
                <a:latin typeface="+mj-lt"/>
                <a:ea typeface="+mj-ea"/>
                <a:cs typeface="Arial"/>
              </a:rPr>
              <a:t>Agenda</a:t>
            </a:r>
            <a:endParaRPr lang="en-US" sz="2800" b="1" i="0" kern="1200" cap="none" spc="126" baseline="0" dirty="0">
              <a:solidFill>
                <a:schemeClr val="bg1"/>
              </a:solidFill>
              <a:latin typeface="+mj-lt"/>
              <a:ea typeface="+mj-ea"/>
              <a:cs typeface="Arial"/>
            </a:endParaRPr>
          </a:p>
        </p:txBody>
      </p:sp>
      <p:sp>
        <p:nvSpPr>
          <p:cNvPr id="11" name="object 23">
            <a:extLst>
              <a:ext uri="{FF2B5EF4-FFF2-40B4-BE49-F238E27FC236}">
                <a16:creationId xmlns:a16="http://schemas.microsoft.com/office/drawing/2014/main" id="{39A33DEE-C577-42FF-867C-0021F7589EC9}"/>
              </a:ext>
            </a:extLst>
          </p:cNvPr>
          <p:cNvSpPr/>
          <p:nvPr userDrawn="1"/>
        </p:nvSpPr>
        <p:spPr>
          <a:xfrm>
            <a:off x="1" y="0"/>
            <a:ext cx="789218" cy="1651000"/>
          </a:xfrm>
          <a:custGeom>
            <a:avLst/>
            <a:gdLst/>
            <a:ahLst/>
            <a:cxnLst/>
            <a:rect l="l" t="t" r="r" b="b"/>
            <a:pathLst>
              <a:path w="799465" h="1977389">
                <a:moveTo>
                  <a:pt x="798918" y="0"/>
                </a:moveTo>
                <a:lnTo>
                  <a:pt x="0" y="0"/>
                </a:lnTo>
                <a:lnTo>
                  <a:pt x="0" y="1977389"/>
                </a:lnTo>
                <a:lnTo>
                  <a:pt x="798918" y="0"/>
                </a:lnTo>
                <a:close/>
              </a:path>
            </a:pathLst>
          </a:custGeom>
          <a:solidFill>
            <a:schemeClr val="tx2"/>
          </a:solidFill>
        </p:spPr>
        <p:txBody>
          <a:bodyPr wrap="square" lIns="0" tIns="0" rIns="0" bIns="0" rtlCol="0"/>
          <a:lstStyle/>
          <a:p>
            <a:endParaRPr sz="2640" spc="126" baseline="0"/>
          </a:p>
        </p:txBody>
      </p:sp>
      <p:pic>
        <p:nvPicPr>
          <p:cNvPr id="9" name="Picture 4">
            <a:extLst>
              <a:ext uri="{FF2B5EF4-FFF2-40B4-BE49-F238E27FC236}">
                <a16:creationId xmlns:a16="http://schemas.microsoft.com/office/drawing/2014/main" id="{A166A86B-3187-41E8-9D9C-B63531A2BAC9}"/>
              </a:ext>
            </a:extLst>
          </p:cNvPr>
          <p:cNvPicPr>
            <a:picLocks noChangeAspect="1" noChangeArrowheads="1"/>
          </p:cNvPicPr>
          <p:nvPr userDrawn="1"/>
        </p:nvPicPr>
        <p:blipFill rotWithShape="1">
          <a:blip r:embed="rId6" cstate="print">
            <a:lum bright="70000" contrast="-70000"/>
            <a:extLst>
              <a:ext uri="{28A0092B-C50C-407E-A947-70E740481C1C}">
                <a14:useLocalDpi xmlns:a14="http://schemas.microsoft.com/office/drawing/2010/main" val="0"/>
              </a:ext>
            </a:extLst>
          </a:blip>
          <a:srcRect b="30786"/>
          <a:stretch/>
        </p:blipFill>
        <p:spPr bwMode="auto">
          <a:xfrm>
            <a:off x="181976" y="7160052"/>
            <a:ext cx="756786" cy="211234"/>
          </a:xfrm>
          <a:prstGeom prst="rect">
            <a:avLst/>
          </a:prstGeom>
          <a:noFill/>
          <a:extLst>
            <a:ext uri="{909E8E84-426E-40DD-AFC4-6F175D3DCCD1}">
              <a14:hiddenFill xmlns:a14="http://schemas.microsoft.com/office/drawing/2010/main">
                <a:solidFill>
                  <a:srgbClr val="FFFFFF"/>
                </a:solidFill>
              </a14:hiddenFill>
            </a:ext>
          </a:extLst>
        </p:spPr>
      </p:pic>
      <p:sp>
        <p:nvSpPr>
          <p:cNvPr id="10" name="object 23">
            <a:extLst>
              <a:ext uri="{FF2B5EF4-FFF2-40B4-BE49-F238E27FC236}">
                <a16:creationId xmlns:a16="http://schemas.microsoft.com/office/drawing/2014/main" id="{7AA5D8CA-2837-4034-81B0-024842A03E1F}"/>
              </a:ext>
            </a:extLst>
          </p:cNvPr>
          <p:cNvSpPr>
            <a:spLocks noChangeAspect="1"/>
          </p:cNvSpPr>
          <p:nvPr userDrawn="1"/>
        </p:nvSpPr>
        <p:spPr>
          <a:xfrm>
            <a:off x="0" y="1"/>
            <a:ext cx="484975" cy="1237344"/>
          </a:xfrm>
          <a:custGeom>
            <a:avLst/>
            <a:gdLst/>
            <a:ahLst/>
            <a:cxnLst/>
            <a:rect l="l" t="t" r="r" b="b"/>
            <a:pathLst>
              <a:path w="799465" h="1977389">
                <a:moveTo>
                  <a:pt x="798918" y="0"/>
                </a:moveTo>
                <a:lnTo>
                  <a:pt x="0" y="0"/>
                </a:lnTo>
                <a:lnTo>
                  <a:pt x="0" y="1977389"/>
                </a:lnTo>
                <a:lnTo>
                  <a:pt x="798918" y="0"/>
                </a:lnTo>
                <a:close/>
              </a:path>
            </a:pathLst>
          </a:custGeom>
          <a:solidFill>
            <a:srgbClr val="FFFFFF"/>
          </a:solidFill>
        </p:spPr>
        <p:txBody>
          <a:bodyPr wrap="square" lIns="0" tIns="0" rIns="0" bIns="0" rtlCol="0"/>
          <a:lstStyle/>
          <a:p>
            <a:pPr defTabSz="914400">
              <a:defRPr/>
            </a:pPr>
            <a:endParaRPr sz="1800" kern="0" spc="100" dirty="0">
              <a:solidFill>
                <a:srgbClr val="000000"/>
              </a:solidFill>
            </a:endParaRPr>
          </a:p>
        </p:txBody>
      </p:sp>
    </p:spTree>
    <p:extLst>
      <p:ext uri="{BB962C8B-B14F-4D97-AF65-F5344CB8AC3E}">
        <p14:creationId xmlns:p14="http://schemas.microsoft.com/office/powerpoint/2010/main" val="396735026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ack cover dark">
    <p:bg>
      <p:bgPr>
        <a:solidFill>
          <a:schemeClr val="tx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4036696" y="3531826"/>
            <a:ext cx="5382260" cy="428674"/>
          </a:xfrm>
          <a:prstGeom prst="rect">
            <a:avLst/>
          </a:prstGeom>
        </p:spPr>
        <p:txBody>
          <a:bodyPr lIns="104487" tIns="52244" rIns="104487" bIns="52244">
            <a:normAutofit/>
          </a:bodyPr>
          <a:lstStyle>
            <a:lvl1pPr marL="135756" indent="0" algn="ctr">
              <a:buNone/>
              <a:defRPr sz="2100" cap="none" baseline="0">
                <a:solidFill>
                  <a:schemeClr val="accent3"/>
                </a:solidFill>
                <a:latin typeface="+mn-lt"/>
                <a:cs typeface="Arial" pitchFamily="34" charset="0"/>
              </a:defRPr>
            </a:lvl1pPr>
          </a:lstStyle>
          <a:p>
            <a:pPr lvl="0"/>
            <a:r>
              <a:rPr lang="en-US" dirty="0"/>
              <a:t>for your attention</a:t>
            </a:r>
            <a:endParaRPr lang="fr-FR" dirty="0"/>
          </a:p>
        </p:txBody>
      </p:sp>
      <p:sp>
        <p:nvSpPr>
          <p:cNvPr id="7" name="Text Placeholder 6"/>
          <p:cNvSpPr>
            <a:spLocks noGrp="1"/>
          </p:cNvSpPr>
          <p:nvPr>
            <p:ph type="body" sz="quarter" idx="11" hasCustomPrompt="1"/>
          </p:nvPr>
        </p:nvSpPr>
        <p:spPr>
          <a:xfrm>
            <a:off x="4036696" y="2795376"/>
            <a:ext cx="5382260" cy="736450"/>
          </a:xfrm>
          <a:prstGeom prst="rect">
            <a:avLst/>
          </a:prstGeom>
          <a:ln>
            <a:noFill/>
          </a:ln>
        </p:spPr>
        <p:txBody>
          <a:bodyPr lIns="104487" tIns="52244" rIns="104487" bIns="52244" anchor="b">
            <a:normAutofit/>
          </a:bodyPr>
          <a:lstStyle>
            <a:lvl1pPr marL="135756" indent="0" algn="ctr">
              <a:buNone/>
              <a:defRPr sz="4100" b="1" cap="none" baseline="0">
                <a:solidFill>
                  <a:schemeClr val="accent3"/>
                </a:solidFill>
                <a:latin typeface="+mn-lt"/>
                <a:cs typeface="Arial" pitchFamily="34" charset="0"/>
              </a:defRPr>
            </a:lvl1pPr>
          </a:lstStyle>
          <a:p>
            <a:pPr lvl="0"/>
            <a:r>
              <a:rPr lang="en-US" dirty="0"/>
              <a:t>Thank you</a:t>
            </a:r>
          </a:p>
        </p:txBody>
      </p:sp>
      <p:sp>
        <p:nvSpPr>
          <p:cNvPr id="9" name="object 18">
            <a:extLst>
              <a:ext uri="{FF2B5EF4-FFF2-40B4-BE49-F238E27FC236}">
                <a16:creationId xmlns:a16="http://schemas.microsoft.com/office/drawing/2014/main" id="{227F4778-8A14-401A-9C86-9316595A39E5}"/>
              </a:ext>
            </a:extLst>
          </p:cNvPr>
          <p:cNvSpPr>
            <a:spLocks noChangeAspect="1"/>
          </p:cNvSpPr>
          <p:nvPr userDrawn="1"/>
        </p:nvSpPr>
        <p:spPr>
          <a:xfrm>
            <a:off x="0" y="2"/>
            <a:ext cx="1332000" cy="3528000"/>
          </a:xfrm>
          <a:custGeom>
            <a:avLst/>
            <a:gdLst/>
            <a:ahLst/>
            <a:cxnLst/>
            <a:rect l="l" t="t" r="r" b="b"/>
            <a:pathLst>
              <a:path w="1167130" h="2886075">
                <a:moveTo>
                  <a:pt x="1166888" y="0"/>
                </a:moveTo>
                <a:lnTo>
                  <a:pt x="0" y="0"/>
                </a:lnTo>
                <a:lnTo>
                  <a:pt x="0" y="2885516"/>
                </a:lnTo>
                <a:lnTo>
                  <a:pt x="1066" y="2885516"/>
                </a:lnTo>
                <a:lnTo>
                  <a:pt x="1166888" y="0"/>
                </a:lnTo>
                <a:close/>
              </a:path>
            </a:pathLst>
          </a:custGeom>
          <a:solidFill>
            <a:schemeClr val="bg1"/>
          </a:solidFill>
        </p:spPr>
        <p:txBody>
          <a:bodyPr wrap="square" lIns="0" tIns="0" rIns="0" bIns="0" rtlCol="0"/>
          <a:lstStyle/>
          <a:p>
            <a:endParaRPr spc="100" baseline="0" dirty="0"/>
          </a:p>
        </p:txBody>
      </p:sp>
    </p:spTree>
    <p:extLst>
      <p:ext uri="{BB962C8B-B14F-4D97-AF65-F5344CB8AC3E}">
        <p14:creationId xmlns:p14="http://schemas.microsoft.com/office/powerpoint/2010/main" val="240234076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Front cover Std presentation">
    <p:bg>
      <p:bgPr>
        <a:solidFill>
          <a:schemeClr val="tx2"/>
        </a:solidFill>
        <a:effectLst/>
      </p:bgPr>
    </p:bg>
    <p:spTree>
      <p:nvGrpSpPr>
        <p:cNvPr id="1" name=""/>
        <p:cNvGrpSpPr/>
        <p:nvPr/>
      </p:nvGrpSpPr>
      <p:grpSpPr>
        <a:xfrm>
          <a:off x="0" y="0"/>
          <a:ext cx="0" cy="0"/>
          <a:chOff x="0" y="0"/>
          <a:chExt cx="0" cy="0"/>
        </a:xfrm>
      </p:grpSpPr>
      <p:sp>
        <p:nvSpPr>
          <p:cNvPr id="4" name="object 18">
            <a:extLst>
              <a:ext uri="{FF2B5EF4-FFF2-40B4-BE49-F238E27FC236}">
                <a16:creationId xmlns:a16="http://schemas.microsoft.com/office/drawing/2014/main" id="{0F6EAAF2-B91E-4092-8808-C9C0CF0A19FE}"/>
              </a:ext>
            </a:extLst>
          </p:cNvPr>
          <p:cNvSpPr>
            <a:spLocks noChangeAspect="1"/>
          </p:cNvSpPr>
          <p:nvPr userDrawn="1"/>
        </p:nvSpPr>
        <p:spPr>
          <a:xfrm>
            <a:off x="0" y="2"/>
            <a:ext cx="1332000" cy="3528000"/>
          </a:xfrm>
          <a:custGeom>
            <a:avLst/>
            <a:gdLst/>
            <a:ahLst/>
            <a:cxnLst/>
            <a:rect l="l" t="t" r="r" b="b"/>
            <a:pathLst>
              <a:path w="1167130" h="2886075">
                <a:moveTo>
                  <a:pt x="1166888" y="0"/>
                </a:moveTo>
                <a:lnTo>
                  <a:pt x="0" y="0"/>
                </a:lnTo>
                <a:lnTo>
                  <a:pt x="0" y="2885516"/>
                </a:lnTo>
                <a:lnTo>
                  <a:pt x="1066" y="2885516"/>
                </a:lnTo>
                <a:lnTo>
                  <a:pt x="1166888" y="0"/>
                </a:lnTo>
                <a:close/>
              </a:path>
            </a:pathLst>
          </a:custGeom>
          <a:solidFill>
            <a:schemeClr val="bg1"/>
          </a:solidFill>
        </p:spPr>
        <p:txBody>
          <a:bodyPr wrap="square" lIns="0" tIns="0" rIns="0" bIns="0" rtlCol="0"/>
          <a:lstStyle/>
          <a:p>
            <a:endParaRPr spc="100" baseline="0" dirty="0"/>
          </a:p>
        </p:txBody>
      </p:sp>
      <p:pic>
        <p:nvPicPr>
          <p:cNvPr id="5" name="Image 11">
            <a:extLst>
              <a:ext uri="{FF2B5EF4-FFF2-40B4-BE49-F238E27FC236}">
                <a16:creationId xmlns:a16="http://schemas.microsoft.com/office/drawing/2014/main" id="{DADF3B0A-53C4-4FDD-942D-7A6E5872E809}"/>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4902625" y="2256971"/>
            <a:ext cx="3650400" cy="1527629"/>
          </a:xfrm>
          <a:prstGeom prst="rect">
            <a:avLst/>
          </a:prstGeom>
        </p:spPr>
      </p:pic>
    </p:spTree>
    <p:extLst>
      <p:ext uri="{BB962C8B-B14F-4D97-AF65-F5344CB8AC3E}">
        <p14:creationId xmlns:p14="http://schemas.microsoft.com/office/powerpoint/2010/main" val="28597394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1_Front cover Std presentation White">
    <p:bg>
      <p:bgPr>
        <a:solidFill>
          <a:schemeClr val="bg1"/>
        </a:solidFill>
        <a:effectLst/>
      </p:bgPr>
    </p:bg>
    <p:spTree>
      <p:nvGrpSpPr>
        <p:cNvPr id="1" name=""/>
        <p:cNvGrpSpPr/>
        <p:nvPr/>
      </p:nvGrpSpPr>
      <p:grpSpPr>
        <a:xfrm>
          <a:off x="0" y="0"/>
          <a:ext cx="0" cy="0"/>
          <a:chOff x="0" y="0"/>
          <a:chExt cx="0" cy="0"/>
        </a:xfrm>
      </p:grpSpPr>
      <p:sp>
        <p:nvSpPr>
          <p:cNvPr id="9" name="object 18">
            <a:extLst>
              <a:ext uri="{FF2B5EF4-FFF2-40B4-BE49-F238E27FC236}">
                <a16:creationId xmlns:a16="http://schemas.microsoft.com/office/drawing/2014/main" id="{49D0CE37-BDCA-4EEF-95EE-561ECAE9B98D}"/>
              </a:ext>
            </a:extLst>
          </p:cNvPr>
          <p:cNvSpPr>
            <a:spLocks noChangeAspect="1"/>
          </p:cNvSpPr>
          <p:nvPr userDrawn="1"/>
        </p:nvSpPr>
        <p:spPr>
          <a:xfrm>
            <a:off x="0" y="2"/>
            <a:ext cx="1332000" cy="3528000"/>
          </a:xfrm>
          <a:custGeom>
            <a:avLst/>
            <a:gdLst/>
            <a:ahLst/>
            <a:cxnLst/>
            <a:rect l="l" t="t" r="r" b="b"/>
            <a:pathLst>
              <a:path w="1167130" h="2886075">
                <a:moveTo>
                  <a:pt x="1166888" y="0"/>
                </a:moveTo>
                <a:lnTo>
                  <a:pt x="0" y="0"/>
                </a:lnTo>
                <a:lnTo>
                  <a:pt x="0" y="2885516"/>
                </a:lnTo>
                <a:lnTo>
                  <a:pt x="1066" y="2885516"/>
                </a:lnTo>
                <a:lnTo>
                  <a:pt x="1166888" y="0"/>
                </a:lnTo>
                <a:close/>
              </a:path>
            </a:pathLst>
          </a:custGeom>
          <a:solidFill>
            <a:schemeClr val="tx2"/>
          </a:solidFill>
        </p:spPr>
        <p:txBody>
          <a:bodyPr wrap="square" lIns="0" tIns="0" rIns="0" bIns="0" rtlCol="0"/>
          <a:lstStyle/>
          <a:p>
            <a:endParaRPr spc="100" baseline="0"/>
          </a:p>
        </p:txBody>
      </p:sp>
      <p:pic>
        <p:nvPicPr>
          <p:cNvPr id="13" name="Image 11">
            <a:extLst>
              <a:ext uri="{FF2B5EF4-FFF2-40B4-BE49-F238E27FC236}">
                <a16:creationId xmlns:a16="http://schemas.microsoft.com/office/drawing/2014/main" id="{7949667E-F633-45F3-9D09-97E557733CFD}"/>
              </a:ext>
            </a:extLst>
          </p:cNvPr>
          <p:cNvPicPr>
            <a:picLocks noChangeAspect="1"/>
          </p:cNvPicPr>
          <p:nvPr userDrawn="1"/>
        </p:nvPicPr>
        <p:blipFill>
          <a:blip r:embed="rId2"/>
          <a:stretch>
            <a:fillRect/>
          </a:stretch>
        </p:blipFill>
        <p:spPr>
          <a:xfrm>
            <a:off x="4902625" y="2256971"/>
            <a:ext cx="3650400" cy="1527629"/>
          </a:xfrm>
          <a:prstGeom prst="rect">
            <a:avLst/>
          </a:prstGeom>
        </p:spPr>
      </p:pic>
    </p:spTree>
    <p:extLst>
      <p:ext uri="{BB962C8B-B14F-4D97-AF65-F5344CB8AC3E}">
        <p14:creationId xmlns:p14="http://schemas.microsoft.com/office/powerpoint/2010/main" val="12660176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Back cover dark">
    <p:bg>
      <p:bgPr>
        <a:solidFill>
          <a:schemeClr val="tx2"/>
        </a:solidFill>
        <a:effectLst/>
      </p:bgPr>
    </p:bg>
    <p:spTree>
      <p:nvGrpSpPr>
        <p:cNvPr id="1" name=""/>
        <p:cNvGrpSpPr/>
        <p:nvPr/>
      </p:nvGrpSpPr>
      <p:grpSpPr>
        <a:xfrm>
          <a:off x="0" y="0"/>
          <a:ext cx="0" cy="0"/>
          <a:chOff x="0" y="0"/>
          <a:chExt cx="0" cy="0"/>
        </a:xfrm>
      </p:grpSpPr>
      <p:sp>
        <p:nvSpPr>
          <p:cNvPr id="4" name="Text Placeholder 2"/>
          <p:cNvSpPr txBox="1">
            <a:spLocks/>
          </p:cNvSpPr>
          <p:nvPr userDrawn="1"/>
        </p:nvSpPr>
        <p:spPr>
          <a:xfrm>
            <a:off x="336392" y="6814190"/>
            <a:ext cx="12782867" cy="674066"/>
          </a:xfrm>
          <a:prstGeom prst="rect">
            <a:avLst/>
          </a:prstGeom>
        </p:spPr>
        <p:txBody>
          <a:bodyPr lIns="131341" tIns="65671" rIns="131341" bIns="65671"/>
          <a:lstStyle>
            <a:lvl1pPr marL="0" indent="0" algn="just" defTabSz="914328" rtl="0" eaLnBrk="1" latinLnBrk="0" hangingPunct="1">
              <a:spcBef>
                <a:spcPts val="0"/>
              </a:spcBef>
              <a:buFont typeface="Arial" pitchFamily="34" charset="0"/>
              <a:buNone/>
              <a:defRPr lang="fr-FR" sz="700" b="0" i="0" kern="1200" cap="all" spc="90" baseline="0" dirty="0">
                <a:solidFill>
                  <a:schemeClr val="bg1"/>
                </a:solidFill>
                <a:latin typeface="Arial"/>
                <a:ea typeface="+mn-ea"/>
                <a:cs typeface="Arial"/>
              </a:defRPr>
            </a:lvl1pPr>
            <a:lvl2pPr marL="457164" indent="0" algn="ctr" defTabSz="914328" rtl="0" eaLnBrk="1" latinLnBrk="0" hangingPunct="1">
              <a:spcBef>
                <a:spcPct val="20000"/>
              </a:spcBef>
              <a:buFont typeface="Arial" pitchFamily="34" charset="0"/>
              <a:buNone/>
              <a:defRPr sz="1400" kern="1200" cap="all" baseline="0">
                <a:solidFill>
                  <a:schemeClr val="tx1"/>
                </a:solidFill>
                <a:latin typeface="Arial" pitchFamily="34" charset="0"/>
                <a:ea typeface="+mn-ea"/>
                <a:cs typeface="Arial" pitchFamily="34" charset="0"/>
              </a:defRPr>
            </a:lvl2pPr>
            <a:lvl3pPr marL="914328" indent="0" algn="ctr" defTabSz="914328" rtl="0" eaLnBrk="1" latinLnBrk="0" hangingPunct="1">
              <a:spcBef>
                <a:spcPct val="20000"/>
              </a:spcBef>
              <a:buFont typeface="Arial" pitchFamily="34" charset="0"/>
              <a:buNone/>
              <a:defRPr sz="1400" kern="1200" cap="all" baseline="0">
                <a:solidFill>
                  <a:schemeClr val="tx1"/>
                </a:solidFill>
                <a:latin typeface="Arial" pitchFamily="34" charset="0"/>
                <a:ea typeface="+mn-ea"/>
                <a:cs typeface="Arial" pitchFamily="34" charset="0"/>
              </a:defRPr>
            </a:lvl3pPr>
            <a:lvl4pPr marL="1600074" indent="-228582" algn="l" defTabSz="914328"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238" indent="-228582" algn="l" defTabSz="914328"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402" indent="-228582" algn="l" defTabSz="91432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66" indent="-228582" algn="l" defTabSz="91432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32" indent="-228582" algn="l" defTabSz="91432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95" indent="-228582" algn="l" defTabSz="91432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900" spc="126" baseline="0" dirty="0">
                <a:latin typeface="+mn-lt"/>
                <a:cs typeface="Arial" pitchFamily="34" charset="0"/>
              </a:rPr>
              <a:t>© CYLAD Consulting. All rights reserved. Confidential and proprietary document. This document and all information contained herein is the sole property of CYLAD Consulting. No intellectual property rights are granted by the delivery of this document or the disclosure of the content. This document shall not be reproduced or disclosed without the written agreement of CYLAD Consulting. </a:t>
            </a:r>
          </a:p>
        </p:txBody>
      </p:sp>
      <p:sp>
        <p:nvSpPr>
          <p:cNvPr id="5" name="object 18">
            <a:extLst>
              <a:ext uri="{FF2B5EF4-FFF2-40B4-BE49-F238E27FC236}">
                <a16:creationId xmlns:a16="http://schemas.microsoft.com/office/drawing/2014/main" id="{738A69D0-48A6-4D87-9995-7DCC3E6129C5}"/>
              </a:ext>
            </a:extLst>
          </p:cNvPr>
          <p:cNvSpPr>
            <a:spLocks noChangeAspect="1"/>
          </p:cNvSpPr>
          <p:nvPr userDrawn="1"/>
        </p:nvSpPr>
        <p:spPr>
          <a:xfrm>
            <a:off x="0" y="2"/>
            <a:ext cx="1332000" cy="3528000"/>
          </a:xfrm>
          <a:custGeom>
            <a:avLst/>
            <a:gdLst/>
            <a:ahLst/>
            <a:cxnLst/>
            <a:rect l="l" t="t" r="r" b="b"/>
            <a:pathLst>
              <a:path w="1167130" h="2886075">
                <a:moveTo>
                  <a:pt x="1166888" y="0"/>
                </a:moveTo>
                <a:lnTo>
                  <a:pt x="0" y="0"/>
                </a:lnTo>
                <a:lnTo>
                  <a:pt x="0" y="2885516"/>
                </a:lnTo>
                <a:lnTo>
                  <a:pt x="1066" y="2885516"/>
                </a:lnTo>
                <a:lnTo>
                  <a:pt x="1166888" y="0"/>
                </a:lnTo>
                <a:close/>
              </a:path>
            </a:pathLst>
          </a:custGeom>
          <a:solidFill>
            <a:schemeClr val="bg1"/>
          </a:solidFill>
        </p:spPr>
        <p:txBody>
          <a:bodyPr wrap="square" lIns="0" tIns="0" rIns="0" bIns="0" rtlCol="0"/>
          <a:lstStyle/>
          <a:p>
            <a:endParaRPr spc="100" baseline="0" dirty="0"/>
          </a:p>
        </p:txBody>
      </p:sp>
      <p:pic>
        <p:nvPicPr>
          <p:cNvPr id="7" name="Picture 4">
            <a:extLst>
              <a:ext uri="{FF2B5EF4-FFF2-40B4-BE49-F238E27FC236}">
                <a16:creationId xmlns:a16="http://schemas.microsoft.com/office/drawing/2014/main" id="{13A1372B-D481-4D6F-B2FB-08D683A492E9}"/>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5779590" y="3401206"/>
            <a:ext cx="1896469" cy="7667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924714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ack cover light">
    <p:bg>
      <p:bgPr>
        <a:solidFill>
          <a:schemeClr val="bg1"/>
        </a:solidFill>
        <a:effectLst/>
      </p:bgPr>
    </p:bg>
    <p:spTree>
      <p:nvGrpSpPr>
        <p:cNvPr id="1" name=""/>
        <p:cNvGrpSpPr/>
        <p:nvPr/>
      </p:nvGrpSpPr>
      <p:grpSpPr>
        <a:xfrm>
          <a:off x="0" y="0"/>
          <a:ext cx="0" cy="0"/>
          <a:chOff x="0" y="0"/>
          <a:chExt cx="0" cy="0"/>
        </a:xfrm>
      </p:grpSpPr>
      <p:sp>
        <p:nvSpPr>
          <p:cNvPr id="22" name="Text Placeholder 4"/>
          <p:cNvSpPr>
            <a:spLocks noGrp="1"/>
          </p:cNvSpPr>
          <p:nvPr>
            <p:ph type="body" sz="quarter" idx="11" hasCustomPrompt="1"/>
          </p:nvPr>
        </p:nvSpPr>
        <p:spPr>
          <a:xfrm>
            <a:off x="4162843" y="3517783"/>
            <a:ext cx="5129967" cy="428674"/>
          </a:xfrm>
          <a:prstGeom prst="rect">
            <a:avLst/>
          </a:prstGeom>
        </p:spPr>
        <p:txBody>
          <a:bodyPr lIns="104487" tIns="52244" rIns="104487" bIns="52244"/>
          <a:lstStyle>
            <a:lvl1pPr marL="135756" indent="0" algn="ctr">
              <a:buNone/>
              <a:defRPr sz="2100" cap="none" spc="126" baseline="0">
                <a:solidFill>
                  <a:schemeClr val="tx2"/>
                </a:solidFill>
                <a:latin typeface="+mn-lt"/>
              </a:defRPr>
            </a:lvl1pPr>
          </a:lstStyle>
          <a:p>
            <a:pPr lvl="0"/>
            <a:r>
              <a:rPr lang="en-US" dirty="0"/>
              <a:t>for your attention</a:t>
            </a:r>
            <a:endParaRPr lang="fr-FR" dirty="0"/>
          </a:p>
        </p:txBody>
      </p:sp>
      <p:sp>
        <p:nvSpPr>
          <p:cNvPr id="23" name="Text Placeholder 6"/>
          <p:cNvSpPr>
            <a:spLocks noGrp="1"/>
          </p:cNvSpPr>
          <p:nvPr>
            <p:ph type="body" sz="quarter" idx="12" hasCustomPrompt="1"/>
          </p:nvPr>
        </p:nvSpPr>
        <p:spPr>
          <a:xfrm>
            <a:off x="4148827" y="2795376"/>
            <a:ext cx="5158000" cy="736450"/>
          </a:xfrm>
          <a:prstGeom prst="rect">
            <a:avLst/>
          </a:prstGeom>
        </p:spPr>
        <p:txBody>
          <a:bodyPr lIns="104487" tIns="52244" rIns="104487" bIns="52244" anchor="b"/>
          <a:lstStyle>
            <a:lvl1pPr marL="135756" indent="0" algn="ctr">
              <a:buNone/>
              <a:defRPr sz="4100" b="1" cap="none" spc="126" baseline="0">
                <a:solidFill>
                  <a:schemeClr val="tx2"/>
                </a:solidFill>
                <a:latin typeface="+mn-lt"/>
              </a:defRPr>
            </a:lvl1pPr>
          </a:lstStyle>
          <a:p>
            <a:pPr lvl="0"/>
            <a:r>
              <a:rPr lang="en-US" dirty="0"/>
              <a:t>Thank you</a:t>
            </a:r>
          </a:p>
        </p:txBody>
      </p:sp>
      <p:sp>
        <p:nvSpPr>
          <p:cNvPr id="8" name="Rectangle 7"/>
          <p:cNvSpPr/>
          <p:nvPr userDrawn="1"/>
        </p:nvSpPr>
        <p:spPr>
          <a:xfrm>
            <a:off x="0" y="6451600"/>
            <a:ext cx="2130195" cy="1117600"/>
          </a:xfrm>
          <a:prstGeom prst="rect">
            <a:avLst/>
          </a:prstGeom>
          <a:solidFill>
            <a:schemeClr val="bg1"/>
          </a:solidFill>
        </p:spPr>
        <p:txBody>
          <a:bodyPr wrap="square" lIns="0" tIns="0" rIns="0" bIns="0" rtlCol="0" anchor="ctr"/>
          <a:lstStyle/>
          <a:p>
            <a:pPr algn="ctr"/>
            <a:endParaRPr lang="en-US" sz="2011" b="0" dirty="0" err="1">
              <a:ln>
                <a:solidFill>
                  <a:schemeClr val="bg1"/>
                </a:solidFill>
              </a:ln>
              <a:solidFill>
                <a:schemeClr val="bg1"/>
              </a:solidFill>
            </a:endParaRPr>
          </a:p>
        </p:txBody>
      </p:sp>
      <p:sp>
        <p:nvSpPr>
          <p:cNvPr id="6" name="object 18">
            <a:extLst>
              <a:ext uri="{FF2B5EF4-FFF2-40B4-BE49-F238E27FC236}">
                <a16:creationId xmlns:a16="http://schemas.microsoft.com/office/drawing/2014/main" id="{652E6480-ADD5-49CE-9429-3B98E12DB814}"/>
              </a:ext>
            </a:extLst>
          </p:cNvPr>
          <p:cNvSpPr>
            <a:spLocks noChangeAspect="1"/>
          </p:cNvSpPr>
          <p:nvPr userDrawn="1"/>
        </p:nvSpPr>
        <p:spPr>
          <a:xfrm>
            <a:off x="0" y="2"/>
            <a:ext cx="1332000" cy="3528000"/>
          </a:xfrm>
          <a:custGeom>
            <a:avLst/>
            <a:gdLst/>
            <a:ahLst/>
            <a:cxnLst/>
            <a:rect l="l" t="t" r="r" b="b"/>
            <a:pathLst>
              <a:path w="1167130" h="2886075">
                <a:moveTo>
                  <a:pt x="1166888" y="0"/>
                </a:moveTo>
                <a:lnTo>
                  <a:pt x="0" y="0"/>
                </a:lnTo>
                <a:lnTo>
                  <a:pt x="0" y="2885516"/>
                </a:lnTo>
                <a:lnTo>
                  <a:pt x="1066" y="2885516"/>
                </a:lnTo>
                <a:lnTo>
                  <a:pt x="1166888" y="0"/>
                </a:lnTo>
                <a:close/>
              </a:path>
            </a:pathLst>
          </a:custGeom>
          <a:solidFill>
            <a:schemeClr val="tx2"/>
          </a:solidFill>
        </p:spPr>
        <p:txBody>
          <a:bodyPr wrap="square" lIns="0" tIns="0" rIns="0" bIns="0" rtlCol="0"/>
          <a:lstStyle/>
          <a:p>
            <a:endParaRPr spc="100" baseline="0"/>
          </a:p>
        </p:txBody>
      </p:sp>
    </p:spTree>
    <p:extLst>
      <p:ext uri="{BB962C8B-B14F-4D97-AF65-F5344CB8AC3E}">
        <p14:creationId xmlns:p14="http://schemas.microsoft.com/office/powerpoint/2010/main" val="27498705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Front cover with pictur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687CE0A6-61BA-4D73-8FD3-1869951AF581}"/>
              </a:ext>
            </a:extLst>
          </p:cNvPr>
          <p:cNvGraphicFramePr>
            <a:graphicFrameLocks noChangeAspect="1"/>
          </p:cNvGraphicFramePr>
          <p:nvPr userDrawn="1">
            <p:custDataLst>
              <p:tags r:id="rId2"/>
            </p:custDataLst>
            <p:extLst>
              <p:ext uri="{D42A27DB-BD31-4B8C-83A1-F6EECF244321}">
                <p14:modId xmlns:p14="http://schemas.microsoft.com/office/powerpoint/2010/main" val="2516238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 name="Diapositive think-cell" r:id="rId5" imgW="592" imgH="584" progId="TCLayout.ActiveDocument.1">
                  <p:embed/>
                </p:oleObj>
              </mc:Choice>
              <mc:Fallback>
                <p:oleObj name="Diapositive think-cell" r:id="rId5" imgW="592" imgH="584" progId="TCLayout.ActiveDocument.1">
                  <p:embed/>
                  <p:pic>
                    <p:nvPicPr>
                      <p:cNvPr id="3" name="Objet 2" hidden="1">
                        <a:extLst>
                          <a:ext uri="{FF2B5EF4-FFF2-40B4-BE49-F238E27FC236}">
                            <a16:creationId xmlns:a16="http://schemas.microsoft.com/office/drawing/2014/main" id="{687CE0A6-61BA-4D73-8FD3-1869951AF5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072AFCB-68E8-4049-8457-CAF856139051}"/>
              </a:ext>
            </a:extLst>
          </p:cNvPr>
          <p:cNvSpPr/>
          <p:nvPr userDrawn="1">
            <p:custDataLst>
              <p:tags r:id="rId3"/>
            </p:custDataLst>
          </p:nvPr>
        </p:nvSpPr>
        <p:spPr>
          <a:xfrm>
            <a:off x="0" y="0"/>
            <a:ext cx="158750" cy="158750"/>
          </a:xfrm>
          <a:prstGeom prst="rect">
            <a:avLst/>
          </a:prstGeom>
          <a:solidFill>
            <a:schemeClr val="tx2"/>
          </a:solidFill>
        </p:spPr>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600" b="1" i="0" baseline="0" dirty="0" err="1">
              <a:solidFill>
                <a:schemeClr val="bg1"/>
              </a:solidFill>
              <a:latin typeface="Calibri Light" panose="020F0302020204030204" pitchFamily="34" charset="0"/>
              <a:ea typeface="+mj-ea"/>
              <a:cs typeface="Arial" panose="020B0604020202020204" pitchFamily="34" charset="0"/>
              <a:sym typeface="Calibri Light" panose="020F0302020204030204" pitchFamily="34" charset="0"/>
            </a:endParaRPr>
          </a:p>
        </p:txBody>
      </p:sp>
      <p:sp>
        <p:nvSpPr>
          <p:cNvPr id="12" name="Text Placeholder 11"/>
          <p:cNvSpPr>
            <a:spLocks noGrp="1"/>
          </p:cNvSpPr>
          <p:nvPr>
            <p:ph type="body" sz="quarter" idx="12" hasCustomPrompt="1"/>
          </p:nvPr>
        </p:nvSpPr>
        <p:spPr>
          <a:xfrm>
            <a:off x="5293360" y="4699165"/>
            <a:ext cx="7532699" cy="457680"/>
          </a:xfrm>
          <a:prstGeom prst="rect">
            <a:avLst/>
          </a:prstGeom>
        </p:spPr>
        <p:txBody>
          <a:bodyPr>
            <a:normAutofit/>
          </a:bodyPr>
          <a:lstStyle>
            <a:lvl1pPr marL="0" indent="0">
              <a:buNone/>
              <a:defRPr sz="2000" b="0" cap="none" baseline="0">
                <a:solidFill>
                  <a:schemeClr val="tx2"/>
                </a:solidFill>
                <a:latin typeface="+mj-lt"/>
              </a:defRPr>
            </a:lvl1pPr>
          </a:lstStyle>
          <a:p>
            <a:r>
              <a:rPr lang="en-US" dirty="0"/>
              <a:t>NAME OF CITY  -  DATE OF DOCUMENT</a:t>
            </a:r>
            <a:endParaRPr lang="fr-FR" dirty="0"/>
          </a:p>
        </p:txBody>
      </p:sp>
      <p:sp>
        <p:nvSpPr>
          <p:cNvPr id="8" name="Subtitle"/>
          <p:cNvSpPr>
            <a:spLocks noGrp="1"/>
          </p:cNvSpPr>
          <p:nvPr>
            <p:ph type="subTitle" idx="1" hasCustomPrompt="1"/>
          </p:nvPr>
        </p:nvSpPr>
        <p:spPr>
          <a:xfrm>
            <a:off x="5293360" y="3784599"/>
            <a:ext cx="7532699" cy="369332"/>
          </a:xfrm>
          <a:prstGeom prst="rect">
            <a:avLst/>
          </a:prstGeom>
        </p:spPr>
        <p:txBody>
          <a:bodyPr vert="horz" wrap="square" lIns="0" tIns="0" rIns="0" bIns="0" anchor="t" anchorCtr="0">
            <a:noAutofit/>
          </a:bodyPr>
          <a:lstStyle>
            <a:lvl1pPr marL="0" indent="0" algn="l">
              <a:lnSpc>
                <a:spcPct val="100000"/>
              </a:lnSpc>
              <a:spcBef>
                <a:spcPts val="754"/>
              </a:spcBef>
              <a:spcAft>
                <a:spcPts val="0"/>
              </a:spcAft>
              <a:buNone/>
              <a:defRPr sz="2400" b="1" i="0" u="none" kern="1200" spc="126">
                <a:solidFill>
                  <a:schemeClr val="accent2">
                    <a:lumMod val="100000"/>
                  </a:schemeClr>
                </a:solidFill>
                <a:latin typeface="Calibri Light" panose="020F0302020204030204" pitchFamily="34" charset="0"/>
              </a:defRPr>
            </a:lvl1pPr>
            <a:lvl2pPr marL="574700" indent="0" algn="ctr">
              <a:buNone/>
              <a:defRPr>
                <a:solidFill>
                  <a:schemeClr val="tx1">
                    <a:tint val="75000"/>
                  </a:schemeClr>
                </a:solidFill>
              </a:defRPr>
            </a:lvl2pPr>
            <a:lvl3pPr marL="1149401" indent="0" algn="ctr">
              <a:buNone/>
              <a:defRPr>
                <a:solidFill>
                  <a:schemeClr val="tx1">
                    <a:tint val="75000"/>
                  </a:schemeClr>
                </a:solidFill>
              </a:defRPr>
            </a:lvl3pPr>
            <a:lvl4pPr marL="1724101" indent="0" algn="ctr">
              <a:buNone/>
              <a:defRPr>
                <a:solidFill>
                  <a:schemeClr val="tx1">
                    <a:tint val="75000"/>
                  </a:schemeClr>
                </a:solidFill>
              </a:defRPr>
            </a:lvl4pPr>
            <a:lvl5pPr marL="2298802" indent="0" algn="ctr">
              <a:buNone/>
              <a:defRPr>
                <a:solidFill>
                  <a:schemeClr val="tx1">
                    <a:tint val="75000"/>
                  </a:schemeClr>
                </a:solidFill>
              </a:defRPr>
            </a:lvl5pPr>
            <a:lvl6pPr marL="2873502" indent="0" algn="ctr">
              <a:buNone/>
              <a:defRPr>
                <a:solidFill>
                  <a:schemeClr val="tx1">
                    <a:tint val="75000"/>
                  </a:schemeClr>
                </a:solidFill>
              </a:defRPr>
            </a:lvl6pPr>
            <a:lvl7pPr marL="3448202" indent="0" algn="ctr">
              <a:buNone/>
              <a:defRPr>
                <a:solidFill>
                  <a:schemeClr val="tx1">
                    <a:tint val="75000"/>
                  </a:schemeClr>
                </a:solidFill>
              </a:defRPr>
            </a:lvl7pPr>
            <a:lvl8pPr marL="4022903" indent="0" algn="ctr">
              <a:buNone/>
              <a:defRPr>
                <a:solidFill>
                  <a:schemeClr val="tx1">
                    <a:tint val="75000"/>
                  </a:schemeClr>
                </a:solidFill>
              </a:defRPr>
            </a:lvl8pPr>
            <a:lvl9pPr marL="4597603" indent="0" algn="ctr">
              <a:buNone/>
              <a:defRPr>
                <a:solidFill>
                  <a:schemeClr val="tx1">
                    <a:tint val="75000"/>
                  </a:schemeClr>
                </a:solidFill>
              </a:defRPr>
            </a:lvl9pPr>
          </a:lstStyle>
          <a:p>
            <a:pPr lvl="0"/>
            <a:r>
              <a:rPr lang="en-US" dirty="0"/>
              <a:t>Click to add subtitle</a:t>
            </a:r>
            <a:endParaRPr lang="fr-FR" dirty="0"/>
          </a:p>
        </p:txBody>
      </p:sp>
      <p:sp>
        <p:nvSpPr>
          <p:cNvPr id="11" name="Picture Placeholder 3"/>
          <p:cNvSpPr>
            <a:spLocks noGrp="1"/>
          </p:cNvSpPr>
          <p:nvPr>
            <p:ph type="pic" sz="quarter" idx="19" hasCustomPrompt="1"/>
          </p:nvPr>
        </p:nvSpPr>
        <p:spPr>
          <a:xfrm>
            <a:off x="-11211" y="-7230"/>
            <a:ext cx="4968000" cy="7560000"/>
          </a:xfrm>
          <a:custGeom>
            <a:avLst/>
            <a:gdLst>
              <a:gd name="connsiteX0" fmla="*/ 0 w 6324600"/>
              <a:gd name="connsiteY0" fmla="*/ 5589064 h 5589064"/>
              <a:gd name="connsiteX1" fmla="*/ 2236967 w 6324600"/>
              <a:gd name="connsiteY1" fmla="*/ 0 h 5589064"/>
              <a:gd name="connsiteX2" fmla="*/ 6324600 w 6324600"/>
              <a:gd name="connsiteY2" fmla="*/ 0 h 5589064"/>
              <a:gd name="connsiteX3" fmla="*/ 4087633 w 6324600"/>
              <a:gd name="connsiteY3" fmla="*/ 5589064 h 5589064"/>
              <a:gd name="connsiteX4" fmla="*/ 0 w 6324600"/>
              <a:gd name="connsiteY4" fmla="*/ 5589064 h 5589064"/>
              <a:gd name="connsiteX0" fmla="*/ 0 w 6384618"/>
              <a:gd name="connsiteY0" fmla="*/ 5592595 h 5592595"/>
              <a:gd name="connsiteX1" fmla="*/ 2236967 w 6384618"/>
              <a:gd name="connsiteY1" fmla="*/ 3531 h 5592595"/>
              <a:gd name="connsiteX2" fmla="*/ 6384618 w 6384618"/>
              <a:gd name="connsiteY2" fmla="*/ 0 h 5592595"/>
              <a:gd name="connsiteX3" fmla="*/ 4087633 w 6384618"/>
              <a:gd name="connsiteY3" fmla="*/ 5592595 h 5592595"/>
              <a:gd name="connsiteX4" fmla="*/ 0 w 6384618"/>
              <a:gd name="connsiteY4" fmla="*/ 5592595 h 5592595"/>
              <a:gd name="connsiteX0" fmla="*/ 0 w 6384618"/>
              <a:gd name="connsiteY0" fmla="*/ 5592595 h 5599656"/>
              <a:gd name="connsiteX1" fmla="*/ 2236967 w 6384618"/>
              <a:gd name="connsiteY1" fmla="*/ 3531 h 5599656"/>
              <a:gd name="connsiteX2" fmla="*/ 6384618 w 6384618"/>
              <a:gd name="connsiteY2" fmla="*/ 0 h 5599656"/>
              <a:gd name="connsiteX3" fmla="*/ 4129999 w 6384618"/>
              <a:gd name="connsiteY3" fmla="*/ 5599656 h 5599656"/>
              <a:gd name="connsiteX4" fmla="*/ 0 w 6384618"/>
              <a:gd name="connsiteY4" fmla="*/ 5592595 h 5599656"/>
              <a:gd name="connsiteX0" fmla="*/ 41413 w 4147651"/>
              <a:gd name="connsiteY0" fmla="*/ 5604025 h 5604025"/>
              <a:gd name="connsiteX1" fmla="*/ 0 w 4147651"/>
              <a:gd name="connsiteY1" fmla="*/ 3531 h 5604025"/>
              <a:gd name="connsiteX2" fmla="*/ 4147651 w 4147651"/>
              <a:gd name="connsiteY2" fmla="*/ 0 h 5604025"/>
              <a:gd name="connsiteX3" fmla="*/ 1893032 w 4147651"/>
              <a:gd name="connsiteY3" fmla="*/ 5599656 h 5604025"/>
              <a:gd name="connsiteX4" fmla="*/ 41413 w 4147651"/>
              <a:gd name="connsiteY4" fmla="*/ 5604025 h 5604025"/>
              <a:gd name="connsiteX0" fmla="*/ 0 w 4106238"/>
              <a:gd name="connsiteY0" fmla="*/ 5604304 h 5604304"/>
              <a:gd name="connsiteX1" fmla="*/ 497 w 4106238"/>
              <a:gd name="connsiteY1" fmla="*/ 0 h 5604304"/>
              <a:gd name="connsiteX2" fmla="*/ 4106238 w 4106238"/>
              <a:gd name="connsiteY2" fmla="*/ 279 h 5604304"/>
              <a:gd name="connsiteX3" fmla="*/ 1851619 w 4106238"/>
              <a:gd name="connsiteY3" fmla="*/ 5599935 h 5604304"/>
              <a:gd name="connsiteX4" fmla="*/ 0 w 4106238"/>
              <a:gd name="connsiteY4" fmla="*/ 5604304 h 5604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6238" h="5604304">
                <a:moveTo>
                  <a:pt x="0" y="5604304"/>
                </a:moveTo>
                <a:cubicBezTo>
                  <a:pt x="166" y="3736203"/>
                  <a:pt x="331" y="1868101"/>
                  <a:pt x="497" y="0"/>
                </a:cubicBezTo>
                <a:lnTo>
                  <a:pt x="4106238" y="279"/>
                </a:lnTo>
                <a:lnTo>
                  <a:pt x="1851619" y="5599935"/>
                </a:lnTo>
                <a:lnTo>
                  <a:pt x="0" y="5604304"/>
                </a:lnTo>
                <a:close/>
              </a:path>
            </a:pathLst>
          </a:custGeom>
          <a:ln>
            <a:noFill/>
          </a:ln>
        </p:spPr>
        <p:txBody>
          <a:bodyPr anchor="ctr"/>
          <a:lstStyle>
            <a:lvl1pPr marL="290827" indent="0" algn="l">
              <a:buNone/>
              <a:defRPr baseline="0"/>
            </a:lvl1pPr>
          </a:lstStyle>
          <a:p>
            <a:r>
              <a:rPr lang="fr-FR" dirty="0" err="1"/>
              <a:t>Add</a:t>
            </a:r>
            <a:r>
              <a:rPr lang="fr-FR" dirty="0"/>
              <a:t> Picture</a:t>
            </a:r>
          </a:p>
        </p:txBody>
      </p:sp>
      <p:sp>
        <p:nvSpPr>
          <p:cNvPr id="14" name="Title 1"/>
          <p:cNvSpPr>
            <a:spLocks noGrp="1"/>
          </p:cNvSpPr>
          <p:nvPr>
            <p:ph type="title" hasCustomPrompt="1"/>
          </p:nvPr>
        </p:nvSpPr>
        <p:spPr>
          <a:xfrm>
            <a:off x="5291065" y="2257198"/>
            <a:ext cx="7534994" cy="1263600"/>
          </a:xfrm>
          <a:prstGeom prst="rect">
            <a:avLst/>
          </a:prstGeom>
        </p:spPr>
        <p:txBody>
          <a:bodyPr anchor="b">
            <a:normAutofit/>
          </a:bodyPr>
          <a:lstStyle>
            <a:lvl1pPr>
              <a:defRPr sz="3600" b="1" baseline="0">
                <a:solidFill>
                  <a:schemeClr val="tx2"/>
                </a:solidFill>
                <a:latin typeface="+mj-lt"/>
              </a:defRPr>
            </a:lvl1pPr>
          </a:lstStyle>
          <a:p>
            <a:pPr lvl="0"/>
            <a:r>
              <a:rPr lang="en-US" dirty="0"/>
              <a:t>Click to add title</a:t>
            </a:r>
          </a:p>
        </p:txBody>
      </p:sp>
      <p:pic>
        <p:nvPicPr>
          <p:cNvPr id="13" name="Image 11">
            <a:extLst>
              <a:ext uri="{FF2B5EF4-FFF2-40B4-BE49-F238E27FC236}">
                <a16:creationId xmlns:a16="http://schemas.microsoft.com/office/drawing/2014/main" id="{A2D7D42D-2FA2-4A50-A9BD-37FFBE340F52}"/>
              </a:ext>
            </a:extLst>
          </p:cNvPr>
          <p:cNvPicPr>
            <a:picLocks noChangeAspect="1"/>
          </p:cNvPicPr>
          <p:nvPr userDrawn="1"/>
        </p:nvPicPr>
        <p:blipFill>
          <a:blip r:embed="rId7"/>
          <a:stretch>
            <a:fillRect/>
          </a:stretch>
        </p:blipFill>
        <p:spPr>
          <a:xfrm>
            <a:off x="10498710" y="6265746"/>
            <a:ext cx="2325115" cy="973020"/>
          </a:xfrm>
          <a:prstGeom prst="rect">
            <a:avLst/>
          </a:prstGeom>
        </p:spPr>
      </p:pic>
      <p:sp>
        <p:nvSpPr>
          <p:cNvPr id="15" name="object 18">
            <a:extLst>
              <a:ext uri="{FF2B5EF4-FFF2-40B4-BE49-F238E27FC236}">
                <a16:creationId xmlns:a16="http://schemas.microsoft.com/office/drawing/2014/main" id="{809DBEED-DC42-43D7-9938-E3EDFC983F7A}"/>
              </a:ext>
            </a:extLst>
          </p:cNvPr>
          <p:cNvSpPr>
            <a:spLocks noChangeAspect="1"/>
          </p:cNvSpPr>
          <p:nvPr userDrawn="1"/>
        </p:nvSpPr>
        <p:spPr>
          <a:xfrm>
            <a:off x="9888476" y="6274115"/>
            <a:ext cx="360374" cy="956283"/>
          </a:xfrm>
          <a:custGeom>
            <a:avLst/>
            <a:gdLst/>
            <a:ahLst/>
            <a:cxnLst/>
            <a:rect l="l" t="t" r="r" b="b"/>
            <a:pathLst>
              <a:path w="546734" h="1352550">
                <a:moveTo>
                  <a:pt x="0" y="1352428"/>
                </a:moveTo>
                <a:lnTo>
                  <a:pt x="546414" y="0"/>
                </a:lnTo>
              </a:path>
            </a:pathLst>
          </a:custGeom>
          <a:ln w="12700">
            <a:solidFill>
              <a:schemeClr val="accent2"/>
            </a:solidFill>
          </a:ln>
        </p:spPr>
        <p:txBody>
          <a:bodyPr wrap="square" lIns="0" tIns="0" rIns="0" bIns="0" rtlCol="0"/>
          <a:lstStyle/>
          <a:p>
            <a:pPr marL="0" marR="0" lvl="0" indent="0" algn="l" defTabSz="1045848" rtl="0" eaLnBrk="1" fontAlgn="auto" latinLnBrk="0" hangingPunct="1">
              <a:lnSpc>
                <a:spcPct val="100000"/>
              </a:lnSpc>
              <a:spcBef>
                <a:spcPts val="0"/>
              </a:spcBef>
              <a:spcAft>
                <a:spcPts val="0"/>
              </a:spcAft>
              <a:buClrTx/>
              <a:buSzTx/>
              <a:buFontTx/>
              <a:buNone/>
              <a:tabLst/>
              <a:defRPr/>
            </a:pPr>
            <a:endParaRPr kumimoji="0" sz="2300" b="0" i="0" u="none" strike="noStrike" kern="1200" cap="none" spc="10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27803478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1_Back cover light">
    <p:bg>
      <p:bgPr>
        <a:solidFill>
          <a:schemeClr val="bg1"/>
        </a:solidFill>
        <a:effectLst/>
      </p:bgPr>
    </p:bg>
    <p:spTree>
      <p:nvGrpSpPr>
        <p:cNvPr id="1" name=""/>
        <p:cNvGrpSpPr/>
        <p:nvPr/>
      </p:nvGrpSpPr>
      <p:grpSpPr>
        <a:xfrm>
          <a:off x="0" y="0"/>
          <a:ext cx="0" cy="0"/>
          <a:chOff x="0" y="0"/>
          <a:chExt cx="0" cy="0"/>
        </a:xfrm>
      </p:grpSpPr>
      <p:pic>
        <p:nvPicPr>
          <p:cNvPr id="37" name="Picture 4"/>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5535888" y="3401207"/>
            <a:ext cx="2383875" cy="766788"/>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2"/>
          <p:cNvSpPr txBox="1">
            <a:spLocks/>
          </p:cNvSpPr>
          <p:nvPr userDrawn="1"/>
        </p:nvSpPr>
        <p:spPr>
          <a:xfrm>
            <a:off x="336392" y="6801782"/>
            <a:ext cx="12782867" cy="674066"/>
          </a:xfrm>
          <a:prstGeom prst="rect">
            <a:avLst/>
          </a:prstGeom>
          <a:ln>
            <a:noFill/>
          </a:ln>
        </p:spPr>
        <p:txBody>
          <a:bodyPr lIns="131341" tIns="65671" rIns="131341" bIns="65671"/>
          <a:lstStyle>
            <a:lvl1pPr marL="0" indent="0" algn="just" defTabSz="914328" rtl="0" eaLnBrk="1" latinLnBrk="0" hangingPunct="1">
              <a:spcBef>
                <a:spcPts val="0"/>
              </a:spcBef>
              <a:buFont typeface="Arial" pitchFamily="34" charset="0"/>
              <a:buNone/>
              <a:defRPr lang="fr-FR" sz="700" b="0" i="0" kern="1200" cap="all" spc="90" baseline="0" dirty="0">
                <a:solidFill>
                  <a:schemeClr val="bg1"/>
                </a:solidFill>
                <a:latin typeface="Arial"/>
                <a:ea typeface="+mn-ea"/>
                <a:cs typeface="Arial"/>
              </a:defRPr>
            </a:lvl1pPr>
            <a:lvl2pPr marL="457164" indent="0" algn="ctr" defTabSz="914328" rtl="0" eaLnBrk="1" latinLnBrk="0" hangingPunct="1">
              <a:spcBef>
                <a:spcPct val="20000"/>
              </a:spcBef>
              <a:buFont typeface="Arial" pitchFamily="34" charset="0"/>
              <a:buNone/>
              <a:defRPr sz="1400" kern="1200" cap="all" baseline="0">
                <a:solidFill>
                  <a:schemeClr val="tx1"/>
                </a:solidFill>
                <a:latin typeface="Arial" pitchFamily="34" charset="0"/>
                <a:ea typeface="+mn-ea"/>
                <a:cs typeface="Arial" pitchFamily="34" charset="0"/>
              </a:defRPr>
            </a:lvl2pPr>
            <a:lvl3pPr marL="914328" indent="0" algn="ctr" defTabSz="914328" rtl="0" eaLnBrk="1" latinLnBrk="0" hangingPunct="1">
              <a:spcBef>
                <a:spcPct val="20000"/>
              </a:spcBef>
              <a:buFont typeface="Arial" pitchFamily="34" charset="0"/>
              <a:buNone/>
              <a:defRPr sz="1400" kern="1200" cap="all" baseline="0">
                <a:solidFill>
                  <a:schemeClr val="tx1"/>
                </a:solidFill>
                <a:latin typeface="Arial" pitchFamily="34" charset="0"/>
                <a:ea typeface="+mn-ea"/>
                <a:cs typeface="Arial" pitchFamily="34" charset="0"/>
              </a:defRPr>
            </a:lvl3pPr>
            <a:lvl4pPr marL="1600074" indent="-228582" algn="l" defTabSz="914328"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238" indent="-228582" algn="l" defTabSz="914328"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402" indent="-228582" algn="l" defTabSz="91432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66" indent="-228582" algn="l" defTabSz="91432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32" indent="-228582" algn="l" defTabSz="91432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95" indent="-228582" algn="l" defTabSz="91432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900" spc="126" baseline="0" dirty="0">
                <a:solidFill>
                  <a:schemeClr val="tx2"/>
                </a:solidFill>
                <a:latin typeface="+mn-lt"/>
                <a:cs typeface="Arial" pitchFamily="34" charset="0"/>
              </a:rPr>
              <a:t>© CYLAD Consulting. All rights reserved. Confidential and proprietary document. This document and all information contained herein is the sole property of CYLAD Consulting. No intellectual property rights are granted by the delivery of this document or the disclosure of the content. This document shall not be reproduced or disclosed without the written agreement of CYLAD Consulting. </a:t>
            </a:r>
          </a:p>
        </p:txBody>
      </p:sp>
      <p:sp>
        <p:nvSpPr>
          <p:cNvPr id="6" name="object 18">
            <a:extLst>
              <a:ext uri="{FF2B5EF4-FFF2-40B4-BE49-F238E27FC236}">
                <a16:creationId xmlns:a16="http://schemas.microsoft.com/office/drawing/2014/main" id="{E5037120-C108-4ECF-A9D7-729137127FD3}"/>
              </a:ext>
            </a:extLst>
          </p:cNvPr>
          <p:cNvSpPr>
            <a:spLocks noChangeAspect="1"/>
          </p:cNvSpPr>
          <p:nvPr userDrawn="1"/>
        </p:nvSpPr>
        <p:spPr>
          <a:xfrm>
            <a:off x="0" y="2"/>
            <a:ext cx="1332000" cy="3528000"/>
          </a:xfrm>
          <a:custGeom>
            <a:avLst/>
            <a:gdLst/>
            <a:ahLst/>
            <a:cxnLst/>
            <a:rect l="l" t="t" r="r" b="b"/>
            <a:pathLst>
              <a:path w="1167130" h="2886075">
                <a:moveTo>
                  <a:pt x="1166888" y="0"/>
                </a:moveTo>
                <a:lnTo>
                  <a:pt x="0" y="0"/>
                </a:lnTo>
                <a:lnTo>
                  <a:pt x="0" y="2885516"/>
                </a:lnTo>
                <a:lnTo>
                  <a:pt x="1066" y="2885516"/>
                </a:lnTo>
                <a:lnTo>
                  <a:pt x="1166888" y="0"/>
                </a:lnTo>
                <a:close/>
              </a:path>
            </a:pathLst>
          </a:custGeom>
          <a:solidFill>
            <a:schemeClr val="tx2"/>
          </a:solidFill>
        </p:spPr>
        <p:txBody>
          <a:bodyPr wrap="square" lIns="0" tIns="0" rIns="0" bIns="0" rtlCol="0"/>
          <a:lstStyle/>
          <a:p>
            <a:endParaRPr spc="100" baseline="0"/>
          </a:p>
        </p:txBody>
      </p:sp>
      <p:pic>
        <p:nvPicPr>
          <p:cNvPr id="9" name="Picture 3">
            <a:extLst>
              <a:ext uri="{FF2B5EF4-FFF2-40B4-BE49-F238E27FC236}">
                <a16:creationId xmlns:a16="http://schemas.microsoft.com/office/drawing/2014/main" id="{52D6CC73-F33F-4D2D-8BB8-3F56593C479E}"/>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779590" y="3401207"/>
            <a:ext cx="1896469" cy="7648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236357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Front cover basic">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6388E4B-B97A-403D-9A96-64D6CE6024F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611" name="Diapositive think-cell" r:id="rId5" imgW="592" imgH="584" progId="TCLayout.ActiveDocument.1">
                  <p:embed/>
                </p:oleObj>
              </mc:Choice>
              <mc:Fallback>
                <p:oleObj name="Diapositive think-cell" r:id="rId5" imgW="592" imgH="584" progId="TCLayout.ActiveDocument.1">
                  <p:embed/>
                  <p:pic>
                    <p:nvPicPr>
                      <p:cNvPr id="3" name="Objet 2" hidden="1">
                        <a:extLst>
                          <a:ext uri="{FF2B5EF4-FFF2-40B4-BE49-F238E27FC236}">
                            <a16:creationId xmlns:a16="http://schemas.microsoft.com/office/drawing/2014/main" id="{76388E4B-B97A-403D-9A96-64D6CE6024F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E9A4C4-AD04-4F9B-829B-0821D29C7B19}"/>
              </a:ext>
            </a:extLst>
          </p:cNvPr>
          <p:cNvSpPr/>
          <p:nvPr userDrawn="1">
            <p:custDataLst>
              <p:tags r:id="rId3"/>
            </p:custDataLst>
          </p:nvPr>
        </p:nvSpPr>
        <p:spPr>
          <a:xfrm>
            <a:off x="0" y="0"/>
            <a:ext cx="158750" cy="158750"/>
          </a:xfrm>
          <a:prstGeom prst="rect">
            <a:avLst/>
          </a:prstGeom>
          <a:solidFill>
            <a:schemeClr val="tx2"/>
          </a:solidFill>
        </p:spPr>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600" b="1" i="0" baseline="0" dirty="0" err="1">
              <a:solidFill>
                <a:schemeClr val="bg1"/>
              </a:solidFill>
              <a:latin typeface="Calibri Light" panose="020F0302020204030204" pitchFamily="34" charset="0"/>
              <a:ea typeface="+mj-ea"/>
              <a:cs typeface="Arial" panose="020B0604020202020204" pitchFamily="34" charset="0"/>
              <a:sym typeface="Calibri Light" panose="020F0302020204030204" pitchFamily="34" charset="0"/>
            </a:endParaRPr>
          </a:p>
        </p:txBody>
      </p:sp>
      <p:sp>
        <p:nvSpPr>
          <p:cNvPr id="24" name="Text Placeholder 11"/>
          <p:cNvSpPr>
            <a:spLocks noGrp="1"/>
          </p:cNvSpPr>
          <p:nvPr>
            <p:ph type="body" sz="quarter" idx="12" hasCustomPrompt="1"/>
          </p:nvPr>
        </p:nvSpPr>
        <p:spPr>
          <a:xfrm>
            <a:off x="878932" y="4699165"/>
            <a:ext cx="11948796" cy="457680"/>
          </a:xfrm>
          <a:prstGeom prst="rect">
            <a:avLst/>
          </a:prstGeom>
        </p:spPr>
        <p:txBody>
          <a:bodyPr>
            <a:normAutofit/>
          </a:bodyPr>
          <a:lstStyle>
            <a:lvl1pPr marL="0" indent="0">
              <a:buNone/>
              <a:defRPr sz="2000" b="0" cap="none" spc="126" baseline="0">
                <a:solidFill>
                  <a:schemeClr val="tx2"/>
                </a:solidFill>
                <a:latin typeface="+mj-lt"/>
              </a:defRPr>
            </a:lvl1pPr>
          </a:lstStyle>
          <a:p>
            <a:r>
              <a:rPr lang="en-US" dirty="0"/>
              <a:t>NAME OF CITY  -  DATE OF DOCUMENT</a:t>
            </a:r>
            <a:endParaRPr lang="fr-FR" dirty="0"/>
          </a:p>
        </p:txBody>
      </p:sp>
      <p:sp>
        <p:nvSpPr>
          <p:cNvPr id="8" name="Subtitle"/>
          <p:cNvSpPr>
            <a:spLocks noGrp="1"/>
          </p:cNvSpPr>
          <p:nvPr>
            <p:ph type="subTitle" idx="1" hasCustomPrompt="1"/>
          </p:nvPr>
        </p:nvSpPr>
        <p:spPr>
          <a:xfrm>
            <a:off x="878933" y="3784599"/>
            <a:ext cx="11948798" cy="369332"/>
          </a:xfrm>
          <a:prstGeom prst="rect">
            <a:avLst/>
          </a:prstGeom>
        </p:spPr>
        <p:txBody>
          <a:bodyPr vert="horz" wrap="square" lIns="0" tIns="0" rIns="0" bIns="0" anchor="t" anchorCtr="0">
            <a:noAutofit/>
          </a:bodyPr>
          <a:lstStyle>
            <a:lvl1pPr marL="0" indent="0" algn="l">
              <a:lnSpc>
                <a:spcPct val="100000"/>
              </a:lnSpc>
              <a:spcBef>
                <a:spcPts val="754"/>
              </a:spcBef>
              <a:spcAft>
                <a:spcPts val="0"/>
              </a:spcAft>
              <a:buNone/>
              <a:defRPr sz="2400" b="1" i="0" u="none" kern="1200" spc="126">
                <a:solidFill>
                  <a:schemeClr val="accent2">
                    <a:lumMod val="100000"/>
                  </a:schemeClr>
                </a:solidFill>
                <a:latin typeface="Calibri Light" panose="020F0302020204030204" pitchFamily="34" charset="0"/>
              </a:defRPr>
            </a:lvl1pPr>
            <a:lvl2pPr marL="574700" indent="0" algn="ctr">
              <a:buNone/>
              <a:defRPr>
                <a:solidFill>
                  <a:schemeClr val="tx1">
                    <a:tint val="75000"/>
                  </a:schemeClr>
                </a:solidFill>
              </a:defRPr>
            </a:lvl2pPr>
            <a:lvl3pPr marL="1149401" indent="0" algn="ctr">
              <a:buNone/>
              <a:defRPr>
                <a:solidFill>
                  <a:schemeClr val="tx1">
                    <a:tint val="75000"/>
                  </a:schemeClr>
                </a:solidFill>
              </a:defRPr>
            </a:lvl3pPr>
            <a:lvl4pPr marL="1724101" indent="0" algn="ctr">
              <a:buNone/>
              <a:defRPr>
                <a:solidFill>
                  <a:schemeClr val="tx1">
                    <a:tint val="75000"/>
                  </a:schemeClr>
                </a:solidFill>
              </a:defRPr>
            </a:lvl4pPr>
            <a:lvl5pPr marL="2298802" indent="0" algn="ctr">
              <a:buNone/>
              <a:defRPr>
                <a:solidFill>
                  <a:schemeClr val="tx1">
                    <a:tint val="75000"/>
                  </a:schemeClr>
                </a:solidFill>
              </a:defRPr>
            </a:lvl5pPr>
            <a:lvl6pPr marL="2873502" indent="0" algn="ctr">
              <a:buNone/>
              <a:defRPr>
                <a:solidFill>
                  <a:schemeClr val="tx1">
                    <a:tint val="75000"/>
                  </a:schemeClr>
                </a:solidFill>
              </a:defRPr>
            </a:lvl6pPr>
            <a:lvl7pPr marL="3448202" indent="0" algn="ctr">
              <a:buNone/>
              <a:defRPr>
                <a:solidFill>
                  <a:schemeClr val="tx1">
                    <a:tint val="75000"/>
                  </a:schemeClr>
                </a:solidFill>
              </a:defRPr>
            </a:lvl7pPr>
            <a:lvl8pPr marL="4022903" indent="0" algn="ctr">
              <a:buNone/>
              <a:defRPr>
                <a:solidFill>
                  <a:schemeClr val="tx1">
                    <a:tint val="75000"/>
                  </a:schemeClr>
                </a:solidFill>
              </a:defRPr>
            </a:lvl8pPr>
            <a:lvl9pPr marL="4597603" indent="0" algn="ctr">
              <a:buNone/>
              <a:defRPr>
                <a:solidFill>
                  <a:schemeClr val="tx1">
                    <a:tint val="75000"/>
                  </a:schemeClr>
                </a:solidFill>
              </a:defRPr>
            </a:lvl9pPr>
          </a:lstStyle>
          <a:p>
            <a:pPr lvl="0"/>
            <a:r>
              <a:rPr lang="en-US" dirty="0"/>
              <a:t>Click to add subtitle</a:t>
            </a:r>
            <a:endParaRPr lang="fr-FR" dirty="0"/>
          </a:p>
        </p:txBody>
      </p:sp>
      <p:sp>
        <p:nvSpPr>
          <p:cNvPr id="9" name="Title 1"/>
          <p:cNvSpPr>
            <a:spLocks noGrp="1"/>
          </p:cNvSpPr>
          <p:nvPr>
            <p:ph type="title" hasCustomPrompt="1"/>
          </p:nvPr>
        </p:nvSpPr>
        <p:spPr>
          <a:xfrm>
            <a:off x="874937" y="2257198"/>
            <a:ext cx="11951122" cy="1263600"/>
          </a:xfrm>
          <a:prstGeom prst="rect">
            <a:avLst/>
          </a:prstGeom>
        </p:spPr>
        <p:txBody>
          <a:bodyPr anchor="b">
            <a:normAutofit/>
          </a:bodyPr>
          <a:lstStyle>
            <a:lvl1pPr>
              <a:defRPr sz="3600" b="1" baseline="0">
                <a:solidFill>
                  <a:schemeClr val="tx2"/>
                </a:solidFill>
                <a:latin typeface="+mj-lt"/>
              </a:defRPr>
            </a:lvl1pPr>
          </a:lstStyle>
          <a:p>
            <a:pPr lvl="0"/>
            <a:r>
              <a:rPr lang="en-US" dirty="0"/>
              <a:t>Click to add title</a:t>
            </a:r>
          </a:p>
        </p:txBody>
      </p:sp>
      <p:sp>
        <p:nvSpPr>
          <p:cNvPr id="10" name="object 18">
            <a:extLst>
              <a:ext uri="{FF2B5EF4-FFF2-40B4-BE49-F238E27FC236}">
                <a16:creationId xmlns:a16="http://schemas.microsoft.com/office/drawing/2014/main" id="{303F57C8-658E-4BF6-9E7E-4664CA64754F}"/>
              </a:ext>
            </a:extLst>
          </p:cNvPr>
          <p:cNvSpPr>
            <a:spLocks noChangeAspect="1"/>
          </p:cNvSpPr>
          <p:nvPr userDrawn="1"/>
        </p:nvSpPr>
        <p:spPr>
          <a:xfrm>
            <a:off x="0" y="2"/>
            <a:ext cx="1332000" cy="3528000"/>
          </a:xfrm>
          <a:custGeom>
            <a:avLst/>
            <a:gdLst/>
            <a:ahLst/>
            <a:cxnLst/>
            <a:rect l="l" t="t" r="r" b="b"/>
            <a:pathLst>
              <a:path w="1167130" h="2886075">
                <a:moveTo>
                  <a:pt x="1166888" y="0"/>
                </a:moveTo>
                <a:lnTo>
                  <a:pt x="0" y="0"/>
                </a:lnTo>
                <a:lnTo>
                  <a:pt x="0" y="2885516"/>
                </a:lnTo>
                <a:lnTo>
                  <a:pt x="1066" y="2885516"/>
                </a:lnTo>
                <a:lnTo>
                  <a:pt x="1166888" y="0"/>
                </a:lnTo>
                <a:close/>
              </a:path>
            </a:pathLst>
          </a:custGeom>
          <a:solidFill>
            <a:schemeClr val="tx2"/>
          </a:solidFill>
        </p:spPr>
        <p:txBody>
          <a:bodyPr wrap="square" lIns="0" tIns="0" rIns="0" bIns="0" rtlCol="0"/>
          <a:lstStyle/>
          <a:p>
            <a:endParaRPr spc="100" baseline="0"/>
          </a:p>
        </p:txBody>
      </p:sp>
      <p:pic>
        <p:nvPicPr>
          <p:cNvPr id="11" name="Image 11">
            <a:extLst>
              <a:ext uri="{FF2B5EF4-FFF2-40B4-BE49-F238E27FC236}">
                <a16:creationId xmlns:a16="http://schemas.microsoft.com/office/drawing/2014/main" id="{C849C626-35B1-4806-B223-87E8A56A8C51}"/>
              </a:ext>
            </a:extLst>
          </p:cNvPr>
          <p:cNvPicPr>
            <a:picLocks noChangeAspect="1"/>
          </p:cNvPicPr>
          <p:nvPr userDrawn="1"/>
        </p:nvPicPr>
        <p:blipFill>
          <a:blip r:embed="rId7"/>
          <a:stretch>
            <a:fillRect/>
          </a:stretch>
        </p:blipFill>
        <p:spPr>
          <a:xfrm>
            <a:off x="10498710" y="6265746"/>
            <a:ext cx="2325115" cy="973020"/>
          </a:xfrm>
          <a:prstGeom prst="rect">
            <a:avLst/>
          </a:prstGeom>
        </p:spPr>
      </p:pic>
      <p:sp>
        <p:nvSpPr>
          <p:cNvPr id="12" name="object 18">
            <a:extLst>
              <a:ext uri="{FF2B5EF4-FFF2-40B4-BE49-F238E27FC236}">
                <a16:creationId xmlns:a16="http://schemas.microsoft.com/office/drawing/2014/main" id="{5B0E54B0-EAF5-487E-9252-4D0D096382DB}"/>
              </a:ext>
            </a:extLst>
          </p:cNvPr>
          <p:cNvSpPr>
            <a:spLocks noChangeAspect="1"/>
          </p:cNvSpPr>
          <p:nvPr userDrawn="1"/>
        </p:nvSpPr>
        <p:spPr>
          <a:xfrm>
            <a:off x="9888476" y="6274115"/>
            <a:ext cx="360374" cy="956283"/>
          </a:xfrm>
          <a:custGeom>
            <a:avLst/>
            <a:gdLst/>
            <a:ahLst/>
            <a:cxnLst/>
            <a:rect l="l" t="t" r="r" b="b"/>
            <a:pathLst>
              <a:path w="546734" h="1352550">
                <a:moveTo>
                  <a:pt x="0" y="1352428"/>
                </a:moveTo>
                <a:lnTo>
                  <a:pt x="546414" y="0"/>
                </a:lnTo>
              </a:path>
            </a:pathLst>
          </a:custGeom>
          <a:ln w="12700">
            <a:solidFill>
              <a:schemeClr val="accent2"/>
            </a:solidFill>
          </a:ln>
        </p:spPr>
        <p:txBody>
          <a:bodyPr wrap="square" lIns="0" tIns="0" rIns="0" bIns="0" rtlCol="0"/>
          <a:lstStyle/>
          <a:p>
            <a:pPr marL="0" marR="0" lvl="0" indent="0" algn="l" defTabSz="1045848" rtl="0" eaLnBrk="1" fontAlgn="auto" latinLnBrk="0" hangingPunct="1">
              <a:lnSpc>
                <a:spcPct val="100000"/>
              </a:lnSpc>
              <a:spcBef>
                <a:spcPts val="0"/>
              </a:spcBef>
              <a:spcAft>
                <a:spcPts val="0"/>
              </a:spcAft>
              <a:buClrTx/>
              <a:buSzTx/>
              <a:buFontTx/>
              <a:buNone/>
              <a:tabLst/>
              <a:defRPr/>
            </a:pPr>
            <a:endParaRPr kumimoji="0" sz="2300" b="0" i="0" u="none" strike="noStrike" kern="1200" cap="none" spc="10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9697751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Front cover client logo">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EE0B2A0-794F-45D2-8FA6-099FFE848F3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635" name="Diapositive think-cell" r:id="rId5" imgW="592" imgH="584" progId="TCLayout.ActiveDocument.1">
                  <p:embed/>
                </p:oleObj>
              </mc:Choice>
              <mc:Fallback>
                <p:oleObj name="Diapositive think-cell" r:id="rId5" imgW="592" imgH="584" progId="TCLayout.ActiveDocument.1">
                  <p:embed/>
                  <p:pic>
                    <p:nvPicPr>
                      <p:cNvPr id="3" name="Objet 2" hidden="1">
                        <a:extLst>
                          <a:ext uri="{FF2B5EF4-FFF2-40B4-BE49-F238E27FC236}">
                            <a16:creationId xmlns:a16="http://schemas.microsoft.com/office/drawing/2014/main" id="{8EE0B2A0-794F-45D2-8FA6-099FFE848F3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165C3D2-21AF-48C9-8FA9-330F0E00C7DC}"/>
              </a:ext>
            </a:extLst>
          </p:cNvPr>
          <p:cNvSpPr/>
          <p:nvPr userDrawn="1">
            <p:custDataLst>
              <p:tags r:id="rId3"/>
            </p:custDataLst>
          </p:nvPr>
        </p:nvSpPr>
        <p:spPr>
          <a:xfrm>
            <a:off x="0" y="0"/>
            <a:ext cx="158750" cy="158750"/>
          </a:xfrm>
          <a:prstGeom prst="rect">
            <a:avLst/>
          </a:prstGeom>
          <a:solidFill>
            <a:schemeClr val="tx2"/>
          </a:solidFill>
        </p:spPr>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600" b="1" i="0" baseline="0" dirty="0" err="1">
              <a:solidFill>
                <a:schemeClr val="bg1"/>
              </a:solidFill>
              <a:latin typeface="Calibri Light" panose="020F0302020204030204" pitchFamily="34" charset="0"/>
              <a:ea typeface="+mj-ea"/>
              <a:cs typeface="Arial" panose="020B0604020202020204" pitchFamily="34" charset="0"/>
              <a:sym typeface="Calibri Light" panose="020F0302020204030204" pitchFamily="34" charset="0"/>
            </a:endParaRPr>
          </a:p>
        </p:txBody>
      </p:sp>
      <p:sp>
        <p:nvSpPr>
          <p:cNvPr id="10" name="Picture Placeholder 9"/>
          <p:cNvSpPr>
            <a:spLocks noGrp="1"/>
          </p:cNvSpPr>
          <p:nvPr>
            <p:ph type="pic" sz="quarter" idx="11" hasCustomPrompt="1"/>
          </p:nvPr>
        </p:nvSpPr>
        <p:spPr>
          <a:xfrm>
            <a:off x="5995044" y="6218693"/>
            <a:ext cx="3643572" cy="1067126"/>
          </a:xfrm>
          <a:prstGeom prst="rect">
            <a:avLst/>
          </a:prstGeom>
        </p:spPr>
        <p:txBody>
          <a:bodyPr anchor="ctr"/>
          <a:lstStyle>
            <a:lvl1pPr marL="135756" indent="0" algn="ctr">
              <a:buNone/>
              <a:defRPr spc="126" baseline="0"/>
            </a:lvl1pPr>
          </a:lstStyle>
          <a:p>
            <a:r>
              <a:rPr lang="fr-FR" dirty="0" err="1"/>
              <a:t>Add</a:t>
            </a:r>
            <a:r>
              <a:rPr lang="fr-FR" dirty="0"/>
              <a:t> logo</a:t>
            </a:r>
          </a:p>
        </p:txBody>
      </p:sp>
      <p:sp>
        <p:nvSpPr>
          <p:cNvPr id="16" name="Text Placeholder 11"/>
          <p:cNvSpPr>
            <a:spLocks noGrp="1"/>
          </p:cNvSpPr>
          <p:nvPr>
            <p:ph type="body" sz="quarter" idx="12" hasCustomPrompt="1"/>
          </p:nvPr>
        </p:nvSpPr>
        <p:spPr>
          <a:xfrm>
            <a:off x="878932" y="4699165"/>
            <a:ext cx="11948796" cy="457680"/>
          </a:xfrm>
          <a:prstGeom prst="rect">
            <a:avLst/>
          </a:prstGeom>
        </p:spPr>
        <p:txBody>
          <a:bodyPr>
            <a:normAutofit/>
          </a:bodyPr>
          <a:lstStyle>
            <a:lvl1pPr marL="0" indent="0">
              <a:buNone/>
              <a:defRPr sz="2000" b="0" cap="none" spc="126" baseline="0">
                <a:solidFill>
                  <a:schemeClr val="tx2"/>
                </a:solidFill>
                <a:latin typeface="+mj-lt"/>
              </a:defRPr>
            </a:lvl1pPr>
          </a:lstStyle>
          <a:p>
            <a:r>
              <a:rPr lang="en-US" dirty="0"/>
              <a:t>NAME OF CITY  -  DATE OF DOCUMENT</a:t>
            </a:r>
            <a:endParaRPr lang="fr-FR" dirty="0"/>
          </a:p>
        </p:txBody>
      </p:sp>
      <p:sp>
        <p:nvSpPr>
          <p:cNvPr id="11" name="Title 1"/>
          <p:cNvSpPr>
            <a:spLocks noGrp="1"/>
          </p:cNvSpPr>
          <p:nvPr>
            <p:ph type="title" hasCustomPrompt="1"/>
          </p:nvPr>
        </p:nvSpPr>
        <p:spPr>
          <a:xfrm>
            <a:off x="874937" y="2257198"/>
            <a:ext cx="11951122" cy="1263600"/>
          </a:xfrm>
          <a:prstGeom prst="rect">
            <a:avLst/>
          </a:prstGeom>
        </p:spPr>
        <p:txBody>
          <a:bodyPr anchor="b">
            <a:normAutofit/>
          </a:bodyPr>
          <a:lstStyle>
            <a:lvl1pPr>
              <a:defRPr sz="3600" b="1" baseline="0">
                <a:solidFill>
                  <a:schemeClr val="tx2"/>
                </a:solidFill>
                <a:latin typeface="+mj-lt"/>
              </a:defRPr>
            </a:lvl1pPr>
          </a:lstStyle>
          <a:p>
            <a:pPr lvl="0"/>
            <a:r>
              <a:rPr lang="en-US" dirty="0"/>
              <a:t>Click to add title</a:t>
            </a:r>
          </a:p>
        </p:txBody>
      </p:sp>
      <p:sp>
        <p:nvSpPr>
          <p:cNvPr id="9" name="Subtitle"/>
          <p:cNvSpPr>
            <a:spLocks noGrp="1"/>
          </p:cNvSpPr>
          <p:nvPr>
            <p:ph type="subTitle" idx="1" hasCustomPrompt="1"/>
          </p:nvPr>
        </p:nvSpPr>
        <p:spPr>
          <a:xfrm>
            <a:off x="878933" y="3784599"/>
            <a:ext cx="11948798" cy="369332"/>
          </a:xfrm>
          <a:prstGeom prst="rect">
            <a:avLst/>
          </a:prstGeom>
        </p:spPr>
        <p:txBody>
          <a:bodyPr vert="horz" wrap="square" lIns="0" tIns="0" rIns="0" bIns="0" anchor="t" anchorCtr="0">
            <a:noAutofit/>
          </a:bodyPr>
          <a:lstStyle>
            <a:lvl1pPr marL="0" indent="0" algn="l">
              <a:lnSpc>
                <a:spcPct val="100000"/>
              </a:lnSpc>
              <a:spcBef>
                <a:spcPts val="754"/>
              </a:spcBef>
              <a:spcAft>
                <a:spcPts val="0"/>
              </a:spcAft>
              <a:buNone/>
              <a:defRPr sz="2400" b="1" i="0" u="none" kern="1200" spc="126">
                <a:solidFill>
                  <a:schemeClr val="accent2">
                    <a:lumMod val="100000"/>
                  </a:schemeClr>
                </a:solidFill>
                <a:latin typeface="Calibri Light" panose="020F0302020204030204" pitchFamily="34" charset="0"/>
              </a:defRPr>
            </a:lvl1pPr>
            <a:lvl2pPr marL="574700" indent="0" algn="ctr">
              <a:buNone/>
              <a:defRPr>
                <a:solidFill>
                  <a:schemeClr val="tx1">
                    <a:tint val="75000"/>
                  </a:schemeClr>
                </a:solidFill>
              </a:defRPr>
            </a:lvl2pPr>
            <a:lvl3pPr marL="1149401" indent="0" algn="ctr">
              <a:buNone/>
              <a:defRPr>
                <a:solidFill>
                  <a:schemeClr val="tx1">
                    <a:tint val="75000"/>
                  </a:schemeClr>
                </a:solidFill>
              </a:defRPr>
            </a:lvl3pPr>
            <a:lvl4pPr marL="1724101" indent="0" algn="ctr">
              <a:buNone/>
              <a:defRPr>
                <a:solidFill>
                  <a:schemeClr val="tx1">
                    <a:tint val="75000"/>
                  </a:schemeClr>
                </a:solidFill>
              </a:defRPr>
            </a:lvl4pPr>
            <a:lvl5pPr marL="2298802" indent="0" algn="ctr">
              <a:buNone/>
              <a:defRPr>
                <a:solidFill>
                  <a:schemeClr val="tx1">
                    <a:tint val="75000"/>
                  </a:schemeClr>
                </a:solidFill>
              </a:defRPr>
            </a:lvl5pPr>
            <a:lvl6pPr marL="2873502" indent="0" algn="ctr">
              <a:buNone/>
              <a:defRPr>
                <a:solidFill>
                  <a:schemeClr val="tx1">
                    <a:tint val="75000"/>
                  </a:schemeClr>
                </a:solidFill>
              </a:defRPr>
            </a:lvl6pPr>
            <a:lvl7pPr marL="3448202" indent="0" algn="ctr">
              <a:buNone/>
              <a:defRPr>
                <a:solidFill>
                  <a:schemeClr val="tx1">
                    <a:tint val="75000"/>
                  </a:schemeClr>
                </a:solidFill>
              </a:defRPr>
            </a:lvl7pPr>
            <a:lvl8pPr marL="4022903" indent="0" algn="ctr">
              <a:buNone/>
              <a:defRPr>
                <a:solidFill>
                  <a:schemeClr val="tx1">
                    <a:tint val="75000"/>
                  </a:schemeClr>
                </a:solidFill>
              </a:defRPr>
            </a:lvl8pPr>
            <a:lvl9pPr marL="4597603" indent="0" algn="ctr">
              <a:buNone/>
              <a:defRPr>
                <a:solidFill>
                  <a:schemeClr val="tx1">
                    <a:tint val="75000"/>
                  </a:schemeClr>
                </a:solidFill>
              </a:defRPr>
            </a:lvl9pPr>
          </a:lstStyle>
          <a:p>
            <a:pPr lvl="0"/>
            <a:r>
              <a:rPr lang="en-US" dirty="0"/>
              <a:t>Click to add subtitle</a:t>
            </a:r>
            <a:endParaRPr lang="fr-FR" dirty="0"/>
          </a:p>
        </p:txBody>
      </p:sp>
      <p:pic>
        <p:nvPicPr>
          <p:cNvPr id="13" name="Image 11">
            <a:extLst>
              <a:ext uri="{FF2B5EF4-FFF2-40B4-BE49-F238E27FC236}">
                <a16:creationId xmlns:a16="http://schemas.microsoft.com/office/drawing/2014/main" id="{A8E12E29-C1BE-490F-9A0D-8E5B991E32B3}"/>
              </a:ext>
            </a:extLst>
          </p:cNvPr>
          <p:cNvPicPr>
            <a:picLocks noChangeAspect="1"/>
          </p:cNvPicPr>
          <p:nvPr userDrawn="1"/>
        </p:nvPicPr>
        <p:blipFill>
          <a:blip r:embed="rId7"/>
          <a:stretch>
            <a:fillRect/>
          </a:stretch>
        </p:blipFill>
        <p:spPr>
          <a:xfrm>
            <a:off x="10498710" y="6265746"/>
            <a:ext cx="2325115" cy="973020"/>
          </a:xfrm>
          <a:prstGeom prst="rect">
            <a:avLst/>
          </a:prstGeom>
        </p:spPr>
      </p:pic>
      <p:sp>
        <p:nvSpPr>
          <p:cNvPr id="14" name="object 18">
            <a:extLst>
              <a:ext uri="{FF2B5EF4-FFF2-40B4-BE49-F238E27FC236}">
                <a16:creationId xmlns:a16="http://schemas.microsoft.com/office/drawing/2014/main" id="{73C00858-943C-4DF6-9CEC-2FBB0E6E72C6}"/>
              </a:ext>
            </a:extLst>
          </p:cNvPr>
          <p:cNvSpPr>
            <a:spLocks noChangeAspect="1"/>
          </p:cNvSpPr>
          <p:nvPr userDrawn="1"/>
        </p:nvSpPr>
        <p:spPr>
          <a:xfrm>
            <a:off x="9888476" y="6274115"/>
            <a:ext cx="360374" cy="956283"/>
          </a:xfrm>
          <a:custGeom>
            <a:avLst/>
            <a:gdLst/>
            <a:ahLst/>
            <a:cxnLst/>
            <a:rect l="l" t="t" r="r" b="b"/>
            <a:pathLst>
              <a:path w="546734" h="1352550">
                <a:moveTo>
                  <a:pt x="0" y="1352428"/>
                </a:moveTo>
                <a:lnTo>
                  <a:pt x="546414" y="0"/>
                </a:lnTo>
              </a:path>
            </a:pathLst>
          </a:custGeom>
          <a:ln w="12700">
            <a:solidFill>
              <a:schemeClr val="accent2"/>
            </a:solidFill>
          </a:ln>
        </p:spPr>
        <p:txBody>
          <a:bodyPr wrap="square" lIns="0" tIns="0" rIns="0" bIns="0" rtlCol="0"/>
          <a:lstStyle/>
          <a:p>
            <a:pPr marL="0" marR="0" lvl="0" indent="0" algn="l" defTabSz="1045848" rtl="0" eaLnBrk="1" fontAlgn="auto" latinLnBrk="0" hangingPunct="1">
              <a:lnSpc>
                <a:spcPct val="100000"/>
              </a:lnSpc>
              <a:spcBef>
                <a:spcPts val="0"/>
              </a:spcBef>
              <a:spcAft>
                <a:spcPts val="0"/>
              </a:spcAft>
              <a:buClrTx/>
              <a:buSzTx/>
              <a:buFontTx/>
              <a:buNone/>
              <a:tabLst/>
              <a:defRPr/>
            </a:pPr>
            <a:endParaRPr kumimoji="0" sz="2300" b="0" i="0" u="none" strike="noStrike" kern="1200" cap="none" spc="100" normalizeH="0" baseline="0" noProof="0">
              <a:ln>
                <a:noFill/>
              </a:ln>
              <a:solidFill>
                <a:srgbClr val="000000"/>
              </a:solidFill>
              <a:effectLst/>
              <a:uLnTx/>
              <a:uFillTx/>
              <a:latin typeface="Arial"/>
              <a:ea typeface="+mn-ea"/>
              <a:cs typeface="+mn-cs"/>
            </a:endParaRPr>
          </a:p>
        </p:txBody>
      </p:sp>
      <p:sp>
        <p:nvSpPr>
          <p:cNvPr id="20" name="object 18">
            <a:extLst>
              <a:ext uri="{FF2B5EF4-FFF2-40B4-BE49-F238E27FC236}">
                <a16:creationId xmlns:a16="http://schemas.microsoft.com/office/drawing/2014/main" id="{0293DA46-07AC-4AEF-931E-98A1DCD8D60A}"/>
              </a:ext>
            </a:extLst>
          </p:cNvPr>
          <p:cNvSpPr>
            <a:spLocks noChangeAspect="1"/>
          </p:cNvSpPr>
          <p:nvPr userDrawn="1"/>
        </p:nvSpPr>
        <p:spPr>
          <a:xfrm>
            <a:off x="0" y="2"/>
            <a:ext cx="1332000" cy="3528000"/>
          </a:xfrm>
          <a:custGeom>
            <a:avLst/>
            <a:gdLst/>
            <a:ahLst/>
            <a:cxnLst/>
            <a:rect l="l" t="t" r="r" b="b"/>
            <a:pathLst>
              <a:path w="1167130" h="2886075">
                <a:moveTo>
                  <a:pt x="1166888" y="0"/>
                </a:moveTo>
                <a:lnTo>
                  <a:pt x="0" y="0"/>
                </a:lnTo>
                <a:lnTo>
                  <a:pt x="0" y="2885516"/>
                </a:lnTo>
                <a:lnTo>
                  <a:pt x="1066" y="2885516"/>
                </a:lnTo>
                <a:lnTo>
                  <a:pt x="1166888" y="0"/>
                </a:lnTo>
                <a:close/>
              </a:path>
            </a:pathLst>
          </a:custGeom>
          <a:solidFill>
            <a:schemeClr val="tx2"/>
          </a:solidFill>
        </p:spPr>
        <p:txBody>
          <a:bodyPr wrap="square" lIns="0" tIns="0" rIns="0" bIns="0" rtlCol="0"/>
          <a:lstStyle/>
          <a:p>
            <a:endParaRPr spc="100" baseline="0" dirty="0"/>
          </a:p>
        </p:txBody>
      </p:sp>
    </p:spTree>
    <p:extLst>
      <p:ext uri="{BB962C8B-B14F-4D97-AF65-F5344CB8AC3E}">
        <p14:creationId xmlns:p14="http://schemas.microsoft.com/office/powerpoint/2010/main" val="184837209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Front cover with pictur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687CE0A6-61BA-4D73-8FD3-1869951AF58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59" name="Diapositive think-cell" r:id="rId5" imgW="592" imgH="584" progId="TCLayout.ActiveDocument.1">
                  <p:embed/>
                </p:oleObj>
              </mc:Choice>
              <mc:Fallback>
                <p:oleObj name="Diapositive think-cell" r:id="rId5" imgW="592" imgH="584" progId="TCLayout.ActiveDocument.1">
                  <p:embed/>
                  <p:pic>
                    <p:nvPicPr>
                      <p:cNvPr id="3" name="Objet 2" hidden="1">
                        <a:extLst>
                          <a:ext uri="{FF2B5EF4-FFF2-40B4-BE49-F238E27FC236}">
                            <a16:creationId xmlns:a16="http://schemas.microsoft.com/office/drawing/2014/main" id="{687CE0A6-61BA-4D73-8FD3-1869951AF5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072AFCB-68E8-4049-8457-CAF856139051}"/>
              </a:ext>
            </a:extLst>
          </p:cNvPr>
          <p:cNvSpPr/>
          <p:nvPr userDrawn="1">
            <p:custDataLst>
              <p:tags r:id="rId3"/>
            </p:custDataLst>
          </p:nvPr>
        </p:nvSpPr>
        <p:spPr>
          <a:xfrm>
            <a:off x="0" y="0"/>
            <a:ext cx="158750" cy="158750"/>
          </a:xfrm>
          <a:prstGeom prst="rect">
            <a:avLst/>
          </a:prstGeom>
          <a:solidFill>
            <a:schemeClr val="tx2"/>
          </a:solidFill>
        </p:spPr>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600" b="1" i="0" baseline="0" dirty="0" err="1">
              <a:solidFill>
                <a:schemeClr val="bg1"/>
              </a:solidFill>
              <a:latin typeface="Calibri Light" panose="020F0302020204030204" pitchFamily="34" charset="0"/>
              <a:ea typeface="+mj-ea"/>
              <a:cs typeface="Arial" panose="020B0604020202020204" pitchFamily="34" charset="0"/>
              <a:sym typeface="Calibri Light" panose="020F0302020204030204" pitchFamily="34" charset="0"/>
            </a:endParaRPr>
          </a:p>
        </p:txBody>
      </p:sp>
      <p:sp>
        <p:nvSpPr>
          <p:cNvPr id="12" name="Text Placeholder 11"/>
          <p:cNvSpPr>
            <a:spLocks noGrp="1"/>
          </p:cNvSpPr>
          <p:nvPr>
            <p:ph type="body" sz="quarter" idx="12" hasCustomPrompt="1"/>
          </p:nvPr>
        </p:nvSpPr>
        <p:spPr>
          <a:xfrm>
            <a:off x="5293360" y="4699165"/>
            <a:ext cx="7532699" cy="457680"/>
          </a:xfrm>
          <a:prstGeom prst="rect">
            <a:avLst/>
          </a:prstGeom>
        </p:spPr>
        <p:txBody>
          <a:bodyPr>
            <a:normAutofit/>
          </a:bodyPr>
          <a:lstStyle>
            <a:lvl1pPr marL="0" indent="0">
              <a:buNone/>
              <a:defRPr sz="2000" b="0" cap="none" baseline="0">
                <a:solidFill>
                  <a:schemeClr val="tx2"/>
                </a:solidFill>
                <a:latin typeface="+mj-lt"/>
              </a:defRPr>
            </a:lvl1pPr>
          </a:lstStyle>
          <a:p>
            <a:r>
              <a:rPr lang="en-US" dirty="0"/>
              <a:t>NAME OF CITY  -  DATE OF DOCUMENT</a:t>
            </a:r>
            <a:endParaRPr lang="fr-FR" dirty="0"/>
          </a:p>
        </p:txBody>
      </p:sp>
      <p:sp>
        <p:nvSpPr>
          <p:cNvPr id="8" name="Subtitle"/>
          <p:cNvSpPr>
            <a:spLocks noGrp="1"/>
          </p:cNvSpPr>
          <p:nvPr>
            <p:ph type="subTitle" idx="1" hasCustomPrompt="1"/>
          </p:nvPr>
        </p:nvSpPr>
        <p:spPr>
          <a:xfrm>
            <a:off x="5293360" y="3784599"/>
            <a:ext cx="7532699" cy="369332"/>
          </a:xfrm>
          <a:prstGeom prst="rect">
            <a:avLst/>
          </a:prstGeom>
        </p:spPr>
        <p:txBody>
          <a:bodyPr vert="horz" wrap="square" lIns="0" tIns="0" rIns="0" bIns="0" anchor="t" anchorCtr="0">
            <a:noAutofit/>
          </a:bodyPr>
          <a:lstStyle>
            <a:lvl1pPr marL="0" indent="0" algn="l">
              <a:lnSpc>
                <a:spcPct val="100000"/>
              </a:lnSpc>
              <a:spcBef>
                <a:spcPts val="754"/>
              </a:spcBef>
              <a:spcAft>
                <a:spcPts val="0"/>
              </a:spcAft>
              <a:buNone/>
              <a:defRPr sz="2400" b="1" i="0" u="none" kern="1200" spc="126">
                <a:solidFill>
                  <a:schemeClr val="accent2">
                    <a:lumMod val="100000"/>
                  </a:schemeClr>
                </a:solidFill>
                <a:latin typeface="Calibri Light" panose="020F0302020204030204" pitchFamily="34" charset="0"/>
              </a:defRPr>
            </a:lvl1pPr>
            <a:lvl2pPr marL="574700" indent="0" algn="ctr">
              <a:buNone/>
              <a:defRPr>
                <a:solidFill>
                  <a:schemeClr val="tx1">
                    <a:tint val="75000"/>
                  </a:schemeClr>
                </a:solidFill>
              </a:defRPr>
            </a:lvl2pPr>
            <a:lvl3pPr marL="1149401" indent="0" algn="ctr">
              <a:buNone/>
              <a:defRPr>
                <a:solidFill>
                  <a:schemeClr val="tx1">
                    <a:tint val="75000"/>
                  </a:schemeClr>
                </a:solidFill>
              </a:defRPr>
            </a:lvl3pPr>
            <a:lvl4pPr marL="1724101" indent="0" algn="ctr">
              <a:buNone/>
              <a:defRPr>
                <a:solidFill>
                  <a:schemeClr val="tx1">
                    <a:tint val="75000"/>
                  </a:schemeClr>
                </a:solidFill>
              </a:defRPr>
            </a:lvl4pPr>
            <a:lvl5pPr marL="2298802" indent="0" algn="ctr">
              <a:buNone/>
              <a:defRPr>
                <a:solidFill>
                  <a:schemeClr val="tx1">
                    <a:tint val="75000"/>
                  </a:schemeClr>
                </a:solidFill>
              </a:defRPr>
            </a:lvl5pPr>
            <a:lvl6pPr marL="2873502" indent="0" algn="ctr">
              <a:buNone/>
              <a:defRPr>
                <a:solidFill>
                  <a:schemeClr val="tx1">
                    <a:tint val="75000"/>
                  </a:schemeClr>
                </a:solidFill>
              </a:defRPr>
            </a:lvl6pPr>
            <a:lvl7pPr marL="3448202" indent="0" algn="ctr">
              <a:buNone/>
              <a:defRPr>
                <a:solidFill>
                  <a:schemeClr val="tx1">
                    <a:tint val="75000"/>
                  </a:schemeClr>
                </a:solidFill>
              </a:defRPr>
            </a:lvl7pPr>
            <a:lvl8pPr marL="4022903" indent="0" algn="ctr">
              <a:buNone/>
              <a:defRPr>
                <a:solidFill>
                  <a:schemeClr val="tx1">
                    <a:tint val="75000"/>
                  </a:schemeClr>
                </a:solidFill>
              </a:defRPr>
            </a:lvl8pPr>
            <a:lvl9pPr marL="4597603" indent="0" algn="ctr">
              <a:buNone/>
              <a:defRPr>
                <a:solidFill>
                  <a:schemeClr val="tx1">
                    <a:tint val="75000"/>
                  </a:schemeClr>
                </a:solidFill>
              </a:defRPr>
            </a:lvl9pPr>
          </a:lstStyle>
          <a:p>
            <a:pPr lvl="0"/>
            <a:r>
              <a:rPr lang="en-US" dirty="0"/>
              <a:t>Click to add subtitle</a:t>
            </a:r>
            <a:endParaRPr lang="fr-FR" dirty="0"/>
          </a:p>
        </p:txBody>
      </p:sp>
      <p:sp>
        <p:nvSpPr>
          <p:cNvPr id="11" name="Picture Placeholder 3"/>
          <p:cNvSpPr>
            <a:spLocks noGrp="1"/>
          </p:cNvSpPr>
          <p:nvPr>
            <p:ph type="pic" sz="quarter" idx="19" hasCustomPrompt="1"/>
          </p:nvPr>
        </p:nvSpPr>
        <p:spPr>
          <a:xfrm>
            <a:off x="-11211" y="-7230"/>
            <a:ext cx="4968000" cy="7560000"/>
          </a:xfrm>
          <a:custGeom>
            <a:avLst/>
            <a:gdLst>
              <a:gd name="connsiteX0" fmla="*/ 0 w 6324600"/>
              <a:gd name="connsiteY0" fmla="*/ 5589064 h 5589064"/>
              <a:gd name="connsiteX1" fmla="*/ 2236967 w 6324600"/>
              <a:gd name="connsiteY1" fmla="*/ 0 h 5589064"/>
              <a:gd name="connsiteX2" fmla="*/ 6324600 w 6324600"/>
              <a:gd name="connsiteY2" fmla="*/ 0 h 5589064"/>
              <a:gd name="connsiteX3" fmla="*/ 4087633 w 6324600"/>
              <a:gd name="connsiteY3" fmla="*/ 5589064 h 5589064"/>
              <a:gd name="connsiteX4" fmla="*/ 0 w 6324600"/>
              <a:gd name="connsiteY4" fmla="*/ 5589064 h 5589064"/>
              <a:gd name="connsiteX0" fmla="*/ 0 w 6384618"/>
              <a:gd name="connsiteY0" fmla="*/ 5592595 h 5592595"/>
              <a:gd name="connsiteX1" fmla="*/ 2236967 w 6384618"/>
              <a:gd name="connsiteY1" fmla="*/ 3531 h 5592595"/>
              <a:gd name="connsiteX2" fmla="*/ 6384618 w 6384618"/>
              <a:gd name="connsiteY2" fmla="*/ 0 h 5592595"/>
              <a:gd name="connsiteX3" fmla="*/ 4087633 w 6384618"/>
              <a:gd name="connsiteY3" fmla="*/ 5592595 h 5592595"/>
              <a:gd name="connsiteX4" fmla="*/ 0 w 6384618"/>
              <a:gd name="connsiteY4" fmla="*/ 5592595 h 5592595"/>
              <a:gd name="connsiteX0" fmla="*/ 0 w 6384618"/>
              <a:gd name="connsiteY0" fmla="*/ 5592595 h 5599656"/>
              <a:gd name="connsiteX1" fmla="*/ 2236967 w 6384618"/>
              <a:gd name="connsiteY1" fmla="*/ 3531 h 5599656"/>
              <a:gd name="connsiteX2" fmla="*/ 6384618 w 6384618"/>
              <a:gd name="connsiteY2" fmla="*/ 0 h 5599656"/>
              <a:gd name="connsiteX3" fmla="*/ 4129999 w 6384618"/>
              <a:gd name="connsiteY3" fmla="*/ 5599656 h 5599656"/>
              <a:gd name="connsiteX4" fmla="*/ 0 w 6384618"/>
              <a:gd name="connsiteY4" fmla="*/ 5592595 h 5599656"/>
              <a:gd name="connsiteX0" fmla="*/ 41413 w 4147651"/>
              <a:gd name="connsiteY0" fmla="*/ 5604025 h 5604025"/>
              <a:gd name="connsiteX1" fmla="*/ 0 w 4147651"/>
              <a:gd name="connsiteY1" fmla="*/ 3531 h 5604025"/>
              <a:gd name="connsiteX2" fmla="*/ 4147651 w 4147651"/>
              <a:gd name="connsiteY2" fmla="*/ 0 h 5604025"/>
              <a:gd name="connsiteX3" fmla="*/ 1893032 w 4147651"/>
              <a:gd name="connsiteY3" fmla="*/ 5599656 h 5604025"/>
              <a:gd name="connsiteX4" fmla="*/ 41413 w 4147651"/>
              <a:gd name="connsiteY4" fmla="*/ 5604025 h 5604025"/>
              <a:gd name="connsiteX0" fmla="*/ 0 w 4106238"/>
              <a:gd name="connsiteY0" fmla="*/ 5604304 h 5604304"/>
              <a:gd name="connsiteX1" fmla="*/ 497 w 4106238"/>
              <a:gd name="connsiteY1" fmla="*/ 0 h 5604304"/>
              <a:gd name="connsiteX2" fmla="*/ 4106238 w 4106238"/>
              <a:gd name="connsiteY2" fmla="*/ 279 h 5604304"/>
              <a:gd name="connsiteX3" fmla="*/ 1851619 w 4106238"/>
              <a:gd name="connsiteY3" fmla="*/ 5599935 h 5604304"/>
              <a:gd name="connsiteX4" fmla="*/ 0 w 4106238"/>
              <a:gd name="connsiteY4" fmla="*/ 5604304 h 5604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6238" h="5604304">
                <a:moveTo>
                  <a:pt x="0" y="5604304"/>
                </a:moveTo>
                <a:cubicBezTo>
                  <a:pt x="166" y="3736203"/>
                  <a:pt x="331" y="1868101"/>
                  <a:pt x="497" y="0"/>
                </a:cubicBezTo>
                <a:lnTo>
                  <a:pt x="4106238" y="279"/>
                </a:lnTo>
                <a:lnTo>
                  <a:pt x="1851619" y="5599935"/>
                </a:lnTo>
                <a:lnTo>
                  <a:pt x="0" y="5604304"/>
                </a:lnTo>
                <a:close/>
              </a:path>
            </a:pathLst>
          </a:custGeom>
          <a:ln>
            <a:noFill/>
          </a:ln>
        </p:spPr>
        <p:txBody>
          <a:bodyPr anchor="ctr"/>
          <a:lstStyle>
            <a:lvl1pPr marL="290827" indent="0" algn="l">
              <a:buNone/>
              <a:defRPr baseline="0"/>
            </a:lvl1pPr>
          </a:lstStyle>
          <a:p>
            <a:r>
              <a:rPr lang="fr-FR" dirty="0" err="1"/>
              <a:t>Add</a:t>
            </a:r>
            <a:r>
              <a:rPr lang="fr-FR" dirty="0"/>
              <a:t> Picture</a:t>
            </a:r>
          </a:p>
        </p:txBody>
      </p:sp>
      <p:sp>
        <p:nvSpPr>
          <p:cNvPr id="14" name="Title 1"/>
          <p:cNvSpPr>
            <a:spLocks noGrp="1"/>
          </p:cNvSpPr>
          <p:nvPr>
            <p:ph type="title" hasCustomPrompt="1"/>
          </p:nvPr>
        </p:nvSpPr>
        <p:spPr>
          <a:xfrm>
            <a:off x="5291065" y="2257198"/>
            <a:ext cx="7534994" cy="1263600"/>
          </a:xfrm>
          <a:prstGeom prst="rect">
            <a:avLst/>
          </a:prstGeom>
        </p:spPr>
        <p:txBody>
          <a:bodyPr anchor="b">
            <a:normAutofit/>
          </a:bodyPr>
          <a:lstStyle>
            <a:lvl1pPr>
              <a:defRPr sz="3600" b="1" baseline="0">
                <a:solidFill>
                  <a:schemeClr val="tx2"/>
                </a:solidFill>
                <a:latin typeface="+mj-lt"/>
              </a:defRPr>
            </a:lvl1pPr>
          </a:lstStyle>
          <a:p>
            <a:pPr lvl="0"/>
            <a:r>
              <a:rPr lang="en-US" dirty="0"/>
              <a:t>Click to add title</a:t>
            </a:r>
          </a:p>
        </p:txBody>
      </p:sp>
      <p:pic>
        <p:nvPicPr>
          <p:cNvPr id="13" name="Image 11">
            <a:extLst>
              <a:ext uri="{FF2B5EF4-FFF2-40B4-BE49-F238E27FC236}">
                <a16:creationId xmlns:a16="http://schemas.microsoft.com/office/drawing/2014/main" id="{A2D7D42D-2FA2-4A50-A9BD-37FFBE340F52}"/>
              </a:ext>
            </a:extLst>
          </p:cNvPr>
          <p:cNvPicPr>
            <a:picLocks noChangeAspect="1"/>
          </p:cNvPicPr>
          <p:nvPr userDrawn="1"/>
        </p:nvPicPr>
        <p:blipFill>
          <a:blip r:embed="rId7"/>
          <a:stretch>
            <a:fillRect/>
          </a:stretch>
        </p:blipFill>
        <p:spPr>
          <a:xfrm>
            <a:off x="10498710" y="6265746"/>
            <a:ext cx="2325115" cy="973020"/>
          </a:xfrm>
          <a:prstGeom prst="rect">
            <a:avLst/>
          </a:prstGeom>
        </p:spPr>
      </p:pic>
      <p:sp>
        <p:nvSpPr>
          <p:cNvPr id="15" name="object 18">
            <a:extLst>
              <a:ext uri="{FF2B5EF4-FFF2-40B4-BE49-F238E27FC236}">
                <a16:creationId xmlns:a16="http://schemas.microsoft.com/office/drawing/2014/main" id="{809DBEED-DC42-43D7-9938-E3EDFC983F7A}"/>
              </a:ext>
            </a:extLst>
          </p:cNvPr>
          <p:cNvSpPr>
            <a:spLocks noChangeAspect="1"/>
          </p:cNvSpPr>
          <p:nvPr userDrawn="1"/>
        </p:nvSpPr>
        <p:spPr>
          <a:xfrm>
            <a:off x="9888476" y="6274115"/>
            <a:ext cx="360374" cy="956283"/>
          </a:xfrm>
          <a:custGeom>
            <a:avLst/>
            <a:gdLst/>
            <a:ahLst/>
            <a:cxnLst/>
            <a:rect l="l" t="t" r="r" b="b"/>
            <a:pathLst>
              <a:path w="546734" h="1352550">
                <a:moveTo>
                  <a:pt x="0" y="1352428"/>
                </a:moveTo>
                <a:lnTo>
                  <a:pt x="546414" y="0"/>
                </a:lnTo>
              </a:path>
            </a:pathLst>
          </a:custGeom>
          <a:ln w="12700">
            <a:solidFill>
              <a:schemeClr val="accent2"/>
            </a:solidFill>
          </a:ln>
        </p:spPr>
        <p:txBody>
          <a:bodyPr wrap="square" lIns="0" tIns="0" rIns="0" bIns="0" rtlCol="0"/>
          <a:lstStyle/>
          <a:p>
            <a:pPr marL="0" marR="0" lvl="0" indent="0" algn="l" defTabSz="1045848" rtl="0" eaLnBrk="1" fontAlgn="auto" latinLnBrk="0" hangingPunct="1">
              <a:lnSpc>
                <a:spcPct val="100000"/>
              </a:lnSpc>
              <a:spcBef>
                <a:spcPts val="0"/>
              </a:spcBef>
              <a:spcAft>
                <a:spcPts val="0"/>
              </a:spcAft>
              <a:buClrTx/>
              <a:buSzTx/>
              <a:buFontTx/>
              <a:buNone/>
              <a:tabLst/>
              <a:defRPr/>
            </a:pPr>
            <a:endParaRPr kumimoji="0" sz="2300" b="0" i="0" u="none" strike="noStrike" kern="1200" cap="none" spc="10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80337661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Front cover with picture client logo">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D6D56C8-FCDC-4BC3-8F10-9B0727EB010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83" name="Diapositive think-cell" r:id="rId5" imgW="592" imgH="584" progId="TCLayout.ActiveDocument.1">
                  <p:embed/>
                </p:oleObj>
              </mc:Choice>
              <mc:Fallback>
                <p:oleObj name="Diapositive think-cell" r:id="rId5" imgW="592" imgH="584" progId="TCLayout.ActiveDocument.1">
                  <p:embed/>
                  <p:pic>
                    <p:nvPicPr>
                      <p:cNvPr id="3" name="Objet 2" hidden="1">
                        <a:extLst>
                          <a:ext uri="{FF2B5EF4-FFF2-40B4-BE49-F238E27FC236}">
                            <a16:creationId xmlns:a16="http://schemas.microsoft.com/office/drawing/2014/main" id="{8D6D56C8-FCDC-4BC3-8F10-9B0727EB01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C331535-53C2-4261-B338-E9BC1AFBAA07}"/>
              </a:ext>
            </a:extLst>
          </p:cNvPr>
          <p:cNvSpPr/>
          <p:nvPr userDrawn="1">
            <p:custDataLst>
              <p:tags r:id="rId3"/>
            </p:custDataLst>
          </p:nvPr>
        </p:nvSpPr>
        <p:spPr>
          <a:xfrm>
            <a:off x="0" y="0"/>
            <a:ext cx="158750" cy="158750"/>
          </a:xfrm>
          <a:prstGeom prst="rect">
            <a:avLst/>
          </a:prstGeom>
          <a:solidFill>
            <a:schemeClr val="tx2"/>
          </a:solidFill>
        </p:spPr>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600" b="1" i="0" baseline="0" dirty="0" err="1">
              <a:solidFill>
                <a:schemeClr val="bg1"/>
              </a:solidFill>
              <a:latin typeface="Calibri Light" panose="020F0302020204030204" pitchFamily="34" charset="0"/>
              <a:ea typeface="+mj-ea"/>
              <a:cs typeface="Arial" panose="020B0604020202020204" pitchFamily="34" charset="0"/>
              <a:sym typeface="Calibri Light" panose="020F0302020204030204" pitchFamily="34" charset="0"/>
            </a:endParaRPr>
          </a:p>
        </p:txBody>
      </p:sp>
      <p:sp>
        <p:nvSpPr>
          <p:cNvPr id="14" name="Picture Placeholder 3">
            <a:extLst>
              <a:ext uri="{FF2B5EF4-FFF2-40B4-BE49-F238E27FC236}">
                <a16:creationId xmlns:a16="http://schemas.microsoft.com/office/drawing/2014/main" id="{C71E5ECE-500A-4A3D-BC96-5C578F611CA6}"/>
              </a:ext>
            </a:extLst>
          </p:cNvPr>
          <p:cNvSpPr>
            <a:spLocks noGrp="1"/>
          </p:cNvSpPr>
          <p:nvPr>
            <p:ph type="pic" sz="quarter" idx="19" hasCustomPrompt="1"/>
          </p:nvPr>
        </p:nvSpPr>
        <p:spPr>
          <a:xfrm>
            <a:off x="-11211" y="-7230"/>
            <a:ext cx="4968000" cy="7560000"/>
          </a:xfrm>
          <a:custGeom>
            <a:avLst/>
            <a:gdLst>
              <a:gd name="connsiteX0" fmla="*/ 0 w 6324600"/>
              <a:gd name="connsiteY0" fmla="*/ 5589064 h 5589064"/>
              <a:gd name="connsiteX1" fmla="*/ 2236967 w 6324600"/>
              <a:gd name="connsiteY1" fmla="*/ 0 h 5589064"/>
              <a:gd name="connsiteX2" fmla="*/ 6324600 w 6324600"/>
              <a:gd name="connsiteY2" fmla="*/ 0 h 5589064"/>
              <a:gd name="connsiteX3" fmla="*/ 4087633 w 6324600"/>
              <a:gd name="connsiteY3" fmla="*/ 5589064 h 5589064"/>
              <a:gd name="connsiteX4" fmla="*/ 0 w 6324600"/>
              <a:gd name="connsiteY4" fmla="*/ 5589064 h 5589064"/>
              <a:gd name="connsiteX0" fmla="*/ 0 w 6384618"/>
              <a:gd name="connsiteY0" fmla="*/ 5592595 h 5592595"/>
              <a:gd name="connsiteX1" fmla="*/ 2236967 w 6384618"/>
              <a:gd name="connsiteY1" fmla="*/ 3531 h 5592595"/>
              <a:gd name="connsiteX2" fmla="*/ 6384618 w 6384618"/>
              <a:gd name="connsiteY2" fmla="*/ 0 h 5592595"/>
              <a:gd name="connsiteX3" fmla="*/ 4087633 w 6384618"/>
              <a:gd name="connsiteY3" fmla="*/ 5592595 h 5592595"/>
              <a:gd name="connsiteX4" fmla="*/ 0 w 6384618"/>
              <a:gd name="connsiteY4" fmla="*/ 5592595 h 5592595"/>
              <a:gd name="connsiteX0" fmla="*/ 0 w 6384618"/>
              <a:gd name="connsiteY0" fmla="*/ 5592595 h 5599656"/>
              <a:gd name="connsiteX1" fmla="*/ 2236967 w 6384618"/>
              <a:gd name="connsiteY1" fmla="*/ 3531 h 5599656"/>
              <a:gd name="connsiteX2" fmla="*/ 6384618 w 6384618"/>
              <a:gd name="connsiteY2" fmla="*/ 0 h 5599656"/>
              <a:gd name="connsiteX3" fmla="*/ 4129999 w 6384618"/>
              <a:gd name="connsiteY3" fmla="*/ 5599656 h 5599656"/>
              <a:gd name="connsiteX4" fmla="*/ 0 w 6384618"/>
              <a:gd name="connsiteY4" fmla="*/ 5592595 h 5599656"/>
              <a:gd name="connsiteX0" fmla="*/ 41413 w 4147651"/>
              <a:gd name="connsiteY0" fmla="*/ 5604025 h 5604025"/>
              <a:gd name="connsiteX1" fmla="*/ 0 w 4147651"/>
              <a:gd name="connsiteY1" fmla="*/ 3531 h 5604025"/>
              <a:gd name="connsiteX2" fmla="*/ 4147651 w 4147651"/>
              <a:gd name="connsiteY2" fmla="*/ 0 h 5604025"/>
              <a:gd name="connsiteX3" fmla="*/ 1893032 w 4147651"/>
              <a:gd name="connsiteY3" fmla="*/ 5599656 h 5604025"/>
              <a:gd name="connsiteX4" fmla="*/ 41413 w 4147651"/>
              <a:gd name="connsiteY4" fmla="*/ 5604025 h 5604025"/>
              <a:gd name="connsiteX0" fmla="*/ 0 w 4106238"/>
              <a:gd name="connsiteY0" fmla="*/ 5604304 h 5604304"/>
              <a:gd name="connsiteX1" fmla="*/ 497 w 4106238"/>
              <a:gd name="connsiteY1" fmla="*/ 0 h 5604304"/>
              <a:gd name="connsiteX2" fmla="*/ 4106238 w 4106238"/>
              <a:gd name="connsiteY2" fmla="*/ 279 h 5604304"/>
              <a:gd name="connsiteX3" fmla="*/ 1851619 w 4106238"/>
              <a:gd name="connsiteY3" fmla="*/ 5599935 h 5604304"/>
              <a:gd name="connsiteX4" fmla="*/ 0 w 4106238"/>
              <a:gd name="connsiteY4" fmla="*/ 5604304 h 5604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6238" h="5604304">
                <a:moveTo>
                  <a:pt x="0" y="5604304"/>
                </a:moveTo>
                <a:cubicBezTo>
                  <a:pt x="166" y="3736203"/>
                  <a:pt x="331" y="1868101"/>
                  <a:pt x="497" y="0"/>
                </a:cubicBezTo>
                <a:lnTo>
                  <a:pt x="4106238" y="279"/>
                </a:lnTo>
                <a:lnTo>
                  <a:pt x="1851619" y="5599935"/>
                </a:lnTo>
                <a:lnTo>
                  <a:pt x="0" y="5604304"/>
                </a:lnTo>
                <a:close/>
              </a:path>
            </a:pathLst>
          </a:custGeom>
          <a:ln>
            <a:noFill/>
          </a:ln>
        </p:spPr>
        <p:txBody>
          <a:bodyPr anchor="ctr"/>
          <a:lstStyle>
            <a:lvl1pPr marL="290827" indent="0" algn="l">
              <a:buNone/>
              <a:defRPr baseline="0"/>
            </a:lvl1pPr>
          </a:lstStyle>
          <a:p>
            <a:r>
              <a:rPr lang="fr-FR" dirty="0" err="1"/>
              <a:t>Add</a:t>
            </a:r>
            <a:r>
              <a:rPr lang="fr-FR" dirty="0"/>
              <a:t> Picture</a:t>
            </a:r>
          </a:p>
        </p:txBody>
      </p:sp>
      <p:sp>
        <p:nvSpPr>
          <p:cNvPr id="11" name="Text Placeholder 11"/>
          <p:cNvSpPr>
            <a:spLocks noGrp="1"/>
          </p:cNvSpPr>
          <p:nvPr>
            <p:ph type="body" sz="quarter" idx="12" hasCustomPrompt="1"/>
          </p:nvPr>
        </p:nvSpPr>
        <p:spPr>
          <a:xfrm>
            <a:off x="5293360" y="4699165"/>
            <a:ext cx="7532699" cy="457680"/>
          </a:xfrm>
          <a:prstGeom prst="rect">
            <a:avLst/>
          </a:prstGeom>
        </p:spPr>
        <p:txBody>
          <a:bodyPr>
            <a:normAutofit/>
          </a:bodyPr>
          <a:lstStyle>
            <a:lvl1pPr marL="0" indent="0">
              <a:buNone/>
              <a:defRPr sz="2000" b="0" cap="none" baseline="0">
                <a:solidFill>
                  <a:schemeClr val="tx2"/>
                </a:solidFill>
                <a:latin typeface="+mj-lt"/>
              </a:defRPr>
            </a:lvl1pPr>
          </a:lstStyle>
          <a:p>
            <a:r>
              <a:rPr lang="en-US" dirty="0"/>
              <a:t>NAME OF CITY  -  DATE OF DOCUMENT</a:t>
            </a:r>
            <a:endParaRPr lang="fr-FR" dirty="0"/>
          </a:p>
        </p:txBody>
      </p:sp>
      <p:sp>
        <p:nvSpPr>
          <p:cNvPr id="16" name="Title 1"/>
          <p:cNvSpPr>
            <a:spLocks noGrp="1"/>
          </p:cNvSpPr>
          <p:nvPr>
            <p:ph type="title" hasCustomPrompt="1"/>
          </p:nvPr>
        </p:nvSpPr>
        <p:spPr>
          <a:xfrm>
            <a:off x="5291065" y="2257198"/>
            <a:ext cx="7534994" cy="1263600"/>
          </a:xfrm>
          <a:prstGeom prst="rect">
            <a:avLst/>
          </a:prstGeom>
        </p:spPr>
        <p:txBody>
          <a:bodyPr anchor="b">
            <a:normAutofit/>
          </a:bodyPr>
          <a:lstStyle>
            <a:lvl1pPr>
              <a:defRPr sz="3600" b="1" baseline="0">
                <a:solidFill>
                  <a:schemeClr val="tx2"/>
                </a:solidFill>
                <a:latin typeface="+mj-lt"/>
              </a:defRPr>
            </a:lvl1pPr>
          </a:lstStyle>
          <a:p>
            <a:pPr lvl="0"/>
            <a:r>
              <a:rPr lang="en-US" dirty="0"/>
              <a:t>Click to add title</a:t>
            </a:r>
          </a:p>
        </p:txBody>
      </p:sp>
      <p:sp>
        <p:nvSpPr>
          <p:cNvPr id="9" name="Subtitle"/>
          <p:cNvSpPr>
            <a:spLocks noGrp="1"/>
          </p:cNvSpPr>
          <p:nvPr>
            <p:ph type="subTitle" idx="1" hasCustomPrompt="1"/>
          </p:nvPr>
        </p:nvSpPr>
        <p:spPr>
          <a:xfrm>
            <a:off x="5293360" y="3784599"/>
            <a:ext cx="7532699" cy="369332"/>
          </a:xfrm>
          <a:prstGeom prst="rect">
            <a:avLst/>
          </a:prstGeom>
        </p:spPr>
        <p:txBody>
          <a:bodyPr vert="horz" wrap="square" lIns="0" tIns="0" rIns="0" bIns="0" anchor="t" anchorCtr="0">
            <a:noAutofit/>
          </a:bodyPr>
          <a:lstStyle>
            <a:lvl1pPr marL="0" indent="0" algn="l">
              <a:lnSpc>
                <a:spcPct val="100000"/>
              </a:lnSpc>
              <a:spcBef>
                <a:spcPts val="754"/>
              </a:spcBef>
              <a:spcAft>
                <a:spcPts val="0"/>
              </a:spcAft>
              <a:buNone/>
              <a:defRPr sz="2400" b="1" i="0" u="none" kern="1200" spc="126">
                <a:solidFill>
                  <a:schemeClr val="accent2">
                    <a:lumMod val="100000"/>
                  </a:schemeClr>
                </a:solidFill>
                <a:latin typeface="Calibri Light" panose="020F0302020204030204" pitchFamily="34" charset="0"/>
              </a:defRPr>
            </a:lvl1pPr>
            <a:lvl2pPr marL="574700" indent="0" algn="ctr">
              <a:buNone/>
              <a:defRPr>
                <a:solidFill>
                  <a:schemeClr val="tx1">
                    <a:tint val="75000"/>
                  </a:schemeClr>
                </a:solidFill>
              </a:defRPr>
            </a:lvl2pPr>
            <a:lvl3pPr marL="1149401" indent="0" algn="ctr">
              <a:buNone/>
              <a:defRPr>
                <a:solidFill>
                  <a:schemeClr val="tx1">
                    <a:tint val="75000"/>
                  </a:schemeClr>
                </a:solidFill>
              </a:defRPr>
            </a:lvl3pPr>
            <a:lvl4pPr marL="1724101" indent="0" algn="ctr">
              <a:buNone/>
              <a:defRPr>
                <a:solidFill>
                  <a:schemeClr val="tx1">
                    <a:tint val="75000"/>
                  </a:schemeClr>
                </a:solidFill>
              </a:defRPr>
            </a:lvl4pPr>
            <a:lvl5pPr marL="2298802" indent="0" algn="ctr">
              <a:buNone/>
              <a:defRPr>
                <a:solidFill>
                  <a:schemeClr val="tx1">
                    <a:tint val="75000"/>
                  </a:schemeClr>
                </a:solidFill>
              </a:defRPr>
            </a:lvl5pPr>
            <a:lvl6pPr marL="2873502" indent="0" algn="ctr">
              <a:buNone/>
              <a:defRPr>
                <a:solidFill>
                  <a:schemeClr val="tx1">
                    <a:tint val="75000"/>
                  </a:schemeClr>
                </a:solidFill>
              </a:defRPr>
            </a:lvl6pPr>
            <a:lvl7pPr marL="3448202" indent="0" algn="ctr">
              <a:buNone/>
              <a:defRPr>
                <a:solidFill>
                  <a:schemeClr val="tx1">
                    <a:tint val="75000"/>
                  </a:schemeClr>
                </a:solidFill>
              </a:defRPr>
            </a:lvl7pPr>
            <a:lvl8pPr marL="4022903" indent="0" algn="ctr">
              <a:buNone/>
              <a:defRPr>
                <a:solidFill>
                  <a:schemeClr val="tx1">
                    <a:tint val="75000"/>
                  </a:schemeClr>
                </a:solidFill>
              </a:defRPr>
            </a:lvl8pPr>
            <a:lvl9pPr marL="4597603" indent="0" algn="ctr">
              <a:buNone/>
              <a:defRPr>
                <a:solidFill>
                  <a:schemeClr val="tx1">
                    <a:tint val="75000"/>
                  </a:schemeClr>
                </a:solidFill>
              </a:defRPr>
            </a:lvl9pPr>
          </a:lstStyle>
          <a:p>
            <a:pPr lvl="0"/>
            <a:r>
              <a:rPr lang="en-US" dirty="0"/>
              <a:t>Click to add subtitle</a:t>
            </a:r>
            <a:endParaRPr lang="fr-FR" dirty="0"/>
          </a:p>
        </p:txBody>
      </p:sp>
      <p:sp>
        <p:nvSpPr>
          <p:cNvPr id="15" name="Picture Placeholder 9">
            <a:extLst>
              <a:ext uri="{FF2B5EF4-FFF2-40B4-BE49-F238E27FC236}">
                <a16:creationId xmlns:a16="http://schemas.microsoft.com/office/drawing/2014/main" id="{6F94812C-1B67-4225-B7E3-282154A232B6}"/>
              </a:ext>
            </a:extLst>
          </p:cNvPr>
          <p:cNvSpPr>
            <a:spLocks noGrp="1"/>
          </p:cNvSpPr>
          <p:nvPr>
            <p:ph type="pic" sz="quarter" idx="11" hasCustomPrompt="1"/>
          </p:nvPr>
        </p:nvSpPr>
        <p:spPr>
          <a:xfrm>
            <a:off x="5995044" y="6218693"/>
            <a:ext cx="3643572" cy="1067126"/>
          </a:xfrm>
          <a:prstGeom prst="rect">
            <a:avLst/>
          </a:prstGeom>
        </p:spPr>
        <p:txBody>
          <a:bodyPr anchor="ctr"/>
          <a:lstStyle>
            <a:lvl1pPr marL="135756" indent="0" algn="ctr">
              <a:buNone/>
              <a:defRPr spc="126" baseline="0"/>
            </a:lvl1pPr>
          </a:lstStyle>
          <a:p>
            <a:r>
              <a:rPr lang="fr-FR" dirty="0" err="1"/>
              <a:t>Add</a:t>
            </a:r>
            <a:r>
              <a:rPr lang="fr-FR" dirty="0"/>
              <a:t> logo</a:t>
            </a:r>
          </a:p>
        </p:txBody>
      </p:sp>
      <p:pic>
        <p:nvPicPr>
          <p:cNvPr id="17" name="Image 11">
            <a:extLst>
              <a:ext uri="{FF2B5EF4-FFF2-40B4-BE49-F238E27FC236}">
                <a16:creationId xmlns:a16="http://schemas.microsoft.com/office/drawing/2014/main" id="{1FE6B2A9-EB3F-4CC8-A95A-8B6BB93FA86D}"/>
              </a:ext>
            </a:extLst>
          </p:cNvPr>
          <p:cNvPicPr>
            <a:picLocks noChangeAspect="1"/>
          </p:cNvPicPr>
          <p:nvPr userDrawn="1"/>
        </p:nvPicPr>
        <p:blipFill>
          <a:blip r:embed="rId7"/>
          <a:stretch>
            <a:fillRect/>
          </a:stretch>
        </p:blipFill>
        <p:spPr>
          <a:xfrm>
            <a:off x="10498710" y="6265746"/>
            <a:ext cx="2325115" cy="973020"/>
          </a:xfrm>
          <a:prstGeom prst="rect">
            <a:avLst/>
          </a:prstGeom>
        </p:spPr>
      </p:pic>
      <p:sp>
        <p:nvSpPr>
          <p:cNvPr id="18" name="object 18">
            <a:extLst>
              <a:ext uri="{FF2B5EF4-FFF2-40B4-BE49-F238E27FC236}">
                <a16:creationId xmlns:a16="http://schemas.microsoft.com/office/drawing/2014/main" id="{998B2012-B42F-4D46-A198-5A283E4D6C0C}"/>
              </a:ext>
            </a:extLst>
          </p:cNvPr>
          <p:cNvSpPr>
            <a:spLocks noChangeAspect="1"/>
          </p:cNvSpPr>
          <p:nvPr userDrawn="1"/>
        </p:nvSpPr>
        <p:spPr>
          <a:xfrm>
            <a:off x="9888476" y="6274115"/>
            <a:ext cx="360374" cy="956283"/>
          </a:xfrm>
          <a:custGeom>
            <a:avLst/>
            <a:gdLst/>
            <a:ahLst/>
            <a:cxnLst/>
            <a:rect l="l" t="t" r="r" b="b"/>
            <a:pathLst>
              <a:path w="546734" h="1352550">
                <a:moveTo>
                  <a:pt x="0" y="1352428"/>
                </a:moveTo>
                <a:lnTo>
                  <a:pt x="546414" y="0"/>
                </a:lnTo>
              </a:path>
            </a:pathLst>
          </a:custGeom>
          <a:ln w="12700">
            <a:solidFill>
              <a:schemeClr val="accent2"/>
            </a:solidFill>
          </a:ln>
        </p:spPr>
        <p:txBody>
          <a:bodyPr wrap="square" lIns="0" tIns="0" rIns="0" bIns="0" rtlCol="0"/>
          <a:lstStyle/>
          <a:p>
            <a:pPr marL="0" marR="0" lvl="0" indent="0" algn="l" defTabSz="1045848" rtl="0" eaLnBrk="1" fontAlgn="auto" latinLnBrk="0" hangingPunct="1">
              <a:lnSpc>
                <a:spcPct val="100000"/>
              </a:lnSpc>
              <a:spcBef>
                <a:spcPts val="0"/>
              </a:spcBef>
              <a:spcAft>
                <a:spcPts val="0"/>
              </a:spcAft>
              <a:buClrTx/>
              <a:buSzTx/>
              <a:buFontTx/>
              <a:buNone/>
              <a:tabLst/>
              <a:defRPr/>
            </a:pPr>
            <a:endParaRPr kumimoji="0" sz="2300" b="0" i="0" u="none" strike="noStrike" kern="1200" cap="none" spc="10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35114911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with 1 text box">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1FBF80BA-6356-47AD-A4F9-DB2BE93FA971}"/>
              </a:ext>
            </a:extLst>
          </p:cNvPr>
          <p:cNvGraphicFramePr>
            <a:graphicFrameLocks noChangeAspect="1"/>
          </p:cNvGraphicFramePr>
          <p:nvPr userDrawn="1">
            <p:custDataLst>
              <p:tags r:id="rId2"/>
            </p:custDataLst>
          </p:nvPr>
        </p:nvGraphicFramePr>
        <p:xfrm>
          <a:off x="1996" y="1588"/>
          <a:ext cx="1996" cy="1588"/>
        </p:xfrm>
        <a:graphic>
          <a:graphicData uri="http://schemas.openxmlformats.org/presentationml/2006/ole">
            <mc:AlternateContent xmlns:mc="http://schemas.openxmlformats.org/markup-compatibility/2006">
              <mc:Choice xmlns:v="urn:schemas-microsoft-com:vml" Requires="v">
                <p:oleObj spid="_x0000_s69707" name="Diapositive think-cell" r:id="rId5" imgW="473" imgH="470" progId="TCLayout.ActiveDocument.1">
                  <p:embed/>
                </p:oleObj>
              </mc:Choice>
              <mc:Fallback>
                <p:oleObj name="Diapositive think-cell" r:id="rId5" imgW="473" imgH="470" progId="TCLayout.ActiveDocument.1">
                  <p:embed/>
                  <p:pic>
                    <p:nvPicPr>
                      <p:cNvPr id="3" name="Objet 2" hidden="1">
                        <a:extLst>
                          <a:ext uri="{FF2B5EF4-FFF2-40B4-BE49-F238E27FC236}">
                            <a16:creationId xmlns:a16="http://schemas.microsoft.com/office/drawing/2014/main" id="{1FBF80BA-6356-47AD-A4F9-DB2BE93FA971}"/>
                          </a:ext>
                        </a:extLst>
                      </p:cNvPr>
                      <p:cNvPicPr/>
                      <p:nvPr/>
                    </p:nvPicPr>
                    <p:blipFill>
                      <a:blip r:embed="rId6"/>
                      <a:stretch>
                        <a:fillRect/>
                      </a:stretch>
                    </p:blipFill>
                    <p:spPr>
                      <a:xfrm>
                        <a:off x="1996" y="1588"/>
                        <a:ext cx="1996"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CE5BF3E-8E9E-4D55-90EB-4C2719841617}"/>
              </a:ext>
            </a:extLst>
          </p:cNvPr>
          <p:cNvSpPr/>
          <p:nvPr userDrawn="1">
            <p:custDataLst>
              <p:tags r:id="rId3"/>
            </p:custDataLst>
          </p:nvPr>
        </p:nvSpPr>
        <p:spPr>
          <a:xfrm>
            <a:off x="0" y="0"/>
            <a:ext cx="199550" cy="158750"/>
          </a:xfrm>
          <a:prstGeom prst="rect">
            <a:avLst/>
          </a:prstGeom>
          <a:solidFill>
            <a:schemeClr val="tx2"/>
          </a:solidFill>
        </p:spPr>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200" b="1" i="0" baseline="0" dirty="0" err="1">
              <a:solidFill>
                <a:schemeClr val="bg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5" name="Title 6"/>
          <p:cNvSpPr>
            <a:spLocks noGrp="1"/>
          </p:cNvSpPr>
          <p:nvPr>
            <p:ph type="title" hasCustomPrompt="1"/>
          </p:nvPr>
        </p:nvSpPr>
        <p:spPr>
          <a:xfrm>
            <a:off x="609618" y="545662"/>
            <a:ext cx="12218110" cy="338554"/>
          </a:xfrm>
          <a:prstGeom prst="rect">
            <a:avLst/>
          </a:prstGeom>
        </p:spPr>
        <p:txBody>
          <a:bodyPr anchor="b" anchorCtr="0">
            <a:spAutoFit/>
          </a:bodyPr>
          <a:lstStyle>
            <a:lvl1pPr marL="0" algn="l">
              <a:spcBef>
                <a:spcPts val="0"/>
              </a:spcBef>
              <a:defRPr sz="2200" b="1" cap="none" spc="126" baseline="0">
                <a:solidFill>
                  <a:schemeClr val="tx2"/>
                </a:solidFill>
                <a:latin typeface="Calibri Light" panose="020F0302020204030204" pitchFamily="34" charset="0"/>
                <a:cs typeface="Calibri Light" panose="020F0302020204030204" pitchFamily="34" charset="0"/>
              </a:defRPr>
            </a:lvl1pPr>
          </a:lstStyle>
          <a:p>
            <a:r>
              <a:rPr lang="en-US" dirty="0"/>
              <a:t>Click to add title</a:t>
            </a:r>
          </a:p>
        </p:txBody>
      </p:sp>
      <p:sp>
        <p:nvSpPr>
          <p:cNvPr id="6" name="Text Placeholder 3"/>
          <p:cNvSpPr>
            <a:spLocks noGrp="1"/>
          </p:cNvSpPr>
          <p:nvPr>
            <p:ph type="body" sz="quarter" idx="15" hasCustomPrompt="1"/>
          </p:nvPr>
        </p:nvSpPr>
        <p:spPr>
          <a:xfrm>
            <a:off x="609618" y="960054"/>
            <a:ext cx="12218110" cy="277290"/>
          </a:xfrm>
          <a:prstGeom prst="rect">
            <a:avLst/>
          </a:prstGeom>
        </p:spPr>
        <p:txBody>
          <a:bodyPr wrap="square">
            <a:noAutofit/>
          </a:bodyPr>
          <a:lstStyle>
            <a:lvl1pPr marL="0" indent="0" algn="l">
              <a:spcAft>
                <a:spcPts val="0"/>
              </a:spcAft>
              <a:buNone/>
              <a:defRPr sz="1800" b="1" cap="none" spc="126" baseline="0">
                <a:solidFill>
                  <a:schemeClr val="accent2"/>
                </a:solidFill>
                <a:latin typeface="Calibri Light" panose="020F0302020204030204" pitchFamily="34" charset="0"/>
                <a:cs typeface="Calibri Light" panose="020F0302020204030204" pitchFamily="34" charset="0"/>
              </a:defRPr>
            </a:lvl1pPr>
          </a:lstStyle>
          <a:p>
            <a:pPr lvl="0"/>
            <a:r>
              <a:rPr lang="en-US" dirty="0"/>
              <a:t>Click to add subtitle </a:t>
            </a:r>
            <a:endParaRPr lang="fr-FR" dirty="0"/>
          </a:p>
        </p:txBody>
      </p:sp>
      <p:sp>
        <p:nvSpPr>
          <p:cNvPr id="11" name="Text Placeholder 4"/>
          <p:cNvSpPr>
            <a:spLocks noGrp="1"/>
          </p:cNvSpPr>
          <p:nvPr>
            <p:ph type="body" sz="quarter" idx="11" hasCustomPrompt="1"/>
          </p:nvPr>
        </p:nvSpPr>
        <p:spPr>
          <a:xfrm>
            <a:off x="609709" y="6842166"/>
            <a:ext cx="12218110" cy="153888"/>
          </a:xfrm>
        </p:spPr>
        <p:txBody>
          <a:bodyPr wrap="square" anchor="ctr">
            <a:noAutofit/>
          </a:bodyPr>
          <a:lstStyle>
            <a:lvl1pPr marL="135756" indent="0">
              <a:buNone/>
              <a:defRPr sz="1000" b="0" cap="none" spc="0" baseline="0">
                <a:solidFill>
                  <a:schemeClr val="tx1"/>
                </a:solidFill>
                <a:latin typeface="+mn-lt"/>
              </a:defRPr>
            </a:lvl1pPr>
            <a:lvl2pPr>
              <a:defRPr sz="1131" b="0" cap="none" baseline="0">
                <a:solidFill>
                  <a:schemeClr val="tx2"/>
                </a:solidFill>
              </a:defRPr>
            </a:lvl2pPr>
            <a:lvl3pPr>
              <a:defRPr sz="1131" b="0" cap="none" baseline="0">
                <a:solidFill>
                  <a:schemeClr val="tx2"/>
                </a:solidFill>
              </a:defRPr>
            </a:lvl3pPr>
            <a:lvl4pPr>
              <a:defRPr sz="1131" b="0" cap="none" baseline="0">
                <a:solidFill>
                  <a:schemeClr val="tx2"/>
                </a:solidFill>
              </a:defRPr>
            </a:lvl4pPr>
            <a:lvl5pPr>
              <a:defRPr sz="1131" b="0" cap="none" baseline="0">
                <a:solidFill>
                  <a:schemeClr val="tx2"/>
                </a:solidFill>
              </a:defRPr>
            </a:lvl5pPr>
          </a:lstStyle>
          <a:p>
            <a:pPr lvl="0"/>
            <a:r>
              <a:rPr lang="en-US" dirty="0"/>
              <a:t>Click to add comment</a:t>
            </a:r>
            <a:endParaRPr lang="fr-FR" dirty="0"/>
          </a:p>
        </p:txBody>
      </p:sp>
      <p:sp>
        <p:nvSpPr>
          <p:cNvPr id="12" name="object 23">
            <a:extLst>
              <a:ext uri="{FF2B5EF4-FFF2-40B4-BE49-F238E27FC236}">
                <a16:creationId xmlns:a16="http://schemas.microsoft.com/office/drawing/2014/main" id="{BE244BFF-60B1-4FF7-A295-E092356AAC38}"/>
              </a:ext>
            </a:extLst>
          </p:cNvPr>
          <p:cNvSpPr>
            <a:spLocks noChangeAspect="1"/>
          </p:cNvSpPr>
          <p:nvPr userDrawn="1"/>
        </p:nvSpPr>
        <p:spPr>
          <a:xfrm>
            <a:off x="1" y="0"/>
            <a:ext cx="484975" cy="1237344"/>
          </a:xfrm>
          <a:custGeom>
            <a:avLst/>
            <a:gdLst/>
            <a:ahLst/>
            <a:cxnLst/>
            <a:rect l="l" t="t" r="r" b="b"/>
            <a:pathLst>
              <a:path w="799465" h="1977389">
                <a:moveTo>
                  <a:pt x="798918" y="0"/>
                </a:moveTo>
                <a:lnTo>
                  <a:pt x="0" y="0"/>
                </a:lnTo>
                <a:lnTo>
                  <a:pt x="0" y="1977389"/>
                </a:lnTo>
                <a:lnTo>
                  <a:pt x="798918" y="0"/>
                </a:lnTo>
                <a:close/>
              </a:path>
            </a:pathLst>
          </a:custGeom>
          <a:solidFill>
            <a:schemeClr val="accent1"/>
          </a:solidFill>
        </p:spPr>
        <p:txBody>
          <a:bodyPr wrap="square" lIns="0" tIns="0" rIns="0" bIns="0" rtlCol="0"/>
          <a:lstStyle/>
          <a:p>
            <a:endParaRPr spc="100" baseline="0"/>
          </a:p>
        </p:txBody>
      </p:sp>
      <p:sp>
        <p:nvSpPr>
          <p:cNvPr id="13" name="Text Placeholder 8">
            <a:extLst>
              <a:ext uri="{FF2B5EF4-FFF2-40B4-BE49-F238E27FC236}">
                <a16:creationId xmlns:a16="http://schemas.microsoft.com/office/drawing/2014/main" id="{DC183C76-18A7-4BBE-819B-8268E75741C4}"/>
              </a:ext>
            </a:extLst>
          </p:cNvPr>
          <p:cNvSpPr>
            <a:spLocks noGrp="1"/>
          </p:cNvSpPr>
          <p:nvPr>
            <p:ph type="body" sz="quarter" idx="16"/>
          </p:nvPr>
        </p:nvSpPr>
        <p:spPr>
          <a:xfrm>
            <a:off x="609618" y="1483199"/>
            <a:ext cx="12218110" cy="5040000"/>
          </a:xfrm>
          <a:prstGeom prst="rect">
            <a:avLst/>
          </a:prstGeom>
        </p:spPr>
        <p:txBody>
          <a:bodyPr wrap="square">
            <a:noAutofit/>
          </a:bodyPr>
          <a:lstStyle>
            <a:lvl1pPr marL="362016" indent="-226260" algn="l">
              <a:spcBef>
                <a:spcPts val="754"/>
              </a:spcBef>
              <a:spcAft>
                <a:spcPts val="0"/>
              </a:spcAft>
              <a:buFont typeface="Wingdings" pitchFamily="2" charset="2"/>
              <a:buChar char="§"/>
              <a:defRPr sz="1600" b="0" spc="0" baseline="0">
                <a:solidFill>
                  <a:schemeClr val="tx1"/>
                </a:solidFill>
                <a:latin typeface="Calibri" pitchFamily="34" charset="0"/>
                <a:cs typeface="Calibri" pitchFamily="34" charset="0"/>
              </a:defRPr>
            </a:lvl1pPr>
            <a:lvl2pPr marL="497772" indent="-226260">
              <a:buFont typeface="Webdings" panose="05030102010509060703" pitchFamily="18" charset="2"/>
              <a:buChar char="4"/>
              <a:defRPr sz="1600" b="0">
                <a:solidFill>
                  <a:schemeClr val="tx1"/>
                </a:solidFill>
                <a:latin typeface="Calibri" pitchFamily="34" charset="0"/>
                <a:cs typeface="Calibri" pitchFamily="34" charset="0"/>
              </a:defRPr>
            </a:lvl2pPr>
            <a:lvl3pPr marL="814536" indent="-226260" algn="l">
              <a:spcBef>
                <a:spcPts val="754"/>
              </a:spcBef>
              <a:spcAft>
                <a:spcPts val="0"/>
              </a:spcAft>
              <a:buFont typeface="Calibri" panose="020F0502020204030204" pitchFamily="34" charset="0"/>
              <a:buChar char="̶"/>
              <a:defRPr lang="en-US" sz="1600" b="0" kern="1200" spc="0" noProof="0" dirty="0" smtClean="0">
                <a:solidFill>
                  <a:schemeClr val="tx1"/>
                </a:solidFill>
                <a:latin typeface="Calibri" pitchFamily="34" charset="0"/>
                <a:ea typeface="+mn-ea"/>
                <a:cs typeface="Calibri" pitchFamily="34" charset="0"/>
              </a:defRPr>
            </a:lvl3pPr>
            <a:lvl4pPr marL="1040796" indent="-226260" algn="l">
              <a:spcBef>
                <a:spcPts val="754"/>
              </a:spcBef>
              <a:spcAft>
                <a:spcPts val="0"/>
              </a:spcAft>
              <a:buFont typeface="Arial" panose="020B0604020202020204" pitchFamily="34" charset="0"/>
              <a:buChar char="•"/>
              <a:defRPr sz="1600" spc="0">
                <a:solidFill>
                  <a:schemeClr val="tx1"/>
                </a:solidFill>
                <a:latin typeface="Calibri" pitchFamily="34" charset="0"/>
                <a:cs typeface="Calibri" pitchFamily="34" charset="0"/>
              </a:defRPr>
            </a:lvl4pPr>
            <a:lvl5pPr marL="1267056" indent="-226260" algn="l">
              <a:spcBef>
                <a:spcPts val="754"/>
              </a:spcBef>
              <a:spcAft>
                <a:spcPts val="0"/>
              </a:spcAft>
              <a:buSzPct val="65000"/>
              <a:buFont typeface="Wingdings" panose="05000000000000000000" pitchFamily="2" charset="2"/>
              <a:buChar char="w"/>
              <a:defRPr lang="en-US" sz="1600" b="0" i="0" kern="1200" spc="0" baseline="0" noProof="0" dirty="0">
                <a:solidFill>
                  <a:schemeClr val="tx1"/>
                </a:solidFill>
                <a:latin typeface="Calibri" pitchFamily="34" charset="0"/>
                <a:ea typeface="+mn-ea"/>
                <a:cs typeface="Calibri" pitchFamily="34" charset="0"/>
              </a:defRPr>
            </a:lvl5pPr>
            <a:lvl6pPr marL="1493316" indent="-226260" algn="l">
              <a:spcBef>
                <a:spcPts val="754"/>
              </a:spcBef>
              <a:spcAft>
                <a:spcPts val="0"/>
              </a:spcAft>
              <a:buFont typeface="Wingdings" panose="05000000000000000000" pitchFamily="2" charset="2"/>
              <a:buChar char=""/>
              <a:defRPr sz="1600" spc="0">
                <a:solidFill>
                  <a:schemeClr val="tx1"/>
                </a:solidFill>
                <a:latin typeface="Calibri" pitchFamily="34" charset="0"/>
                <a:cs typeface="Calibri" pitchFamily="34" charset="0"/>
              </a:defRPr>
            </a:lvl6pPr>
            <a:lvl7pPr>
              <a:defRPr sz="1600"/>
            </a:lvl7pPr>
          </a:lstStyle>
          <a:p>
            <a:pPr lvl="0"/>
            <a:endParaRPr lang="en-US" noProof="0" dirty="0"/>
          </a:p>
        </p:txBody>
      </p:sp>
    </p:spTree>
    <p:extLst>
      <p:ext uri="{BB962C8B-B14F-4D97-AF65-F5344CB8AC3E}">
        <p14:creationId xmlns:p14="http://schemas.microsoft.com/office/powerpoint/2010/main" val="39505837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with 2 text box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E93E76EB-A342-45E0-9B83-950E83ABECC6}"/>
              </a:ext>
            </a:extLst>
          </p:cNvPr>
          <p:cNvGraphicFramePr>
            <a:graphicFrameLocks noChangeAspect="1"/>
          </p:cNvGraphicFramePr>
          <p:nvPr userDrawn="1">
            <p:custDataLst>
              <p:tags r:id="rId2"/>
            </p:custDataLst>
          </p:nvPr>
        </p:nvGraphicFramePr>
        <p:xfrm>
          <a:off x="1996" y="1588"/>
          <a:ext cx="1996" cy="1588"/>
        </p:xfrm>
        <a:graphic>
          <a:graphicData uri="http://schemas.openxmlformats.org/presentationml/2006/ole">
            <mc:AlternateContent xmlns:mc="http://schemas.openxmlformats.org/markup-compatibility/2006">
              <mc:Choice xmlns:v="urn:schemas-microsoft-com:vml" Requires="v">
                <p:oleObj spid="_x0000_s70731" name="Diapositive think-cell" r:id="rId5" imgW="473" imgH="470" progId="TCLayout.ActiveDocument.1">
                  <p:embed/>
                </p:oleObj>
              </mc:Choice>
              <mc:Fallback>
                <p:oleObj name="Diapositive think-cell" r:id="rId5" imgW="473" imgH="470" progId="TCLayout.ActiveDocument.1">
                  <p:embed/>
                  <p:pic>
                    <p:nvPicPr>
                      <p:cNvPr id="3" name="Objet 2" hidden="1">
                        <a:extLst>
                          <a:ext uri="{FF2B5EF4-FFF2-40B4-BE49-F238E27FC236}">
                            <a16:creationId xmlns:a16="http://schemas.microsoft.com/office/drawing/2014/main" id="{E93E76EB-A342-45E0-9B83-950E83ABECC6}"/>
                          </a:ext>
                        </a:extLst>
                      </p:cNvPr>
                      <p:cNvPicPr/>
                      <p:nvPr/>
                    </p:nvPicPr>
                    <p:blipFill>
                      <a:blip r:embed="rId6"/>
                      <a:stretch>
                        <a:fillRect/>
                      </a:stretch>
                    </p:blipFill>
                    <p:spPr>
                      <a:xfrm>
                        <a:off x="1996" y="1588"/>
                        <a:ext cx="1996"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CA46389-5E45-415C-8481-E2E2A3E84F8A}"/>
              </a:ext>
            </a:extLst>
          </p:cNvPr>
          <p:cNvSpPr/>
          <p:nvPr userDrawn="1">
            <p:custDataLst>
              <p:tags r:id="rId3"/>
            </p:custDataLst>
          </p:nvPr>
        </p:nvSpPr>
        <p:spPr>
          <a:xfrm>
            <a:off x="0" y="0"/>
            <a:ext cx="199550" cy="158750"/>
          </a:xfrm>
          <a:prstGeom prst="rect">
            <a:avLst/>
          </a:prstGeom>
          <a:solidFill>
            <a:schemeClr val="tx2"/>
          </a:solidFill>
        </p:spPr>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200" b="1" i="0" baseline="0" dirty="0" err="1">
              <a:solidFill>
                <a:schemeClr val="bg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10" name="Title 6">
            <a:extLst>
              <a:ext uri="{FF2B5EF4-FFF2-40B4-BE49-F238E27FC236}">
                <a16:creationId xmlns:a16="http://schemas.microsoft.com/office/drawing/2014/main" id="{85D30E09-D509-42CF-81C1-9838AE482746}"/>
              </a:ext>
            </a:extLst>
          </p:cNvPr>
          <p:cNvSpPr>
            <a:spLocks noGrp="1"/>
          </p:cNvSpPr>
          <p:nvPr>
            <p:ph type="title" hasCustomPrompt="1"/>
          </p:nvPr>
        </p:nvSpPr>
        <p:spPr>
          <a:xfrm>
            <a:off x="609618" y="545662"/>
            <a:ext cx="12218110" cy="338554"/>
          </a:xfrm>
          <a:prstGeom prst="rect">
            <a:avLst/>
          </a:prstGeom>
        </p:spPr>
        <p:txBody>
          <a:bodyPr anchor="b" anchorCtr="0">
            <a:spAutoFit/>
          </a:bodyPr>
          <a:lstStyle>
            <a:lvl1pPr marL="0" algn="l">
              <a:spcBef>
                <a:spcPts val="0"/>
              </a:spcBef>
              <a:defRPr sz="2200" b="1" cap="none" spc="126" baseline="0">
                <a:solidFill>
                  <a:schemeClr val="tx2"/>
                </a:solidFill>
                <a:latin typeface="Calibri Light" panose="020F0302020204030204" pitchFamily="34" charset="0"/>
                <a:cs typeface="Calibri Light" panose="020F0302020204030204" pitchFamily="34" charset="0"/>
              </a:defRPr>
            </a:lvl1pPr>
          </a:lstStyle>
          <a:p>
            <a:r>
              <a:rPr lang="en-US" dirty="0"/>
              <a:t>Click to add title</a:t>
            </a:r>
          </a:p>
        </p:txBody>
      </p:sp>
      <p:sp>
        <p:nvSpPr>
          <p:cNvPr id="13" name="Text Placeholder 3">
            <a:extLst>
              <a:ext uri="{FF2B5EF4-FFF2-40B4-BE49-F238E27FC236}">
                <a16:creationId xmlns:a16="http://schemas.microsoft.com/office/drawing/2014/main" id="{C17FF2BA-8B8F-4C3C-9016-4F6DAFAB8D70}"/>
              </a:ext>
            </a:extLst>
          </p:cNvPr>
          <p:cNvSpPr>
            <a:spLocks noGrp="1"/>
          </p:cNvSpPr>
          <p:nvPr>
            <p:ph type="body" sz="quarter" idx="15" hasCustomPrompt="1"/>
          </p:nvPr>
        </p:nvSpPr>
        <p:spPr>
          <a:xfrm>
            <a:off x="609618" y="960054"/>
            <a:ext cx="12218110" cy="277290"/>
          </a:xfrm>
          <a:prstGeom prst="rect">
            <a:avLst/>
          </a:prstGeom>
        </p:spPr>
        <p:txBody>
          <a:bodyPr wrap="square">
            <a:noAutofit/>
          </a:bodyPr>
          <a:lstStyle>
            <a:lvl1pPr marL="0" indent="0" algn="l">
              <a:spcAft>
                <a:spcPts val="0"/>
              </a:spcAft>
              <a:buFontTx/>
              <a:buNone/>
              <a:defRPr sz="1800" b="1" cap="none" spc="126" baseline="0">
                <a:solidFill>
                  <a:schemeClr val="accent2"/>
                </a:solidFill>
                <a:latin typeface="Calibri Light" panose="020F0302020204030204" pitchFamily="34" charset="0"/>
                <a:cs typeface="Calibri Light" panose="020F0302020204030204" pitchFamily="34" charset="0"/>
              </a:defRPr>
            </a:lvl1pPr>
          </a:lstStyle>
          <a:p>
            <a:pPr lvl="0"/>
            <a:r>
              <a:rPr lang="en-US" dirty="0"/>
              <a:t>Click to add subtitle </a:t>
            </a:r>
            <a:endParaRPr lang="fr-FR" dirty="0"/>
          </a:p>
        </p:txBody>
      </p:sp>
      <p:sp>
        <p:nvSpPr>
          <p:cNvPr id="15" name="Text Placeholder 8">
            <a:extLst>
              <a:ext uri="{FF2B5EF4-FFF2-40B4-BE49-F238E27FC236}">
                <a16:creationId xmlns:a16="http://schemas.microsoft.com/office/drawing/2014/main" id="{4F34D793-910D-46D2-9D86-B78B1393B8BF}"/>
              </a:ext>
            </a:extLst>
          </p:cNvPr>
          <p:cNvSpPr>
            <a:spLocks noGrp="1"/>
          </p:cNvSpPr>
          <p:nvPr>
            <p:ph type="body" sz="quarter" idx="16"/>
          </p:nvPr>
        </p:nvSpPr>
        <p:spPr>
          <a:xfrm>
            <a:off x="609618" y="1483199"/>
            <a:ext cx="5792289" cy="5040000"/>
          </a:xfrm>
          <a:prstGeom prst="rect">
            <a:avLst/>
          </a:prstGeom>
        </p:spPr>
        <p:txBody>
          <a:bodyPr wrap="square">
            <a:noAutofit/>
          </a:bodyPr>
          <a:lstStyle>
            <a:lvl1pPr marL="362016" indent="-226260" algn="l">
              <a:spcBef>
                <a:spcPts val="754"/>
              </a:spcBef>
              <a:spcAft>
                <a:spcPts val="0"/>
              </a:spcAft>
              <a:buFont typeface="Wingdings" pitchFamily="2" charset="2"/>
              <a:buChar char="§"/>
              <a:defRPr sz="1600" b="0" spc="0" baseline="0">
                <a:solidFill>
                  <a:schemeClr val="tx1"/>
                </a:solidFill>
                <a:latin typeface="Calibri" pitchFamily="34" charset="0"/>
                <a:cs typeface="Calibri" pitchFamily="34" charset="0"/>
              </a:defRPr>
            </a:lvl1pPr>
            <a:lvl2pPr marL="497772" indent="-226260">
              <a:buFont typeface="Webdings" panose="05030102010509060703" pitchFamily="18" charset="2"/>
              <a:buChar char="4"/>
              <a:defRPr sz="1600" b="0">
                <a:solidFill>
                  <a:schemeClr val="tx1"/>
                </a:solidFill>
                <a:latin typeface="Calibri" pitchFamily="34" charset="0"/>
                <a:cs typeface="Calibri" pitchFamily="34" charset="0"/>
              </a:defRPr>
            </a:lvl2pPr>
            <a:lvl3pPr marL="814536" indent="-226260" algn="l">
              <a:spcBef>
                <a:spcPts val="754"/>
              </a:spcBef>
              <a:spcAft>
                <a:spcPts val="0"/>
              </a:spcAft>
              <a:buFont typeface="Calibri" panose="020F0502020204030204" pitchFamily="34" charset="0"/>
              <a:buChar char="̶"/>
              <a:defRPr lang="en-US" sz="1600" b="0" kern="1200" spc="0" noProof="0" dirty="0" smtClean="0">
                <a:solidFill>
                  <a:schemeClr val="tx1"/>
                </a:solidFill>
                <a:latin typeface="Calibri" pitchFamily="34" charset="0"/>
                <a:ea typeface="+mn-ea"/>
                <a:cs typeface="Calibri" pitchFamily="34" charset="0"/>
              </a:defRPr>
            </a:lvl3pPr>
            <a:lvl4pPr marL="1040796" indent="-226260" algn="l">
              <a:spcBef>
                <a:spcPts val="754"/>
              </a:spcBef>
              <a:spcAft>
                <a:spcPts val="0"/>
              </a:spcAft>
              <a:buFont typeface="Arial" panose="020B0604020202020204" pitchFamily="34" charset="0"/>
              <a:buChar char="•"/>
              <a:defRPr sz="1600" spc="0">
                <a:solidFill>
                  <a:schemeClr val="tx1"/>
                </a:solidFill>
                <a:latin typeface="Calibri" pitchFamily="34" charset="0"/>
                <a:cs typeface="Calibri" pitchFamily="34" charset="0"/>
              </a:defRPr>
            </a:lvl4pPr>
            <a:lvl5pPr marL="1267056" indent="-226260" algn="l">
              <a:spcBef>
                <a:spcPts val="754"/>
              </a:spcBef>
              <a:spcAft>
                <a:spcPts val="0"/>
              </a:spcAft>
              <a:buSzPct val="65000"/>
              <a:buFont typeface="Wingdings" panose="05000000000000000000" pitchFamily="2" charset="2"/>
              <a:buChar char="w"/>
              <a:defRPr lang="en-US" sz="1600" b="0" i="0" kern="1200" spc="0" baseline="0" noProof="0" dirty="0">
                <a:solidFill>
                  <a:schemeClr val="tx1"/>
                </a:solidFill>
                <a:latin typeface="Calibri" pitchFamily="34" charset="0"/>
                <a:ea typeface="+mn-ea"/>
                <a:cs typeface="Calibri" pitchFamily="34" charset="0"/>
              </a:defRPr>
            </a:lvl5pPr>
            <a:lvl6pPr marL="1493316" indent="-226260" algn="l">
              <a:spcBef>
                <a:spcPts val="754"/>
              </a:spcBef>
              <a:spcAft>
                <a:spcPts val="0"/>
              </a:spcAft>
              <a:buFont typeface="Wingdings" panose="05000000000000000000" pitchFamily="2" charset="2"/>
              <a:buChar char=""/>
              <a:defRPr sz="1600" spc="0">
                <a:solidFill>
                  <a:schemeClr val="tx1"/>
                </a:solidFill>
                <a:latin typeface="Calibri" pitchFamily="34" charset="0"/>
                <a:cs typeface="Calibri" pitchFamily="34" charset="0"/>
              </a:defRPr>
            </a:lvl6pPr>
            <a:lvl7pPr>
              <a:defRPr sz="1600"/>
            </a:lvl7pPr>
          </a:lstStyle>
          <a:p>
            <a:pPr lvl="0"/>
            <a:endParaRPr lang="en-US" noProof="0" dirty="0"/>
          </a:p>
        </p:txBody>
      </p:sp>
      <p:sp>
        <p:nvSpPr>
          <p:cNvPr id="11" name="Text Placeholder 4"/>
          <p:cNvSpPr>
            <a:spLocks noGrp="1"/>
          </p:cNvSpPr>
          <p:nvPr>
            <p:ph type="body" sz="quarter" idx="11" hasCustomPrompt="1"/>
          </p:nvPr>
        </p:nvSpPr>
        <p:spPr>
          <a:xfrm>
            <a:off x="609709" y="6842166"/>
            <a:ext cx="12218110" cy="153888"/>
          </a:xfrm>
        </p:spPr>
        <p:txBody>
          <a:bodyPr wrap="square" anchor="ctr">
            <a:noAutofit/>
          </a:bodyPr>
          <a:lstStyle>
            <a:lvl1pPr marL="135756" indent="0">
              <a:buNone/>
              <a:defRPr sz="1000" b="0" cap="none" spc="0" baseline="0">
                <a:solidFill>
                  <a:schemeClr val="tx1"/>
                </a:solidFill>
                <a:latin typeface="+mn-lt"/>
              </a:defRPr>
            </a:lvl1pPr>
            <a:lvl2pPr>
              <a:defRPr sz="1131" b="0" cap="none" baseline="0">
                <a:solidFill>
                  <a:schemeClr val="tx2"/>
                </a:solidFill>
              </a:defRPr>
            </a:lvl2pPr>
            <a:lvl3pPr>
              <a:defRPr sz="1131" b="0" cap="none" baseline="0">
                <a:solidFill>
                  <a:schemeClr val="tx2"/>
                </a:solidFill>
              </a:defRPr>
            </a:lvl3pPr>
            <a:lvl4pPr>
              <a:defRPr sz="1131" b="0" cap="none" baseline="0">
                <a:solidFill>
                  <a:schemeClr val="tx2"/>
                </a:solidFill>
              </a:defRPr>
            </a:lvl4pPr>
            <a:lvl5pPr>
              <a:defRPr sz="1131" b="0" cap="none" baseline="0">
                <a:solidFill>
                  <a:schemeClr val="tx2"/>
                </a:solidFill>
              </a:defRPr>
            </a:lvl5pPr>
          </a:lstStyle>
          <a:p>
            <a:pPr lvl="0"/>
            <a:r>
              <a:rPr lang="en-US" dirty="0"/>
              <a:t>Click to add comment</a:t>
            </a:r>
            <a:endParaRPr lang="fr-FR" dirty="0"/>
          </a:p>
        </p:txBody>
      </p:sp>
      <p:sp>
        <p:nvSpPr>
          <p:cNvPr id="12" name="object 23">
            <a:extLst>
              <a:ext uri="{FF2B5EF4-FFF2-40B4-BE49-F238E27FC236}">
                <a16:creationId xmlns:a16="http://schemas.microsoft.com/office/drawing/2014/main" id="{BCA3D42C-C9C0-4691-899E-AD83BD150BBE}"/>
              </a:ext>
            </a:extLst>
          </p:cNvPr>
          <p:cNvSpPr>
            <a:spLocks noChangeAspect="1"/>
          </p:cNvSpPr>
          <p:nvPr userDrawn="1"/>
        </p:nvSpPr>
        <p:spPr>
          <a:xfrm>
            <a:off x="1" y="0"/>
            <a:ext cx="484975" cy="1237344"/>
          </a:xfrm>
          <a:custGeom>
            <a:avLst/>
            <a:gdLst/>
            <a:ahLst/>
            <a:cxnLst/>
            <a:rect l="l" t="t" r="r" b="b"/>
            <a:pathLst>
              <a:path w="799465" h="1977389">
                <a:moveTo>
                  <a:pt x="798918" y="0"/>
                </a:moveTo>
                <a:lnTo>
                  <a:pt x="0" y="0"/>
                </a:lnTo>
                <a:lnTo>
                  <a:pt x="0" y="1977389"/>
                </a:lnTo>
                <a:lnTo>
                  <a:pt x="798918" y="0"/>
                </a:lnTo>
                <a:close/>
              </a:path>
            </a:pathLst>
          </a:custGeom>
          <a:solidFill>
            <a:schemeClr val="accent1"/>
          </a:solidFill>
        </p:spPr>
        <p:txBody>
          <a:bodyPr wrap="square" lIns="0" tIns="0" rIns="0" bIns="0" rtlCol="0"/>
          <a:lstStyle/>
          <a:p>
            <a:endParaRPr spc="100" baseline="0"/>
          </a:p>
        </p:txBody>
      </p:sp>
      <p:sp>
        <p:nvSpPr>
          <p:cNvPr id="14" name="Text Placeholder 8">
            <a:extLst>
              <a:ext uri="{FF2B5EF4-FFF2-40B4-BE49-F238E27FC236}">
                <a16:creationId xmlns:a16="http://schemas.microsoft.com/office/drawing/2014/main" id="{57BF88AB-9535-4BD7-80B4-1C732022D059}"/>
              </a:ext>
            </a:extLst>
          </p:cNvPr>
          <p:cNvSpPr>
            <a:spLocks noGrp="1"/>
          </p:cNvSpPr>
          <p:nvPr>
            <p:ph type="body" sz="quarter" idx="17"/>
          </p:nvPr>
        </p:nvSpPr>
        <p:spPr>
          <a:xfrm>
            <a:off x="7035439" y="1483199"/>
            <a:ext cx="5792289" cy="5040000"/>
          </a:xfrm>
          <a:prstGeom prst="rect">
            <a:avLst/>
          </a:prstGeom>
        </p:spPr>
        <p:txBody>
          <a:bodyPr wrap="square">
            <a:noAutofit/>
          </a:bodyPr>
          <a:lstStyle>
            <a:lvl1pPr marL="362016" indent="-226260" algn="l">
              <a:spcBef>
                <a:spcPts val="754"/>
              </a:spcBef>
              <a:spcAft>
                <a:spcPts val="0"/>
              </a:spcAft>
              <a:buFont typeface="Wingdings" pitchFamily="2" charset="2"/>
              <a:buChar char="§"/>
              <a:defRPr sz="1600" b="0" spc="0" baseline="0">
                <a:solidFill>
                  <a:schemeClr val="tx1"/>
                </a:solidFill>
                <a:latin typeface="Calibri" pitchFamily="34" charset="0"/>
                <a:cs typeface="Calibri" pitchFamily="34" charset="0"/>
              </a:defRPr>
            </a:lvl1pPr>
            <a:lvl2pPr marL="497772" indent="-226260">
              <a:buFont typeface="Webdings" panose="05030102010509060703" pitchFamily="18" charset="2"/>
              <a:buChar char="4"/>
              <a:defRPr sz="1600" b="0">
                <a:solidFill>
                  <a:schemeClr val="tx1"/>
                </a:solidFill>
                <a:latin typeface="Calibri" pitchFamily="34" charset="0"/>
                <a:cs typeface="Calibri" pitchFamily="34" charset="0"/>
              </a:defRPr>
            </a:lvl2pPr>
            <a:lvl3pPr marL="814536" indent="-226260" algn="l">
              <a:spcBef>
                <a:spcPts val="754"/>
              </a:spcBef>
              <a:spcAft>
                <a:spcPts val="0"/>
              </a:spcAft>
              <a:buFont typeface="Calibri" panose="020F0502020204030204" pitchFamily="34" charset="0"/>
              <a:buChar char="̶"/>
              <a:defRPr lang="en-US" sz="1600" b="0" kern="1200" spc="0" noProof="0" dirty="0" smtClean="0">
                <a:solidFill>
                  <a:schemeClr val="tx1"/>
                </a:solidFill>
                <a:latin typeface="Calibri" pitchFamily="34" charset="0"/>
                <a:ea typeface="+mn-ea"/>
                <a:cs typeface="Calibri" pitchFamily="34" charset="0"/>
              </a:defRPr>
            </a:lvl3pPr>
            <a:lvl4pPr marL="1040796" indent="-226260" algn="l">
              <a:spcBef>
                <a:spcPts val="754"/>
              </a:spcBef>
              <a:spcAft>
                <a:spcPts val="0"/>
              </a:spcAft>
              <a:buFont typeface="Arial" panose="020B0604020202020204" pitchFamily="34" charset="0"/>
              <a:buChar char="•"/>
              <a:defRPr sz="1600" spc="0">
                <a:solidFill>
                  <a:schemeClr val="tx1"/>
                </a:solidFill>
                <a:latin typeface="Calibri" pitchFamily="34" charset="0"/>
                <a:cs typeface="Calibri" pitchFamily="34" charset="0"/>
              </a:defRPr>
            </a:lvl4pPr>
            <a:lvl5pPr marL="1267056" indent="-226260" algn="l">
              <a:spcBef>
                <a:spcPts val="754"/>
              </a:spcBef>
              <a:spcAft>
                <a:spcPts val="0"/>
              </a:spcAft>
              <a:buSzPct val="65000"/>
              <a:buFont typeface="Wingdings" panose="05000000000000000000" pitchFamily="2" charset="2"/>
              <a:buChar char="w"/>
              <a:defRPr lang="en-US" sz="1600" b="0" i="0" kern="1200" spc="0" baseline="0" noProof="0" dirty="0">
                <a:solidFill>
                  <a:schemeClr val="tx1"/>
                </a:solidFill>
                <a:latin typeface="Calibri" pitchFamily="34" charset="0"/>
                <a:ea typeface="+mn-ea"/>
                <a:cs typeface="Calibri" pitchFamily="34" charset="0"/>
              </a:defRPr>
            </a:lvl5pPr>
            <a:lvl6pPr marL="1493316" indent="-226260" algn="l">
              <a:spcBef>
                <a:spcPts val="754"/>
              </a:spcBef>
              <a:spcAft>
                <a:spcPts val="0"/>
              </a:spcAft>
              <a:buFont typeface="Wingdings" panose="05000000000000000000" pitchFamily="2" charset="2"/>
              <a:buChar char=""/>
              <a:defRPr sz="1600" spc="0">
                <a:solidFill>
                  <a:schemeClr val="tx1"/>
                </a:solidFill>
                <a:latin typeface="Calibri" pitchFamily="34" charset="0"/>
                <a:cs typeface="Calibri" pitchFamily="34" charset="0"/>
              </a:defRPr>
            </a:lvl6pPr>
            <a:lvl7pPr>
              <a:defRPr sz="1600"/>
            </a:lvl7pPr>
          </a:lstStyle>
          <a:p>
            <a:pPr lvl="0"/>
            <a:endParaRPr lang="en-US" noProof="0" dirty="0"/>
          </a:p>
        </p:txBody>
      </p:sp>
    </p:spTree>
    <p:extLst>
      <p:ext uri="{BB962C8B-B14F-4D97-AF65-F5344CB8AC3E}">
        <p14:creationId xmlns:p14="http://schemas.microsoft.com/office/powerpoint/2010/main" val="336676618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E93E76EB-A342-45E0-9B83-950E83ABECC6}"/>
              </a:ext>
            </a:extLst>
          </p:cNvPr>
          <p:cNvGraphicFramePr>
            <a:graphicFrameLocks noChangeAspect="1"/>
          </p:cNvGraphicFramePr>
          <p:nvPr userDrawn="1">
            <p:custDataLst>
              <p:tags r:id="rId2"/>
            </p:custDataLst>
          </p:nvPr>
        </p:nvGraphicFramePr>
        <p:xfrm>
          <a:off x="1996" y="1588"/>
          <a:ext cx="1996" cy="1588"/>
        </p:xfrm>
        <a:graphic>
          <a:graphicData uri="http://schemas.openxmlformats.org/presentationml/2006/ole">
            <mc:AlternateContent xmlns:mc="http://schemas.openxmlformats.org/markup-compatibility/2006">
              <mc:Choice xmlns:v="urn:schemas-microsoft-com:vml" Requires="v">
                <p:oleObj spid="_x0000_s71755" name="Diapositive think-cell" r:id="rId5" imgW="473" imgH="470" progId="TCLayout.ActiveDocument.1">
                  <p:embed/>
                </p:oleObj>
              </mc:Choice>
              <mc:Fallback>
                <p:oleObj name="Diapositive think-cell" r:id="rId5" imgW="473" imgH="470" progId="TCLayout.ActiveDocument.1">
                  <p:embed/>
                  <p:pic>
                    <p:nvPicPr>
                      <p:cNvPr id="3" name="Objet 2" hidden="1">
                        <a:extLst>
                          <a:ext uri="{FF2B5EF4-FFF2-40B4-BE49-F238E27FC236}">
                            <a16:creationId xmlns:a16="http://schemas.microsoft.com/office/drawing/2014/main" id="{E93E76EB-A342-45E0-9B83-950E83ABECC6}"/>
                          </a:ext>
                        </a:extLst>
                      </p:cNvPr>
                      <p:cNvPicPr/>
                      <p:nvPr/>
                    </p:nvPicPr>
                    <p:blipFill>
                      <a:blip r:embed="rId6"/>
                      <a:stretch>
                        <a:fillRect/>
                      </a:stretch>
                    </p:blipFill>
                    <p:spPr>
                      <a:xfrm>
                        <a:off x="1996" y="1588"/>
                        <a:ext cx="1996"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CA46389-5E45-415C-8481-E2E2A3E84F8A}"/>
              </a:ext>
            </a:extLst>
          </p:cNvPr>
          <p:cNvSpPr/>
          <p:nvPr userDrawn="1">
            <p:custDataLst>
              <p:tags r:id="rId3"/>
            </p:custDataLst>
          </p:nvPr>
        </p:nvSpPr>
        <p:spPr>
          <a:xfrm>
            <a:off x="0" y="0"/>
            <a:ext cx="199550" cy="158750"/>
          </a:xfrm>
          <a:prstGeom prst="rect">
            <a:avLst/>
          </a:prstGeom>
          <a:solidFill>
            <a:schemeClr val="tx2"/>
          </a:solidFill>
        </p:spPr>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200" b="1" i="0" baseline="0" dirty="0" err="1">
              <a:solidFill>
                <a:schemeClr val="bg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10" name="Title 6">
            <a:extLst>
              <a:ext uri="{FF2B5EF4-FFF2-40B4-BE49-F238E27FC236}">
                <a16:creationId xmlns:a16="http://schemas.microsoft.com/office/drawing/2014/main" id="{85D30E09-D509-42CF-81C1-9838AE482746}"/>
              </a:ext>
            </a:extLst>
          </p:cNvPr>
          <p:cNvSpPr>
            <a:spLocks noGrp="1"/>
          </p:cNvSpPr>
          <p:nvPr>
            <p:ph type="title" hasCustomPrompt="1"/>
          </p:nvPr>
        </p:nvSpPr>
        <p:spPr>
          <a:xfrm>
            <a:off x="609618" y="545662"/>
            <a:ext cx="12218110" cy="338554"/>
          </a:xfrm>
          <a:prstGeom prst="rect">
            <a:avLst/>
          </a:prstGeom>
        </p:spPr>
        <p:txBody>
          <a:bodyPr anchor="b" anchorCtr="0">
            <a:spAutoFit/>
          </a:bodyPr>
          <a:lstStyle>
            <a:lvl1pPr marL="0" algn="l">
              <a:spcBef>
                <a:spcPts val="0"/>
              </a:spcBef>
              <a:defRPr sz="2200" b="1" cap="none" spc="126" baseline="0">
                <a:solidFill>
                  <a:schemeClr val="tx2"/>
                </a:solidFill>
                <a:latin typeface="Calibri Light" panose="020F0302020204030204" pitchFamily="34" charset="0"/>
                <a:cs typeface="Calibri Light" panose="020F0302020204030204" pitchFamily="34" charset="0"/>
              </a:defRPr>
            </a:lvl1pPr>
          </a:lstStyle>
          <a:p>
            <a:r>
              <a:rPr lang="en-US" dirty="0"/>
              <a:t>Click to add title</a:t>
            </a:r>
          </a:p>
        </p:txBody>
      </p:sp>
      <p:sp>
        <p:nvSpPr>
          <p:cNvPr id="13" name="Text Placeholder 3">
            <a:extLst>
              <a:ext uri="{FF2B5EF4-FFF2-40B4-BE49-F238E27FC236}">
                <a16:creationId xmlns:a16="http://schemas.microsoft.com/office/drawing/2014/main" id="{C17FF2BA-8B8F-4C3C-9016-4F6DAFAB8D70}"/>
              </a:ext>
            </a:extLst>
          </p:cNvPr>
          <p:cNvSpPr>
            <a:spLocks noGrp="1"/>
          </p:cNvSpPr>
          <p:nvPr>
            <p:ph type="body" sz="quarter" idx="15" hasCustomPrompt="1"/>
          </p:nvPr>
        </p:nvSpPr>
        <p:spPr>
          <a:xfrm>
            <a:off x="609618" y="960054"/>
            <a:ext cx="12218110" cy="277290"/>
          </a:xfrm>
          <a:prstGeom prst="rect">
            <a:avLst/>
          </a:prstGeom>
        </p:spPr>
        <p:txBody>
          <a:bodyPr wrap="square">
            <a:noAutofit/>
          </a:bodyPr>
          <a:lstStyle>
            <a:lvl1pPr marL="0" indent="0" algn="l">
              <a:spcAft>
                <a:spcPts val="0"/>
              </a:spcAft>
              <a:buFontTx/>
              <a:buNone/>
              <a:defRPr sz="1800" b="1" cap="none" spc="126" baseline="0">
                <a:solidFill>
                  <a:schemeClr val="accent2"/>
                </a:solidFill>
                <a:latin typeface="Calibri Light" panose="020F0302020204030204" pitchFamily="34" charset="0"/>
                <a:cs typeface="Calibri Light" panose="020F0302020204030204" pitchFamily="34" charset="0"/>
              </a:defRPr>
            </a:lvl1pPr>
          </a:lstStyle>
          <a:p>
            <a:pPr lvl="0"/>
            <a:r>
              <a:rPr lang="en-US" dirty="0"/>
              <a:t>Click to add subtitle </a:t>
            </a:r>
            <a:endParaRPr lang="fr-FR" dirty="0"/>
          </a:p>
        </p:txBody>
      </p:sp>
      <p:sp>
        <p:nvSpPr>
          <p:cNvPr id="14" name="Text Placeholder 4"/>
          <p:cNvSpPr>
            <a:spLocks noGrp="1"/>
          </p:cNvSpPr>
          <p:nvPr>
            <p:ph type="body" sz="quarter" idx="11" hasCustomPrompt="1"/>
          </p:nvPr>
        </p:nvSpPr>
        <p:spPr>
          <a:xfrm>
            <a:off x="609709" y="6842166"/>
            <a:ext cx="12218110" cy="153888"/>
          </a:xfrm>
        </p:spPr>
        <p:txBody>
          <a:bodyPr wrap="square" anchor="ctr">
            <a:noAutofit/>
          </a:bodyPr>
          <a:lstStyle>
            <a:lvl1pPr marL="135756" indent="0">
              <a:buNone/>
              <a:defRPr sz="1000" b="0" cap="none" spc="0" baseline="0">
                <a:solidFill>
                  <a:schemeClr val="tx1"/>
                </a:solidFill>
                <a:latin typeface="+mn-lt"/>
              </a:defRPr>
            </a:lvl1pPr>
            <a:lvl2pPr>
              <a:defRPr sz="1131" b="0" cap="none" baseline="0">
                <a:solidFill>
                  <a:schemeClr val="tx2"/>
                </a:solidFill>
              </a:defRPr>
            </a:lvl2pPr>
            <a:lvl3pPr>
              <a:defRPr sz="1131" b="0" cap="none" baseline="0">
                <a:solidFill>
                  <a:schemeClr val="tx2"/>
                </a:solidFill>
              </a:defRPr>
            </a:lvl3pPr>
            <a:lvl4pPr>
              <a:defRPr sz="1131" b="0" cap="none" baseline="0">
                <a:solidFill>
                  <a:schemeClr val="tx2"/>
                </a:solidFill>
              </a:defRPr>
            </a:lvl4pPr>
            <a:lvl5pPr>
              <a:defRPr sz="1131" b="0" cap="none" baseline="0">
                <a:solidFill>
                  <a:schemeClr val="tx2"/>
                </a:solidFill>
              </a:defRPr>
            </a:lvl5pPr>
          </a:lstStyle>
          <a:p>
            <a:pPr lvl="0"/>
            <a:r>
              <a:rPr lang="en-US" dirty="0"/>
              <a:t>Click to add comment</a:t>
            </a:r>
            <a:endParaRPr lang="fr-FR" dirty="0"/>
          </a:p>
        </p:txBody>
      </p:sp>
      <p:sp>
        <p:nvSpPr>
          <p:cNvPr id="8" name="object 23">
            <a:extLst>
              <a:ext uri="{FF2B5EF4-FFF2-40B4-BE49-F238E27FC236}">
                <a16:creationId xmlns:a16="http://schemas.microsoft.com/office/drawing/2014/main" id="{BD7B8096-5437-48F9-8BC7-C269B5BABFF0}"/>
              </a:ext>
            </a:extLst>
          </p:cNvPr>
          <p:cNvSpPr>
            <a:spLocks noChangeAspect="1"/>
          </p:cNvSpPr>
          <p:nvPr userDrawn="1"/>
        </p:nvSpPr>
        <p:spPr>
          <a:xfrm>
            <a:off x="1" y="0"/>
            <a:ext cx="484975" cy="1237344"/>
          </a:xfrm>
          <a:custGeom>
            <a:avLst/>
            <a:gdLst/>
            <a:ahLst/>
            <a:cxnLst/>
            <a:rect l="l" t="t" r="r" b="b"/>
            <a:pathLst>
              <a:path w="799465" h="1977389">
                <a:moveTo>
                  <a:pt x="798918" y="0"/>
                </a:moveTo>
                <a:lnTo>
                  <a:pt x="0" y="0"/>
                </a:lnTo>
                <a:lnTo>
                  <a:pt x="0" y="1977389"/>
                </a:lnTo>
                <a:lnTo>
                  <a:pt x="798918" y="0"/>
                </a:lnTo>
                <a:close/>
              </a:path>
            </a:pathLst>
          </a:custGeom>
          <a:solidFill>
            <a:schemeClr val="accent1"/>
          </a:solidFill>
        </p:spPr>
        <p:txBody>
          <a:bodyPr wrap="square" lIns="0" tIns="0" rIns="0" bIns="0" rtlCol="0"/>
          <a:lstStyle/>
          <a:p>
            <a:endParaRPr spc="100" baseline="0"/>
          </a:p>
        </p:txBody>
      </p:sp>
    </p:spTree>
    <p:extLst>
      <p:ext uri="{BB962C8B-B14F-4D97-AF65-F5344CB8AC3E}">
        <p14:creationId xmlns:p14="http://schemas.microsoft.com/office/powerpoint/2010/main" val="287353688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5C7A1C2-09A5-4F1E-902A-F7A8E9B4B76C}"/>
              </a:ext>
            </a:extLst>
          </p:cNvPr>
          <p:cNvGraphicFramePr>
            <a:graphicFrameLocks noChangeAspect="1"/>
          </p:cNvGraphicFramePr>
          <p:nvPr userDrawn="1">
            <p:custDataLst>
              <p:tags r:id="rId2"/>
            </p:custDataLst>
          </p:nvPr>
        </p:nvGraphicFramePr>
        <p:xfrm>
          <a:off x="1996" y="1588"/>
          <a:ext cx="1996" cy="1588"/>
        </p:xfrm>
        <a:graphic>
          <a:graphicData uri="http://schemas.openxmlformats.org/presentationml/2006/ole">
            <mc:AlternateContent xmlns:mc="http://schemas.openxmlformats.org/markup-compatibility/2006">
              <mc:Choice xmlns:v="urn:schemas-microsoft-com:vml" Requires="v">
                <p:oleObj spid="_x0000_s72779" name="Diapositive think-cell" r:id="rId5" imgW="473" imgH="470" progId="TCLayout.ActiveDocument.1">
                  <p:embed/>
                </p:oleObj>
              </mc:Choice>
              <mc:Fallback>
                <p:oleObj name="Diapositive think-cell" r:id="rId5" imgW="473" imgH="470" progId="TCLayout.ActiveDocument.1">
                  <p:embed/>
                  <p:pic>
                    <p:nvPicPr>
                      <p:cNvPr id="5" name="Objet 4" hidden="1">
                        <a:extLst>
                          <a:ext uri="{FF2B5EF4-FFF2-40B4-BE49-F238E27FC236}">
                            <a16:creationId xmlns:a16="http://schemas.microsoft.com/office/drawing/2014/main" id="{65C7A1C2-09A5-4F1E-902A-F7A8E9B4B76C}"/>
                          </a:ext>
                        </a:extLst>
                      </p:cNvPr>
                      <p:cNvPicPr/>
                      <p:nvPr/>
                    </p:nvPicPr>
                    <p:blipFill>
                      <a:blip r:embed="rId6"/>
                      <a:stretch>
                        <a:fillRect/>
                      </a:stretch>
                    </p:blipFill>
                    <p:spPr>
                      <a:xfrm>
                        <a:off x="1996" y="1588"/>
                        <a:ext cx="1996"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D645FE-EAF4-4EC9-B6AF-A31971AD21E4}"/>
              </a:ext>
            </a:extLst>
          </p:cNvPr>
          <p:cNvSpPr/>
          <p:nvPr userDrawn="1">
            <p:custDataLst>
              <p:tags r:id="rId3"/>
            </p:custDataLst>
          </p:nvPr>
        </p:nvSpPr>
        <p:spPr>
          <a:xfrm>
            <a:off x="0" y="0"/>
            <a:ext cx="199550" cy="158750"/>
          </a:xfrm>
          <a:prstGeom prst="rect">
            <a:avLst/>
          </a:prstGeom>
          <a:solidFill>
            <a:schemeClr val="tx2"/>
          </a:solidFill>
        </p:spPr>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200" b="1" i="0" baseline="0" dirty="0" err="1">
              <a:solidFill>
                <a:schemeClr val="bg1"/>
              </a:solidFill>
              <a:latin typeface="Calibri Light" panose="020F0302020204030204" pitchFamily="34" charset="0"/>
              <a:ea typeface="+mj-ea"/>
              <a:cs typeface="Arial" panose="020B0604020202020204" pitchFamily="34" charset="0"/>
              <a:sym typeface="Calibri Light" panose="020F0302020204030204" pitchFamily="34" charset="0"/>
            </a:endParaRPr>
          </a:p>
        </p:txBody>
      </p:sp>
      <p:sp>
        <p:nvSpPr>
          <p:cNvPr id="38" name="Title 6"/>
          <p:cNvSpPr>
            <a:spLocks noGrp="1"/>
          </p:cNvSpPr>
          <p:nvPr userDrawn="1">
            <p:ph type="title" hasCustomPrompt="1"/>
          </p:nvPr>
        </p:nvSpPr>
        <p:spPr>
          <a:xfrm>
            <a:off x="5285900" y="545309"/>
            <a:ext cx="7541828" cy="285632"/>
          </a:xfrm>
          <a:prstGeom prst="rect">
            <a:avLst/>
          </a:prstGeom>
        </p:spPr>
        <p:txBody>
          <a:bodyPr anchor="b" anchorCtr="0">
            <a:noAutofit/>
          </a:bodyPr>
          <a:lstStyle>
            <a:lvl1pPr marL="0">
              <a:spcBef>
                <a:spcPts val="0"/>
              </a:spcBef>
              <a:defRPr sz="2200" b="1" cap="none" spc="126" baseline="0">
                <a:solidFill>
                  <a:schemeClr val="tx2"/>
                </a:solidFill>
                <a:latin typeface="+mj-lt"/>
              </a:defRPr>
            </a:lvl1pPr>
          </a:lstStyle>
          <a:p>
            <a:r>
              <a:rPr lang="en-US" dirty="0"/>
              <a:t>Click to add title </a:t>
            </a:r>
          </a:p>
        </p:txBody>
      </p:sp>
      <p:sp>
        <p:nvSpPr>
          <p:cNvPr id="40" name="Text Placeholder 3"/>
          <p:cNvSpPr>
            <a:spLocks noGrp="1"/>
          </p:cNvSpPr>
          <p:nvPr userDrawn="1">
            <p:ph type="body" sz="quarter" idx="15" hasCustomPrompt="1"/>
          </p:nvPr>
        </p:nvSpPr>
        <p:spPr>
          <a:xfrm>
            <a:off x="5286997" y="960347"/>
            <a:ext cx="7540731" cy="233454"/>
          </a:xfrm>
          <a:prstGeom prst="rect">
            <a:avLst/>
          </a:prstGeom>
        </p:spPr>
        <p:txBody>
          <a:bodyPr wrap="square">
            <a:noAutofit/>
          </a:bodyPr>
          <a:lstStyle>
            <a:lvl1pPr marL="0" indent="0">
              <a:spcAft>
                <a:spcPts val="0"/>
              </a:spcAft>
              <a:buNone/>
              <a:defRPr sz="1800" b="1" cap="none" spc="126" baseline="0">
                <a:solidFill>
                  <a:schemeClr val="accent2"/>
                </a:solidFill>
                <a:latin typeface="+mj-lt"/>
              </a:defRPr>
            </a:lvl1pPr>
          </a:lstStyle>
          <a:p>
            <a:pPr lvl="0"/>
            <a:r>
              <a:rPr lang="en-US" dirty="0"/>
              <a:t>Click to add subtitle </a:t>
            </a:r>
            <a:endParaRPr lang="fr-FR" dirty="0"/>
          </a:p>
        </p:txBody>
      </p:sp>
      <p:sp>
        <p:nvSpPr>
          <p:cNvPr id="3" name="Text Placeholder 2"/>
          <p:cNvSpPr>
            <a:spLocks noGrp="1" noChangeAspect="1"/>
          </p:cNvSpPr>
          <p:nvPr userDrawn="1">
            <p:ph type="body" sz="quarter" idx="17" hasCustomPrompt="1"/>
          </p:nvPr>
        </p:nvSpPr>
        <p:spPr>
          <a:xfrm>
            <a:off x="5286997" y="3859551"/>
            <a:ext cx="7540731" cy="307777"/>
          </a:xfrm>
          <a:prstGeom prst="rect">
            <a:avLst/>
          </a:prstGeom>
        </p:spPr>
        <p:txBody>
          <a:bodyPr wrap="square" anchor="ctr">
            <a:spAutoFit/>
          </a:bodyPr>
          <a:lstStyle>
            <a:lvl1pPr marL="135756" indent="0" algn="r">
              <a:buNone/>
              <a:defRPr sz="2000" b="0" cap="none" spc="126" baseline="0">
                <a:solidFill>
                  <a:schemeClr val="tx2"/>
                </a:solidFill>
                <a:latin typeface="+mn-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dirty="0"/>
              <a:t>Click to add text</a:t>
            </a:r>
          </a:p>
        </p:txBody>
      </p:sp>
      <p:sp>
        <p:nvSpPr>
          <p:cNvPr id="8" name="Picture Placeholder 3">
            <a:extLst>
              <a:ext uri="{FF2B5EF4-FFF2-40B4-BE49-F238E27FC236}">
                <a16:creationId xmlns:a16="http://schemas.microsoft.com/office/drawing/2014/main" id="{0C7D8EF3-4E56-4965-9488-AE26D53DCF3C}"/>
              </a:ext>
            </a:extLst>
          </p:cNvPr>
          <p:cNvSpPr>
            <a:spLocks noGrp="1"/>
          </p:cNvSpPr>
          <p:nvPr>
            <p:ph type="pic" sz="quarter" idx="19" hasCustomPrompt="1"/>
          </p:nvPr>
        </p:nvSpPr>
        <p:spPr>
          <a:xfrm>
            <a:off x="-11211" y="-7230"/>
            <a:ext cx="4968000" cy="7560000"/>
          </a:xfrm>
          <a:custGeom>
            <a:avLst/>
            <a:gdLst>
              <a:gd name="connsiteX0" fmla="*/ 0 w 6324600"/>
              <a:gd name="connsiteY0" fmla="*/ 5589064 h 5589064"/>
              <a:gd name="connsiteX1" fmla="*/ 2236967 w 6324600"/>
              <a:gd name="connsiteY1" fmla="*/ 0 h 5589064"/>
              <a:gd name="connsiteX2" fmla="*/ 6324600 w 6324600"/>
              <a:gd name="connsiteY2" fmla="*/ 0 h 5589064"/>
              <a:gd name="connsiteX3" fmla="*/ 4087633 w 6324600"/>
              <a:gd name="connsiteY3" fmla="*/ 5589064 h 5589064"/>
              <a:gd name="connsiteX4" fmla="*/ 0 w 6324600"/>
              <a:gd name="connsiteY4" fmla="*/ 5589064 h 5589064"/>
              <a:gd name="connsiteX0" fmla="*/ 0 w 6384618"/>
              <a:gd name="connsiteY0" fmla="*/ 5592595 h 5592595"/>
              <a:gd name="connsiteX1" fmla="*/ 2236967 w 6384618"/>
              <a:gd name="connsiteY1" fmla="*/ 3531 h 5592595"/>
              <a:gd name="connsiteX2" fmla="*/ 6384618 w 6384618"/>
              <a:gd name="connsiteY2" fmla="*/ 0 h 5592595"/>
              <a:gd name="connsiteX3" fmla="*/ 4087633 w 6384618"/>
              <a:gd name="connsiteY3" fmla="*/ 5592595 h 5592595"/>
              <a:gd name="connsiteX4" fmla="*/ 0 w 6384618"/>
              <a:gd name="connsiteY4" fmla="*/ 5592595 h 5592595"/>
              <a:gd name="connsiteX0" fmla="*/ 0 w 6384618"/>
              <a:gd name="connsiteY0" fmla="*/ 5592595 h 5599656"/>
              <a:gd name="connsiteX1" fmla="*/ 2236967 w 6384618"/>
              <a:gd name="connsiteY1" fmla="*/ 3531 h 5599656"/>
              <a:gd name="connsiteX2" fmla="*/ 6384618 w 6384618"/>
              <a:gd name="connsiteY2" fmla="*/ 0 h 5599656"/>
              <a:gd name="connsiteX3" fmla="*/ 4129999 w 6384618"/>
              <a:gd name="connsiteY3" fmla="*/ 5599656 h 5599656"/>
              <a:gd name="connsiteX4" fmla="*/ 0 w 6384618"/>
              <a:gd name="connsiteY4" fmla="*/ 5592595 h 5599656"/>
              <a:gd name="connsiteX0" fmla="*/ 41413 w 4147651"/>
              <a:gd name="connsiteY0" fmla="*/ 5604025 h 5604025"/>
              <a:gd name="connsiteX1" fmla="*/ 0 w 4147651"/>
              <a:gd name="connsiteY1" fmla="*/ 3531 h 5604025"/>
              <a:gd name="connsiteX2" fmla="*/ 4147651 w 4147651"/>
              <a:gd name="connsiteY2" fmla="*/ 0 h 5604025"/>
              <a:gd name="connsiteX3" fmla="*/ 1893032 w 4147651"/>
              <a:gd name="connsiteY3" fmla="*/ 5599656 h 5604025"/>
              <a:gd name="connsiteX4" fmla="*/ 41413 w 4147651"/>
              <a:gd name="connsiteY4" fmla="*/ 5604025 h 5604025"/>
              <a:gd name="connsiteX0" fmla="*/ 0 w 4106238"/>
              <a:gd name="connsiteY0" fmla="*/ 5604304 h 5604304"/>
              <a:gd name="connsiteX1" fmla="*/ 497 w 4106238"/>
              <a:gd name="connsiteY1" fmla="*/ 0 h 5604304"/>
              <a:gd name="connsiteX2" fmla="*/ 4106238 w 4106238"/>
              <a:gd name="connsiteY2" fmla="*/ 279 h 5604304"/>
              <a:gd name="connsiteX3" fmla="*/ 1851619 w 4106238"/>
              <a:gd name="connsiteY3" fmla="*/ 5599935 h 5604304"/>
              <a:gd name="connsiteX4" fmla="*/ 0 w 4106238"/>
              <a:gd name="connsiteY4" fmla="*/ 5604304 h 5604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6238" h="5604304">
                <a:moveTo>
                  <a:pt x="0" y="5604304"/>
                </a:moveTo>
                <a:cubicBezTo>
                  <a:pt x="166" y="3736203"/>
                  <a:pt x="331" y="1868101"/>
                  <a:pt x="497" y="0"/>
                </a:cubicBezTo>
                <a:lnTo>
                  <a:pt x="4106238" y="279"/>
                </a:lnTo>
                <a:lnTo>
                  <a:pt x="1851619" y="5599935"/>
                </a:lnTo>
                <a:lnTo>
                  <a:pt x="0" y="5604304"/>
                </a:lnTo>
                <a:close/>
              </a:path>
            </a:pathLst>
          </a:custGeom>
          <a:ln>
            <a:noFill/>
          </a:ln>
        </p:spPr>
        <p:txBody>
          <a:bodyPr anchor="ctr"/>
          <a:lstStyle>
            <a:lvl1pPr marL="290827" indent="0" algn="l">
              <a:buNone/>
              <a:defRPr baseline="0"/>
            </a:lvl1pPr>
          </a:lstStyle>
          <a:p>
            <a:r>
              <a:rPr lang="fr-FR" dirty="0" err="1"/>
              <a:t>Add</a:t>
            </a:r>
            <a:r>
              <a:rPr lang="fr-FR" dirty="0"/>
              <a:t> Picture</a:t>
            </a:r>
          </a:p>
        </p:txBody>
      </p:sp>
    </p:spTree>
    <p:extLst>
      <p:ext uri="{BB962C8B-B14F-4D97-AF65-F5344CB8AC3E}">
        <p14:creationId xmlns:p14="http://schemas.microsoft.com/office/powerpoint/2010/main" val="113807406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ink-cell agenda">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E8EDB328-C9E5-4C49-A643-A95F0A6CB10C}"/>
              </a:ext>
            </a:extLst>
          </p:cNvPr>
          <p:cNvGraphicFramePr>
            <a:graphicFrameLocks noChangeAspect="1"/>
          </p:cNvGraphicFramePr>
          <p:nvPr userDrawn="1">
            <p:custDataLst>
              <p:tags r:id="rId2"/>
            </p:custDataLst>
            <p:extLst>
              <p:ext uri="{D42A27DB-BD31-4B8C-83A1-F6EECF244321}">
                <p14:modId xmlns:p14="http://schemas.microsoft.com/office/powerpoint/2010/main" val="601925629"/>
              </p:ext>
            </p:extLst>
          </p:nvPr>
        </p:nvGraphicFramePr>
        <p:xfrm>
          <a:off x="1996" y="1588"/>
          <a:ext cx="1996" cy="1588"/>
        </p:xfrm>
        <a:graphic>
          <a:graphicData uri="http://schemas.openxmlformats.org/presentationml/2006/ole">
            <mc:AlternateContent xmlns:mc="http://schemas.openxmlformats.org/markup-compatibility/2006">
              <mc:Choice xmlns:v="urn:schemas-microsoft-com:vml" Requires="v">
                <p:oleObj spid="_x0000_s73804" name="Diapositive think-cell" r:id="rId4" imgW="473" imgH="470" progId="TCLayout.ActiveDocument.1">
                  <p:embed/>
                </p:oleObj>
              </mc:Choice>
              <mc:Fallback>
                <p:oleObj name="Diapositive think-cell" r:id="rId4" imgW="473" imgH="470" progId="TCLayout.ActiveDocument.1">
                  <p:embed/>
                  <p:pic>
                    <p:nvPicPr>
                      <p:cNvPr id="3" name="Objet 2" hidden="1">
                        <a:extLst>
                          <a:ext uri="{FF2B5EF4-FFF2-40B4-BE49-F238E27FC236}">
                            <a16:creationId xmlns:a16="http://schemas.microsoft.com/office/drawing/2014/main" id="{E8EDB328-C9E5-4C49-A643-A95F0A6CB10C}"/>
                          </a:ext>
                        </a:extLst>
                      </p:cNvPr>
                      <p:cNvPicPr/>
                      <p:nvPr/>
                    </p:nvPicPr>
                    <p:blipFill>
                      <a:blip r:embed="rId5"/>
                      <a:stretch>
                        <a:fillRect/>
                      </a:stretch>
                    </p:blipFill>
                    <p:spPr>
                      <a:xfrm>
                        <a:off x="1996" y="1588"/>
                        <a:ext cx="1996" cy="1588"/>
                      </a:xfrm>
                      <a:prstGeom prst="rect">
                        <a:avLst/>
                      </a:prstGeom>
                    </p:spPr>
                  </p:pic>
                </p:oleObj>
              </mc:Fallback>
            </mc:AlternateContent>
          </a:graphicData>
        </a:graphic>
      </p:graphicFrame>
      <p:sp>
        <p:nvSpPr>
          <p:cNvPr id="7" name="object 2"/>
          <p:cNvSpPr/>
          <p:nvPr userDrawn="1"/>
        </p:nvSpPr>
        <p:spPr>
          <a:xfrm>
            <a:off x="1" y="3176"/>
            <a:ext cx="4701600" cy="7566025"/>
          </a:xfrm>
          <a:custGeom>
            <a:avLst/>
            <a:gdLst/>
            <a:ahLst/>
            <a:cxnLst/>
            <a:rect l="l" t="t" r="r" b="b"/>
            <a:pathLst>
              <a:path w="7137400" h="9144000">
                <a:moveTo>
                  <a:pt x="7136879" y="0"/>
                </a:moveTo>
                <a:lnTo>
                  <a:pt x="794283" y="0"/>
                </a:lnTo>
                <a:lnTo>
                  <a:pt x="0" y="1965934"/>
                </a:lnTo>
                <a:lnTo>
                  <a:pt x="0" y="9144000"/>
                </a:lnTo>
                <a:lnTo>
                  <a:pt x="3442462" y="9144000"/>
                </a:lnTo>
                <a:lnTo>
                  <a:pt x="7136879" y="0"/>
                </a:lnTo>
                <a:close/>
              </a:path>
            </a:pathLst>
          </a:custGeom>
          <a:solidFill>
            <a:schemeClr val="tx2"/>
          </a:solidFill>
        </p:spPr>
        <p:txBody>
          <a:bodyPr wrap="square" lIns="0" tIns="0" rIns="0" bIns="0" rtlCol="0"/>
          <a:lstStyle/>
          <a:p>
            <a:endParaRPr sz="2640" spc="126" baseline="0" dirty="0"/>
          </a:p>
        </p:txBody>
      </p:sp>
      <p:sp>
        <p:nvSpPr>
          <p:cNvPr id="5" name="Rectangle 4">
            <a:extLst>
              <a:ext uri="{FF2B5EF4-FFF2-40B4-BE49-F238E27FC236}">
                <a16:creationId xmlns:a16="http://schemas.microsoft.com/office/drawing/2014/main" id="{834201C8-0F97-4F5E-A0CB-9F800FC6983C}"/>
              </a:ext>
            </a:extLst>
          </p:cNvPr>
          <p:cNvSpPr/>
          <p:nvPr userDrawn="1"/>
        </p:nvSpPr>
        <p:spPr>
          <a:xfrm>
            <a:off x="597652" y="1422400"/>
            <a:ext cx="2873518" cy="523220"/>
          </a:xfrm>
          <a:prstGeom prst="rect">
            <a:avLst/>
          </a:prstGeom>
        </p:spPr>
        <p:txBody>
          <a:bodyPr wrap="square">
            <a:spAutoFit/>
          </a:bodyPr>
          <a:lstStyle/>
          <a:p>
            <a:pPr marL="23970" eaLnBrk="1" hangingPunct="1">
              <a:spcBef>
                <a:spcPts val="812"/>
              </a:spcBef>
              <a:tabLst>
                <a:tab pos="1821705" algn="l"/>
                <a:tab pos="4901824" algn="l"/>
                <a:tab pos="6076343" algn="l"/>
                <a:tab pos="8752172" algn="l"/>
              </a:tabLst>
            </a:pPr>
            <a:r>
              <a:rPr lang="fr-FR" sz="2800" b="1" i="0" kern="1200" cap="none" spc="126" baseline="0" dirty="0">
                <a:solidFill>
                  <a:schemeClr val="bg1"/>
                </a:solidFill>
                <a:latin typeface="+mj-lt"/>
                <a:ea typeface="+mj-ea"/>
                <a:cs typeface="Arial"/>
              </a:rPr>
              <a:t>Agenda</a:t>
            </a:r>
            <a:endParaRPr lang="en-US" sz="2800" b="1" i="0" kern="1200" cap="none" spc="126" baseline="0" dirty="0">
              <a:solidFill>
                <a:schemeClr val="bg1"/>
              </a:solidFill>
              <a:latin typeface="+mj-lt"/>
              <a:ea typeface="+mj-ea"/>
              <a:cs typeface="Arial"/>
            </a:endParaRPr>
          </a:p>
        </p:txBody>
      </p:sp>
      <p:sp>
        <p:nvSpPr>
          <p:cNvPr id="11" name="object 23">
            <a:extLst>
              <a:ext uri="{FF2B5EF4-FFF2-40B4-BE49-F238E27FC236}">
                <a16:creationId xmlns:a16="http://schemas.microsoft.com/office/drawing/2014/main" id="{39A33DEE-C577-42FF-867C-0021F7589EC9}"/>
              </a:ext>
            </a:extLst>
          </p:cNvPr>
          <p:cNvSpPr/>
          <p:nvPr userDrawn="1"/>
        </p:nvSpPr>
        <p:spPr>
          <a:xfrm>
            <a:off x="1" y="0"/>
            <a:ext cx="789218" cy="1651000"/>
          </a:xfrm>
          <a:custGeom>
            <a:avLst/>
            <a:gdLst/>
            <a:ahLst/>
            <a:cxnLst/>
            <a:rect l="l" t="t" r="r" b="b"/>
            <a:pathLst>
              <a:path w="799465" h="1977389">
                <a:moveTo>
                  <a:pt x="798918" y="0"/>
                </a:moveTo>
                <a:lnTo>
                  <a:pt x="0" y="0"/>
                </a:lnTo>
                <a:lnTo>
                  <a:pt x="0" y="1977389"/>
                </a:lnTo>
                <a:lnTo>
                  <a:pt x="798918" y="0"/>
                </a:lnTo>
                <a:close/>
              </a:path>
            </a:pathLst>
          </a:custGeom>
          <a:solidFill>
            <a:schemeClr val="tx2"/>
          </a:solidFill>
        </p:spPr>
        <p:txBody>
          <a:bodyPr wrap="square" lIns="0" tIns="0" rIns="0" bIns="0" rtlCol="0"/>
          <a:lstStyle/>
          <a:p>
            <a:endParaRPr sz="2640" spc="126" baseline="0"/>
          </a:p>
        </p:txBody>
      </p:sp>
      <p:pic>
        <p:nvPicPr>
          <p:cNvPr id="9" name="Picture 4">
            <a:extLst>
              <a:ext uri="{FF2B5EF4-FFF2-40B4-BE49-F238E27FC236}">
                <a16:creationId xmlns:a16="http://schemas.microsoft.com/office/drawing/2014/main" id="{A166A86B-3187-41E8-9D9C-B63531A2BAC9}"/>
              </a:ext>
            </a:extLst>
          </p:cNvPr>
          <p:cNvPicPr>
            <a:picLocks noChangeAspect="1" noChangeArrowheads="1"/>
          </p:cNvPicPr>
          <p:nvPr userDrawn="1"/>
        </p:nvPicPr>
        <p:blipFill rotWithShape="1">
          <a:blip r:embed="rId6" cstate="print">
            <a:lum bright="70000" contrast="-70000"/>
            <a:extLst>
              <a:ext uri="{28A0092B-C50C-407E-A947-70E740481C1C}">
                <a14:useLocalDpi xmlns:a14="http://schemas.microsoft.com/office/drawing/2010/main" val="0"/>
              </a:ext>
            </a:extLst>
          </a:blip>
          <a:srcRect b="30786"/>
          <a:stretch/>
        </p:blipFill>
        <p:spPr bwMode="auto">
          <a:xfrm>
            <a:off x="181976" y="7160052"/>
            <a:ext cx="756786" cy="211234"/>
          </a:xfrm>
          <a:prstGeom prst="rect">
            <a:avLst/>
          </a:prstGeom>
          <a:noFill/>
          <a:extLst>
            <a:ext uri="{909E8E84-426E-40DD-AFC4-6F175D3DCCD1}">
              <a14:hiddenFill xmlns:a14="http://schemas.microsoft.com/office/drawing/2010/main">
                <a:solidFill>
                  <a:srgbClr val="FFFFFF"/>
                </a:solidFill>
              </a14:hiddenFill>
            </a:ext>
          </a:extLst>
        </p:spPr>
      </p:pic>
      <p:sp>
        <p:nvSpPr>
          <p:cNvPr id="10" name="object 23">
            <a:extLst>
              <a:ext uri="{FF2B5EF4-FFF2-40B4-BE49-F238E27FC236}">
                <a16:creationId xmlns:a16="http://schemas.microsoft.com/office/drawing/2014/main" id="{7AA5D8CA-2837-4034-81B0-024842A03E1F}"/>
              </a:ext>
            </a:extLst>
          </p:cNvPr>
          <p:cNvSpPr>
            <a:spLocks noChangeAspect="1"/>
          </p:cNvSpPr>
          <p:nvPr userDrawn="1"/>
        </p:nvSpPr>
        <p:spPr>
          <a:xfrm>
            <a:off x="0" y="1"/>
            <a:ext cx="484975" cy="1237344"/>
          </a:xfrm>
          <a:custGeom>
            <a:avLst/>
            <a:gdLst/>
            <a:ahLst/>
            <a:cxnLst/>
            <a:rect l="l" t="t" r="r" b="b"/>
            <a:pathLst>
              <a:path w="799465" h="1977389">
                <a:moveTo>
                  <a:pt x="798918" y="0"/>
                </a:moveTo>
                <a:lnTo>
                  <a:pt x="0" y="0"/>
                </a:lnTo>
                <a:lnTo>
                  <a:pt x="0" y="1977389"/>
                </a:lnTo>
                <a:lnTo>
                  <a:pt x="798918" y="0"/>
                </a:lnTo>
                <a:close/>
              </a:path>
            </a:pathLst>
          </a:custGeom>
          <a:solidFill>
            <a:srgbClr val="FFFFFF"/>
          </a:solidFill>
        </p:spPr>
        <p:txBody>
          <a:bodyPr wrap="square" lIns="0" tIns="0" rIns="0" bIns="0" rtlCol="0"/>
          <a:lstStyle/>
          <a:p>
            <a:pPr defTabSz="914400">
              <a:defRPr/>
            </a:pPr>
            <a:endParaRPr sz="1800" kern="0" spc="100" dirty="0">
              <a:solidFill>
                <a:srgbClr val="000000"/>
              </a:solidFill>
            </a:endParaRPr>
          </a:p>
        </p:txBody>
      </p:sp>
    </p:spTree>
    <p:extLst>
      <p:ext uri="{BB962C8B-B14F-4D97-AF65-F5344CB8AC3E}">
        <p14:creationId xmlns:p14="http://schemas.microsoft.com/office/powerpoint/2010/main" val="10250059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Front cover with picture client logo">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D6D56C8-FCDC-4BC3-8F10-9B0727EB010C}"/>
              </a:ext>
            </a:extLst>
          </p:cNvPr>
          <p:cNvGraphicFramePr>
            <a:graphicFrameLocks noChangeAspect="1"/>
          </p:cNvGraphicFramePr>
          <p:nvPr userDrawn="1">
            <p:custDataLst>
              <p:tags r:id="rId2"/>
            </p:custDataLst>
            <p:extLst>
              <p:ext uri="{D42A27DB-BD31-4B8C-83A1-F6EECF244321}">
                <p14:modId xmlns:p14="http://schemas.microsoft.com/office/powerpoint/2010/main" val="3943813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 name="Diapositive think-cell" r:id="rId5" imgW="592" imgH="584" progId="TCLayout.ActiveDocument.1">
                  <p:embed/>
                </p:oleObj>
              </mc:Choice>
              <mc:Fallback>
                <p:oleObj name="Diapositive think-cell" r:id="rId5" imgW="592" imgH="584" progId="TCLayout.ActiveDocument.1">
                  <p:embed/>
                  <p:pic>
                    <p:nvPicPr>
                      <p:cNvPr id="3" name="Objet 2" hidden="1">
                        <a:extLst>
                          <a:ext uri="{FF2B5EF4-FFF2-40B4-BE49-F238E27FC236}">
                            <a16:creationId xmlns:a16="http://schemas.microsoft.com/office/drawing/2014/main" id="{8D6D56C8-FCDC-4BC3-8F10-9B0727EB01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C331535-53C2-4261-B338-E9BC1AFBAA07}"/>
              </a:ext>
            </a:extLst>
          </p:cNvPr>
          <p:cNvSpPr/>
          <p:nvPr userDrawn="1">
            <p:custDataLst>
              <p:tags r:id="rId3"/>
            </p:custDataLst>
          </p:nvPr>
        </p:nvSpPr>
        <p:spPr>
          <a:xfrm>
            <a:off x="0" y="0"/>
            <a:ext cx="158750" cy="158750"/>
          </a:xfrm>
          <a:prstGeom prst="rect">
            <a:avLst/>
          </a:prstGeom>
          <a:solidFill>
            <a:schemeClr val="tx2"/>
          </a:solidFill>
        </p:spPr>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600" b="1" i="0" baseline="0" dirty="0" err="1">
              <a:solidFill>
                <a:schemeClr val="bg1"/>
              </a:solidFill>
              <a:latin typeface="Calibri Light" panose="020F0302020204030204" pitchFamily="34" charset="0"/>
              <a:ea typeface="+mj-ea"/>
              <a:cs typeface="Arial" panose="020B0604020202020204" pitchFamily="34" charset="0"/>
              <a:sym typeface="Calibri Light" panose="020F0302020204030204" pitchFamily="34" charset="0"/>
            </a:endParaRPr>
          </a:p>
        </p:txBody>
      </p:sp>
      <p:sp>
        <p:nvSpPr>
          <p:cNvPr id="14" name="Picture Placeholder 3">
            <a:extLst>
              <a:ext uri="{FF2B5EF4-FFF2-40B4-BE49-F238E27FC236}">
                <a16:creationId xmlns:a16="http://schemas.microsoft.com/office/drawing/2014/main" id="{C71E5ECE-500A-4A3D-BC96-5C578F611CA6}"/>
              </a:ext>
            </a:extLst>
          </p:cNvPr>
          <p:cNvSpPr>
            <a:spLocks noGrp="1"/>
          </p:cNvSpPr>
          <p:nvPr>
            <p:ph type="pic" sz="quarter" idx="19" hasCustomPrompt="1"/>
          </p:nvPr>
        </p:nvSpPr>
        <p:spPr>
          <a:xfrm>
            <a:off x="-11211" y="-7230"/>
            <a:ext cx="4968000" cy="7560000"/>
          </a:xfrm>
          <a:custGeom>
            <a:avLst/>
            <a:gdLst>
              <a:gd name="connsiteX0" fmla="*/ 0 w 6324600"/>
              <a:gd name="connsiteY0" fmla="*/ 5589064 h 5589064"/>
              <a:gd name="connsiteX1" fmla="*/ 2236967 w 6324600"/>
              <a:gd name="connsiteY1" fmla="*/ 0 h 5589064"/>
              <a:gd name="connsiteX2" fmla="*/ 6324600 w 6324600"/>
              <a:gd name="connsiteY2" fmla="*/ 0 h 5589064"/>
              <a:gd name="connsiteX3" fmla="*/ 4087633 w 6324600"/>
              <a:gd name="connsiteY3" fmla="*/ 5589064 h 5589064"/>
              <a:gd name="connsiteX4" fmla="*/ 0 w 6324600"/>
              <a:gd name="connsiteY4" fmla="*/ 5589064 h 5589064"/>
              <a:gd name="connsiteX0" fmla="*/ 0 w 6384618"/>
              <a:gd name="connsiteY0" fmla="*/ 5592595 h 5592595"/>
              <a:gd name="connsiteX1" fmla="*/ 2236967 w 6384618"/>
              <a:gd name="connsiteY1" fmla="*/ 3531 h 5592595"/>
              <a:gd name="connsiteX2" fmla="*/ 6384618 w 6384618"/>
              <a:gd name="connsiteY2" fmla="*/ 0 h 5592595"/>
              <a:gd name="connsiteX3" fmla="*/ 4087633 w 6384618"/>
              <a:gd name="connsiteY3" fmla="*/ 5592595 h 5592595"/>
              <a:gd name="connsiteX4" fmla="*/ 0 w 6384618"/>
              <a:gd name="connsiteY4" fmla="*/ 5592595 h 5592595"/>
              <a:gd name="connsiteX0" fmla="*/ 0 w 6384618"/>
              <a:gd name="connsiteY0" fmla="*/ 5592595 h 5599656"/>
              <a:gd name="connsiteX1" fmla="*/ 2236967 w 6384618"/>
              <a:gd name="connsiteY1" fmla="*/ 3531 h 5599656"/>
              <a:gd name="connsiteX2" fmla="*/ 6384618 w 6384618"/>
              <a:gd name="connsiteY2" fmla="*/ 0 h 5599656"/>
              <a:gd name="connsiteX3" fmla="*/ 4129999 w 6384618"/>
              <a:gd name="connsiteY3" fmla="*/ 5599656 h 5599656"/>
              <a:gd name="connsiteX4" fmla="*/ 0 w 6384618"/>
              <a:gd name="connsiteY4" fmla="*/ 5592595 h 5599656"/>
              <a:gd name="connsiteX0" fmla="*/ 41413 w 4147651"/>
              <a:gd name="connsiteY0" fmla="*/ 5604025 h 5604025"/>
              <a:gd name="connsiteX1" fmla="*/ 0 w 4147651"/>
              <a:gd name="connsiteY1" fmla="*/ 3531 h 5604025"/>
              <a:gd name="connsiteX2" fmla="*/ 4147651 w 4147651"/>
              <a:gd name="connsiteY2" fmla="*/ 0 h 5604025"/>
              <a:gd name="connsiteX3" fmla="*/ 1893032 w 4147651"/>
              <a:gd name="connsiteY3" fmla="*/ 5599656 h 5604025"/>
              <a:gd name="connsiteX4" fmla="*/ 41413 w 4147651"/>
              <a:gd name="connsiteY4" fmla="*/ 5604025 h 5604025"/>
              <a:gd name="connsiteX0" fmla="*/ 0 w 4106238"/>
              <a:gd name="connsiteY0" fmla="*/ 5604304 h 5604304"/>
              <a:gd name="connsiteX1" fmla="*/ 497 w 4106238"/>
              <a:gd name="connsiteY1" fmla="*/ 0 h 5604304"/>
              <a:gd name="connsiteX2" fmla="*/ 4106238 w 4106238"/>
              <a:gd name="connsiteY2" fmla="*/ 279 h 5604304"/>
              <a:gd name="connsiteX3" fmla="*/ 1851619 w 4106238"/>
              <a:gd name="connsiteY3" fmla="*/ 5599935 h 5604304"/>
              <a:gd name="connsiteX4" fmla="*/ 0 w 4106238"/>
              <a:gd name="connsiteY4" fmla="*/ 5604304 h 5604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6238" h="5604304">
                <a:moveTo>
                  <a:pt x="0" y="5604304"/>
                </a:moveTo>
                <a:cubicBezTo>
                  <a:pt x="166" y="3736203"/>
                  <a:pt x="331" y="1868101"/>
                  <a:pt x="497" y="0"/>
                </a:cubicBezTo>
                <a:lnTo>
                  <a:pt x="4106238" y="279"/>
                </a:lnTo>
                <a:lnTo>
                  <a:pt x="1851619" y="5599935"/>
                </a:lnTo>
                <a:lnTo>
                  <a:pt x="0" y="5604304"/>
                </a:lnTo>
                <a:close/>
              </a:path>
            </a:pathLst>
          </a:custGeom>
          <a:ln>
            <a:noFill/>
          </a:ln>
        </p:spPr>
        <p:txBody>
          <a:bodyPr anchor="ctr"/>
          <a:lstStyle>
            <a:lvl1pPr marL="290827" indent="0" algn="l">
              <a:buNone/>
              <a:defRPr baseline="0"/>
            </a:lvl1pPr>
          </a:lstStyle>
          <a:p>
            <a:r>
              <a:rPr lang="fr-FR" dirty="0" err="1"/>
              <a:t>Add</a:t>
            </a:r>
            <a:r>
              <a:rPr lang="fr-FR" dirty="0"/>
              <a:t> Picture</a:t>
            </a:r>
          </a:p>
        </p:txBody>
      </p:sp>
      <p:sp>
        <p:nvSpPr>
          <p:cNvPr id="11" name="Text Placeholder 11"/>
          <p:cNvSpPr>
            <a:spLocks noGrp="1"/>
          </p:cNvSpPr>
          <p:nvPr>
            <p:ph type="body" sz="quarter" idx="12" hasCustomPrompt="1"/>
          </p:nvPr>
        </p:nvSpPr>
        <p:spPr>
          <a:xfrm>
            <a:off x="5293360" y="4699165"/>
            <a:ext cx="7532699" cy="457680"/>
          </a:xfrm>
          <a:prstGeom prst="rect">
            <a:avLst/>
          </a:prstGeom>
        </p:spPr>
        <p:txBody>
          <a:bodyPr>
            <a:normAutofit/>
          </a:bodyPr>
          <a:lstStyle>
            <a:lvl1pPr marL="0" indent="0">
              <a:buNone/>
              <a:defRPr sz="2000" b="0" cap="none" baseline="0">
                <a:solidFill>
                  <a:schemeClr val="tx2"/>
                </a:solidFill>
                <a:latin typeface="+mj-lt"/>
              </a:defRPr>
            </a:lvl1pPr>
          </a:lstStyle>
          <a:p>
            <a:r>
              <a:rPr lang="en-US" dirty="0"/>
              <a:t>NAME OF CITY  -  DATE OF DOCUMENT</a:t>
            </a:r>
            <a:endParaRPr lang="fr-FR" dirty="0"/>
          </a:p>
        </p:txBody>
      </p:sp>
      <p:sp>
        <p:nvSpPr>
          <p:cNvPr id="16" name="Title 1"/>
          <p:cNvSpPr>
            <a:spLocks noGrp="1"/>
          </p:cNvSpPr>
          <p:nvPr>
            <p:ph type="title" hasCustomPrompt="1"/>
          </p:nvPr>
        </p:nvSpPr>
        <p:spPr>
          <a:xfrm>
            <a:off x="5291065" y="2257198"/>
            <a:ext cx="7534994" cy="1263600"/>
          </a:xfrm>
          <a:prstGeom prst="rect">
            <a:avLst/>
          </a:prstGeom>
        </p:spPr>
        <p:txBody>
          <a:bodyPr anchor="b">
            <a:normAutofit/>
          </a:bodyPr>
          <a:lstStyle>
            <a:lvl1pPr>
              <a:defRPr sz="3600" b="1" baseline="0">
                <a:solidFill>
                  <a:schemeClr val="tx2"/>
                </a:solidFill>
                <a:latin typeface="+mj-lt"/>
              </a:defRPr>
            </a:lvl1pPr>
          </a:lstStyle>
          <a:p>
            <a:pPr lvl="0"/>
            <a:r>
              <a:rPr lang="en-US" dirty="0"/>
              <a:t>Click to add title</a:t>
            </a:r>
          </a:p>
        </p:txBody>
      </p:sp>
      <p:sp>
        <p:nvSpPr>
          <p:cNvPr id="9" name="Subtitle"/>
          <p:cNvSpPr>
            <a:spLocks noGrp="1"/>
          </p:cNvSpPr>
          <p:nvPr>
            <p:ph type="subTitle" idx="1" hasCustomPrompt="1"/>
          </p:nvPr>
        </p:nvSpPr>
        <p:spPr>
          <a:xfrm>
            <a:off x="5293360" y="3784599"/>
            <a:ext cx="7532699" cy="369332"/>
          </a:xfrm>
          <a:prstGeom prst="rect">
            <a:avLst/>
          </a:prstGeom>
        </p:spPr>
        <p:txBody>
          <a:bodyPr vert="horz" wrap="square" lIns="0" tIns="0" rIns="0" bIns="0" anchor="t" anchorCtr="0">
            <a:noAutofit/>
          </a:bodyPr>
          <a:lstStyle>
            <a:lvl1pPr marL="0" indent="0" algn="l">
              <a:lnSpc>
                <a:spcPct val="100000"/>
              </a:lnSpc>
              <a:spcBef>
                <a:spcPts val="754"/>
              </a:spcBef>
              <a:spcAft>
                <a:spcPts val="0"/>
              </a:spcAft>
              <a:buNone/>
              <a:defRPr sz="2400" b="1" i="0" u="none" kern="1200" spc="126">
                <a:solidFill>
                  <a:schemeClr val="accent2">
                    <a:lumMod val="100000"/>
                  </a:schemeClr>
                </a:solidFill>
                <a:latin typeface="Calibri Light" panose="020F0302020204030204" pitchFamily="34" charset="0"/>
              </a:defRPr>
            </a:lvl1pPr>
            <a:lvl2pPr marL="574700" indent="0" algn="ctr">
              <a:buNone/>
              <a:defRPr>
                <a:solidFill>
                  <a:schemeClr val="tx1">
                    <a:tint val="75000"/>
                  </a:schemeClr>
                </a:solidFill>
              </a:defRPr>
            </a:lvl2pPr>
            <a:lvl3pPr marL="1149401" indent="0" algn="ctr">
              <a:buNone/>
              <a:defRPr>
                <a:solidFill>
                  <a:schemeClr val="tx1">
                    <a:tint val="75000"/>
                  </a:schemeClr>
                </a:solidFill>
              </a:defRPr>
            </a:lvl3pPr>
            <a:lvl4pPr marL="1724101" indent="0" algn="ctr">
              <a:buNone/>
              <a:defRPr>
                <a:solidFill>
                  <a:schemeClr val="tx1">
                    <a:tint val="75000"/>
                  </a:schemeClr>
                </a:solidFill>
              </a:defRPr>
            </a:lvl4pPr>
            <a:lvl5pPr marL="2298802" indent="0" algn="ctr">
              <a:buNone/>
              <a:defRPr>
                <a:solidFill>
                  <a:schemeClr val="tx1">
                    <a:tint val="75000"/>
                  </a:schemeClr>
                </a:solidFill>
              </a:defRPr>
            </a:lvl5pPr>
            <a:lvl6pPr marL="2873502" indent="0" algn="ctr">
              <a:buNone/>
              <a:defRPr>
                <a:solidFill>
                  <a:schemeClr val="tx1">
                    <a:tint val="75000"/>
                  </a:schemeClr>
                </a:solidFill>
              </a:defRPr>
            </a:lvl6pPr>
            <a:lvl7pPr marL="3448202" indent="0" algn="ctr">
              <a:buNone/>
              <a:defRPr>
                <a:solidFill>
                  <a:schemeClr val="tx1">
                    <a:tint val="75000"/>
                  </a:schemeClr>
                </a:solidFill>
              </a:defRPr>
            </a:lvl7pPr>
            <a:lvl8pPr marL="4022903" indent="0" algn="ctr">
              <a:buNone/>
              <a:defRPr>
                <a:solidFill>
                  <a:schemeClr val="tx1">
                    <a:tint val="75000"/>
                  </a:schemeClr>
                </a:solidFill>
              </a:defRPr>
            </a:lvl8pPr>
            <a:lvl9pPr marL="4597603" indent="0" algn="ctr">
              <a:buNone/>
              <a:defRPr>
                <a:solidFill>
                  <a:schemeClr val="tx1">
                    <a:tint val="75000"/>
                  </a:schemeClr>
                </a:solidFill>
              </a:defRPr>
            </a:lvl9pPr>
          </a:lstStyle>
          <a:p>
            <a:pPr lvl="0"/>
            <a:r>
              <a:rPr lang="en-US" dirty="0"/>
              <a:t>Click to add subtitle</a:t>
            </a:r>
            <a:endParaRPr lang="fr-FR" dirty="0"/>
          </a:p>
        </p:txBody>
      </p:sp>
      <p:sp>
        <p:nvSpPr>
          <p:cNvPr id="15" name="Picture Placeholder 9">
            <a:extLst>
              <a:ext uri="{FF2B5EF4-FFF2-40B4-BE49-F238E27FC236}">
                <a16:creationId xmlns:a16="http://schemas.microsoft.com/office/drawing/2014/main" id="{6F94812C-1B67-4225-B7E3-282154A232B6}"/>
              </a:ext>
            </a:extLst>
          </p:cNvPr>
          <p:cNvSpPr>
            <a:spLocks noGrp="1"/>
          </p:cNvSpPr>
          <p:nvPr>
            <p:ph type="pic" sz="quarter" idx="11" hasCustomPrompt="1"/>
          </p:nvPr>
        </p:nvSpPr>
        <p:spPr>
          <a:xfrm>
            <a:off x="5995044" y="6218693"/>
            <a:ext cx="3643572" cy="1067126"/>
          </a:xfrm>
          <a:prstGeom prst="rect">
            <a:avLst/>
          </a:prstGeom>
        </p:spPr>
        <p:txBody>
          <a:bodyPr anchor="ctr"/>
          <a:lstStyle>
            <a:lvl1pPr marL="135756" indent="0" algn="ctr">
              <a:buNone/>
              <a:defRPr spc="126" baseline="0"/>
            </a:lvl1pPr>
          </a:lstStyle>
          <a:p>
            <a:r>
              <a:rPr lang="fr-FR" dirty="0" err="1"/>
              <a:t>Add</a:t>
            </a:r>
            <a:r>
              <a:rPr lang="fr-FR" dirty="0"/>
              <a:t> logo</a:t>
            </a:r>
          </a:p>
        </p:txBody>
      </p:sp>
      <p:pic>
        <p:nvPicPr>
          <p:cNvPr id="17" name="Image 11">
            <a:extLst>
              <a:ext uri="{FF2B5EF4-FFF2-40B4-BE49-F238E27FC236}">
                <a16:creationId xmlns:a16="http://schemas.microsoft.com/office/drawing/2014/main" id="{1FE6B2A9-EB3F-4CC8-A95A-8B6BB93FA86D}"/>
              </a:ext>
            </a:extLst>
          </p:cNvPr>
          <p:cNvPicPr>
            <a:picLocks noChangeAspect="1"/>
          </p:cNvPicPr>
          <p:nvPr userDrawn="1"/>
        </p:nvPicPr>
        <p:blipFill>
          <a:blip r:embed="rId7"/>
          <a:stretch>
            <a:fillRect/>
          </a:stretch>
        </p:blipFill>
        <p:spPr>
          <a:xfrm>
            <a:off x="10498710" y="6265746"/>
            <a:ext cx="2325115" cy="973020"/>
          </a:xfrm>
          <a:prstGeom prst="rect">
            <a:avLst/>
          </a:prstGeom>
        </p:spPr>
      </p:pic>
      <p:sp>
        <p:nvSpPr>
          <p:cNvPr id="18" name="object 18">
            <a:extLst>
              <a:ext uri="{FF2B5EF4-FFF2-40B4-BE49-F238E27FC236}">
                <a16:creationId xmlns:a16="http://schemas.microsoft.com/office/drawing/2014/main" id="{998B2012-B42F-4D46-A198-5A283E4D6C0C}"/>
              </a:ext>
            </a:extLst>
          </p:cNvPr>
          <p:cNvSpPr>
            <a:spLocks noChangeAspect="1"/>
          </p:cNvSpPr>
          <p:nvPr userDrawn="1"/>
        </p:nvSpPr>
        <p:spPr>
          <a:xfrm>
            <a:off x="9888476" y="6274115"/>
            <a:ext cx="360374" cy="956283"/>
          </a:xfrm>
          <a:custGeom>
            <a:avLst/>
            <a:gdLst/>
            <a:ahLst/>
            <a:cxnLst/>
            <a:rect l="l" t="t" r="r" b="b"/>
            <a:pathLst>
              <a:path w="546734" h="1352550">
                <a:moveTo>
                  <a:pt x="0" y="1352428"/>
                </a:moveTo>
                <a:lnTo>
                  <a:pt x="546414" y="0"/>
                </a:lnTo>
              </a:path>
            </a:pathLst>
          </a:custGeom>
          <a:ln w="12700">
            <a:solidFill>
              <a:schemeClr val="accent2"/>
            </a:solidFill>
          </a:ln>
        </p:spPr>
        <p:txBody>
          <a:bodyPr wrap="square" lIns="0" tIns="0" rIns="0" bIns="0" rtlCol="0"/>
          <a:lstStyle/>
          <a:p>
            <a:pPr marL="0" marR="0" lvl="0" indent="0" algn="l" defTabSz="1045848" rtl="0" eaLnBrk="1" fontAlgn="auto" latinLnBrk="0" hangingPunct="1">
              <a:lnSpc>
                <a:spcPct val="100000"/>
              </a:lnSpc>
              <a:spcBef>
                <a:spcPts val="0"/>
              </a:spcBef>
              <a:spcAft>
                <a:spcPts val="0"/>
              </a:spcAft>
              <a:buClrTx/>
              <a:buSzTx/>
              <a:buFontTx/>
              <a:buNone/>
              <a:tabLst/>
              <a:defRPr/>
            </a:pPr>
            <a:endParaRPr kumimoji="0" sz="2300" b="0" i="0" u="none" strike="noStrike" kern="1200" cap="none" spc="10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40316228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ack cover dark">
    <p:bg>
      <p:bgPr>
        <a:solidFill>
          <a:schemeClr val="tx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4036696" y="3531826"/>
            <a:ext cx="5382260" cy="428674"/>
          </a:xfrm>
          <a:prstGeom prst="rect">
            <a:avLst/>
          </a:prstGeom>
        </p:spPr>
        <p:txBody>
          <a:bodyPr lIns="104487" tIns="52244" rIns="104487" bIns="52244">
            <a:normAutofit/>
          </a:bodyPr>
          <a:lstStyle>
            <a:lvl1pPr marL="135756" indent="0" algn="ctr">
              <a:buNone/>
              <a:defRPr sz="2100" cap="none" baseline="0">
                <a:solidFill>
                  <a:schemeClr val="accent3"/>
                </a:solidFill>
                <a:latin typeface="+mn-lt"/>
                <a:cs typeface="Arial" pitchFamily="34" charset="0"/>
              </a:defRPr>
            </a:lvl1pPr>
          </a:lstStyle>
          <a:p>
            <a:pPr lvl="0"/>
            <a:r>
              <a:rPr lang="en-US" dirty="0"/>
              <a:t>for your attention</a:t>
            </a:r>
            <a:endParaRPr lang="fr-FR" dirty="0"/>
          </a:p>
        </p:txBody>
      </p:sp>
      <p:sp>
        <p:nvSpPr>
          <p:cNvPr id="7" name="Text Placeholder 6"/>
          <p:cNvSpPr>
            <a:spLocks noGrp="1"/>
          </p:cNvSpPr>
          <p:nvPr>
            <p:ph type="body" sz="quarter" idx="11" hasCustomPrompt="1"/>
          </p:nvPr>
        </p:nvSpPr>
        <p:spPr>
          <a:xfrm>
            <a:off x="4036696" y="2795376"/>
            <a:ext cx="5382260" cy="736450"/>
          </a:xfrm>
          <a:prstGeom prst="rect">
            <a:avLst/>
          </a:prstGeom>
          <a:ln>
            <a:noFill/>
          </a:ln>
        </p:spPr>
        <p:txBody>
          <a:bodyPr lIns="104487" tIns="52244" rIns="104487" bIns="52244" anchor="b">
            <a:normAutofit/>
          </a:bodyPr>
          <a:lstStyle>
            <a:lvl1pPr marL="135756" indent="0" algn="ctr">
              <a:buNone/>
              <a:defRPr sz="4100" b="1" cap="none" baseline="0">
                <a:solidFill>
                  <a:schemeClr val="accent3"/>
                </a:solidFill>
                <a:latin typeface="+mn-lt"/>
                <a:cs typeface="Arial" pitchFamily="34" charset="0"/>
              </a:defRPr>
            </a:lvl1pPr>
          </a:lstStyle>
          <a:p>
            <a:pPr lvl="0"/>
            <a:r>
              <a:rPr lang="en-US" dirty="0"/>
              <a:t>Thank you</a:t>
            </a:r>
          </a:p>
        </p:txBody>
      </p:sp>
      <p:sp>
        <p:nvSpPr>
          <p:cNvPr id="9" name="object 18">
            <a:extLst>
              <a:ext uri="{FF2B5EF4-FFF2-40B4-BE49-F238E27FC236}">
                <a16:creationId xmlns:a16="http://schemas.microsoft.com/office/drawing/2014/main" id="{227F4778-8A14-401A-9C86-9316595A39E5}"/>
              </a:ext>
            </a:extLst>
          </p:cNvPr>
          <p:cNvSpPr>
            <a:spLocks noChangeAspect="1"/>
          </p:cNvSpPr>
          <p:nvPr userDrawn="1"/>
        </p:nvSpPr>
        <p:spPr>
          <a:xfrm>
            <a:off x="0" y="2"/>
            <a:ext cx="1332000" cy="3528000"/>
          </a:xfrm>
          <a:custGeom>
            <a:avLst/>
            <a:gdLst/>
            <a:ahLst/>
            <a:cxnLst/>
            <a:rect l="l" t="t" r="r" b="b"/>
            <a:pathLst>
              <a:path w="1167130" h="2886075">
                <a:moveTo>
                  <a:pt x="1166888" y="0"/>
                </a:moveTo>
                <a:lnTo>
                  <a:pt x="0" y="0"/>
                </a:lnTo>
                <a:lnTo>
                  <a:pt x="0" y="2885516"/>
                </a:lnTo>
                <a:lnTo>
                  <a:pt x="1066" y="2885516"/>
                </a:lnTo>
                <a:lnTo>
                  <a:pt x="1166888" y="0"/>
                </a:lnTo>
                <a:close/>
              </a:path>
            </a:pathLst>
          </a:custGeom>
          <a:solidFill>
            <a:schemeClr val="bg1"/>
          </a:solidFill>
        </p:spPr>
        <p:txBody>
          <a:bodyPr wrap="square" lIns="0" tIns="0" rIns="0" bIns="0" rtlCol="0"/>
          <a:lstStyle/>
          <a:p>
            <a:endParaRPr spc="100" baseline="0" dirty="0"/>
          </a:p>
        </p:txBody>
      </p:sp>
    </p:spTree>
    <p:extLst>
      <p:ext uri="{BB962C8B-B14F-4D97-AF65-F5344CB8AC3E}">
        <p14:creationId xmlns:p14="http://schemas.microsoft.com/office/powerpoint/2010/main" val="64539076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Front cover Std presentation">
    <p:bg>
      <p:bgPr>
        <a:solidFill>
          <a:schemeClr val="tx2"/>
        </a:solidFill>
        <a:effectLst/>
      </p:bgPr>
    </p:bg>
    <p:spTree>
      <p:nvGrpSpPr>
        <p:cNvPr id="1" name=""/>
        <p:cNvGrpSpPr/>
        <p:nvPr/>
      </p:nvGrpSpPr>
      <p:grpSpPr>
        <a:xfrm>
          <a:off x="0" y="0"/>
          <a:ext cx="0" cy="0"/>
          <a:chOff x="0" y="0"/>
          <a:chExt cx="0" cy="0"/>
        </a:xfrm>
      </p:grpSpPr>
      <p:sp>
        <p:nvSpPr>
          <p:cNvPr id="4" name="object 18">
            <a:extLst>
              <a:ext uri="{FF2B5EF4-FFF2-40B4-BE49-F238E27FC236}">
                <a16:creationId xmlns:a16="http://schemas.microsoft.com/office/drawing/2014/main" id="{0F6EAAF2-B91E-4092-8808-C9C0CF0A19FE}"/>
              </a:ext>
            </a:extLst>
          </p:cNvPr>
          <p:cNvSpPr>
            <a:spLocks noChangeAspect="1"/>
          </p:cNvSpPr>
          <p:nvPr userDrawn="1"/>
        </p:nvSpPr>
        <p:spPr>
          <a:xfrm>
            <a:off x="0" y="2"/>
            <a:ext cx="1332000" cy="3528000"/>
          </a:xfrm>
          <a:custGeom>
            <a:avLst/>
            <a:gdLst/>
            <a:ahLst/>
            <a:cxnLst/>
            <a:rect l="l" t="t" r="r" b="b"/>
            <a:pathLst>
              <a:path w="1167130" h="2886075">
                <a:moveTo>
                  <a:pt x="1166888" y="0"/>
                </a:moveTo>
                <a:lnTo>
                  <a:pt x="0" y="0"/>
                </a:lnTo>
                <a:lnTo>
                  <a:pt x="0" y="2885516"/>
                </a:lnTo>
                <a:lnTo>
                  <a:pt x="1066" y="2885516"/>
                </a:lnTo>
                <a:lnTo>
                  <a:pt x="1166888" y="0"/>
                </a:lnTo>
                <a:close/>
              </a:path>
            </a:pathLst>
          </a:custGeom>
          <a:solidFill>
            <a:schemeClr val="bg1"/>
          </a:solidFill>
        </p:spPr>
        <p:txBody>
          <a:bodyPr wrap="square" lIns="0" tIns="0" rIns="0" bIns="0" rtlCol="0"/>
          <a:lstStyle/>
          <a:p>
            <a:endParaRPr spc="100" baseline="0" dirty="0"/>
          </a:p>
        </p:txBody>
      </p:sp>
      <p:pic>
        <p:nvPicPr>
          <p:cNvPr id="5" name="Image 11">
            <a:extLst>
              <a:ext uri="{FF2B5EF4-FFF2-40B4-BE49-F238E27FC236}">
                <a16:creationId xmlns:a16="http://schemas.microsoft.com/office/drawing/2014/main" id="{DADF3B0A-53C4-4FDD-942D-7A6E5872E809}"/>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4902625" y="2256971"/>
            <a:ext cx="3650400" cy="1527629"/>
          </a:xfrm>
          <a:prstGeom prst="rect">
            <a:avLst/>
          </a:prstGeom>
        </p:spPr>
      </p:pic>
    </p:spTree>
    <p:extLst>
      <p:ext uri="{BB962C8B-B14F-4D97-AF65-F5344CB8AC3E}">
        <p14:creationId xmlns:p14="http://schemas.microsoft.com/office/powerpoint/2010/main" val="20385263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1_Front cover Std presentation White">
    <p:bg>
      <p:bgPr>
        <a:solidFill>
          <a:schemeClr val="bg1"/>
        </a:solidFill>
        <a:effectLst/>
      </p:bgPr>
    </p:bg>
    <p:spTree>
      <p:nvGrpSpPr>
        <p:cNvPr id="1" name=""/>
        <p:cNvGrpSpPr/>
        <p:nvPr/>
      </p:nvGrpSpPr>
      <p:grpSpPr>
        <a:xfrm>
          <a:off x="0" y="0"/>
          <a:ext cx="0" cy="0"/>
          <a:chOff x="0" y="0"/>
          <a:chExt cx="0" cy="0"/>
        </a:xfrm>
      </p:grpSpPr>
      <p:sp>
        <p:nvSpPr>
          <p:cNvPr id="9" name="object 18">
            <a:extLst>
              <a:ext uri="{FF2B5EF4-FFF2-40B4-BE49-F238E27FC236}">
                <a16:creationId xmlns:a16="http://schemas.microsoft.com/office/drawing/2014/main" id="{49D0CE37-BDCA-4EEF-95EE-561ECAE9B98D}"/>
              </a:ext>
            </a:extLst>
          </p:cNvPr>
          <p:cNvSpPr>
            <a:spLocks noChangeAspect="1"/>
          </p:cNvSpPr>
          <p:nvPr userDrawn="1"/>
        </p:nvSpPr>
        <p:spPr>
          <a:xfrm>
            <a:off x="0" y="2"/>
            <a:ext cx="1332000" cy="3528000"/>
          </a:xfrm>
          <a:custGeom>
            <a:avLst/>
            <a:gdLst/>
            <a:ahLst/>
            <a:cxnLst/>
            <a:rect l="l" t="t" r="r" b="b"/>
            <a:pathLst>
              <a:path w="1167130" h="2886075">
                <a:moveTo>
                  <a:pt x="1166888" y="0"/>
                </a:moveTo>
                <a:lnTo>
                  <a:pt x="0" y="0"/>
                </a:lnTo>
                <a:lnTo>
                  <a:pt x="0" y="2885516"/>
                </a:lnTo>
                <a:lnTo>
                  <a:pt x="1066" y="2885516"/>
                </a:lnTo>
                <a:lnTo>
                  <a:pt x="1166888" y="0"/>
                </a:lnTo>
                <a:close/>
              </a:path>
            </a:pathLst>
          </a:custGeom>
          <a:solidFill>
            <a:schemeClr val="tx2"/>
          </a:solidFill>
        </p:spPr>
        <p:txBody>
          <a:bodyPr wrap="square" lIns="0" tIns="0" rIns="0" bIns="0" rtlCol="0"/>
          <a:lstStyle/>
          <a:p>
            <a:endParaRPr spc="100" baseline="0"/>
          </a:p>
        </p:txBody>
      </p:sp>
      <p:pic>
        <p:nvPicPr>
          <p:cNvPr id="13" name="Image 11">
            <a:extLst>
              <a:ext uri="{FF2B5EF4-FFF2-40B4-BE49-F238E27FC236}">
                <a16:creationId xmlns:a16="http://schemas.microsoft.com/office/drawing/2014/main" id="{7949667E-F633-45F3-9D09-97E557733CFD}"/>
              </a:ext>
            </a:extLst>
          </p:cNvPr>
          <p:cNvPicPr>
            <a:picLocks noChangeAspect="1"/>
          </p:cNvPicPr>
          <p:nvPr userDrawn="1"/>
        </p:nvPicPr>
        <p:blipFill>
          <a:blip r:embed="rId2"/>
          <a:stretch>
            <a:fillRect/>
          </a:stretch>
        </p:blipFill>
        <p:spPr>
          <a:xfrm>
            <a:off x="4902625" y="2256971"/>
            <a:ext cx="3650400" cy="1527629"/>
          </a:xfrm>
          <a:prstGeom prst="rect">
            <a:avLst/>
          </a:prstGeom>
        </p:spPr>
      </p:pic>
    </p:spTree>
    <p:extLst>
      <p:ext uri="{BB962C8B-B14F-4D97-AF65-F5344CB8AC3E}">
        <p14:creationId xmlns:p14="http://schemas.microsoft.com/office/powerpoint/2010/main" val="114451460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Back cover dark">
    <p:bg>
      <p:bgPr>
        <a:solidFill>
          <a:schemeClr val="tx2"/>
        </a:solidFill>
        <a:effectLst/>
      </p:bgPr>
    </p:bg>
    <p:spTree>
      <p:nvGrpSpPr>
        <p:cNvPr id="1" name=""/>
        <p:cNvGrpSpPr/>
        <p:nvPr/>
      </p:nvGrpSpPr>
      <p:grpSpPr>
        <a:xfrm>
          <a:off x="0" y="0"/>
          <a:ext cx="0" cy="0"/>
          <a:chOff x="0" y="0"/>
          <a:chExt cx="0" cy="0"/>
        </a:xfrm>
      </p:grpSpPr>
      <p:sp>
        <p:nvSpPr>
          <p:cNvPr id="4" name="Text Placeholder 2"/>
          <p:cNvSpPr txBox="1">
            <a:spLocks/>
          </p:cNvSpPr>
          <p:nvPr userDrawn="1"/>
        </p:nvSpPr>
        <p:spPr>
          <a:xfrm>
            <a:off x="336392" y="6814190"/>
            <a:ext cx="12782867" cy="674066"/>
          </a:xfrm>
          <a:prstGeom prst="rect">
            <a:avLst/>
          </a:prstGeom>
        </p:spPr>
        <p:txBody>
          <a:bodyPr lIns="131341" tIns="65671" rIns="131341" bIns="65671"/>
          <a:lstStyle>
            <a:lvl1pPr marL="0" indent="0" algn="just" defTabSz="914328" rtl="0" eaLnBrk="1" latinLnBrk="0" hangingPunct="1">
              <a:spcBef>
                <a:spcPts val="0"/>
              </a:spcBef>
              <a:buFont typeface="Arial" pitchFamily="34" charset="0"/>
              <a:buNone/>
              <a:defRPr lang="fr-FR" sz="700" b="0" i="0" kern="1200" cap="all" spc="90" baseline="0" dirty="0">
                <a:solidFill>
                  <a:schemeClr val="bg1"/>
                </a:solidFill>
                <a:latin typeface="Arial"/>
                <a:ea typeface="+mn-ea"/>
                <a:cs typeface="Arial"/>
              </a:defRPr>
            </a:lvl1pPr>
            <a:lvl2pPr marL="457164" indent="0" algn="ctr" defTabSz="914328" rtl="0" eaLnBrk="1" latinLnBrk="0" hangingPunct="1">
              <a:spcBef>
                <a:spcPct val="20000"/>
              </a:spcBef>
              <a:buFont typeface="Arial" pitchFamily="34" charset="0"/>
              <a:buNone/>
              <a:defRPr sz="1400" kern="1200" cap="all" baseline="0">
                <a:solidFill>
                  <a:schemeClr val="tx1"/>
                </a:solidFill>
                <a:latin typeface="Arial" pitchFamily="34" charset="0"/>
                <a:ea typeface="+mn-ea"/>
                <a:cs typeface="Arial" pitchFamily="34" charset="0"/>
              </a:defRPr>
            </a:lvl2pPr>
            <a:lvl3pPr marL="914328" indent="0" algn="ctr" defTabSz="914328" rtl="0" eaLnBrk="1" latinLnBrk="0" hangingPunct="1">
              <a:spcBef>
                <a:spcPct val="20000"/>
              </a:spcBef>
              <a:buFont typeface="Arial" pitchFamily="34" charset="0"/>
              <a:buNone/>
              <a:defRPr sz="1400" kern="1200" cap="all" baseline="0">
                <a:solidFill>
                  <a:schemeClr val="tx1"/>
                </a:solidFill>
                <a:latin typeface="Arial" pitchFamily="34" charset="0"/>
                <a:ea typeface="+mn-ea"/>
                <a:cs typeface="Arial" pitchFamily="34" charset="0"/>
              </a:defRPr>
            </a:lvl3pPr>
            <a:lvl4pPr marL="1600074" indent="-228582" algn="l" defTabSz="914328"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238" indent="-228582" algn="l" defTabSz="914328"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402" indent="-228582" algn="l" defTabSz="91432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66" indent="-228582" algn="l" defTabSz="91432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32" indent="-228582" algn="l" defTabSz="91432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95" indent="-228582" algn="l" defTabSz="91432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900" spc="126" baseline="0" dirty="0">
                <a:latin typeface="+mn-lt"/>
                <a:cs typeface="Arial" pitchFamily="34" charset="0"/>
              </a:rPr>
              <a:t>© CYLAD Consulting. All rights reserved. Confidential and proprietary document. This document and all information contained herein is the sole property of CYLAD Consulting. No intellectual property rights are granted by the delivery of this document or the disclosure of the content. This document shall not be reproduced or disclosed without the written agreement of CYLAD Consulting. </a:t>
            </a:r>
          </a:p>
        </p:txBody>
      </p:sp>
      <p:sp>
        <p:nvSpPr>
          <p:cNvPr id="5" name="object 18">
            <a:extLst>
              <a:ext uri="{FF2B5EF4-FFF2-40B4-BE49-F238E27FC236}">
                <a16:creationId xmlns:a16="http://schemas.microsoft.com/office/drawing/2014/main" id="{738A69D0-48A6-4D87-9995-7DCC3E6129C5}"/>
              </a:ext>
            </a:extLst>
          </p:cNvPr>
          <p:cNvSpPr>
            <a:spLocks noChangeAspect="1"/>
          </p:cNvSpPr>
          <p:nvPr userDrawn="1"/>
        </p:nvSpPr>
        <p:spPr>
          <a:xfrm>
            <a:off x="0" y="2"/>
            <a:ext cx="1332000" cy="3528000"/>
          </a:xfrm>
          <a:custGeom>
            <a:avLst/>
            <a:gdLst/>
            <a:ahLst/>
            <a:cxnLst/>
            <a:rect l="l" t="t" r="r" b="b"/>
            <a:pathLst>
              <a:path w="1167130" h="2886075">
                <a:moveTo>
                  <a:pt x="1166888" y="0"/>
                </a:moveTo>
                <a:lnTo>
                  <a:pt x="0" y="0"/>
                </a:lnTo>
                <a:lnTo>
                  <a:pt x="0" y="2885516"/>
                </a:lnTo>
                <a:lnTo>
                  <a:pt x="1066" y="2885516"/>
                </a:lnTo>
                <a:lnTo>
                  <a:pt x="1166888" y="0"/>
                </a:lnTo>
                <a:close/>
              </a:path>
            </a:pathLst>
          </a:custGeom>
          <a:solidFill>
            <a:schemeClr val="bg1"/>
          </a:solidFill>
        </p:spPr>
        <p:txBody>
          <a:bodyPr wrap="square" lIns="0" tIns="0" rIns="0" bIns="0" rtlCol="0"/>
          <a:lstStyle/>
          <a:p>
            <a:endParaRPr spc="100" baseline="0" dirty="0"/>
          </a:p>
        </p:txBody>
      </p:sp>
      <p:pic>
        <p:nvPicPr>
          <p:cNvPr id="7" name="Picture 4">
            <a:extLst>
              <a:ext uri="{FF2B5EF4-FFF2-40B4-BE49-F238E27FC236}">
                <a16:creationId xmlns:a16="http://schemas.microsoft.com/office/drawing/2014/main" id="{13A1372B-D481-4D6F-B2FB-08D683A492E9}"/>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5779590" y="3401206"/>
            <a:ext cx="1896469" cy="7667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002088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Back cover light">
    <p:bg>
      <p:bgPr>
        <a:solidFill>
          <a:schemeClr val="bg1"/>
        </a:solidFill>
        <a:effectLst/>
      </p:bgPr>
    </p:bg>
    <p:spTree>
      <p:nvGrpSpPr>
        <p:cNvPr id="1" name=""/>
        <p:cNvGrpSpPr/>
        <p:nvPr/>
      </p:nvGrpSpPr>
      <p:grpSpPr>
        <a:xfrm>
          <a:off x="0" y="0"/>
          <a:ext cx="0" cy="0"/>
          <a:chOff x="0" y="0"/>
          <a:chExt cx="0" cy="0"/>
        </a:xfrm>
      </p:grpSpPr>
      <p:sp>
        <p:nvSpPr>
          <p:cNvPr id="22" name="Text Placeholder 4"/>
          <p:cNvSpPr>
            <a:spLocks noGrp="1"/>
          </p:cNvSpPr>
          <p:nvPr>
            <p:ph type="body" sz="quarter" idx="11" hasCustomPrompt="1"/>
          </p:nvPr>
        </p:nvSpPr>
        <p:spPr>
          <a:xfrm>
            <a:off x="4162843" y="3517783"/>
            <a:ext cx="5129967" cy="428674"/>
          </a:xfrm>
          <a:prstGeom prst="rect">
            <a:avLst/>
          </a:prstGeom>
        </p:spPr>
        <p:txBody>
          <a:bodyPr lIns="104487" tIns="52244" rIns="104487" bIns="52244"/>
          <a:lstStyle>
            <a:lvl1pPr marL="135756" indent="0" algn="ctr">
              <a:buNone/>
              <a:defRPr sz="2100" cap="none" spc="126" baseline="0">
                <a:solidFill>
                  <a:schemeClr val="tx2"/>
                </a:solidFill>
                <a:latin typeface="+mn-lt"/>
              </a:defRPr>
            </a:lvl1pPr>
          </a:lstStyle>
          <a:p>
            <a:pPr lvl="0"/>
            <a:r>
              <a:rPr lang="en-US" dirty="0"/>
              <a:t>for your attention</a:t>
            </a:r>
            <a:endParaRPr lang="fr-FR" dirty="0"/>
          </a:p>
        </p:txBody>
      </p:sp>
      <p:sp>
        <p:nvSpPr>
          <p:cNvPr id="23" name="Text Placeholder 6"/>
          <p:cNvSpPr>
            <a:spLocks noGrp="1"/>
          </p:cNvSpPr>
          <p:nvPr>
            <p:ph type="body" sz="quarter" idx="12" hasCustomPrompt="1"/>
          </p:nvPr>
        </p:nvSpPr>
        <p:spPr>
          <a:xfrm>
            <a:off x="4148827" y="2795376"/>
            <a:ext cx="5158000" cy="736450"/>
          </a:xfrm>
          <a:prstGeom prst="rect">
            <a:avLst/>
          </a:prstGeom>
        </p:spPr>
        <p:txBody>
          <a:bodyPr lIns="104487" tIns="52244" rIns="104487" bIns="52244" anchor="b"/>
          <a:lstStyle>
            <a:lvl1pPr marL="135756" indent="0" algn="ctr">
              <a:buNone/>
              <a:defRPr sz="4100" b="1" cap="none" spc="126" baseline="0">
                <a:solidFill>
                  <a:schemeClr val="tx2"/>
                </a:solidFill>
                <a:latin typeface="+mn-lt"/>
              </a:defRPr>
            </a:lvl1pPr>
          </a:lstStyle>
          <a:p>
            <a:pPr lvl="0"/>
            <a:r>
              <a:rPr lang="en-US" dirty="0"/>
              <a:t>Thank you</a:t>
            </a:r>
          </a:p>
        </p:txBody>
      </p:sp>
      <p:sp>
        <p:nvSpPr>
          <p:cNvPr id="8" name="Rectangle 7"/>
          <p:cNvSpPr/>
          <p:nvPr userDrawn="1"/>
        </p:nvSpPr>
        <p:spPr>
          <a:xfrm>
            <a:off x="0" y="6451600"/>
            <a:ext cx="2130195" cy="1117600"/>
          </a:xfrm>
          <a:prstGeom prst="rect">
            <a:avLst/>
          </a:prstGeom>
          <a:solidFill>
            <a:schemeClr val="bg1"/>
          </a:solidFill>
        </p:spPr>
        <p:txBody>
          <a:bodyPr wrap="square" lIns="0" tIns="0" rIns="0" bIns="0" rtlCol="0" anchor="ctr"/>
          <a:lstStyle/>
          <a:p>
            <a:pPr algn="ctr"/>
            <a:endParaRPr lang="en-US" sz="2011" b="0" dirty="0" err="1">
              <a:ln>
                <a:solidFill>
                  <a:schemeClr val="bg1"/>
                </a:solidFill>
              </a:ln>
              <a:solidFill>
                <a:schemeClr val="bg1"/>
              </a:solidFill>
            </a:endParaRPr>
          </a:p>
        </p:txBody>
      </p:sp>
      <p:sp>
        <p:nvSpPr>
          <p:cNvPr id="6" name="object 18">
            <a:extLst>
              <a:ext uri="{FF2B5EF4-FFF2-40B4-BE49-F238E27FC236}">
                <a16:creationId xmlns:a16="http://schemas.microsoft.com/office/drawing/2014/main" id="{652E6480-ADD5-49CE-9429-3B98E12DB814}"/>
              </a:ext>
            </a:extLst>
          </p:cNvPr>
          <p:cNvSpPr>
            <a:spLocks noChangeAspect="1"/>
          </p:cNvSpPr>
          <p:nvPr userDrawn="1"/>
        </p:nvSpPr>
        <p:spPr>
          <a:xfrm>
            <a:off x="0" y="2"/>
            <a:ext cx="1332000" cy="3528000"/>
          </a:xfrm>
          <a:custGeom>
            <a:avLst/>
            <a:gdLst/>
            <a:ahLst/>
            <a:cxnLst/>
            <a:rect l="l" t="t" r="r" b="b"/>
            <a:pathLst>
              <a:path w="1167130" h="2886075">
                <a:moveTo>
                  <a:pt x="1166888" y="0"/>
                </a:moveTo>
                <a:lnTo>
                  <a:pt x="0" y="0"/>
                </a:lnTo>
                <a:lnTo>
                  <a:pt x="0" y="2885516"/>
                </a:lnTo>
                <a:lnTo>
                  <a:pt x="1066" y="2885516"/>
                </a:lnTo>
                <a:lnTo>
                  <a:pt x="1166888" y="0"/>
                </a:lnTo>
                <a:close/>
              </a:path>
            </a:pathLst>
          </a:custGeom>
          <a:solidFill>
            <a:schemeClr val="tx2"/>
          </a:solidFill>
        </p:spPr>
        <p:txBody>
          <a:bodyPr wrap="square" lIns="0" tIns="0" rIns="0" bIns="0" rtlCol="0"/>
          <a:lstStyle/>
          <a:p>
            <a:endParaRPr spc="100" baseline="0"/>
          </a:p>
        </p:txBody>
      </p:sp>
    </p:spTree>
    <p:extLst>
      <p:ext uri="{BB962C8B-B14F-4D97-AF65-F5344CB8AC3E}">
        <p14:creationId xmlns:p14="http://schemas.microsoft.com/office/powerpoint/2010/main" val="333790305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Back cover light">
    <p:bg>
      <p:bgPr>
        <a:solidFill>
          <a:schemeClr val="bg1"/>
        </a:solidFill>
        <a:effectLst/>
      </p:bgPr>
    </p:bg>
    <p:spTree>
      <p:nvGrpSpPr>
        <p:cNvPr id="1" name=""/>
        <p:cNvGrpSpPr/>
        <p:nvPr/>
      </p:nvGrpSpPr>
      <p:grpSpPr>
        <a:xfrm>
          <a:off x="0" y="0"/>
          <a:ext cx="0" cy="0"/>
          <a:chOff x="0" y="0"/>
          <a:chExt cx="0" cy="0"/>
        </a:xfrm>
      </p:grpSpPr>
      <p:pic>
        <p:nvPicPr>
          <p:cNvPr id="37" name="Picture 4"/>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5535888" y="3401207"/>
            <a:ext cx="2383875" cy="766788"/>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2"/>
          <p:cNvSpPr txBox="1">
            <a:spLocks/>
          </p:cNvSpPr>
          <p:nvPr userDrawn="1"/>
        </p:nvSpPr>
        <p:spPr>
          <a:xfrm>
            <a:off x="336392" y="6801782"/>
            <a:ext cx="12782867" cy="674066"/>
          </a:xfrm>
          <a:prstGeom prst="rect">
            <a:avLst/>
          </a:prstGeom>
          <a:ln>
            <a:noFill/>
          </a:ln>
        </p:spPr>
        <p:txBody>
          <a:bodyPr lIns="131341" tIns="65671" rIns="131341" bIns="65671"/>
          <a:lstStyle>
            <a:lvl1pPr marL="0" indent="0" algn="just" defTabSz="914328" rtl="0" eaLnBrk="1" latinLnBrk="0" hangingPunct="1">
              <a:spcBef>
                <a:spcPts val="0"/>
              </a:spcBef>
              <a:buFont typeface="Arial" pitchFamily="34" charset="0"/>
              <a:buNone/>
              <a:defRPr lang="fr-FR" sz="700" b="0" i="0" kern="1200" cap="all" spc="90" baseline="0" dirty="0">
                <a:solidFill>
                  <a:schemeClr val="bg1"/>
                </a:solidFill>
                <a:latin typeface="Arial"/>
                <a:ea typeface="+mn-ea"/>
                <a:cs typeface="Arial"/>
              </a:defRPr>
            </a:lvl1pPr>
            <a:lvl2pPr marL="457164" indent="0" algn="ctr" defTabSz="914328" rtl="0" eaLnBrk="1" latinLnBrk="0" hangingPunct="1">
              <a:spcBef>
                <a:spcPct val="20000"/>
              </a:spcBef>
              <a:buFont typeface="Arial" pitchFamily="34" charset="0"/>
              <a:buNone/>
              <a:defRPr sz="1400" kern="1200" cap="all" baseline="0">
                <a:solidFill>
                  <a:schemeClr val="tx1"/>
                </a:solidFill>
                <a:latin typeface="Arial" pitchFamily="34" charset="0"/>
                <a:ea typeface="+mn-ea"/>
                <a:cs typeface="Arial" pitchFamily="34" charset="0"/>
              </a:defRPr>
            </a:lvl2pPr>
            <a:lvl3pPr marL="914328" indent="0" algn="ctr" defTabSz="914328" rtl="0" eaLnBrk="1" latinLnBrk="0" hangingPunct="1">
              <a:spcBef>
                <a:spcPct val="20000"/>
              </a:spcBef>
              <a:buFont typeface="Arial" pitchFamily="34" charset="0"/>
              <a:buNone/>
              <a:defRPr sz="1400" kern="1200" cap="all" baseline="0">
                <a:solidFill>
                  <a:schemeClr val="tx1"/>
                </a:solidFill>
                <a:latin typeface="Arial" pitchFamily="34" charset="0"/>
                <a:ea typeface="+mn-ea"/>
                <a:cs typeface="Arial" pitchFamily="34" charset="0"/>
              </a:defRPr>
            </a:lvl3pPr>
            <a:lvl4pPr marL="1600074" indent="-228582" algn="l" defTabSz="914328"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238" indent="-228582" algn="l" defTabSz="914328"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402" indent="-228582" algn="l" defTabSz="91432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66" indent="-228582" algn="l" defTabSz="91432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32" indent="-228582" algn="l" defTabSz="91432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95" indent="-228582" algn="l" defTabSz="91432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900" spc="126" baseline="0" dirty="0">
                <a:solidFill>
                  <a:schemeClr val="tx2"/>
                </a:solidFill>
                <a:latin typeface="+mn-lt"/>
                <a:cs typeface="Arial" pitchFamily="34" charset="0"/>
              </a:rPr>
              <a:t>© CYLAD Consulting. All rights reserved. Confidential and proprietary document. This document and all information contained herein is the sole property of CYLAD Consulting. No intellectual property rights are granted by the delivery of this document or the disclosure of the content. This document shall not be reproduced or disclosed without the written agreement of CYLAD Consulting. </a:t>
            </a:r>
          </a:p>
        </p:txBody>
      </p:sp>
      <p:sp>
        <p:nvSpPr>
          <p:cNvPr id="6" name="object 18">
            <a:extLst>
              <a:ext uri="{FF2B5EF4-FFF2-40B4-BE49-F238E27FC236}">
                <a16:creationId xmlns:a16="http://schemas.microsoft.com/office/drawing/2014/main" id="{E5037120-C108-4ECF-A9D7-729137127FD3}"/>
              </a:ext>
            </a:extLst>
          </p:cNvPr>
          <p:cNvSpPr>
            <a:spLocks noChangeAspect="1"/>
          </p:cNvSpPr>
          <p:nvPr userDrawn="1"/>
        </p:nvSpPr>
        <p:spPr>
          <a:xfrm>
            <a:off x="0" y="2"/>
            <a:ext cx="1332000" cy="3528000"/>
          </a:xfrm>
          <a:custGeom>
            <a:avLst/>
            <a:gdLst/>
            <a:ahLst/>
            <a:cxnLst/>
            <a:rect l="l" t="t" r="r" b="b"/>
            <a:pathLst>
              <a:path w="1167130" h="2886075">
                <a:moveTo>
                  <a:pt x="1166888" y="0"/>
                </a:moveTo>
                <a:lnTo>
                  <a:pt x="0" y="0"/>
                </a:lnTo>
                <a:lnTo>
                  <a:pt x="0" y="2885516"/>
                </a:lnTo>
                <a:lnTo>
                  <a:pt x="1066" y="2885516"/>
                </a:lnTo>
                <a:lnTo>
                  <a:pt x="1166888" y="0"/>
                </a:lnTo>
                <a:close/>
              </a:path>
            </a:pathLst>
          </a:custGeom>
          <a:solidFill>
            <a:schemeClr val="tx2"/>
          </a:solidFill>
        </p:spPr>
        <p:txBody>
          <a:bodyPr wrap="square" lIns="0" tIns="0" rIns="0" bIns="0" rtlCol="0"/>
          <a:lstStyle/>
          <a:p>
            <a:endParaRPr spc="100" baseline="0"/>
          </a:p>
        </p:txBody>
      </p:sp>
      <p:pic>
        <p:nvPicPr>
          <p:cNvPr id="9" name="Picture 3">
            <a:extLst>
              <a:ext uri="{FF2B5EF4-FFF2-40B4-BE49-F238E27FC236}">
                <a16:creationId xmlns:a16="http://schemas.microsoft.com/office/drawing/2014/main" id="{52D6CC73-F33F-4D2D-8BB8-3F56593C479E}"/>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779590" y="3401207"/>
            <a:ext cx="1896469" cy="7648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3486529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Full green">
    <p:bg>
      <p:bgPr>
        <a:solidFill>
          <a:schemeClr val="tx2"/>
        </a:solidFill>
        <a:effectLst/>
      </p:bgPr>
    </p:bg>
    <p:spTree>
      <p:nvGrpSpPr>
        <p:cNvPr id="1" name=""/>
        <p:cNvGrpSpPr/>
        <p:nvPr/>
      </p:nvGrpSpPr>
      <p:grpSpPr>
        <a:xfrm>
          <a:off x="0" y="0"/>
          <a:ext cx="0" cy="0"/>
          <a:chOff x="0" y="0"/>
          <a:chExt cx="0" cy="0"/>
        </a:xfrm>
      </p:grpSpPr>
      <p:pic>
        <p:nvPicPr>
          <p:cNvPr id="3" name="Picture 4">
            <a:extLst>
              <a:ext uri="{FF2B5EF4-FFF2-40B4-BE49-F238E27FC236}">
                <a16:creationId xmlns:a16="http://schemas.microsoft.com/office/drawing/2014/main" id="{B2F361F7-891F-4168-8F11-99840BEF6A99}"/>
              </a:ext>
            </a:extLst>
          </p:cNvPr>
          <p:cNvPicPr>
            <a:picLocks noChangeAspect="1" noChangeArrowheads="1"/>
          </p:cNvPicPr>
          <p:nvPr userDrawn="1"/>
        </p:nvPicPr>
        <p:blipFill rotWithShape="1">
          <a:blip r:embed="rId2" cstate="print">
            <a:lum bright="70000" contrast="-70000"/>
            <a:extLst>
              <a:ext uri="{28A0092B-C50C-407E-A947-70E740481C1C}">
                <a14:useLocalDpi xmlns:a14="http://schemas.microsoft.com/office/drawing/2010/main" val="0"/>
              </a:ext>
            </a:extLst>
          </a:blip>
          <a:srcRect b="30786"/>
          <a:stretch/>
        </p:blipFill>
        <p:spPr bwMode="auto">
          <a:xfrm>
            <a:off x="181976" y="7160052"/>
            <a:ext cx="756786" cy="2112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36602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with 1 text box">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1FBF80BA-6356-47AD-A4F9-DB2BE93FA971}"/>
              </a:ext>
            </a:extLst>
          </p:cNvPr>
          <p:cNvGraphicFramePr>
            <a:graphicFrameLocks noChangeAspect="1"/>
          </p:cNvGraphicFramePr>
          <p:nvPr userDrawn="1">
            <p:custDataLst>
              <p:tags r:id="rId2"/>
            </p:custDataLst>
            <p:extLst>
              <p:ext uri="{D42A27DB-BD31-4B8C-83A1-F6EECF244321}">
                <p14:modId xmlns:p14="http://schemas.microsoft.com/office/powerpoint/2010/main" val="263581868"/>
              </p:ext>
            </p:extLst>
          </p:nvPr>
        </p:nvGraphicFramePr>
        <p:xfrm>
          <a:off x="1996" y="1588"/>
          <a:ext cx="1996" cy="1588"/>
        </p:xfrm>
        <a:graphic>
          <a:graphicData uri="http://schemas.openxmlformats.org/presentationml/2006/ole">
            <mc:AlternateContent xmlns:mc="http://schemas.openxmlformats.org/markup-compatibility/2006">
              <mc:Choice xmlns:v="urn:schemas-microsoft-com:vml" Requires="v">
                <p:oleObj spid="_x0000_s6246" name="Diapositive think-cell" r:id="rId5" imgW="473" imgH="470" progId="TCLayout.ActiveDocument.1">
                  <p:embed/>
                </p:oleObj>
              </mc:Choice>
              <mc:Fallback>
                <p:oleObj name="Diapositive think-cell" r:id="rId5" imgW="473" imgH="470" progId="TCLayout.ActiveDocument.1">
                  <p:embed/>
                  <p:pic>
                    <p:nvPicPr>
                      <p:cNvPr id="3" name="Objet 2" hidden="1">
                        <a:extLst>
                          <a:ext uri="{FF2B5EF4-FFF2-40B4-BE49-F238E27FC236}">
                            <a16:creationId xmlns:a16="http://schemas.microsoft.com/office/drawing/2014/main" id="{1FBF80BA-6356-47AD-A4F9-DB2BE93FA971}"/>
                          </a:ext>
                        </a:extLst>
                      </p:cNvPr>
                      <p:cNvPicPr/>
                      <p:nvPr/>
                    </p:nvPicPr>
                    <p:blipFill>
                      <a:blip r:embed="rId6"/>
                      <a:stretch>
                        <a:fillRect/>
                      </a:stretch>
                    </p:blipFill>
                    <p:spPr>
                      <a:xfrm>
                        <a:off x="1996" y="1588"/>
                        <a:ext cx="1996"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CE5BF3E-8E9E-4D55-90EB-4C2719841617}"/>
              </a:ext>
            </a:extLst>
          </p:cNvPr>
          <p:cNvSpPr/>
          <p:nvPr userDrawn="1">
            <p:custDataLst>
              <p:tags r:id="rId3"/>
            </p:custDataLst>
          </p:nvPr>
        </p:nvSpPr>
        <p:spPr>
          <a:xfrm>
            <a:off x="0" y="0"/>
            <a:ext cx="199550" cy="158750"/>
          </a:xfrm>
          <a:prstGeom prst="rect">
            <a:avLst/>
          </a:prstGeom>
          <a:solidFill>
            <a:schemeClr val="tx2"/>
          </a:solidFill>
        </p:spPr>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200" b="1" i="0" baseline="0" dirty="0" err="1">
              <a:solidFill>
                <a:schemeClr val="bg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5" name="Title 6"/>
          <p:cNvSpPr>
            <a:spLocks noGrp="1"/>
          </p:cNvSpPr>
          <p:nvPr>
            <p:ph type="title" hasCustomPrompt="1"/>
          </p:nvPr>
        </p:nvSpPr>
        <p:spPr>
          <a:xfrm>
            <a:off x="609618" y="545662"/>
            <a:ext cx="12218110" cy="338554"/>
          </a:xfrm>
          <a:prstGeom prst="rect">
            <a:avLst/>
          </a:prstGeom>
        </p:spPr>
        <p:txBody>
          <a:bodyPr anchor="b" anchorCtr="0">
            <a:spAutoFit/>
          </a:bodyPr>
          <a:lstStyle>
            <a:lvl1pPr marL="0" algn="l">
              <a:spcBef>
                <a:spcPts val="0"/>
              </a:spcBef>
              <a:defRPr sz="2200" b="1" cap="none" spc="126" baseline="0">
                <a:solidFill>
                  <a:schemeClr val="tx2"/>
                </a:solidFill>
                <a:latin typeface="Calibri Light" panose="020F0302020204030204" pitchFamily="34" charset="0"/>
                <a:cs typeface="Calibri Light" panose="020F0302020204030204" pitchFamily="34" charset="0"/>
              </a:defRPr>
            </a:lvl1pPr>
          </a:lstStyle>
          <a:p>
            <a:r>
              <a:rPr lang="en-US" dirty="0"/>
              <a:t>Click to add title</a:t>
            </a:r>
          </a:p>
        </p:txBody>
      </p:sp>
      <p:sp>
        <p:nvSpPr>
          <p:cNvPr id="6" name="Text Placeholder 3"/>
          <p:cNvSpPr>
            <a:spLocks noGrp="1"/>
          </p:cNvSpPr>
          <p:nvPr>
            <p:ph type="body" sz="quarter" idx="15" hasCustomPrompt="1"/>
          </p:nvPr>
        </p:nvSpPr>
        <p:spPr>
          <a:xfrm>
            <a:off x="609618" y="960054"/>
            <a:ext cx="12218110" cy="277290"/>
          </a:xfrm>
          <a:prstGeom prst="rect">
            <a:avLst/>
          </a:prstGeom>
        </p:spPr>
        <p:txBody>
          <a:bodyPr wrap="square">
            <a:noAutofit/>
          </a:bodyPr>
          <a:lstStyle>
            <a:lvl1pPr marL="0" indent="0" algn="l">
              <a:spcAft>
                <a:spcPts val="0"/>
              </a:spcAft>
              <a:buNone/>
              <a:defRPr sz="1800" b="1" cap="none" spc="126" baseline="0">
                <a:solidFill>
                  <a:schemeClr val="accent2"/>
                </a:solidFill>
                <a:latin typeface="Calibri Light" panose="020F0302020204030204" pitchFamily="34" charset="0"/>
                <a:cs typeface="Calibri Light" panose="020F0302020204030204" pitchFamily="34" charset="0"/>
              </a:defRPr>
            </a:lvl1pPr>
          </a:lstStyle>
          <a:p>
            <a:pPr lvl="0"/>
            <a:r>
              <a:rPr lang="en-US" dirty="0"/>
              <a:t>Click to add subtitle </a:t>
            </a:r>
            <a:endParaRPr lang="fr-FR" dirty="0"/>
          </a:p>
        </p:txBody>
      </p:sp>
      <p:sp>
        <p:nvSpPr>
          <p:cNvPr id="11" name="Text Placeholder 4"/>
          <p:cNvSpPr>
            <a:spLocks noGrp="1"/>
          </p:cNvSpPr>
          <p:nvPr>
            <p:ph type="body" sz="quarter" idx="11" hasCustomPrompt="1"/>
          </p:nvPr>
        </p:nvSpPr>
        <p:spPr>
          <a:xfrm>
            <a:off x="609709" y="6842166"/>
            <a:ext cx="12218110" cy="153888"/>
          </a:xfrm>
        </p:spPr>
        <p:txBody>
          <a:bodyPr wrap="square" anchor="ctr">
            <a:noAutofit/>
          </a:bodyPr>
          <a:lstStyle>
            <a:lvl1pPr marL="135756" indent="0">
              <a:buNone/>
              <a:defRPr sz="1000" b="0" cap="none" spc="0" baseline="0">
                <a:solidFill>
                  <a:schemeClr val="tx1"/>
                </a:solidFill>
                <a:latin typeface="+mn-lt"/>
              </a:defRPr>
            </a:lvl1pPr>
            <a:lvl2pPr>
              <a:defRPr sz="1131" b="0" cap="none" baseline="0">
                <a:solidFill>
                  <a:schemeClr val="tx2"/>
                </a:solidFill>
              </a:defRPr>
            </a:lvl2pPr>
            <a:lvl3pPr>
              <a:defRPr sz="1131" b="0" cap="none" baseline="0">
                <a:solidFill>
                  <a:schemeClr val="tx2"/>
                </a:solidFill>
              </a:defRPr>
            </a:lvl3pPr>
            <a:lvl4pPr>
              <a:defRPr sz="1131" b="0" cap="none" baseline="0">
                <a:solidFill>
                  <a:schemeClr val="tx2"/>
                </a:solidFill>
              </a:defRPr>
            </a:lvl4pPr>
            <a:lvl5pPr>
              <a:defRPr sz="1131" b="0" cap="none" baseline="0">
                <a:solidFill>
                  <a:schemeClr val="tx2"/>
                </a:solidFill>
              </a:defRPr>
            </a:lvl5pPr>
          </a:lstStyle>
          <a:p>
            <a:pPr lvl="0"/>
            <a:r>
              <a:rPr lang="en-US" dirty="0"/>
              <a:t>Click to add comment</a:t>
            </a:r>
            <a:endParaRPr lang="fr-FR" dirty="0"/>
          </a:p>
        </p:txBody>
      </p:sp>
      <p:sp>
        <p:nvSpPr>
          <p:cNvPr id="12" name="object 23">
            <a:extLst>
              <a:ext uri="{FF2B5EF4-FFF2-40B4-BE49-F238E27FC236}">
                <a16:creationId xmlns:a16="http://schemas.microsoft.com/office/drawing/2014/main" id="{BE244BFF-60B1-4FF7-A295-E092356AAC38}"/>
              </a:ext>
            </a:extLst>
          </p:cNvPr>
          <p:cNvSpPr>
            <a:spLocks noChangeAspect="1"/>
          </p:cNvSpPr>
          <p:nvPr userDrawn="1"/>
        </p:nvSpPr>
        <p:spPr>
          <a:xfrm>
            <a:off x="1" y="0"/>
            <a:ext cx="484975" cy="1237344"/>
          </a:xfrm>
          <a:custGeom>
            <a:avLst/>
            <a:gdLst/>
            <a:ahLst/>
            <a:cxnLst/>
            <a:rect l="l" t="t" r="r" b="b"/>
            <a:pathLst>
              <a:path w="799465" h="1977389">
                <a:moveTo>
                  <a:pt x="798918" y="0"/>
                </a:moveTo>
                <a:lnTo>
                  <a:pt x="0" y="0"/>
                </a:lnTo>
                <a:lnTo>
                  <a:pt x="0" y="1977389"/>
                </a:lnTo>
                <a:lnTo>
                  <a:pt x="798918" y="0"/>
                </a:lnTo>
                <a:close/>
              </a:path>
            </a:pathLst>
          </a:custGeom>
          <a:solidFill>
            <a:schemeClr val="accent1"/>
          </a:solidFill>
        </p:spPr>
        <p:txBody>
          <a:bodyPr wrap="square" lIns="0" tIns="0" rIns="0" bIns="0" rtlCol="0"/>
          <a:lstStyle/>
          <a:p>
            <a:endParaRPr spc="100" baseline="0"/>
          </a:p>
        </p:txBody>
      </p:sp>
      <p:sp>
        <p:nvSpPr>
          <p:cNvPr id="13" name="Text Placeholder 8">
            <a:extLst>
              <a:ext uri="{FF2B5EF4-FFF2-40B4-BE49-F238E27FC236}">
                <a16:creationId xmlns:a16="http://schemas.microsoft.com/office/drawing/2014/main" id="{DC183C76-18A7-4BBE-819B-8268E75741C4}"/>
              </a:ext>
            </a:extLst>
          </p:cNvPr>
          <p:cNvSpPr>
            <a:spLocks noGrp="1"/>
          </p:cNvSpPr>
          <p:nvPr>
            <p:ph type="body" sz="quarter" idx="16"/>
          </p:nvPr>
        </p:nvSpPr>
        <p:spPr>
          <a:xfrm>
            <a:off x="609618" y="1483199"/>
            <a:ext cx="12218110" cy="5040000"/>
          </a:xfrm>
          <a:prstGeom prst="rect">
            <a:avLst/>
          </a:prstGeom>
        </p:spPr>
        <p:txBody>
          <a:bodyPr wrap="square">
            <a:noAutofit/>
          </a:bodyPr>
          <a:lstStyle>
            <a:lvl1pPr marL="362016" indent="-226260" algn="l">
              <a:spcBef>
                <a:spcPts val="754"/>
              </a:spcBef>
              <a:spcAft>
                <a:spcPts val="0"/>
              </a:spcAft>
              <a:buFont typeface="Wingdings" pitchFamily="2" charset="2"/>
              <a:buChar char="§"/>
              <a:defRPr sz="1600" b="0" spc="0" baseline="0">
                <a:solidFill>
                  <a:schemeClr val="tx1"/>
                </a:solidFill>
                <a:latin typeface="Calibri" pitchFamily="34" charset="0"/>
                <a:cs typeface="Calibri" pitchFamily="34" charset="0"/>
              </a:defRPr>
            </a:lvl1pPr>
            <a:lvl2pPr marL="497772" indent="-226260">
              <a:buFont typeface="Webdings" panose="05030102010509060703" pitchFamily="18" charset="2"/>
              <a:buChar char="4"/>
              <a:defRPr sz="1600" b="0">
                <a:solidFill>
                  <a:schemeClr val="tx1"/>
                </a:solidFill>
                <a:latin typeface="Calibri" pitchFamily="34" charset="0"/>
                <a:cs typeface="Calibri" pitchFamily="34" charset="0"/>
              </a:defRPr>
            </a:lvl2pPr>
            <a:lvl3pPr marL="814536" indent="-226260" algn="l">
              <a:spcBef>
                <a:spcPts val="754"/>
              </a:spcBef>
              <a:spcAft>
                <a:spcPts val="0"/>
              </a:spcAft>
              <a:buFont typeface="Calibri" panose="020F0502020204030204" pitchFamily="34" charset="0"/>
              <a:buChar char="̶"/>
              <a:defRPr lang="en-US" sz="1600" b="0" kern="1200" spc="0" noProof="0" dirty="0" smtClean="0">
                <a:solidFill>
                  <a:schemeClr val="tx1"/>
                </a:solidFill>
                <a:latin typeface="Calibri" pitchFamily="34" charset="0"/>
                <a:ea typeface="+mn-ea"/>
                <a:cs typeface="Calibri" pitchFamily="34" charset="0"/>
              </a:defRPr>
            </a:lvl3pPr>
            <a:lvl4pPr marL="1040796" indent="-226260" algn="l">
              <a:spcBef>
                <a:spcPts val="754"/>
              </a:spcBef>
              <a:spcAft>
                <a:spcPts val="0"/>
              </a:spcAft>
              <a:buFont typeface="Arial" panose="020B0604020202020204" pitchFamily="34" charset="0"/>
              <a:buChar char="•"/>
              <a:defRPr sz="1600" spc="0">
                <a:solidFill>
                  <a:schemeClr val="tx1"/>
                </a:solidFill>
                <a:latin typeface="Calibri" pitchFamily="34" charset="0"/>
                <a:cs typeface="Calibri" pitchFamily="34" charset="0"/>
              </a:defRPr>
            </a:lvl4pPr>
            <a:lvl5pPr marL="1267056" indent="-226260" algn="l">
              <a:spcBef>
                <a:spcPts val="754"/>
              </a:spcBef>
              <a:spcAft>
                <a:spcPts val="0"/>
              </a:spcAft>
              <a:buSzPct val="65000"/>
              <a:buFont typeface="Wingdings" panose="05000000000000000000" pitchFamily="2" charset="2"/>
              <a:buChar char="w"/>
              <a:defRPr lang="en-US" sz="1600" b="0" i="0" kern="1200" spc="0" baseline="0" noProof="0" dirty="0">
                <a:solidFill>
                  <a:schemeClr val="tx1"/>
                </a:solidFill>
                <a:latin typeface="Calibri" pitchFamily="34" charset="0"/>
                <a:ea typeface="+mn-ea"/>
                <a:cs typeface="Calibri" pitchFamily="34" charset="0"/>
              </a:defRPr>
            </a:lvl5pPr>
            <a:lvl6pPr marL="1493316" indent="-226260" algn="l">
              <a:spcBef>
                <a:spcPts val="754"/>
              </a:spcBef>
              <a:spcAft>
                <a:spcPts val="0"/>
              </a:spcAft>
              <a:buFont typeface="Wingdings" panose="05000000000000000000" pitchFamily="2" charset="2"/>
              <a:buChar char=""/>
              <a:defRPr sz="1600" spc="0">
                <a:solidFill>
                  <a:schemeClr val="tx1"/>
                </a:solidFill>
                <a:latin typeface="Calibri" pitchFamily="34" charset="0"/>
                <a:cs typeface="Calibri" pitchFamily="34" charset="0"/>
              </a:defRPr>
            </a:lvl6pPr>
            <a:lvl7pPr>
              <a:defRPr sz="1600"/>
            </a:lvl7pPr>
          </a:lstStyle>
          <a:p>
            <a:pPr lvl="0"/>
            <a:endParaRPr lang="en-US" noProof="0" dirty="0"/>
          </a:p>
        </p:txBody>
      </p:sp>
    </p:spTree>
    <p:extLst>
      <p:ext uri="{BB962C8B-B14F-4D97-AF65-F5344CB8AC3E}">
        <p14:creationId xmlns:p14="http://schemas.microsoft.com/office/powerpoint/2010/main" val="15870681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with 2 text box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E93E76EB-A342-45E0-9B83-950E83ABECC6}"/>
              </a:ext>
            </a:extLst>
          </p:cNvPr>
          <p:cNvGraphicFramePr>
            <a:graphicFrameLocks noChangeAspect="1"/>
          </p:cNvGraphicFramePr>
          <p:nvPr userDrawn="1">
            <p:custDataLst>
              <p:tags r:id="rId2"/>
            </p:custDataLst>
            <p:extLst>
              <p:ext uri="{D42A27DB-BD31-4B8C-83A1-F6EECF244321}">
                <p14:modId xmlns:p14="http://schemas.microsoft.com/office/powerpoint/2010/main" val="4024213431"/>
              </p:ext>
            </p:extLst>
          </p:nvPr>
        </p:nvGraphicFramePr>
        <p:xfrm>
          <a:off x="1996" y="1588"/>
          <a:ext cx="1996" cy="1588"/>
        </p:xfrm>
        <a:graphic>
          <a:graphicData uri="http://schemas.openxmlformats.org/presentationml/2006/ole">
            <mc:AlternateContent xmlns:mc="http://schemas.openxmlformats.org/markup-compatibility/2006">
              <mc:Choice xmlns:v="urn:schemas-microsoft-com:vml" Requires="v">
                <p:oleObj spid="_x0000_s7270" name="Diapositive think-cell" r:id="rId5" imgW="473" imgH="470" progId="TCLayout.ActiveDocument.1">
                  <p:embed/>
                </p:oleObj>
              </mc:Choice>
              <mc:Fallback>
                <p:oleObj name="Diapositive think-cell" r:id="rId5" imgW="473" imgH="470" progId="TCLayout.ActiveDocument.1">
                  <p:embed/>
                  <p:pic>
                    <p:nvPicPr>
                      <p:cNvPr id="3" name="Objet 2" hidden="1">
                        <a:extLst>
                          <a:ext uri="{FF2B5EF4-FFF2-40B4-BE49-F238E27FC236}">
                            <a16:creationId xmlns:a16="http://schemas.microsoft.com/office/drawing/2014/main" id="{E93E76EB-A342-45E0-9B83-950E83ABECC6}"/>
                          </a:ext>
                        </a:extLst>
                      </p:cNvPr>
                      <p:cNvPicPr/>
                      <p:nvPr/>
                    </p:nvPicPr>
                    <p:blipFill>
                      <a:blip r:embed="rId6"/>
                      <a:stretch>
                        <a:fillRect/>
                      </a:stretch>
                    </p:blipFill>
                    <p:spPr>
                      <a:xfrm>
                        <a:off x="1996" y="1588"/>
                        <a:ext cx="1996"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CA46389-5E45-415C-8481-E2E2A3E84F8A}"/>
              </a:ext>
            </a:extLst>
          </p:cNvPr>
          <p:cNvSpPr/>
          <p:nvPr userDrawn="1">
            <p:custDataLst>
              <p:tags r:id="rId3"/>
            </p:custDataLst>
          </p:nvPr>
        </p:nvSpPr>
        <p:spPr>
          <a:xfrm>
            <a:off x="0" y="0"/>
            <a:ext cx="199550" cy="158750"/>
          </a:xfrm>
          <a:prstGeom prst="rect">
            <a:avLst/>
          </a:prstGeom>
          <a:solidFill>
            <a:schemeClr val="tx2"/>
          </a:solidFill>
        </p:spPr>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200" b="1" i="0" baseline="0" dirty="0" err="1">
              <a:solidFill>
                <a:schemeClr val="bg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10" name="Title 6">
            <a:extLst>
              <a:ext uri="{FF2B5EF4-FFF2-40B4-BE49-F238E27FC236}">
                <a16:creationId xmlns:a16="http://schemas.microsoft.com/office/drawing/2014/main" id="{85D30E09-D509-42CF-81C1-9838AE482746}"/>
              </a:ext>
            </a:extLst>
          </p:cNvPr>
          <p:cNvSpPr>
            <a:spLocks noGrp="1"/>
          </p:cNvSpPr>
          <p:nvPr>
            <p:ph type="title" hasCustomPrompt="1"/>
          </p:nvPr>
        </p:nvSpPr>
        <p:spPr>
          <a:xfrm>
            <a:off x="609618" y="545662"/>
            <a:ext cx="12218110" cy="338554"/>
          </a:xfrm>
          <a:prstGeom prst="rect">
            <a:avLst/>
          </a:prstGeom>
        </p:spPr>
        <p:txBody>
          <a:bodyPr anchor="b" anchorCtr="0">
            <a:spAutoFit/>
          </a:bodyPr>
          <a:lstStyle>
            <a:lvl1pPr marL="0" algn="l">
              <a:spcBef>
                <a:spcPts val="0"/>
              </a:spcBef>
              <a:defRPr sz="2200" b="1" cap="none" spc="126" baseline="0">
                <a:solidFill>
                  <a:schemeClr val="tx2"/>
                </a:solidFill>
                <a:latin typeface="Calibri Light" panose="020F0302020204030204" pitchFamily="34" charset="0"/>
                <a:cs typeface="Calibri Light" panose="020F0302020204030204" pitchFamily="34" charset="0"/>
              </a:defRPr>
            </a:lvl1pPr>
          </a:lstStyle>
          <a:p>
            <a:r>
              <a:rPr lang="en-US" dirty="0"/>
              <a:t>Click to add title</a:t>
            </a:r>
          </a:p>
        </p:txBody>
      </p:sp>
      <p:sp>
        <p:nvSpPr>
          <p:cNvPr id="13" name="Text Placeholder 3">
            <a:extLst>
              <a:ext uri="{FF2B5EF4-FFF2-40B4-BE49-F238E27FC236}">
                <a16:creationId xmlns:a16="http://schemas.microsoft.com/office/drawing/2014/main" id="{C17FF2BA-8B8F-4C3C-9016-4F6DAFAB8D70}"/>
              </a:ext>
            </a:extLst>
          </p:cNvPr>
          <p:cNvSpPr>
            <a:spLocks noGrp="1"/>
          </p:cNvSpPr>
          <p:nvPr>
            <p:ph type="body" sz="quarter" idx="15" hasCustomPrompt="1"/>
          </p:nvPr>
        </p:nvSpPr>
        <p:spPr>
          <a:xfrm>
            <a:off x="609618" y="960054"/>
            <a:ext cx="12218110" cy="277290"/>
          </a:xfrm>
          <a:prstGeom prst="rect">
            <a:avLst/>
          </a:prstGeom>
        </p:spPr>
        <p:txBody>
          <a:bodyPr wrap="square">
            <a:noAutofit/>
          </a:bodyPr>
          <a:lstStyle>
            <a:lvl1pPr marL="0" indent="0" algn="l">
              <a:spcAft>
                <a:spcPts val="0"/>
              </a:spcAft>
              <a:buFontTx/>
              <a:buNone/>
              <a:defRPr sz="1800" b="1" cap="none" spc="126" baseline="0">
                <a:solidFill>
                  <a:schemeClr val="accent2"/>
                </a:solidFill>
                <a:latin typeface="Calibri Light" panose="020F0302020204030204" pitchFamily="34" charset="0"/>
                <a:cs typeface="Calibri Light" panose="020F0302020204030204" pitchFamily="34" charset="0"/>
              </a:defRPr>
            </a:lvl1pPr>
          </a:lstStyle>
          <a:p>
            <a:pPr lvl="0"/>
            <a:r>
              <a:rPr lang="en-US" dirty="0"/>
              <a:t>Click to add subtitle </a:t>
            </a:r>
            <a:endParaRPr lang="fr-FR" dirty="0"/>
          </a:p>
        </p:txBody>
      </p:sp>
      <p:sp>
        <p:nvSpPr>
          <p:cNvPr id="15" name="Text Placeholder 8">
            <a:extLst>
              <a:ext uri="{FF2B5EF4-FFF2-40B4-BE49-F238E27FC236}">
                <a16:creationId xmlns:a16="http://schemas.microsoft.com/office/drawing/2014/main" id="{4F34D793-910D-46D2-9D86-B78B1393B8BF}"/>
              </a:ext>
            </a:extLst>
          </p:cNvPr>
          <p:cNvSpPr>
            <a:spLocks noGrp="1"/>
          </p:cNvSpPr>
          <p:nvPr>
            <p:ph type="body" sz="quarter" idx="16"/>
          </p:nvPr>
        </p:nvSpPr>
        <p:spPr>
          <a:xfrm>
            <a:off x="609618" y="1483199"/>
            <a:ext cx="5792289" cy="5040000"/>
          </a:xfrm>
          <a:prstGeom prst="rect">
            <a:avLst/>
          </a:prstGeom>
        </p:spPr>
        <p:txBody>
          <a:bodyPr wrap="square">
            <a:noAutofit/>
          </a:bodyPr>
          <a:lstStyle>
            <a:lvl1pPr marL="362016" indent="-226260" algn="l">
              <a:spcBef>
                <a:spcPts val="754"/>
              </a:spcBef>
              <a:spcAft>
                <a:spcPts val="0"/>
              </a:spcAft>
              <a:buFont typeface="Wingdings" pitchFamily="2" charset="2"/>
              <a:buChar char="§"/>
              <a:defRPr sz="1600" b="0" spc="0" baseline="0">
                <a:solidFill>
                  <a:schemeClr val="tx1"/>
                </a:solidFill>
                <a:latin typeface="Calibri" pitchFamily="34" charset="0"/>
                <a:cs typeface="Calibri" pitchFamily="34" charset="0"/>
              </a:defRPr>
            </a:lvl1pPr>
            <a:lvl2pPr marL="497772" indent="-226260">
              <a:buFont typeface="Webdings" panose="05030102010509060703" pitchFamily="18" charset="2"/>
              <a:buChar char="4"/>
              <a:defRPr sz="1600" b="0">
                <a:solidFill>
                  <a:schemeClr val="tx1"/>
                </a:solidFill>
                <a:latin typeface="Calibri" pitchFamily="34" charset="0"/>
                <a:cs typeface="Calibri" pitchFamily="34" charset="0"/>
              </a:defRPr>
            </a:lvl2pPr>
            <a:lvl3pPr marL="814536" indent="-226260" algn="l">
              <a:spcBef>
                <a:spcPts val="754"/>
              </a:spcBef>
              <a:spcAft>
                <a:spcPts val="0"/>
              </a:spcAft>
              <a:buFont typeface="Calibri" panose="020F0502020204030204" pitchFamily="34" charset="0"/>
              <a:buChar char="̶"/>
              <a:defRPr lang="en-US" sz="1600" b="0" kern="1200" spc="0" noProof="0" dirty="0" smtClean="0">
                <a:solidFill>
                  <a:schemeClr val="tx1"/>
                </a:solidFill>
                <a:latin typeface="Calibri" pitchFamily="34" charset="0"/>
                <a:ea typeface="+mn-ea"/>
                <a:cs typeface="Calibri" pitchFamily="34" charset="0"/>
              </a:defRPr>
            </a:lvl3pPr>
            <a:lvl4pPr marL="1040796" indent="-226260" algn="l">
              <a:spcBef>
                <a:spcPts val="754"/>
              </a:spcBef>
              <a:spcAft>
                <a:spcPts val="0"/>
              </a:spcAft>
              <a:buFont typeface="Arial" panose="020B0604020202020204" pitchFamily="34" charset="0"/>
              <a:buChar char="•"/>
              <a:defRPr sz="1600" spc="0">
                <a:solidFill>
                  <a:schemeClr val="tx1"/>
                </a:solidFill>
                <a:latin typeface="Calibri" pitchFamily="34" charset="0"/>
                <a:cs typeface="Calibri" pitchFamily="34" charset="0"/>
              </a:defRPr>
            </a:lvl4pPr>
            <a:lvl5pPr marL="1267056" indent="-226260" algn="l">
              <a:spcBef>
                <a:spcPts val="754"/>
              </a:spcBef>
              <a:spcAft>
                <a:spcPts val="0"/>
              </a:spcAft>
              <a:buSzPct val="65000"/>
              <a:buFont typeface="Wingdings" panose="05000000000000000000" pitchFamily="2" charset="2"/>
              <a:buChar char="w"/>
              <a:defRPr lang="en-US" sz="1600" b="0" i="0" kern="1200" spc="0" baseline="0" noProof="0" dirty="0">
                <a:solidFill>
                  <a:schemeClr val="tx1"/>
                </a:solidFill>
                <a:latin typeface="Calibri" pitchFamily="34" charset="0"/>
                <a:ea typeface="+mn-ea"/>
                <a:cs typeface="Calibri" pitchFamily="34" charset="0"/>
              </a:defRPr>
            </a:lvl5pPr>
            <a:lvl6pPr marL="1493316" indent="-226260" algn="l">
              <a:spcBef>
                <a:spcPts val="754"/>
              </a:spcBef>
              <a:spcAft>
                <a:spcPts val="0"/>
              </a:spcAft>
              <a:buFont typeface="Wingdings" panose="05000000000000000000" pitchFamily="2" charset="2"/>
              <a:buChar char=""/>
              <a:defRPr sz="1600" spc="0">
                <a:solidFill>
                  <a:schemeClr val="tx1"/>
                </a:solidFill>
                <a:latin typeface="Calibri" pitchFamily="34" charset="0"/>
                <a:cs typeface="Calibri" pitchFamily="34" charset="0"/>
              </a:defRPr>
            </a:lvl6pPr>
            <a:lvl7pPr>
              <a:defRPr sz="1600"/>
            </a:lvl7pPr>
          </a:lstStyle>
          <a:p>
            <a:pPr lvl="0"/>
            <a:endParaRPr lang="en-US" noProof="0" dirty="0"/>
          </a:p>
        </p:txBody>
      </p:sp>
      <p:sp>
        <p:nvSpPr>
          <p:cNvPr id="11" name="Text Placeholder 4"/>
          <p:cNvSpPr>
            <a:spLocks noGrp="1"/>
          </p:cNvSpPr>
          <p:nvPr>
            <p:ph type="body" sz="quarter" idx="11" hasCustomPrompt="1"/>
          </p:nvPr>
        </p:nvSpPr>
        <p:spPr>
          <a:xfrm>
            <a:off x="609709" y="6842166"/>
            <a:ext cx="12218110" cy="153888"/>
          </a:xfrm>
        </p:spPr>
        <p:txBody>
          <a:bodyPr wrap="square" anchor="ctr">
            <a:noAutofit/>
          </a:bodyPr>
          <a:lstStyle>
            <a:lvl1pPr marL="135756" indent="0">
              <a:buNone/>
              <a:defRPr sz="1000" b="0" cap="none" spc="0" baseline="0">
                <a:solidFill>
                  <a:schemeClr val="tx1"/>
                </a:solidFill>
                <a:latin typeface="+mn-lt"/>
              </a:defRPr>
            </a:lvl1pPr>
            <a:lvl2pPr>
              <a:defRPr sz="1131" b="0" cap="none" baseline="0">
                <a:solidFill>
                  <a:schemeClr val="tx2"/>
                </a:solidFill>
              </a:defRPr>
            </a:lvl2pPr>
            <a:lvl3pPr>
              <a:defRPr sz="1131" b="0" cap="none" baseline="0">
                <a:solidFill>
                  <a:schemeClr val="tx2"/>
                </a:solidFill>
              </a:defRPr>
            </a:lvl3pPr>
            <a:lvl4pPr>
              <a:defRPr sz="1131" b="0" cap="none" baseline="0">
                <a:solidFill>
                  <a:schemeClr val="tx2"/>
                </a:solidFill>
              </a:defRPr>
            </a:lvl4pPr>
            <a:lvl5pPr>
              <a:defRPr sz="1131" b="0" cap="none" baseline="0">
                <a:solidFill>
                  <a:schemeClr val="tx2"/>
                </a:solidFill>
              </a:defRPr>
            </a:lvl5pPr>
          </a:lstStyle>
          <a:p>
            <a:pPr lvl="0"/>
            <a:r>
              <a:rPr lang="en-US" dirty="0"/>
              <a:t>Click to add comment</a:t>
            </a:r>
            <a:endParaRPr lang="fr-FR" dirty="0"/>
          </a:p>
        </p:txBody>
      </p:sp>
      <p:sp>
        <p:nvSpPr>
          <p:cNvPr id="12" name="object 23">
            <a:extLst>
              <a:ext uri="{FF2B5EF4-FFF2-40B4-BE49-F238E27FC236}">
                <a16:creationId xmlns:a16="http://schemas.microsoft.com/office/drawing/2014/main" id="{BCA3D42C-C9C0-4691-899E-AD83BD150BBE}"/>
              </a:ext>
            </a:extLst>
          </p:cNvPr>
          <p:cNvSpPr>
            <a:spLocks noChangeAspect="1"/>
          </p:cNvSpPr>
          <p:nvPr userDrawn="1"/>
        </p:nvSpPr>
        <p:spPr>
          <a:xfrm>
            <a:off x="1" y="0"/>
            <a:ext cx="484975" cy="1237344"/>
          </a:xfrm>
          <a:custGeom>
            <a:avLst/>
            <a:gdLst/>
            <a:ahLst/>
            <a:cxnLst/>
            <a:rect l="l" t="t" r="r" b="b"/>
            <a:pathLst>
              <a:path w="799465" h="1977389">
                <a:moveTo>
                  <a:pt x="798918" y="0"/>
                </a:moveTo>
                <a:lnTo>
                  <a:pt x="0" y="0"/>
                </a:lnTo>
                <a:lnTo>
                  <a:pt x="0" y="1977389"/>
                </a:lnTo>
                <a:lnTo>
                  <a:pt x="798918" y="0"/>
                </a:lnTo>
                <a:close/>
              </a:path>
            </a:pathLst>
          </a:custGeom>
          <a:solidFill>
            <a:schemeClr val="accent1"/>
          </a:solidFill>
        </p:spPr>
        <p:txBody>
          <a:bodyPr wrap="square" lIns="0" tIns="0" rIns="0" bIns="0" rtlCol="0"/>
          <a:lstStyle/>
          <a:p>
            <a:endParaRPr spc="100" baseline="0"/>
          </a:p>
        </p:txBody>
      </p:sp>
      <p:sp>
        <p:nvSpPr>
          <p:cNvPr id="14" name="Text Placeholder 8">
            <a:extLst>
              <a:ext uri="{FF2B5EF4-FFF2-40B4-BE49-F238E27FC236}">
                <a16:creationId xmlns:a16="http://schemas.microsoft.com/office/drawing/2014/main" id="{57BF88AB-9535-4BD7-80B4-1C732022D059}"/>
              </a:ext>
            </a:extLst>
          </p:cNvPr>
          <p:cNvSpPr>
            <a:spLocks noGrp="1"/>
          </p:cNvSpPr>
          <p:nvPr>
            <p:ph type="body" sz="quarter" idx="17"/>
          </p:nvPr>
        </p:nvSpPr>
        <p:spPr>
          <a:xfrm>
            <a:off x="7035439" y="1483199"/>
            <a:ext cx="5792289" cy="5040000"/>
          </a:xfrm>
          <a:prstGeom prst="rect">
            <a:avLst/>
          </a:prstGeom>
        </p:spPr>
        <p:txBody>
          <a:bodyPr wrap="square">
            <a:noAutofit/>
          </a:bodyPr>
          <a:lstStyle>
            <a:lvl1pPr marL="362016" indent="-226260" algn="l">
              <a:spcBef>
                <a:spcPts val="754"/>
              </a:spcBef>
              <a:spcAft>
                <a:spcPts val="0"/>
              </a:spcAft>
              <a:buFont typeface="Wingdings" pitchFamily="2" charset="2"/>
              <a:buChar char="§"/>
              <a:defRPr sz="1600" b="0" spc="0" baseline="0">
                <a:solidFill>
                  <a:schemeClr val="tx1"/>
                </a:solidFill>
                <a:latin typeface="Calibri" pitchFamily="34" charset="0"/>
                <a:cs typeface="Calibri" pitchFamily="34" charset="0"/>
              </a:defRPr>
            </a:lvl1pPr>
            <a:lvl2pPr marL="497772" indent="-226260">
              <a:buFont typeface="Webdings" panose="05030102010509060703" pitchFamily="18" charset="2"/>
              <a:buChar char="4"/>
              <a:defRPr sz="1600" b="0">
                <a:solidFill>
                  <a:schemeClr val="tx1"/>
                </a:solidFill>
                <a:latin typeface="Calibri" pitchFamily="34" charset="0"/>
                <a:cs typeface="Calibri" pitchFamily="34" charset="0"/>
              </a:defRPr>
            </a:lvl2pPr>
            <a:lvl3pPr marL="814536" indent="-226260" algn="l">
              <a:spcBef>
                <a:spcPts val="754"/>
              </a:spcBef>
              <a:spcAft>
                <a:spcPts val="0"/>
              </a:spcAft>
              <a:buFont typeface="Calibri" panose="020F0502020204030204" pitchFamily="34" charset="0"/>
              <a:buChar char="̶"/>
              <a:defRPr lang="en-US" sz="1600" b="0" kern="1200" spc="0" noProof="0" dirty="0" smtClean="0">
                <a:solidFill>
                  <a:schemeClr val="tx1"/>
                </a:solidFill>
                <a:latin typeface="Calibri" pitchFamily="34" charset="0"/>
                <a:ea typeface="+mn-ea"/>
                <a:cs typeface="Calibri" pitchFamily="34" charset="0"/>
              </a:defRPr>
            </a:lvl3pPr>
            <a:lvl4pPr marL="1040796" indent="-226260" algn="l">
              <a:spcBef>
                <a:spcPts val="754"/>
              </a:spcBef>
              <a:spcAft>
                <a:spcPts val="0"/>
              </a:spcAft>
              <a:buFont typeface="Arial" panose="020B0604020202020204" pitchFamily="34" charset="0"/>
              <a:buChar char="•"/>
              <a:defRPr sz="1600" spc="0">
                <a:solidFill>
                  <a:schemeClr val="tx1"/>
                </a:solidFill>
                <a:latin typeface="Calibri" pitchFamily="34" charset="0"/>
                <a:cs typeface="Calibri" pitchFamily="34" charset="0"/>
              </a:defRPr>
            </a:lvl4pPr>
            <a:lvl5pPr marL="1267056" indent="-226260" algn="l">
              <a:spcBef>
                <a:spcPts val="754"/>
              </a:spcBef>
              <a:spcAft>
                <a:spcPts val="0"/>
              </a:spcAft>
              <a:buSzPct val="65000"/>
              <a:buFont typeface="Wingdings" panose="05000000000000000000" pitchFamily="2" charset="2"/>
              <a:buChar char="w"/>
              <a:defRPr lang="en-US" sz="1600" b="0" i="0" kern="1200" spc="0" baseline="0" noProof="0" dirty="0">
                <a:solidFill>
                  <a:schemeClr val="tx1"/>
                </a:solidFill>
                <a:latin typeface="Calibri" pitchFamily="34" charset="0"/>
                <a:ea typeface="+mn-ea"/>
                <a:cs typeface="Calibri" pitchFamily="34" charset="0"/>
              </a:defRPr>
            </a:lvl5pPr>
            <a:lvl6pPr marL="1493316" indent="-226260" algn="l">
              <a:spcBef>
                <a:spcPts val="754"/>
              </a:spcBef>
              <a:spcAft>
                <a:spcPts val="0"/>
              </a:spcAft>
              <a:buFont typeface="Wingdings" panose="05000000000000000000" pitchFamily="2" charset="2"/>
              <a:buChar char=""/>
              <a:defRPr sz="1600" spc="0">
                <a:solidFill>
                  <a:schemeClr val="tx1"/>
                </a:solidFill>
                <a:latin typeface="Calibri" pitchFamily="34" charset="0"/>
                <a:cs typeface="Calibri" pitchFamily="34" charset="0"/>
              </a:defRPr>
            </a:lvl6pPr>
            <a:lvl7pPr>
              <a:defRPr sz="1600"/>
            </a:lvl7pPr>
          </a:lstStyle>
          <a:p>
            <a:pPr lvl="0"/>
            <a:endParaRPr lang="en-US" noProof="0" dirty="0"/>
          </a:p>
        </p:txBody>
      </p:sp>
    </p:spTree>
    <p:extLst>
      <p:ext uri="{BB962C8B-B14F-4D97-AF65-F5344CB8AC3E}">
        <p14:creationId xmlns:p14="http://schemas.microsoft.com/office/powerpoint/2010/main" val="25974805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E93E76EB-A342-45E0-9B83-950E83ABECC6}"/>
              </a:ext>
            </a:extLst>
          </p:cNvPr>
          <p:cNvGraphicFramePr>
            <a:graphicFrameLocks noChangeAspect="1"/>
          </p:cNvGraphicFramePr>
          <p:nvPr userDrawn="1">
            <p:custDataLst>
              <p:tags r:id="rId2"/>
            </p:custDataLst>
            <p:extLst>
              <p:ext uri="{D42A27DB-BD31-4B8C-83A1-F6EECF244321}">
                <p14:modId xmlns:p14="http://schemas.microsoft.com/office/powerpoint/2010/main" val="3221239078"/>
              </p:ext>
            </p:extLst>
          </p:nvPr>
        </p:nvGraphicFramePr>
        <p:xfrm>
          <a:off x="1996" y="1588"/>
          <a:ext cx="1996" cy="1588"/>
        </p:xfrm>
        <a:graphic>
          <a:graphicData uri="http://schemas.openxmlformats.org/presentationml/2006/ole">
            <mc:AlternateContent xmlns:mc="http://schemas.openxmlformats.org/markup-compatibility/2006">
              <mc:Choice xmlns:v="urn:schemas-microsoft-com:vml" Requires="v">
                <p:oleObj spid="_x0000_s8295" name="Diapositive think-cell" r:id="rId5" imgW="473" imgH="470" progId="TCLayout.ActiveDocument.1">
                  <p:embed/>
                </p:oleObj>
              </mc:Choice>
              <mc:Fallback>
                <p:oleObj name="Diapositive think-cell" r:id="rId5" imgW="473" imgH="470" progId="TCLayout.ActiveDocument.1">
                  <p:embed/>
                  <p:pic>
                    <p:nvPicPr>
                      <p:cNvPr id="3" name="Objet 2" hidden="1">
                        <a:extLst>
                          <a:ext uri="{FF2B5EF4-FFF2-40B4-BE49-F238E27FC236}">
                            <a16:creationId xmlns:a16="http://schemas.microsoft.com/office/drawing/2014/main" id="{E93E76EB-A342-45E0-9B83-950E83ABECC6}"/>
                          </a:ext>
                        </a:extLst>
                      </p:cNvPr>
                      <p:cNvPicPr/>
                      <p:nvPr/>
                    </p:nvPicPr>
                    <p:blipFill>
                      <a:blip r:embed="rId6"/>
                      <a:stretch>
                        <a:fillRect/>
                      </a:stretch>
                    </p:blipFill>
                    <p:spPr>
                      <a:xfrm>
                        <a:off x="1996" y="1588"/>
                        <a:ext cx="1996"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CA46389-5E45-415C-8481-E2E2A3E84F8A}"/>
              </a:ext>
            </a:extLst>
          </p:cNvPr>
          <p:cNvSpPr/>
          <p:nvPr userDrawn="1">
            <p:custDataLst>
              <p:tags r:id="rId3"/>
            </p:custDataLst>
          </p:nvPr>
        </p:nvSpPr>
        <p:spPr>
          <a:xfrm>
            <a:off x="0" y="0"/>
            <a:ext cx="199550" cy="158750"/>
          </a:xfrm>
          <a:prstGeom prst="rect">
            <a:avLst/>
          </a:prstGeom>
          <a:solidFill>
            <a:schemeClr val="tx2"/>
          </a:solidFill>
        </p:spPr>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200" b="1" i="0" baseline="0" dirty="0" err="1">
              <a:solidFill>
                <a:schemeClr val="bg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10" name="Title 6">
            <a:extLst>
              <a:ext uri="{FF2B5EF4-FFF2-40B4-BE49-F238E27FC236}">
                <a16:creationId xmlns:a16="http://schemas.microsoft.com/office/drawing/2014/main" id="{85D30E09-D509-42CF-81C1-9838AE482746}"/>
              </a:ext>
            </a:extLst>
          </p:cNvPr>
          <p:cNvSpPr>
            <a:spLocks noGrp="1"/>
          </p:cNvSpPr>
          <p:nvPr>
            <p:ph type="title" hasCustomPrompt="1"/>
          </p:nvPr>
        </p:nvSpPr>
        <p:spPr>
          <a:xfrm>
            <a:off x="609618" y="545662"/>
            <a:ext cx="12218110" cy="338554"/>
          </a:xfrm>
          <a:prstGeom prst="rect">
            <a:avLst/>
          </a:prstGeom>
        </p:spPr>
        <p:txBody>
          <a:bodyPr anchor="b" anchorCtr="0">
            <a:spAutoFit/>
          </a:bodyPr>
          <a:lstStyle>
            <a:lvl1pPr marL="0" algn="l">
              <a:spcBef>
                <a:spcPts val="0"/>
              </a:spcBef>
              <a:defRPr sz="2200" b="1" cap="none" spc="126" baseline="0">
                <a:solidFill>
                  <a:schemeClr val="tx2"/>
                </a:solidFill>
                <a:latin typeface="Calibri Light" panose="020F0302020204030204" pitchFamily="34" charset="0"/>
                <a:cs typeface="Calibri Light" panose="020F0302020204030204" pitchFamily="34" charset="0"/>
              </a:defRPr>
            </a:lvl1pPr>
          </a:lstStyle>
          <a:p>
            <a:r>
              <a:rPr lang="en-US" dirty="0"/>
              <a:t>Click to add title</a:t>
            </a:r>
          </a:p>
        </p:txBody>
      </p:sp>
      <p:sp>
        <p:nvSpPr>
          <p:cNvPr id="13" name="Text Placeholder 3">
            <a:extLst>
              <a:ext uri="{FF2B5EF4-FFF2-40B4-BE49-F238E27FC236}">
                <a16:creationId xmlns:a16="http://schemas.microsoft.com/office/drawing/2014/main" id="{C17FF2BA-8B8F-4C3C-9016-4F6DAFAB8D70}"/>
              </a:ext>
            </a:extLst>
          </p:cNvPr>
          <p:cNvSpPr>
            <a:spLocks noGrp="1"/>
          </p:cNvSpPr>
          <p:nvPr>
            <p:ph type="body" sz="quarter" idx="15" hasCustomPrompt="1"/>
          </p:nvPr>
        </p:nvSpPr>
        <p:spPr>
          <a:xfrm>
            <a:off x="609618" y="960054"/>
            <a:ext cx="12218110" cy="277290"/>
          </a:xfrm>
          <a:prstGeom prst="rect">
            <a:avLst/>
          </a:prstGeom>
        </p:spPr>
        <p:txBody>
          <a:bodyPr wrap="square">
            <a:noAutofit/>
          </a:bodyPr>
          <a:lstStyle>
            <a:lvl1pPr marL="0" indent="0" algn="l">
              <a:spcAft>
                <a:spcPts val="0"/>
              </a:spcAft>
              <a:buFontTx/>
              <a:buNone/>
              <a:defRPr sz="1800" b="1" cap="none" spc="126" baseline="0">
                <a:solidFill>
                  <a:schemeClr val="accent2"/>
                </a:solidFill>
                <a:latin typeface="Calibri Light" panose="020F0302020204030204" pitchFamily="34" charset="0"/>
                <a:cs typeface="Calibri Light" panose="020F0302020204030204" pitchFamily="34" charset="0"/>
              </a:defRPr>
            </a:lvl1pPr>
          </a:lstStyle>
          <a:p>
            <a:pPr lvl="0"/>
            <a:r>
              <a:rPr lang="en-US" dirty="0"/>
              <a:t>Click to add subtitle </a:t>
            </a:r>
            <a:endParaRPr lang="fr-FR" dirty="0"/>
          </a:p>
        </p:txBody>
      </p:sp>
      <p:sp>
        <p:nvSpPr>
          <p:cNvPr id="14" name="Text Placeholder 4"/>
          <p:cNvSpPr>
            <a:spLocks noGrp="1"/>
          </p:cNvSpPr>
          <p:nvPr>
            <p:ph type="body" sz="quarter" idx="11" hasCustomPrompt="1"/>
          </p:nvPr>
        </p:nvSpPr>
        <p:spPr>
          <a:xfrm>
            <a:off x="609709" y="6842166"/>
            <a:ext cx="12218110" cy="153888"/>
          </a:xfrm>
        </p:spPr>
        <p:txBody>
          <a:bodyPr wrap="square" anchor="ctr">
            <a:noAutofit/>
          </a:bodyPr>
          <a:lstStyle>
            <a:lvl1pPr marL="135756" indent="0">
              <a:buNone/>
              <a:defRPr sz="1000" b="0" cap="none" spc="0" baseline="0">
                <a:solidFill>
                  <a:schemeClr val="tx1"/>
                </a:solidFill>
                <a:latin typeface="+mn-lt"/>
              </a:defRPr>
            </a:lvl1pPr>
            <a:lvl2pPr>
              <a:defRPr sz="1131" b="0" cap="none" baseline="0">
                <a:solidFill>
                  <a:schemeClr val="tx2"/>
                </a:solidFill>
              </a:defRPr>
            </a:lvl2pPr>
            <a:lvl3pPr>
              <a:defRPr sz="1131" b="0" cap="none" baseline="0">
                <a:solidFill>
                  <a:schemeClr val="tx2"/>
                </a:solidFill>
              </a:defRPr>
            </a:lvl3pPr>
            <a:lvl4pPr>
              <a:defRPr sz="1131" b="0" cap="none" baseline="0">
                <a:solidFill>
                  <a:schemeClr val="tx2"/>
                </a:solidFill>
              </a:defRPr>
            </a:lvl4pPr>
            <a:lvl5pPr>
              <a:defRPr sz="1131" b="0" cap="none" baseline="0">
                <a:solidFill>
                  <a:schemeClr val="tx2"/>
                </a:solidFill>
              </a:defRPr>
            </a:lvl5pPr>
          </a:lstStyle>
          <a:p>
            <a:pPr lvl="0"/>
            <a:r>
              <a:rPr lang="en-US" dirty="0"/>
              <a:t>Click to add comment</a:t>
            </a:r>
            <a:endParaRPr lang="fr-FR" dirty="0"/>
          </a:p>
        </p:txBody>
      </p:sp>
      <p:sp>
        <p:nvSpPr>
          <p:cNvPr id="8" name="object 23">
            <a:extLst>
              <a:ext uri="{FF2B5EF4-FFF2-40B4-BE49-F238E27FC236}">
                <a16:creationId xmlns:a16="http://schemas.microsoft.com/office/drawing/2014/main" id="{BD7B8096-5437-48F9-8BC7-C269B5BABFF0}"/>
              </a:ext>
            </a:extLst>
          </p:cNvPr>
          <p:cNvSpPr>
            <a:spLocks noChangeAspect="1"/>
          </p:cNvSpPr>
          <p:nvPr userDrawn="1"/>
        </p:nvSpPr>
        <p:spPr>
          <a:xfrm>
            <a:off x="1" y="0"/>
            <a:ext cx="484975" cy="1237344"/>
          </a:xfrm>
          <a:custGeom>
            <a:avLst/>
            <a:gdLst/>
            <a:ahLst/>
            <a:cxnLst/>
            <a:rect l="l" t="t" r="r" b="b"/>
            <a:pathLst>
              <a:path w="799465" h="1977389">
                <a:moveTo>
                  <a:pt x="798918" y="0"/>
                </a:moveTo>
                <a:lnTo>
                  <a:pt x="0" y="0"/>
                </a:lnTo>
                <a:lnTo>
                  <a:pt x="0" y="1977389"/>
                </a:lnTo>
                <a:lnTo>
                  <a:pt x="798918" y="0"/>
                </a:lnTo>
                <a:close/>
              </a:path>
            </a:pathLst>
          </a:custGeom>
          <a:solidFill>
            <a:schemeClr val="accent1"/>
          </a:solidFill>
        </p:spPr>
        <p:txBody>
          <a:bodyPr wrap="square" lIns="0" tIns="0" rIns="0" bIns="0" rtlCol="0"/>
          <a:lstStyle/>
          <a:p>
            <a:endParaRPr spc="100" baseline="0"/>
          </a:p>
        </p:txBody>
      </p:sp>
    </p:spTree>
    <p:extLst>
      <p:ext uri="{BB962C8B-B14F-4D97-AF65-F5344CB8AC3E}">
        <p14:creationId xmlns:p14="http://schemas.microsoft.com/office/powerpoint/2010/main" val="40266883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5C7A1C2-09A5-4F1E-902A-F7A8E9B4B76C}"/>
              </a:ext>
            </a:extLst>
          </p:cNvPr>
          <p:cNvGraphicFramePr>
            <a:graphicFrameLocks noChangeAspect="1"/>
          </p:cNvGraphicFramePr>
          <p:nvPr userDrawn="1">
            <p:custDataLst>
              <p:tags r:id="rId2"/>
            </p:custDataLst>
            <p:extLst>
              <p:ext uri="{D42A27DB-BD31-4B8C-83A1-F6EECF244321}">
                <p14:modId xmlns:p14="http://schemas.microsoft.com/office/powerpoint/2010/main" val="2012756436"/>
              </p:ext>
            </p:extLst>
          </p:nvPr>
        </p:nvGraphicFramePr>
        <p:xfrm>
          <a:off x="1996" y="1588"/>
          <a:ext cx="1996" cy="1588"/>
        </p:xfrm>
        <a:graphic>
          <a:graphicData uri="http://schemas.openxmlformats.org/presentationml/2006/ole">
            <mc:AlternateContent xmlns:mc="http://schemas.openxmlformats.org/markup-compatibility/2006">
              <mc:Choice xmlns:v="urn:schemas-microsoft-com:vml" Requires="v">
                <p:oleObj spid="_x0000_s9318" name="Diapositive think-cell" r:id="rId5" imgW="473" imgH="470" progId="TCLayout.ActiveDocument.1">
                  <p:embed/>
                </p:oleObj>
              </mc:Choice>
              <mc:Fallback>
                <p:oleObj name="Diapositive think-cell" r:id="rId5" imgW="473" imgH="470" progId="TCLayout.ActiveDocument.1">
                  <p:embed/>
                  <p:pic>
                    <p:nvPicPr>
                      <p:cNvPr id="5" name="Objet 4" hidden="1">
                        <a:extLst>
                          <a:ext uri="{FF2B5EF4-FFF2-40B4-BE49-F238E27FC236}">
                            <a16:creationId xmlns:a16="http://schemas.microsoft.com/office/drawing/2014/main" id="{65C7A1C2-09A5-4F1E-902A-F7A8E9B4B76C}"/>
                          </a:ext>
                        </a:extLst>
                      </p:cNvPr>
                      <p:cNvPicPr/>
                      <p:nvPr/>
                    </p:nvPicPr>
                    <p:blipFill>
                      <a:blip r:embed="rId6"/>
                      <a:stretch>
                        <a:fillRect/>
                      </a:stretch>
                    </p:blipFill>
                    <p:spPr>
                      <a:xfrm>
                        <a:off x="1996" y="1588"/>
                        <a:ext cx="1996"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D645FE-EAF4-4EC9-B6AF-A31971AD21E4}"/>
              </a:ext>
            </a:extLst>
          </p:cNvPr>
          <p:cNvSpPr/>
          <p:nvPr userDrawn="1">
            <p:custDataLst>
              <p:tags r:id="rId3"/>
            </p:custDataLst>
          </p:nvPr>
        </p:nvSpPr>
        <p:spPr>
          <a:xfrm>
            <a:off x="0" y="0"/>
            <a:ext cx="199550" cy="158750"/>
          </a:xfrm>
          <a:prstGeom prst="rect">
            <a:avLst/>
          </a:prstGeom>
          <a:solidFill>
            <a:schemeClr val="tx2"/>
          </a:solidFill>
        </p:spPr>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200" b="1" i="0" baseline="0" dirty="0" err="1">
              <a:solidFill>
                <a:schemeClr val="bg1"/>
              </a:solidFill>
              <a:latin typeface="Calibri Light" panose="020F0302020204030204" pitchFamily="34" charset="0"/>
              <a:ea typeface="+mj-ea"/>
              <a:cs typeface="Arial" panose="020B0604020202020204" pitchFamily="34" charset="0"/>
              <a:sym typeface="Calibri Light" panose="020F0302020204030204" pitchFamily="34" charset="0"/>
            </a:endParaRPr>
          </a:p>
        </p:txBody>
      </p:sp>
      <p:sp>
        <p:nvSpPr>
          <p:cNvPr id="38" name="Title 6"/>
          <p:cNvSpPr>
            <a:spLocks noGrp="1"/>
          </p:cNvSpPr>
          <p:nvPr userDrawn="1">
            <p:ph type="title" hasCustomPrompt="1"/>
          </p:nvPr>
        </p:nvSpPr>
        <p:spPr>
          <a:xfrm>
            <a:off x="5285900" y="545309"/>
            <a:ext cx="7541828" cy="285632"/>
          </a:xfrm>
          <a:prstGeom prst="rect">
            <a:avLst/>
          </a:prstGeom>
        </p:spPr>
        <p:txBody>
          <a:bodyPr anchor="b" anchorCtr="0">
            <a:noAutofit/>
          </a:bodyPr>
          <a:lstStyle>
            <a:lvl1pPr marL="0">
              <a:spcBef>
                <a:spcPts val="0"/>
              </a:spcBef>
              <a:defRPr sz="2200" b="1" cap="none" spc="126" baseline="0">
                <a:solidFill>
                  <a:schemeClr val="tx2"/>
                </a:solidFill>
                <a:latin typeface="+mj-lt"/>
              </a:defRPr>
            </a:lvl1pPr>
          </a:lstStyle>
          <a:p>
            <a:r>
              <a:rPr lang="en-US" dirty="0"/>
              <a:t>Click to add title </a:t>
            </a:r>
          </a:p>
        </p:txBody>
      </p:sp>
      <p:sp>
        <p:nvSpPr>
          <p:cNvPr id="40" name="Text Placeholder 3"/>
          <p:cNvSpPr>
            <a:spLocks noGrp="1"/>
          </p:cNvSpPr>
          <p:nvPr userDrawn="1">
            <p:ph type="body" sz="quarter" idx="15" hasCustomPrompt="1"/>
          </p:nvPr>
        </p:nvSpPr>
        <p:spPr>
          <a:xfrm>
            <a:off x="5286997" y="960347"/>
            <a:ext cx="7540731" cy="233454"/>
          </a:xfrm>
          <a:prstGeom prst="rect">
            <a:avLst/>
          </a:prstGeom>
        </p:spPr>
        <p:txBody>
          <a:bodyPr wrap="square">
            <a:noAutofit/>
          </a:bodyPr>
          <a:lstStyle>
            <a:lvl1pPr marL="0" indent="0">
              <a:spcAft>
                <a:spcPts val="0"/>
              </a:spcAft>
              <a:buNone/>
              <a:defRPr sz="1800" b="1" cap="none" spc="126" baseline="0">
                <a:solidFill>
                  <a:schemeClr val="accent2"/>
                </a:solidFill>
                <a:latin typeface="+mj-lt"/>
              </a:defRPr>
            </a:lvl1pPr>
          </a:lstStyle>
          <a:p>
            <a:pPr lvl="0"/>
            <a:r>
              <a:rPr lang="en-US" dirty="0"/>
              <a:t>Click to add subtitle </a:t>
            </a:r>
            <a:endParaRPr lang="fr-FR" dirty="0"/>
          </a:p>
        </p:txBody>
      </p:sp>
      <p:sp>
        <p:nvSpPr>
          <p:cNvPr id="3" name="Text Placeholder 2"/>
          <p:cNvSpPr>
            <a:spLocks noGrp="1" noChangeAspect="1"/>
          </p:cNvSpPr>
          <p:nvPr userDrawn="1">
            <p:ph type="body" sz="quarter" idx="17" hasCustomPrompt="1"/>
          </p:nvPr>
        </p:nvSpPr>
        <p:spPr>
          <a:xfrm>
            <a:off x="5286997" y="3859551"/>
            <a:ext cx="7540731" cy="307777"/>
          </a:xfrm>
          <a:prstGeom prst="rect">
            <a:avLst/>
          </a:prstGeom>
        </p:spPr>
        <p:txBody>
          <a:bodyPr wrap="square" anchor="ctr">
            <a:spAutoFit/>
          </a:bodyPr>
          <a:lstStyle>
            <a:lvl1pPr marL="135756" indent="0" algn="r">
              <a:buNone/>
              <a:defRPr sz="2000" b="0" cap="none" spc="126" baseline="0">
                <a:solidFill>
                  <a:schemeClr val="tx2"/>
                </a:solidFill>
                <a:latin typeface="+mn-lt"/>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dirty="0"/>
              <a:t>Click to add text</a:t>
            </a:r>
          </a:p>
        </p:txBody>
      </p:sp>
      <p:sp>
        <p:nvSpPr>
          <p:cNvPr id="8" name="Picture Placeholder 3">
            <a:extLst>
              <a:ext uri="{FF2B5EF4-FFF2-40B4-BE49-F238E27FC236}">
                <a16:creationId xmlns:a16="http://schemas.microsoft.com/office/drawing/2014/main" id="{0C7D8EF3-4E56-4965-9488-AE26D53DCF3C}"/>
              </a:ext>
            </a:extLst>
          </p:cNvPr>
          <p:cNvSpPr>
            <a:spLocks noGrp="1"/>
          </p:cNvSpPr>
          <p:nvPr>
            <p:ph type="pic" sz="quarter" idx="19" hasCustomPrompt="1"/>
          </p:nvPr>
        </p:nvSpPr>
        <p:spPr>
          <a:xfrm>
            <a:off x="-11211" y="-7230"/>
            <a:ext cx="4968000" cy="7560000"/>
          </a:xfrm>
          <a:custGeom>
            <a:avLst/>
            <a:gdLst>
              <a:gd name="connsiteX0" fmla="*/ 0 w 6324600"/>
              <a:gd name="connsiteY0" fmla="*/ 5589064 h 5589064"/>
              <a:gd name="connsiteX1" fmla="*/ 2236967 w 6324600"/>
              <a:gd name="connsiteY1" fmla="*/ 0 h 5589064"/>
              <a:gd name="connsiteX2" fmla="*/ 6324600 w 6324600"/>
              <a:gd name="connsiteY2" fmla="*/ 0 h 5589064"/>
              <a:gd name="connsiteX3" fmla="*/ 4087633 w 6324600"/>
              <a:gd name="connsiteY3" fmla="*/ 5589064 h 5589064"/>
              <a:gd name="connsiteX4" fmla="*/ 0 w 6324600"/>
              <a:gd name="connsiteY4" fmla="*/ 5589064 h 5589064"/>
              <a:gd name="connsiteX0" fmla="*/ 0 w 6384618"/>
              <a:gd name="connsiteY0" fmla="*/ 5592595 h 5592595"/>
              <a:gd name="connsiteX1" fmla="*/ 2236967 w 6384618"/>
              <a:gd name="connsiteY1" fmla="*/ 3531 h 5592595"/>
              <a:gd name="connsiteX2" fmla="*/ 6384618 w 6384618"/>
              <a:gd name="connsiteY2" fmla="*/ 0 h 5592595"/>
              <a:gd name="connsiteX3" fmla="*/ 4087633 w 6384618"/>
              <a:gd name="connsiteY3" fmla="*/ 5592595 h 5592595"/>
              <a:gd name="connsiteX4" fmla="*/ 0 w 6384618"/>
              <a:gd name="connsiteY4" fmla="*/ 5592595 h 5592595"/>
              <a:gd name="connsiteX0" fmla="*/ 0 w 6384618"/>
              <a:gd name="connsiteY0" fmla="*/ 5592595 h 5599656"/>
              <a:gd name="connsiteX1" fmla="*/ 2236967 w 6384618"/>
              <a:gd name="connsiteY1" fmla="*/ 3531 h 5599656"/>
              <a:gd name="connsiteX2" fmla="*/ 6384618 w 6384618"/>
              <a:gd name="connsiteY2" fmla="*/ 0 h 5599656"/>
              <a:gd name="connsiteX3" fmla="*/ 4129999 w 6384618"/>
              <a:gd name="connsiteY3" fmla="*/ 5599656 h 5599656"/>
              <a:gd name="connsiteX4" fmla="*/ 0 w 6384618"/>
              <a:gd name="connsiteY4" fmla="*/ 5592595 h 5599656"/>
              <a:gd name="connsiteX0" fmla="*/ 41413 w 4147651"/>
              <a:gd name="connsiteY0" fmla="*/ 5604025 h 5604025"/>
              <a:gd name="connsiteX1" fmla="*/ 0 w 4147651"/>
              <a:gd name="connsiteY1" fmla="*/ 3531 h 5604025"/>
              <a:gd name="connsiteX2" fmla="*/ 4147651 w 4147651"/>
              <a:gd name="connsiteY2" fmla="*/ 0 h 5604025"/>
              <a:gd name="connsiteX3" fmla="*/ 1893032 w 4147651"/>
              <a:gd name="connsiteY3" fmla="*/ 5599656 h 5604025"/>
              <a:gd name="connsiteX4" fmla="*/ 41413 w 4147651"/>
              <a:gd name="connsiteY4" fmla="*/ 5604025 h 5604025"/>
              <a:gd name="connsiteX0" fmla="*/ 0 w 4106238"/>
              <a:gd name="connsiteY0" fmla="*/ 5604304 h 5604304"/>
              <a:gd name="connsiteX1" fmla="*/ 497 w 4106238"/>
              <a:gd name="connsiteY1" fmla="*/ 0 h 5604304"/>
              <a:gd name="connsiteX2" fmla="*/ 4106238 w 4106238"/>
              <a:gd name="connsiteY2" fmla="*/ 279 h 5604304"/>
              <a:gd name="connsiteX3" fmla="*/ 1851619 w 4106238"/>
              <a:gd name="connsiteY3" fmla="*/ 5599935 h 5604304"/>
              <a:gd name="connsiteX4" fmla="*/ 0 w 4106238"/>
              <a:gd name="connsiteY4" fmla="*/ 5604304 h 5604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6238" h="5604304">
                <a:moveTo>
                  <a:pt x="0" y="5604304"/>
                </a:moveTo>
                <a:cubicBezTo>
                  <a:pt x="166" y="3736203"/>
                  <a:pt x="331" y="1868101"/>
                  <a:pt x="497" y="0"/>
                </a:cubicBezTo>
                <a:lnTo>
                  <a:pt x="4106238" y="279"/>
                </a:lnTo>
                <a:lnTo>
                  <a:pt x="1851619" y="5599935"/>
                </a:lnTo>
                <a:lnTo>
                  <a:pt x="0" y="5604304"/>
                </a:lnTo>
                <a:close/>
              </a:path>
            </a:pathLst>
          </a:custGeom>
          <a:ln>
            <a:noFill/>
          </a:ln>
        </p:spPr>
        <p:txBody>
          <a:bodyPr anchor="ctr"/>
          <a:lstStyle>
            <a:lvl1pPr marL="290827" indent="0" algn="l">
              <a:buNone/>
              <a:defRPr baseline="0"/>
            </a:lvl1pPr>
          </a:lstStyle>
          <a:p>
            <a:r>
              <a:rPr lang="fr-FR" dirty="0" err="1"/>
              <a:t>Add</a:t>
            </a:r>
            <a:r>
              <a:rPr lang="fr-FR" dirty="0"/>
              <a:t> Picture</a:t>
            </a:r>
          </a:p>
        </p:txBody>
      </p:sp>
    </p:spTree>
    <p:extLst>
      <p:ext uri="{BB962C8B-B14F-4D97-AF65-F5344CB8AC3E}">
        <p14:creationId xmlns:p14="http://schemas.microsoft.com/office/powerpoint/2010/main" val="31269143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ink-cell agenda">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E8EDB328-C9E5-4C49-A643-A95F0A6CB10C}"/>
              </a:ext>
            </a:extLst>
          </p:cNvPr>
          <p:cNvGraphicFramePr>
            <a:graphicFrameLocks noChangeAspect="1"/>
          </p:cNvGraphicFramePr>
          <p:nvPr userDrawn="1">
            <p:custDataLst>
              <p:tags r:id="rId2"/>
            </p:custDataLst>
            <p:extLst>
              <p:ext uri="{D42A27DB-BD31-4B8C-83A1-F6EECF244321}">
                <p14:modId xmlns:p14="http://schemas.microsoft.com/office/powerpoint/2010/main" val="513380714"/>
              </p:ext>
            </p:extLst>
          </p:nvPr>
        </p:nvGraphicFramePr>
        <p:xfrm>
          <a:off x="1996" y="1588"/>
          <a:ext cx="1996" cy="1588"/>
        </p:xfrm>
        <a:graphic>
          <a:graphicData uri="http://schemas.openxmlformats.org/presentationml/2006/ole">
            <mc:AlternateContent xmlns:mc="http://schemas.openxmlformats.org/markup-compatibility/2006">
              <mc:Choice xmlns:v="urn:schemas-microsoft-com:vml" Requires="v">
                <p:oleObj spid="_x0000_s10344" name="Diapositive think-cell" r:id="rId4" imgW="473" imgH="470" progId="TCLayout.ActiveDocument.1">
                  <p:embed/>
                </p:oleObj>
              </mc:Choice>
              <mc:Fallback>
                <p:oleObj name="Diapositive think-cell" r:id="rId4" imgW="473" imgH="470" progId="TCLayout.ActiveDocument.1">
                  <p:embed/>
                  <p:pic>
                    <p:nvPicPr>
                      <p:cNvPr id="3" name="Objet 2" hidden="1">
                        <a:extLst>
                          <a:ext uri="{FF2B5EF4-FFF2-40B4-BE49-F238E27FC236}">
                            <a16:creationId xmlns:a16="http://schemas.microsoft.com/office/drawing/2014/main" id="{E8EDB328-C9E5-4C49-A643-A95F0A6CB10C}"/>
                          </a:ext>
                        </a:extLst>
                      </p:cNvPr>
                      <p:cNvPicPr/>
                      <p:nvPr/>
                    </p:nvPicPr>
                    <p:blipFill>
                      <a:blip r:embed="rId5"/>
                      <a:stretch>
                        <a:fillRect/>
                      </a:stretch>
                    </p:blipFill>
                    <p:spPr>
                      <a:xfrm>
                        <a:off x="1996" y="1588"/>
                        <a:ext cx="1996" cy="1588"/>
                      </a:xfrm>
                      <a:prstGeom prst="rect">
                        <a:avLst/>
                      </a:prstGeom>
                    </p:spPr>
                  </p:pic>
                </p:oleObj>
              </mc:Fallback>
            </mc:AlternateContent>
          </a:graphicData>
        </a:graphic>
      </p:graphicFrame>
      <p:sp>
        <p:nvSpPr>
          <p:cNvPr id="7" name="object 2"/>
          <p:cNvSpPr/>
          <p:nvPr userDrawn="1"/>
        </p:nvSpPr>
        <p:spPr>
          <a:xfrm>
            <a:off x="1" y="3176"/>
            <a:ext cx="4701600" cy="7566025"/>
          </a:xfrm>
          <a:custGeom>
            <a:avLst/>
            <a:gdLst/>
            <a:ahLst/>
            <a:cxnLst/>
            <a:rect l="l" t="t" r="r" b="b"/>
            <a:pathLst>
              <a:path w="7137400" h="9144000">
                <a:moveTo>
                  <a:pt x="7136879" y="0"/>
                </a:moveTo>
                <a:lnTo>
                  <a:pt x="794283" y="0"/>
                </a:lnTo>
                <a:lnTo>
                  <a:pt x="0" y="1965934"/>
                </a:lnTo>
                <a:lnTo>
                  <a:pt x="0" y="9144000"/>
                </a:lnTo>
                <a:lnTo>
                  <a:pt x="3442462" y="9144000"/>
                </a:lnTo>
                <a:lnTo>
                  <a:pt x="7136879" y="0"/>
                </a:lnTo>
                <a:close/>
              </a:path>
            </a:pathLst>
          </a:custGeom>
          <a:solidFill>
            <a:schemeClr val="tx2"/>
          </a:solidFill>
        </p:spPr>
        <p:txBody>
          <a:bodyPr wrap="square" lIns="0" tIns="0" rIns="0" bIns="0" rtlCol="0"/>
          <a:lstStyle/>
          <a:p>
            <a:endParaRPr sz="2640" spc="126" baseline="0" dirty="0"/>
          </a:p>
        </p:txBody>
      </p:sp>
      <p:sp>
        <p:nvSpPr>
          <p:cNvPr id="5" name="Rectangle 4">
            <a:extLst>
              <a:ext uri="{FF2B5EF4-FFF2-40B4-BE49-F238E27FC236}">
                <a16:creationId xmlns:a16="http://schemas.microsoft.com/office/drawing/2014/main" id="{834201C8-0F97-4F5E-A0CB-9F800FC6983C}"/>
              </a:ext>
            </a:extLst>
          </p:cNvPr>
          <p:cNvSpPr/>
          <p:nvPr userDrawn="1"/>
        </p:nvSpPr>
        <p:spPr>
          <a:xfrm>
            <a:off x="597652" y="1422400"/>
            <a:ext cx="2873518" cy="523220"/>
          </a:xfrm>
          <a:prstGeom prst="rect">
            <a:avLst/>
          </a:prstGeom>
        </p:spPr>
        <p:txBody>
          <a:bodyPr wrap="square">
            <a:spAutoFit/>
          </a:bodyPr>
          <a:lstStyle/>
          <a:p>
            <a:pPr marL="23970" eaLnBrk="1" hangingPunct="1">
              <a:spcBef>
                <a:spcPts val="812"/>
              </a:spcBef>
              <a:tabLst>
                <a:tab pos="1821705" algn="l"/>
                <a:tab pos="4901824" algn="l"/>
                <a:tab pos="6076343" algn="l"/>
                <a:tab pos="8752172" algn="l"/>
              </a:tabLst>
            </a:pPr>
            <a:r>
              <a:rPr lang="fr-FR" sz="2800" b="1" i="0" kern="1200" cap="none" spc="126" baseline="0" dirty="0">
                <a:solidFill>
                  <a:schemeClr val="bg1"/>
                </a:solidFill>
                <a:latin typeface="+mj-lt"/>
                <a:ea typeface="+mj-ea"/>
                <a:cs typeface="Arial"/>
              </a:rPr>
              <a:t>Agenda</a:t>
            </a:r>
            <a:endParaRPr lang="en-US" sz="2800" b="1" i="0" kern="1200" cap="none" spc="126" baseline="0" dirty="0">
              <a:solidFill>
                <a:schemeClr val="bg1"/>
              </a:solidFill>
              <a:latin typeface="+mj-lt"/>
              <a:ea typeface="+mj-ea"/>
              <a:cs typeface="Arial"/>
            </a:endParaRPr>
          </a:p>
        </p:txBody>
      </p:sp>
      <p:sp>
        <p:nvSpPr>
          <p:cNvPr id="11" name="object 23">
            <a:extLst>
              <a:ext uri="{FF2B5EF4-FFF2-40B4-BE49-F238E27FC236}">
                <a16:creationId xmlns:a16="http://schemas.microsoft.com/office/drawing/2014/main" id="{39A33DEE-C577-42FF-867C-0021F7589EC9}"/>
              </a:ext>
            </a:extLst>
          </p:cNvPr>
          <p:cNvSpPr/>
          <p:nvPr userDrawn="1"/>
        </p:nvSpPr>
        <p:spPr>
          <a:xfrm>
            <a:off x="1" y="0"/>
            <a:ext cx="789218" cy="1651000"/>
          </a:xfrm>
          <a:custGeom>
            <a:avLst/>
            <a:gdLst/>
            <a:ahLst/>
            <a:cxnLst/>
            <a:rect l="l" t="t" r="r" b="b"/>
            <a:pathLst>
              <a:path w="799465" h="1977389">
                <a:moveTo>
                  <a:pt x="798918" y="0"/>
                </a:moveTo>
                <a:lnTo>
                  <a:pt x="0" y="0"/>
                </a:lnTo>
                <a:lnTo>
                  <a:pt x="0" y="1977389"/>
                </a:lnTo>
                <a:lnTo>
                  <a:pt x="798918" y="0"/>
                </a:lnTo>
                <a:close/>
              </a:path>
            </a:pathLst>
          </a:custGeom>
          <a:solidFill>
            <a:schemeClr val="tx2"/>
          </a:solidFill>
        </p:spPr>
        <p:txBody>
          <a:bodyPr wrap="square" lIns="0" tIns="0" rIns="0" bIns="0" rtlCol="0"/>
          <a:lstStyle/>
          <a:p>
            <a:endParaRPr sz="2640" spc="126" baseline="0"/>
          </a:p>
        </p:txBody>
      </p:sp>
      <p:pic>
        <p:nvPicPr>
          <p:cNvPr id="9" name="Picture 4">
            <a:extLst>
              <a:ext uri="{FF2B5EF4-FFF2-40B4-BE49-F238E27FC236}">
                <a16:creationId xmlns:a16="http://schemas.microsoft.com/office/drawing/2014/main" id="{A166A86B-3187-41E8-9D9C-B63531A2BAC9}"/>
              </a:ext>
            </a:extLst>
          </p:cNvPr>
          <p:cNvPicPr>
            <a:picLocks noChangeAspect="1" noChangeArrowheads="1"/>
          </p:cNvPicPr>
          <p:nvPr userDrawn="1"/>
        </p:nvPicPr>
        <p:blipFill rotWithShape="1">
          <a:blip r:embed="rId6" cstate="print">
            <a:lum bright="70000" contrast="-70000"/>
            <a:extLst>
              <a:ext uri="{28A0092B-C50C-407E-A947-70E740481C1C}">
                <a14:useLocalDpi xmlns:a14="http://schemas.microsoft.com/office/drawing/2010/main" val="0"/>
              </a:ext>
            </a:extLst>
          </a:blip>
          <a:srcRect b="30786"/>
          <a:stretch/>
        </p:blipFill>
        <p:spPr bwMode="auto">
          <a:xfrm>
            <a:off x="181976" y="7160052"/>
            <a:ext cx="756786" cy="211234"/>
          </a:xfrm>
          <a:prstGeom prst="rect">
            <a:avLst/>
          </a:prstGeom>
          <a:noFill/>
          <a:extLst>
            <a:ext uri="{909E8E84-426E-40DD-AFC4-6F175D3DCCD1}">
              <a14:hiddenFill xmlns:a14="http://schemas.microsoft.com/office/drawing/2010/main">
                <a:solidFill>
                  <a:srgbClr val="FFFFFF"/>
                </a:solidFill>
              </a14:hiddenFill>
            </a:ext>
          </a:extLst>
        </p:spPr>
      </p:pic>
      <p:sp>
        <p:nvSpPr>
          <p:cNvPr id="10" name="object 23">
            <a:extLst>
              <a:ext uri="{FF2B5EF4-FFF2-40B4-BE49-F238E27FC236}">
                <a16:creationId xmlns:a16="http://schemas.microsoft.com/office/drawing/2014/main" id="{7AA5D8CA-2837-4034-81B0-024842A03E1F}"/>
              </a:ext>
            </a:extLst>
          </p:cNvPr>
          <p:cNvSpPr>
            <a:spLocks noChangeAspect="1"/>
          </p:cNvSpPr>
          <p:nvPr userDrawn="1"/>
        </p:nvSpPr>
        <p:spPr>
          <a:xfrm>
            <a:off x="0" y="1"/>
            <a:ext cx="484975" cy="1237344"/>
          </a:xfrm>
          <a:custGeom>
            <a:avLst/>
            <a:gdLst/>
            <a:ahLst/>
            <a:cxnLst/>
            <a:rect l="l" t="t" r="r" b="b"/>
            <a:pathLst>
              <a:path w="799465" h="1977389">
                <a:moveTo>
                  <a:pt x="798918" y="0"/>
                </a:moveTo>
                <a:lnTo>
                  <a:pt x="0" y="0"/>
                </a:lnTo>
                <a:lnTo>
                  <a:pt x="0" y="1977389"/>
                </a:lnTo>
                <a:lnTo>
                  <a:pt x="798918" y="0"/>
                </a:lnTo>
                <a:close/>
              </a:path>
            </a:pathLst>
          </a:custGeom>
          <a:solidFill>
            <a:srgbClr val="FFFFFF"/>
          </a:solidFill>
        </p:spPr>
        <p:txBody>
          <a:bodyPr wrap="square" lIns="0" tIns="0" rIns="0" bIns="0" rtlCol="0"/>
          <a:lstStyle/>
          <a:p>
            <a:pPr defTabSz="914400">
              <a:defRPr/>
            </a:pPr>
            <a:endParaRPr sz="1800" kern="0" spc="100" dirty="0">
              <a:solidFill>
                <a:srgbClr val="000000"/>
              </a:solidFill>
            </a:endParaRPr>
          </a:p>
        </p:txBody>
      </p:sp>
    </p:spTree>
    <p:extLst>
      <p:ext uri="{BB962C8B-B14F-4D97-AF65-F5344CB8AC3E}">
        <p14:creationId xmlns:p14="http://schemas.microsoft.com/office/powerpoint/2010/main" val="21916979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tags" Target="../tags/tag21.xml"/><Relationship Id="rId3" Type="http://schemas.openxmlformats.org/officeDocument/2006/relationships/slideLayout" Target="../slideLayouts/slideLayout18.xml"/><Relationship Id="rId21" Type="http://schemas.openxmlformats.org/officeDocument/2006/relationships/image" Target="../media/image1.emf"/><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vmlDrawing" Target="../drawings/vmlDrawing11.vml"/><Relationship Id="rId2" Type="http://schemas.openxmlformats.org/officeDocument/2006/relationships/slideLayout" Target="../slideLayouts/slideLayout17.xml"/><Relationship Id="rId16" Type="http://schemas.openxmlformats.org/officeDocument/2006/relationships/theme" Target="../theme/theme2.xml"/><Relationship Id="rId20" Type="http://schemas.openxmlformats.org/officeDocument/2006/relationships/oleObject" Target="../embeddings/oleObject11.bin"/><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19" Type="http://schemas.openxmlformats.org/officeDocument/2006/relationships/tags" Target="../tags/tag22.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vmlDrawing" Target="../drawings/vmlDrawing21.vml"/><Relationship Id="rId3" Type="http://schemas.openxmlformats.org/officeDocument/2006/relationships/slideLayout" Target="../slideLayouts/slideLayout33.xml"/><Relationship Id="rId21" Type="http://schemas.openxmlformats.org/officeDocument/2006/relationships/oleObject" Target="../embeddings/oleObject21.bin"/><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theme" Target="../theme/theme3.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tags" Target="../tags/tag41.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image" Target="../media/image2.png"/><Relationship Id="rId10" Type="http://schemas.openxmlformats.org/officeDocument/2006/relationships/slideLayout" Target="../slideLayouts/slideLayout40.xml"/><Relationship Id="rId19" Type="http://schemas.openxmlformats.org/officeDocument/2006/relationships/tags" Target="../tags/tag4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B11AADBD-AEDF-46EF-9B80-839B6337C256}"/>
              </a:ext>
            </a:extLst>
          </p:cNvPr>
          <p:cNvGraphicFramePr>
            <a:graphicFrameLocks noChangeAspect="1"/>
          </p:cNvGraphicFramePr>
          <p:nvPr userDrawn="1">
            <p:custDataLst>
              <p:tags r:id="rId18"/>
            </p:custDataLst>
            <p:extLst>
              <p:ext uri="{D42A27DB-BD31-4B8C-83A1-F6EECF244321}">
                <p14:modId xmlns:p14="http://schemas.microsoft.com/office/powerpoint/2010/main" val="3738798863"/>
              </p:ext>
            </p:extLst>
          </p:nvPr>
        </p:nvGraphicFramePr>
        <p:xfrm>
          <a:off x="1996" y="1588"/>
          <a:ext cx="1996" cy="1588"/>
        </p:xfrm>
        <a:graphic>
          <a:graphicData uri="http://schemas.openxmlformats.org/presentationml/2006/ole">
            <mc:AlternateContent xmlns:mc="http://schemas.openxmlformats.org/markup-compatibility/2006">
              <mc:Choice xmlns:v="urn:schemas-microsoft-com:vml" Requires="v">
                <p:oleObj spid="_x0000_s1129" name="Diapositive think-cell" r:id="rId20" imgW="473" imgH="470" progId="TCLayout.ActiveDocument.1">
                  <p:embed/>
                </p:oleObj>
              </mc:Choice>
              <mc:Fallback>
                <p:oleObj name="Diapositive think-cell" r:id="rId20" imgW="473" imgH="470" progId="TCLayout.ActiveDocument.1">
                  <p:embed/>
                  <p:pic>
                    <p:nvPicPr>
                      <p:cNvPr id="5" name="Objet 4" hidden="1">
                        <a:extLst>
                          <a:ext uri="{FF2B5EF4-FFF2-40B4-BE49-F238E27FC236}">
                            <a16:creationId xmlns:a16="http://schemas.microsoft.com/office/drawing/2014/main" id="{B11AADBD-AEDF-46EF-9B80-839B6337C256}"/>
                          </a:ext>
                        </a:extLst>
                      </p:cNvPr>
                      <p:cNvPicPr/>
                      <p:nvPr/>
                    </p:nvPicPr>
                    <p:blipFill>
                      <a:blip r:embed="rId21"/>
                      <a:stretch>
                        <a:fillRect/>
                      </a:stretch>
                    </p:blipFill>
                    <p:spPr>
                      <a:xfrm>
                        <a:off x="1996" y="1588"/>
                        <a:ext cx="1996"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1BC4079-B2E4-48B6-A3CD-794A2ADE8A6E}"/>
              </a:ext>
            </a:extLst>
          </p:cNvPr>
          <p:cNvSpPr/>
          <p:nvPr userDrawn="1">
            <p:custDataLst>
              <p:tags r:id="rId19"/>
            </p:custDataLst>
          </p:nvPr>
        </p:nvSpPr>
        <p:spPr>
          <a:xfrm>
            <a:off x="0" y="0"/>
            <a:ext cx="199550" cy="158750"/>
          </a:xfrm>
          <a:prstGeom prst="rect">
            <a:avLst/>
          </a:prstGeom>
          <a:solidFill>
            <a:schemeClr val="tx2"/>
          </a:solidFill>
        </p:spPr>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200" b="1" i="0" baseline="0" dirty="0" err="1">
              <a:solidFill>
                <a:schemeClr val="bg1"/>
              </a:solidFill>
              <a:latin typeface="Calibri Light" panose="020F0302020204030204" pitchFamily="34" charset="0"/>
              <a:ea typeface="+mj-ea"/>
              <a:cs typeface="Arial" panose="020B0604020202020204" pitchFamily="34" charset="0"/>
              <a:sym typeface="Calibri Light" panose="020F0302020204030204" pitchFamily="34" charset="0"/>
            </a:endParaRPr>
          </a:p>
        </p:txBody>
      </p:sp>
      <p:sp>
        <p:nvSpPr>
          <p:cNvPr id="7" name="Text Placeholder 6"/>
          <p:cNvSpPr>
            <a:spLocks noGrp="1"/>
          </p:cNvSpPr>
          <p:nvPr>
            <p:ph type="body" idx="1"/>
          </p:nvPr>
        </p:nvSpPr>
        <p:spPr>
          <a:xfrm>
            <a:off x="609618" y="1483200"/>
            <a:ext cx="12218110" cy="5040000"/>
          </a:xfrm>
          <a:prstGeom prst="rect">
            <a:avLst/>
          </a:prstGeom>
        </p:spPr>
        <p:txBody>
          <a:bodyPr vert="horz" wrap="square" lIns="0" tIns="0" rIns="0" bIns="0" rtlCol="0">
            <a:normAutofit/>
          </a:bodyPr>
          <a:lstStyle/>
          <a:p>
            <a:pPr lvl="0"/>
            <a:r>
              <a:rPr lang="en-US" noProof="0" dirty="0"/>
              <a:t>Click to add text</a:t>
            </a:r>
          </a:p>
          <a:p>
            <a:pPr lvl="1"/>
            <a:r>
              <a:rPr lang="en-US" noProof="0" dirty="0"/>
              <a:t>Click to add text</a:t>
            </a:r>
          </a:p>
          <a:p>
            <a:pPr lvl="2"/>
            <a:r>
              <a:rPr lang="en-US" noProof="0" dirty="0"/>
              <a:t>Click to add text</a:t>
            </a:r>
          </a:p>
          <a:p>
            <a:pPr lvl="3"/>
            <a:r>
              <a:rPr lang="en-US" noProof="0" dirty="0"/>
              <a:t>Click to add text</a:t>
            </a:r>
          </a:p>
          <a:p>
            <a:pPr lvl="4"/>
            <a:r>
              <a:rPr lang="en-US" noProof="0" dirty="0"/>
              <a:t>Click to add text</a:t>
            </a:r>
          </a:p>
        </p:txBody>
      </p:sp>
      <p:sp>
        <p:nvSpPr>
          <p:cNvPr id="3" name="Title Placeholder 2"/>
          <p:cNvSpPr>
            <a:spLocks noGrp="1"/>
          </p:cNvSpPr>
          <p:nvPr>
            <p:ph type="title"/>
          </p:nvPr>
        </p:nvSpPr>
        <p:spPr>
          <a:xfrm>
            <a:off x="609618" y="545662"/>
            <a:ext cx="12218110" cy="338554"/>
          </a:xfrm>
          <a:prstGeom prst="rect">
            <a:avLst/>
          </a:prstGeom>
        </p:spPr>
        <p:txBody>
          <a:bodyPr vert="horz" wrap="square" lIns="0" tIns="0" rIns="0" bIns="0" rtlCol="0" anchor="b" anchorCtr="0">
            <a:spAutoFit/>
          </a:bodyPr>
          <a:lstStyle/>
          <a:p>
            <a:pPr lvl="0"/>
            <a:r>
              <a:rPr lang="en-US" dirty="0"/>
              <a:t>Click to edit Master title style</a:t>
            </a:r>
          </a:p>
        </p:txBody>
      </p:sp>
      <p:pic>
        <p:nvPicPr>
          <p:cNvPr id="12" name="Picture 4">
            <a:extLst>
              <a:ext uri="{FF2B5EF4-FFF2-40B4-BE49-F238E27FC236}">
                <a16:creationId xmlns:a16="http://schemas.microsoft.com/office/drawing/2014/main" id="{77FAF60A-DF51-4FF5-87E4-84BFBFFB001D}"/>
              </a:ext>
            </a:extLst>
          </p:cNvPr>
          <p:cNvPicPr>
            <a:picLocks noChangeAspect="1" noChangeArrowheads="1"/>
          </p:cNvPicPr>
          <p:nvPr userDrawn="1"/>
        </p:nvPicPr>
        <p:blipFill rotWithShape="1">
          <a:blip r:embed="rId22" cstate="print">
            <a:extLst>
              <a:ext uri="{28A0092B-C50C-407E-A947-70E740481C1C}">
                <a14:useLocalDpi xmlns:a14="http://schemas.microsoft.com/office/drawing/2010/main" val="0"/>
              </a:ext>
            </a:extLst>
          </a:blip>
          <a:srcRect b="30786"/>
          <a:stretch/>
        </p:blipFill>
        <p:spPr bwMode="auto">
          <a:xfrm>
            <a:off x="181976" y="7160052"/>
            <a:ext cx="756786" cy="211234"/>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E152E827-358D-4BFC-8DEF-BB98ED38B64A}"/>
              </a:ext>
            </a:extLst>
          </p:cNvPr>
          <p:cNvSpPr/>
          <p:nvPr userDrawn="1"/>
        </p:nvSpPr>
        <p:spPr>
          <a:xfrm>
            <a:off x="3679825" y="7061200"/>
            <a:ext cx="8762999" cy="3303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1" indent="0" algn="r" defTabSz="1044789" rtl="0" eaLnBrk="1" fontAlgn="auto" latinLnBrk="0" hangingPunct="1">
              <a:lnSpc>
                <a:spcPct val="100000"/>
              </a:lnSpc>
              <a:spcBef>
                <a:spcPts val="0"/>
              </a:spcBef>
              <a:spcAft>
                <a:spcPts val="0"/>
              </a:spcAft>
              <a:buClr>
                <a:schemeClr val="accent1">
                  <a:lumMod val="100000"/>
                </a:schemeClr>
              </a:buClr>
              <a:buSzPct val="100000"/>
              <a:buFont typeface="Wingdings" panose="05000000000000000000" pitchFamily="2" charset="2"/>
              <a:buNone/>
              <a:tabLst/>
              <a:defRPr/>
            </a:pPr>
            <a:endParaRPr kumimoji="0" lang="fr-FR" sz="1400" b="1" i="0" u="none" strike="noStrike" kern="1200" cap="none" spc="0" normalizeH="0" baseline="0" noProof="0" dirty="0">
              <a:ln>
                <a:noFill/>
              </a:ln>
              <a:solidFill>
                <a:srgbClr val="58BCAD"/>
              </a:solidFill>
              <a:effectLst/>
              <a:uLnTx/>
              <a:uFillTx/>
              <a:latin typeface="+mn-lt"/>
              <a:ea typeface="+mn-ea"/>
              <a:cs typeface="+mn-cs"/>
            </a:endParaRPr>
          </a:p>
        </p:txBody>
      </p:sp>
      <p:sp>
        <p:nvSpPr>
          <p:cNvPr id="14" name="Rectangle 13">
            <a:extLst>
              <a:ext uri="{FF2B5EF4-FFF2-40B4-BE49-F238E27FC236}">
                <a16:creationId xmlns:a16="http://schemas.microsoft.com/office/drawing/2014/main" id="{94F118FF-E499-436E-B890-8203CD92A523}"/>
              </a:ext>
            </a:extLst>
          </p:cNvPr>
          <p:cNvSpPr/>
          <p:nvPr userDrawn="1"/>
        </p:nvSpPr>
        <p:spPr>
          <a:xfrm>
            <a:off x="12442824" y="7057710"/>
            <a:ext cx="571800" cy="3338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044789" rtl="0" eaLnBrk="1" fontAlgn="auto" latinLnBrk="0" hangingPunct="1">
              <a:lnSpc>
                <a:spcPct val="100000"/>
              </a:lnSpc>
              <a:spcBef>
                <a:spcPts val="0"/>
              </a:spcBef>
              <a:spcAft>
                <a:spcPts val="0"/>
              </a:spcAft>
              <a:buClrTx/>
              <a:buSzTx/>
              <a:buFontTx/>
              <a:buNone/>
              <a:tabLst/>
              <a:defRPr/>
            </a:pPr>
            <a:r>
              <a:rPr kumimoji="0" lang="pt-BR" sz="1400" b="1" i="0" u="none" strike="noStrike" kern="1200" cap="none" spc="0" normalizeH="0" baseline="0" noProof="0" dirty="0">
                <a:ln>
                  <a:noFill/>
                </a:ln>
                <a:solidFill>
                  <a:srgbClr val="58BCAD"/>
                </a:solidFill>
                <a:effectLst/>
                <a:uLnTx/>
                <a:uFillTx/>
                <a:latin typeface="+mn-lt"/>
                <a:ea typeface="+mn-ea"/>
                <a:cs typeface="+mn-cs"/>
              </a:rPr>
              <a:t>/  </a:t>
            </a:r>
            <a:fld id="{5674A47C-2196-4FDC-815D-2AC5BA82C3B8}" type="slidenum">
              <a:rPr kumimoji="0" lang="pt-BR" sz="1400" b="1" i="0" u="none" strike="noStrike" kern="1200" cap="none" spc="0" normalizeH="0" baseline="0" noProof="0" smtClean="0">
                <a:ln>
                  <a:noFill/>
                </a:ln>
                <a:solidFill>
                  <a:srgbClr val="58BCAD"/>
                </a:solidFill>
                <a:effectLst/>
                <a:uLnTx/>
                <a:uFillTx/>
                <a:latin typeface="+mn-lt"/>
                <a:ea typeface="+mn-ea"/>
                <a:cs typeface="+mn-cs"/>
              </a:rPr>
              <a:pPr marL="0" marR="0" lvl="0" indent="0" algn="l" defTabSz="1044789" rtl="0" eaLnBrk="1" fontAlgn="auto" latinLnBrk="0" hangingPunct="1">
                <a:lnSpc>
                  <a:spcPct val="100000"/>
                </a:lnSpc>
                <a:spcBef>
                  <a:spcPts val="0"/>
                </a:spcBef>
                <a:spcAft>
                  <a:spcPts val="0"/>
                </a:spcAft>
                <a:buClrTx/>
                <a:buSzTx/>
                <a:buFontTx/>
                <a:buNone/>
                <a:tabLst/>
                <a:defRPr/>
              </a:pPr>
              <a:t>‹N°›</a:t>
            </a:fld>
            <a:endParaRPr kumimoji="0" lang="pt-BR" sz="1400" b="1" i="0" u="none" strike="noStrike" kern="1200" cap="none" spc="0" normalizeH="0" baseline="0" noProof="0" dirty="0">
              <a:ln>
                <a:noFill/>
              </a:ln>
              <a:solidFill>
                <a:srgbClr val="58BCAD"/>
              </a:solidFill>
              <a:effectLst/>
              <a:uLnTx/>
              <a:uFillTx/>
              <a:latin typeface="+mn-lt"/>
              <a:ea typeface="+mn-ea"/>
              <a:cs typeface="+mn-cs"/>
            </a:endParaRPr>
          </a:p>
        </p:txBody>
      </p:sp>
    </p:spTree>
    <p:extLst>
      <p:ext uri="{BB962C8B-B14F-4D97-AF65-F5344CB8AC3E}">
        <p14:creationId xmlns:p14="http://schemas.microsoft.com/office/powerpoint/2010/main" val="273700688"/>
      </p:ext>
    </p:extLst>
  </p:cSld>
  <p:clrMap bg1="lt1" tx1="dk1" bg2="lt2" tx2="dk2" accent1="accent1" accent2="accent2" accent3="accent3" accent4="accent4" accent5="accent5" accent6="accent6" hlink="hlink" folHlink="folHlink"/>
  <p:sldLayoutIdLst>
    <p:sldLayoutId id="2147483679" r:id="rId1"/>
    <p:sldLayoutId id="2147483675" r:id="rId2"/>
    <p:sldLayoutId id="2147483701" r:id="rId3"/>
    <p:sldLayoutId id="2147483700" r:id="rId4"/>
    <p:sldLayoutId id="2147483702" r:id="rId5"/>
    <p:sldLayoutId id="2147483703" r:id="rId6"/>
    <p:sldLayoutId id="2147483711" r:id="rId7"/>
    <p:sldLayoutId id="2147483705" r:id="rId8"/>
    <p:sldLayoutId id="2147483707" r:id="rId9"/>
    <p:sldLayoutId id="2147483684" r:id="rId10"/>
    <p:sldLayoutId id="2147483708" r:id="rId11"/>
    <p:sldLayoutId id="2147483688" r:id="rId12"/>
    <p:sldLayoutId id="2147483685" r:id="rId13"/>
    <p:sldLayoutId id="2147483689" r:id="rId14"/>
    <p:sldLayoutId id="2147483713" r:id="rId15"/>
  </p:sldLayoutIdLst>
  <p:hf hdr="0" ftr="0" dt="0"/>
  <p:txStyles>
    <p:titleStyle>
      <a:lvl1pPr marL="0" indent="0" algn="l" eaLnBrk="1" hangingPunct="1">
        <a:lnSpc>
          <a:spcPct val="100000"/>
        </a:lnSpc>
        <a:spcBef>
          <a:spcPts val="0"/>
        </a:spcBef>
        <a:spcAft>
          <a:spcPts val="0"/>
        </a:spcAft>
        <a:tabLst>
          <a:tab pos="1821705" algn="l"/>
          <a:tab pos="4901824" algn="l"/>
          <a:tab pos="6076343" algn="l"/>
          <a:tab pos="8752172" algn="l"/>
        </a:tabLst>
        <a:defRPr lang="fr-FR" sz="2200" b="1" i="0" u="none" kern="1200" spc="126" baseline="0" dirty="0">
          <a:solidFill>
            <a:schemeClr val="tx2">
              <a:lumMod val="100000"/>
            </a:schemeClr>
          </a:solidFill>
          <a:latin typeface="Calibri Light" panose="020F0302020204030204" pitchFamily="34" charset="0"/>
          <a:ea typeface="+mj-ea"/>
          <a:cs typeface="Arial" pitchFamily="34" charset="0"/>
        </a:defRPr>
      </a:lvl1pPr>
    </p:titleStyle>
    <p:bodyStyle>
      <a:lvl1pPr marL="362016" indent="-226260" eaLnBrk="1" hangingPunct="1">
        <a:spcBef>
          <a:spcPts val="754"/>
        </a:spcBef>
        <a:spcAft>
          <a:spcPts val="0"/>
        </a:spcAft>
        <a:buFont typeface="Wingdings" pitchFamily="2" charset="2"/>
        <a:buChar char="§"/>
        <a:defRPr lang="en-US" sz="1600" b="0" kern="1200" cap="none" spc="0" baseline="0" dirty="0" smtClean="0">
          <a:solidFill>
            <a:schemeClr val="tx1"/>
          </a:solidFill>
          <a:latin typeface="+mn-lt"/>
          <a:ea typeface="+mn-ea"/>
          <a:cs typeface="Arial" pitchFamily="34" charset="0"/>
        </a:defRPr>
      </a:lvl1pPr>
      <a:lvl2pPr marL="497772" indent="-226260" eaLnBrk="1" hangingPunct="1">
        <a:spcBef>
          <a:spcPts val="754"/>
        </a:spcBef>
        <a:spcAft>
          <a:spcPts val="0"/>
        </a:spcAft>
        <a:buFont typeface="Webdings" pitchFamily="18" charset="2"/>
        <a:buChar char="4"/>
        <a:defRPr sz="1600" b="0" kern="1200" spc="0" baseline="0">
          <a:solidFill>
            <a:schemeClr val="tx1"/>
          </a:solidFill>
          <a:latin typeface="+mn-lt"/>
          <a:ea typeface="+mn-ea"/>
          <a:cs typeface="Arial" pitchFamily="34" charset="0"/>
        </a:defRPr>
      </a:lvl2pPr>
      <a:lvl3pPr marL="814536" indent="-226260" eaLnBrk="1" hangingPunct="1">
        <a:spcBef>
          <a:spcPts val="754"/>
        </a:spcBef>
        <a:spcAft>
          <a:spcPts val="0"/>
        </a:spcAft>
        <a:buFont typeface="Calibri" pitchFamily="34" charset="0"/>
        <a:buChar char="̶"/>
        <a:defRPr sz="1600" b="0" kern="1200" spc="0">
          <a:solidFill>
            <a:schemeClr val="tx1"/>
          </a:solidFill>
          <a:latin typeface="+mn-lt"/>
          <a:ea typeface="+mn-ea"/>
          <a:cs typeface="Arial" pitchFamily="34" charset="0"/>
        </a:defRPr>
      </a:lvl3pPr>
      <a:lvl4pPr marL="1040796" indent="-226260" eaLnBrk="1" hangingPunct="1">
        <a:spcBef>
          <a:spcPts val="754"/>
        </a:spcBef>
        <a:spcAft>
          <a:spcPts val="0"/>
        </a:spcAft>
        <a:buSzPct val="80000"/>
        <a:buFont typeface="Calibri" pitchFamily="34" charset="0"/>
        <a:buChar char="•"/>
        <a:defRPr sz="1600" b="0" i="0" kern="1200" spc="0" baseline="0">
          <a:solidFill>
            <a:schemeClr val="tx1"/>
          </a:solidFill>
          <a:latin typeface="+mn-lt"/>
          <a:ea typeface="+mn-ea"/>
          <a:cs typeface="+mn-cs"/>
        </a:defRPr>
      </a:lvl4pPr>
      <a:lvl5pPr marL="1267056" indent="-226260" eaLnBrk="1" hangingPunct="1">
        <a:spcBef>
          <a:spcPts val="754"/>
        </a:spcBef>
        <a:spcAft>
          <a:spcPts val="0"/>
        </a:spcAft>
        <a:buSzPct val="65000"/>
        <a:buFont typeface="Wingdings" pitchFamily="2" charset="2"/>
        <a:buChar char="w"/>
        <a:defRPr sz="1600" b="0" i="0" kern="1200" spc="0" baseline="0">
          <a:solidFill>
            <a:schemeClr val="tx1"/>
          </a:solidFill>
          <a:latin typeface="+mn-lt"/>
          <a:ea typeface="+mn-ea"/>
          <a:cs typeface="+mn-cs"/>
        </a:defRPr>
      </a:lvl5pPr>
      <a:lvl6pPr marL="1706389" indent="-310253" eaLnBrk="1" hangingPunct="1">
        <a:spcBef>
          <a:spcPts val="754"/>
        </a:spcBef>
        <a:spcAft>
          <a:spcPts val="0"/>
        </a:spcAft>
        <a:buSzPct val="65000"/>
        <a:buFont typeface="Wingdings" pitchFamily="2" charset="2"/>
        <a:buChar char="w"/>
        <a:defRPr sz="1600" b="0" i="0" kern="1200" spc="0" baseline="0">
          <a:solidFill>
            <a:schemeClr val="tx1"/>
          </a:solidFill>
          <a:latin typeface="+mn-lt"/>
          <a:ea typeface="+mn-ea"/>
          <a:cs typeface="+mn-cs"/>
        </a:defRPr>
      </a:lvl6pPr>
      <a:lvl7pPr marL="2480164" eaLnBrk="1" hangingPunct="1">
        <a:defRPr sz="1600">
          <a:latin typeface="+mn-lt"/>
          <a:ea typeface="+mn-ea"/>
          <a:cs typeface="+mn-cs"/>
        </a:defRPr>
      </a:lvl7pPr>
      <a:lvl8pPr marL="2893529" eaLnBrk="1" hangingPunct="1">
        <a:defRPr>
          <a:latin typeface="+mn-lt"/>
          <a:ea typeface="+mn-ea"/>
          <a:cs typeface="+mn-cs"/>
        </a:defRPr>
      </a:lvl8pPr>
      <a:lvl9pPr marL="3306888" eaLnBrk="1" hangingPunct="1">
        <a:defRPr>
          <a:latin typeface="+mn-lt"/>
          <a:ea typeface="+mn-ea"/>
          <a:cs typeface="+mn-cs"/>
        </a:defRPr>
      </a:lvl9pPr>
    </p:bodyStyle>
    <p:otherStyle>
      <a:lvl1pPr marL="0" eaLnBrk="1" hangingPunct="1">
        <a:defRPr>
          <a:latin typeface="+mn-lt"/>
          <a:ea typeface="+mn-ea"/>
          <a:cs typeface="+mn-cs"/>
        </a:defRPr>
      </a:lvl1pPr>
      <a:lvl2pPr marL="413358" eaLnBrk="1" hangingPunct="1">
        <a:defRPr>
          <a:latin typeface="+mn-lt"/>
          <a:ea typeface="+mn-ea"/>
          <a:cs typeface="+mn-cs"/>
        </a:defRPr>
      </a:lvl2pPr>
      <a:lvl3pPr marL="826720" eaLnBrk="1" hangingPunct="1">
        <a:defRPr>
          <a:latin typeface="+mn-lt"/>
          <a:ea typeface="+mn-ea"/>
          <a:cs typeface="+mn-cs"/>
        </a:defRPr>
      </a:lvl3pPr>
      <a:lvl4pPr marL="1240083" eaLnBrk="1" hangingPunct="1">
        <a:defRPr>
          <a:latin typeface="+mn-lt"/>
          <a:ea typeface="+mn-ea"/>
          <a:cs typeface="+mn-cs"/>
        </a:defRPr>
      </a:lvl4pPr>
      <a:lvl5pPr marL="1653445" eaLnBrk="1" hangingPunct="1">
        <a:defRPr>
          <a:latin typeface="+mn-lt"/>
          <a:ea typeface="+mn-ea"/>
          <a:cs typeface="+mn-cs"/>
        </a:defRPr>
      </a:lvl5pPr>
      <a:lvl6pPr marL="2066805" eaLnBrk="1" hangingPunct="1">
        <a:defRPr>
          <a:latin typeface="+mn-lt"/>
          <a:ea typeface="+mn-ea"/>
          <a:cs typeface="+mn-cs"/>
        </a:defRPr>
      </a:lvl6pPr>
      <a:lvl7pPr marL="2480164" eaLnBrk="1" hangingPunct="1">
        <a:defRPr>
          <a:latin typeface="+mn-lt"/>
          <a:ea typeface="+mn-ea"/>
          <a:cs typeface="+mn-cs"/>
        </a:defRPr>
      </a:lvl7pPr>
      <a:lvl8pPr marL="2893529" eaLnBrk="1" hangingPunct="1">
        <a:defRPr>
          <a:latin typeface="+mn-lt"/>
          <a:ea typeface="+mn-ea"/>
          <a:cs typeface="+mn-cs"/>
        </a:defRPr>
      </a:lvl8pPr>
      <a:lvl9pPr marL="3306888" eaLnBrk="1" hangingPunct="1">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B11AADBD-AEDF-46EF-9B80-839B6337C256}"/>
              </a:ext>
            </a:extLst>
          </p:cNvPr>
          <p:cNvGraphicFramePr>
            <a:graphicFrameLocks noChangeAspect="1"/>
          </p:cNvGraphicFramePr>
          <p:nvPr userDrawn="1">
            <p:custDataLst>
              <p:tags r:id="rId18"/>
            </p:custDataLst>
          </p:nvPr>
        </p:nvGraphicFramePr>
        <p:xfrm>
          <a:off x="1996" y="1588"/>
          <a:ext cx="1996" cy="1588"/>
        </p:xfrm>
        <a:graphic>
          <a:graphicData uri="http://schemas.openxmlformats.org/presentationml/2006/ole">
            <mc:AlternateContent xmlns:mc="http://schemas.openxmlformats.org/markup-compatibility/2006">
              <mc:Choice xmlns:v="urn:schemas-microsoft-com:vml" Requires="v">
                <p:oleObj spid="_x0000_s11368" name="Diapositive think-cell" r:id="rId20" imgW="473" imgH="470" progId="TCLayout.ActiveDocument.1">
                  <p:embed/>
                </p:oleObj>
              </mc:Choice>
              <mc:Fallback>
                <p:oleObj name="Diapositive think-cell" r:id="rId20" imgW="473" imgH="470" progId="TCLayout.ActiveDocument.1">
                  <p:embed/>
                  <p:pic>
                    <p:nvPicPr>
                      <p:cNvPr id="5" name="Objet 4" hidden="1">
                        <a:extLst>
                          <a:ext uri="{FF2B5EF4-FFF2-40B4-BE49-F238E27FC236}">
                            <a16:creationId xmlns:a16="http://schemas.microsoft.com/office/drawing/2014/main" id="{B11AADBD-AEDF-46EF-9B80-839B6337C256}"/>
                          </a:ext>
                        </a:extLst>
                      </p:cNvPr>
                      <p:cNvPicPr/>
                      <p:nvPr/>
                    </p:nvPicPr>
                    <p:blipFill>
                      <a:blip r:embed="rId21"/>
                      <a:stretch>
                        <a:fillRect/>
                      </a:stretch>
                    </p:blipFill>
                    <p:spPr>
                      <a:xfrm>
                        <a:off x="1996" y="1588"/>
                        <a:ext cx="1996"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1BC4079-B2E4-48B6-A3CD-794A2ADE8A6E}"/>
              </a:ext>
            </a:extLst>
          </p:cNvPr>
          <p:cNvSpPr/>
          <p:nvPr userDrawn="1">
            <p:custDataLst>
              <p:tags r:id="rId19"/>
            </p:custDataLst>
          </p:nvPr>
        </p:nvSpPr>
        <p:spPr>
          <a:xfrm>
            <a:off x="0" y="0"/>
            <a:ext cx="199550" cy="158750"/>
          </a:xfrm>
          <a:prstGeom prst="rect">
            <a:avLst/>
          </a:prstGeom>
          <a:solidFill>
            <a:schemeClr val="tx2"/>
          </a:solidFill>
        </p:spPr>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200" b="1" i="0" baseline="0" dirty="0" err="1">
              <a:solidFill>
                <a:schemeClr val="bg1"/>
              </a:solidFill>
              <a:latin typeface="Calibri Light" panose="020F0302020204030204" pitchFamily="34" charset="0"/>
              <a:ea typeface="+mj-ea"/>
              <a:cs typeface="Arial" panose="020B0604020202020204" pitchFamily="34" charset="0"/>
              <a:sym typeface="Calibri Light" panose="020F0302020204030204" pitchFamily="34" charset="0"/>
            </a:endParaRPr>
          </a:p>
        </p:txBody>
      </p:sp>
      <p:sp>
        <p:nvSpPr>
          <p:cNvPr id="7" name="Text Placeholder 6"/>
          <p:cNvSpPr>
            <a:spLocks noGrp="1"/>
          </p:cNvSpPr>
          <p:nvPr>
            <p:ph type="body" idx="1"/>
          </p:nvPr>
        </p:nvSpPr>
        <p:spPr>
          <a:xfrm>
            <a:off x="609618" y="1483200"/>
            <a:ext cx="12218110" cy="5040000"/>
          </a:xfrm>
          <a:prstGeom prst="rect">
            <a:avLst/>
          </a:prstGeom>
        </p:spPr>
        <p:txBody>
          <a:bodyPr vert="horz" wrap="square" lIns="0" tIns="0" rIns="0" bIns="0" rtlCol="0">
            <a:normAutofit/>
          </a:bodyPr>
          <a:lstStyle/>
          <a:p>
            <a:pPr lvl="0"/>
            <a:r>
              <a:rPr lang="en-US" noProof="0" dirty="0"/>
              <a:t>Click to add text</a:t>
            </a:r>
          </a:p>
          <a:p>
            <a:pPr lvl="1"/>
            <a:r>
              <a:rPr lang="en-US" noProof="0" dirty="0"/>
              <a:t>Click to add text</a:t>
            </a:r>
          </a:p>
          <a:p>
            <a:pPr lvl="2"/>
            <a:r>
              <a:rPr lang="en-US" noProof="0" dirty="0"/>
              <a:t>Click to add text</a:t>
            </a:r>
          </a:p>
          <a:p>
            <a:pPr lvl="3"/>
            <a:r>
              <a:rPr lang="en-US" noProof="0" dirty="0"/>
              <a:t>Click to add text</a:t>
            </a:r>
          </a:p>
          <a:p>
            <a:pPr lvl="4"/>
            <a:r>
              <a:rPr lang="en-US" noProof="0" dirty="0"/>
              <a:t>Click to add text</a:t>
            </a:r>
          </a:p>
        </p:txBody>
      </p:sp>
      <p:sp>
        <p:nvSpPr>
          <p:cNvPr id="3" name="Title Placeholder 2"/>
          <p:cNvSpPr>
            <a:spLocks noGrp="1"/>
          </p:cNvSpPr>
          <p:nvPr>
            <p:ph type="title"/>
          </p:nvPr>
        </p:nvSpPr>
        <p:spPr>
          <a:xfrm>
            <a:off x="609618" y="545662"/>
            <a:ext cx="12218110" cy="338554"/>
          </a:xfrm>
          <a:prstGeom prst="rect">
            <a:avLst/>
          </a:prstGeom>
        </p:spPr>
        <p:txBody>
          <a:bodyPr vert="horz" wrap="square" lIns="0" tIns="0" rIns="0" bIns="0" rtlCol="0" anchor="b" anchorCtr="0">
            <a:spAutoFit/>
          </a:bodyPr>
          <a:lstStyle/>
          <a:p>
            <a:pPr lvl="0"/>
            <a:r>
              <a:rPr lang="en-US" dirty="0"/>
              <a:t>Click to edit Master title style</a:t>
            </a:r>
          </a:p>
        </p:txBody>
      </p:sp>
      <p:pic>
        <p:nvPicPr>
          <p:cNvPr id="12" name="Picture 4">
            <a:extLst>
              <a:ext uri="{FF2B5EF4-FFF2-40B4-BE49-F238E27FC236}">
                <a16:creationId xmlns:a16="http://schemas.microsoft.com/office/drawing/2014/main" id="{77FAF60A-DF51-4FF5-87E4-84BFBFFB001D}"/>
              </a:ext>
            </a:extLst>
          </p:cNvPr>
          <p:cNvPicPr>
            <a:picLocks noChangeAspect="1" noChangeArrowheads="1"/>
          </p:cNvPicPr>
          <p:nvPr userDrawn="1"/>
        </p:nvPicPr>
        <p:blipFill rotWithShape="1">
          <a:blip r:embed="rId22" cstate="print">
            <a:extLst>
              <a:ext uri="{28A0092B-C50C-407E-A947-70E740481C1C}">
                <a14:useLocalDpi xmlns:a14="http://schemas.microsoft.com/office/drawing/2010/main" val="0"/>
              </a:ext>
            </a:extLst>
          </a:blip>
          <a:srcRect b="30786"/>
          <a:stretch/>
        </p:blipFill>
        <p:spPr bwMode="auto">
          <a:xfrm>
            <a:off x="181976" y="7160052"/>
            <a:ext cx="756786" cy="211234"/>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E152E827-358D-4BFC-8DEF-BB98ED38B64A}"/>
              </a:ext>
            </a:extLst>
          </p:cNvPr>
          <p:cNvSpPr/>
          <p:nvPr userDrawn="1"/>
        </p:nvSpPr>
        <p:spPr>
          <a:xfrm>
            <a:off x="3679825" y="7061200"/>
            <a:ext cx="8762999" cy="3303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1" indent="0" algn="r" defTabSz="1044789" rtl="0" eaLnBrk="1" fontAlgn="auto" latinLnBrk="0" hangingPunct="1">
              <a:lnSpc>
                <a:spcPct val="100000"/>
              </a:lnSpc>
              <a:spcBef>
                <a:spcPts val="0"/>
              </a:spcBef>
              <a:spcAft>
                <a:spcPts val="0"/>
              </a:spcAft>
              <a:buClr>
                <a:schemeClr val="accent1">
                  <a:lumMod val="100000"/>
                </a:schemeClr>
              </a:buClr>
              <a:buSzPct val="100000"/>
              <a:buFont typeface="Wingdings" panose="05000000000000000000" pitchFamily="2" charset="2"/>
              <a:buNone/>
              <a:tabLst/>
              <a:defRPr/>
            </a:pPr>
            <a:endParaRPr kumimoji="0" lang="fr-FR" sz="1400" b="1" i="0" u="none" strike="noStrike" kern="1200" cap="none" spc="0" normalizeH="0" baseline="0" noProof="0" dirty="0">
              <a:ln>
                <a:noFill/>
              </a:ln>
              <a:solidFill>
                <a:srgbClr val="58BCAD"/>
              </a:solidFill>
              <a:effectLst/>
              <a:uLnTx/>
              <a:uFillTx/>
              <a:latin typeface="+mn-lt"/>
              <a:ea typeface="+mn-ea"/>
              <a:cs typeface="+mn-cs"/>
            </a:endParaRPr>
          </a:p>
        </p:txBody>
      </p:sp>
      <p:sp>
        <p:nvSpPr>
          <p:cNvPr id="14" name="Rectangle 13">
            <a:extLst>
              <a:ext uri="{FF2B5EF4-FFF2-40B4-BE49-F238E27FC236}">
                <a16:creationId xmlns:a16="http://schemas.microsoft.com/office/drawing/2014/main" id="{94F118FF-E499-436E-B890-8203CD92A523}"/>
              </a:ext>
            </a:extLst>
          </p:cNvPr>
          <p:cNvSpPr/>
          <p:nvPr userDrawn="1"/>
        </p:nvSpPr>
        <p:spPr>
          <a:xfrm>
            <a:off x="12442824" y="7057710"/>
            <a:ext cx="571800" cy="3338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044789" rtl="0" eaLnBrk="1" fontAlgn="auto" latinLnBrk="0" hangingPunct="1">
              <a:lnSpc>
                <a:spcPct val="100000"/>
              </a:lnSpc>
              <a:spcBef>
                <a:spcPts val="0"/>
              </a:spcBef>
              <a:spcAft>
                <a:spcPts val="0"/>
              </a:spcAft>
              <a:buClrTx/>
              <a:buSzTx/>
              <a:buFontTx/>
              <a:buNone/>
              <a:tabLst/>
              <a:defRPr/>
            </a:pPr>
            <a:r>
              <a:rPr kumimoji="0" lang="pt-BR" sz="1400" b="1" i="0" u="none" strike="noStrike" kern="1200" cap="none" spc="0" normalizeH="0" baseline="0" noProof="0" dirty="0">
                <a:ln>
                  <a:noFill/>
                </a:ln>
                <a:solidFill>
                  <a:srgbClr val="58BCAD"/>
                </a:solidFill>
                <a:effectLst/>
                <a:uLnTx/>
                <a:uFillTx/>
                <a:latin typeface="+mn-lt"/>
                <a:ea typeface="+mn-ea"/>
                <a:cs typeface="+mn-cs"/>
              </a:rPr>
              <a:t>/  </a:t>
            </a:r>
            <a:fld id="{5674A47C-2196-4FDC-815D-2AC5BA82C3B8}" type="slidenum">
              <a:rPr kumimoji="0" lang="pt-BR" sz="1400" b="1" i="0" u="none" strike="noStrike" kern="1200" cap="none" spc="0" normalizeH="0" baseline="0" noProof="0" smtClean="0">
                <a:ln>
                  <a:noFill/>
                </a:ln>
                <a:solidFill>
                  <a:srgbClr val="58BCAD"/>
                </a:solidFill>
                <a:effectLst/>
                <a:uLnTx/>
                <a:uFillTx/>
                <a:latin typeface="+mn-lt"/>
                <a:ea typeface="+mn-ea"/>
                <a:cs typeface="+mn-cs"/>
              </a:rPr>
              <a:pPr marL="0" marR="0" lvl="0" indent="0" algn="l" defTabSz="1044789" rtl="0" eaLnBrk="1" fontAlgn="auto" latinLnBrk="0" hangingPunct="1">
                <a:lnSpc>
                  <a:spcPct val="100000"/>
                </a:lnSpc>
                <a:spcBef>
                  <a:spcPts val="0"/>
                </a:spcBef>
                <a:spcAft>
                  <a:spcPts val="0"/>
                </a:spcAft>
                <a:buClrTx/>
                <a:buSzTx/>
                <a:buFontTx/>
                <a:buNone/>
                <a:tabLst/>
                <a:defRPr/>
              </a:pPr>
              <a:t>‹N°›</a:t>
            </a:fld>
            <a:endParaRPr kumimoji="0" lang="pt-BR" sz="1400" b="1" i="0" u="none" strike="noStrike" kern="1200" cap="none" spc="0" normalizeH="0" baseline="0" noProof="0" dirty="0">
              <a:ln>
                <a:noFill/>
              </a:ln>
              <a:solidFill>
                <a:srgbClr val="58BCAD"/>
              </a:solidFill>
              <a:effectLst/>
              <a:uLnTx/>
              <a:uFillTx/>
              <a:latin typeface="+mn-lt"/>
              <a:ea typeface="+mn-ea"/>
              <a:cs typeface="+mn-cs"/>
            </a:endParaRPr>
          </a:p>
        </p:txBody>
      </p:sp>
    </p:spTree>
    <p:extLst>
      <p:ext uri="{BB962C8B-B14F-4D97-AF65-F5344CB8AC3E}">
        <p14:creationId xmlns:p14="http://schemas.microsoft.com/office/powerpoint/2010/main" val="2689731330"/>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Lst>
  <p:hf hdr="0" ftr="0" dt="0"/>
  <p:txStyles>
    <p:titleStyle>
      <a:lvl1pPr marL="0" indent="0" algn="l" eaLnBrk="1" hangingPunct="1">
        <a:lnSpc>
          <a:spcPct val="100000"/>
        </a:lnSpc>
        <a:spcBef>
          <a:spcPts val="0"/>
        </a:spcBef>
        <a:spcAft>
          <a:spcPts val="0"/>
        </a:spcAft>
        <a:tabLst>
          <a:tab pos="1821705" algn="l"/>
          <a:tab pos="4901824" algn="l"/>
          <a:tab pos="6076343" algn="l"/>
          <a:tab pos="8752172" algn="l"/>
        </a:tabLst>
        <a:defRPr lang="fr-FR" sz="2200" b="1" i="0" u="none" kern="1200" spc="126" baseline="0" dirty="0">
          <a:solidFill>
            <a:schemeClr val="tx2">
              <a:lumMod val="100000"/>
            </a:schemeClr>
          </a:solidFill>
          <a:latin typeface="Calibri Light" panose="020F0302020204030204" pitchFamily="34" charset="0"/>
          <a:ea typeface="+mj-ea"/>
          <a:cs typeface="Arial" pitchFamily="34" charset="0"/>
        </a:defRPr>
      </a:lvl1pPr>
    </p:titleStyle>
    <p:bodyStyle>
      <a:lvl1pPr marL="362016" indent="-226260" eaLnBrk="1" hangingPunct="1">
        <a:spcBef>
          <a:spcPts val="754"/>
        </a:spcBef>
        <a:spcAft>
          <a:spcPts val="0"/>
        </a:spcAft>
        <a:buFont typeface="Wingdings" pitchFamily="2" charset="2"/>
        <a:buChar char="§"/>
        <a:defRPr lang="en-US" sz="1600" b="0" kern="1200" cap="none" spc="0" baseline="0" dirty="0" smtClean="0">
          <a:solidFill>
            <a:schemeClr val="tx1"/>
          </a:solidFill>
          <a:latin typeface="+mn-lt"/>
          <a:ea typeface="+mn-ea"/>
          <a:cs typeface="Arial" pitchFamily="34" charset="0"/>
        </a:defRPr>
      </a:lvl1pPr>
      <a:lvl2pPr marL="497772" indent="-226260" eaLnBrk="1" hangingPunct="1">
        <a:spcBef>
          <a:spcPts val="754"/>
        </a:spcBef>
        <a:spcAft>
          <a:spcPts val="0"/>
        </a:spcAft>
        <a:buFont typeface="Webdings" pitchFamily="18" charset="2"/>
        <a:buChar char="4"/>
        <a:defRPr sz="1600" b="0" kern="1200" spc="0" baseline="0">
          <a:solidFill>
            <a:schemeClr val="tx1"/>
          </a:solidFill>
          <a:latin typeface="+mn-lt"/>
          <a:ea typeface="+mn-ea"/>
          <a:cs typeface="Arial" pitchFamily="34" charset="0"/>
        </a:defRPr>
      </a:lvl2pPr>
      <a:lvl3pPr marL="814536" indent="-226260" eaLnBrk="1" hangingPunct="1">
        <a:spcBef>
          <a:spcPts val="754"/>
        </a:spcBef>
        <a:spcAft>
          <a:spcPts val="0"/>
        </a:spcAft>
        <a:buFont typeface="Calibri" pitchFamily="34" charset="0"/>
        <a:buChar char="̶"/>
        <a:defRPr sz="1600" b="0" kern="1200" spc="0">
          <a:solidFill>
            <a:schemeClr val="tx1"/>
          </a:solidFill>
          <a:latin typeface="+mn-lt"/>
          <a:ea typeface="+mn-ea"/>
          <a:cs typeface="Arial" pitchFamily="34" charset="0"/>
        </a:defRPr>
      </a:lvl3pPr>
      <a:lvl4pPr marL="1040796" indent="-226260" eaLnBrk="1" hangingPunct="1">
        <a:spcBef>
          <a:spcPts val="754"/>
        </a:spcBef>
        <a:spcAft>
          <a:spcPts val="0"/>
        </a:spcAft>
        <a:buSzPct val="80000"/>
        <a:buFont typeface="Calibri" pitchFamily="34" charset="0"/>
        <a:buChar char="•"/>
        <a:defRPr sz="1600" b="0" i="0" kern="1200" spc="0" baseline="0">
          <a:solidFill>
            <a:schemeClr val="tx1"/>
          </a:solidFill>
          <a:latin typeface="+mn-lt"/>
          <a:ea typeface="+mn-ea"/>
          <a:cs typeface="+mn-cs"/>
        </a:defRPr>
      </a:lvl4pPr>
      <a:lvl5pPr marL="1267056" indent="-226260" eaLnBrk="1" hangingPunct="1">
        <a:spcBef>
          <a:spcPts val="754"/>
        </a:spcBef>
        <a:spcAft>
          <a:spcPts val="0"/>
        </a:spcAft>
        <a:buSzPct val="65000"/>
        <a:buFont typeface="Wingdings" pitchFamily="2" charset="2"/>
        <a:buChar char="w"/>
        <a:defRPr sz="1600" b="0" i="0" kern="1200" spc="0" baseline="0">
          <a:solidFill>
            <a:schemeClr val="tx1"/>
          </a:solidFill>
          <a:latin typeface="+mn-lt"/>
          <a:ea typeface="+mn-ea"/>
          <a:cs typeface="+mn-cs"/>
        </a:defRPr>
      </a:lvl5pPr>
      <a:lvl6pPr marL="1706389" indent="-310253" eaLnBrk="1" hangingPunct="1">
        <a:spcBef>
          <a:spcPts val="754"/>
        </a:spcBef>
        <a:spcAft>
          <a:spcPts val="0"/>
        </a:spcAft>
        <a:buSzPct val="65000"/>
        <a:buFont typeface="Wingdings" pitchFamily="2" charset="2"/>
        <a:buChar char="w"/>
        <a:defRPr sz="1600" b="0" i="0" kern="1200" spc="0" baseline="0">
          <a:solidFill>
            <a:schemeClr val="tx1"/>
          </a:solidFill>
          <a:latin typeface="+mn-lt"/>
          <a:ea typeface="+mn-ea"/>
          <a:cs typeface="+mn-cs"/>
        </a:defRPr>
      </a:lvl6pPr>
      <a:lvl7pPr marL="2480164" eaLnBrk="1" hangingPunct="1">
        <a:defRPr sz="1600">
          <a:latin typeface="+mn-lt"/>
          <a:ea typeface="+mn-ea"/>
          <a:cs typeface="+mn-cs"/>
        </a:defRPr>
      </a:lvl7pPr>
      <a:lvl8pPr marL="2893529" eaLnBrk="1" hangingPunct="1">
        <a:defRPr>
          <a:latin typeface="+mn-lt"/>
          <a:ea typeface="+mn-ea"/>
          <a:cs typeface="+mn-cs"/>
        </a:defRPr>
      </a:lvl8pPr>
      <a:lvl9pPr marL="3306888" eaLnBrk="1" hangingPunct="1">
        <a:defRPr>
          <a:latin typeface="+mn-lt"/>
          <a:ea typeface="+mn-ea"/>
          <a:cs typeface="+mn-cs"/>
        </a:defRPr>
      </a:lvl9pPr>
    </p:bodyStyle>
    <p:otherStyle>
      <a:lvl1pPr marL="0" eaLnBrk="1" hangingPunct="1">
        <a:defRPr>
          <a:latin typeface="+mn-lt"/>
          <a:ea typeface="+mn-ea"/>
          <a:cs typeface="+mn-cs"/>
        </a:defRPr>
      </a:lvl1pPr>
      <a:lvl2pPr marL="413358" eaLnBrk="1" hangingPunct="1">
        <a:defRPr>
          <a:latin typeface="+mn-lt"/>
          <a:ea typeface="+mn-ea"/>
          <a:cs typeface="+mn-cs"/>
        </a:defRPr>
      </a:lvl2pPr>
      <a:lvl3pPr marL="826720" eaLnBrk="1" hangingPunct="1">
        <a:defRPr>
          <a:latin typeface="+mn-lt"/>
          <a:ea typeface="+mn-ea"/>
          <a:cs typeface="+mn-cs"/>
        </a:defRPr>
      </a:lvl3pPr>
      <a:lvl4pPr marL="1240083" eaLnBrk="1" hangingPunct="1">
        <a:defRPr>
          <a:latin typeface="+mn-lt"/>
          <a:ea typeface="+mn-ea"/>
          <a:cs typeface="+mn-cs"/>
        </a:defRPr>
      </a:lvl4pPr>
      <a:lvl5pPr marL="1653445" eaLnBrk="1" hangingPunct="1">
        <a:defRPr>
          <a:latin typeface="+mn-lt"/>
          <a:ea typeface="+mn-ea"/>
          <a:cs typeface="+mn-cs"/>
        </a:defRPr>
      </a:lvl5pPr>
      <a:lvl6pPr marL="2066805" eaLnBrk="1" hangingPunct="1">
        <a:defRPr>
          <a:latin typeface="+mn-lt"/>
          <a:ea typeface="+mn-ea"/>
          <a:cs typeface="+mn-cs"/>
        </a:defRPr>
      </a:lvl6pPr>
      <a:lvl7pPr marL="2480164" eaLnBrk="1" hangingPunct="1">
        <a:defRPr>
          <a:latin typeface="+mn-lt"/>
          <a:ea typeface="+mn-ea"/>
          <a:cs typeface="+mn-cs"/>
        </a:defRPr>
      </a:lvl7pPr>
      <a:lvl8pPr marL="2893529" eaLnBrk="1" hangingPunct="1">
        <a:defRPr>
          <a:latin typeface="+mn-lt"/>
          <a:ea typeface="+mn-ea"/>
          <a:cs typeface="+mn-cs"/>
        </a:defRPr>
      </a:lvl8pPr>
      <a:lvl9pPr marL="3306888" eaLnBrk="1" hangingPunct="1">
        <a:defRPr>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B11AADBD-AEDF-46EF-9B80-839B6337C256}"/>
              </a:ext>
            </a:extLst>
          </p:cNvPr>
          <p:cNvGraphicFramePr>
            <a:graphicFrameLocks noChangeAspect="1"/>
          </p:cNvGraphicFramePr>
          <p:nvPr userDrawn="1">
            <p:custDataLst>
              <p:tags r:id="rId19"/>
            </p:custDataLst>
          </p:nvPr>
        </p:nvGraphicFramePr>
        <p:xfrm>
          <a:off x="1996" y="1588"/>
          <a:ext cx="1996" cy="1588"/>
        </p:xfrm>
        <a:graphic>
          <a:graphicData uri="http://schemas.openxmlformats.org/presentationml/2006/ole">
            <mc:AlternateContent xmlns:mc="http://schemas.openxmlformats.org/markup-compatibility/2006">
              <mc:Choice xmlns:v="urn:schemas-microsoft-com:vml" Requires="v">
                <p:oleObj spid="_x0000_s64588" name="Diapositive think-cell" r:id="rId21" imgW="473" imgH="470" progId="TCLayout.ActiveDocument.1">
                  <p:embed/>
                </p:oleObj>
              </mc:Choice>
              <mc:Fallback>
                <p:oleObj name="Diapositive think-cell" r:id="rId21" imgW="473" imgH="470" progId="TCLayout.ActiveDocument.1">
                  <p:embed/>
                  <p:pic>
                    <p:nvPicPr>
                      <p:cNvPr id="5" name="Objet 4" hidden="1">
                        <a:extLst>
                          <a:ext uri="{FF2B5EF4-FFF2-40B4-BE49-F238E27FC236}">
                            <a16:creationId xmlns:a16="http://schemas.microsoft.com/office/drawing/2014/main" id="{B11AADBD-AEDF-46EF-9B80-839B6337C256}"/>
                          </a:ext>
                        </a:extLst>
                      </p:cNvPr>
                      <p:cNvPicPr/>
                      <p:nvPr/>
                    </p:nvPicPr>
                    <p:blipFill>
                      <a:blip r:embed="rId22"/>
                      <a:stretch>
                        <a:fillRect/>
                      </a:stretch>
                    </p:blipFill>
                    <p:spPr>
                      <a:xfrm>
                        <a:off x="1996" y="1588"/>
                        <a:ext cx="1996"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1BC4079-B2E4-48B6-A3CD-794A2ADE8A6E}"/>
              </a:ext>
            </a:extLst>
          </p:cNvPr>
          <p:cNvSpPr/>
          <p:nvPr userDrawn="1">
            <p:custDataLst>
              <p:tags r:id="rId20"/>
            </p:custDataLst>
          </p:nvPr>
        </p:nvSpPr>
        <p:spPr>
          <a:xfrm>
            <a:off x="0" y="0"/>
            <a:ext cx="199550" cy="158750"/>
          </a:xfrm>
          <a:prstGeom prst="rect">
            <a:avLst/>
          </a:prstGeom>
          <a:solidFill>
            <a:schemeClr val="tx2"/>
          </a:solidFill>
        </p:spPr>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200" b="1" i="0" baseline="0" dirty="0" err="1">
              <a:solidFill>
                <a:schemeClr val="bg1"/>
              </a:solidFill>
              <a:latin typeface="Calibri Light" panose="020F0302020204030204" pitchFamily="34" charset="0"/>
              <a:ea typeface="+mj-ea"/>
              <a:cs typeface="Arial" panose="020B0604020202020204" pitchFamily="34" charset="0"/>
              <a:sym typeface="Calibri Light" panose="020F0302020204030204" pitchFamily="34" charset="0"/>
            </a:endParaRPr>
          </a:p>
        </p:txBody>
      </p:sp>
      <p:sp>
        <p:nvSpPr>
          <p:cNvPr id="7" name="Text Placeholder 6"/>
          <p:cNvSpPr>
            <a:spLocks noGrp="1"/>
          </p:cNvSpPr>
          <p:nvPr>
            <p:ph type="body" idx="1"/>
          </p:nvPr>
        </p:nvSpPr>
        <p:spPr>
          <a:xfrm>
            <a:off x="609618" y="1483200"/>
            <a:ext cx="12218110" cy="5040000"/>
          </a:xfrm>
          <a:prstGeom prst="rect">
            <a:avLst/>
          </a:prstGeom>
        </p:spPr>
        <p:txBody>
          <a:bodyPr vert="horz" wrap="square" lIns="0" tIns="0" rIns="0" bIns="0" rtlCol="0">
            <a:normAutofit/>
          </a:bodyPr>
          <a:lstStyle/>
          <a:p>
            <a:pPr lvl="0"/>
            <a:r>
              <a:rPr lang="en-US" noProof="0" dirty="0"/>
              <a:t>Click to add text</a:t>
            </a:r>
          </a:p>
          <a:p>
            <a:pPr lvl="1"/>
            <a:r>
              <a:rPr lang="en-US" noProof="0" dirty="0"/>
              <a:t>Click to add text</a:t>
            </a:r>
          </a:p>
          <a:p>
            <a:pPr lvl="2"/>
            <a:r>
              <a:rPr lang="en-US" noProof="0" dirty="0"/>
              <a:t>Click to add text</a:t>
            </a:r>
          </a:p>
          <a:p>
            <a:pPr lvl="3"/>
            <a:r>
              <a:rPr lang="en-US" noProof="0" dirty="0"/>
              <a:t>Click to add text</a:t>
            </a:r>
          </a:p>
          <a:p>
            <a:pPr lvl="4"/>
            <a:r>
              <a:rPr lang="en-US" noProof="0" dirty="0"/>
              <a:t>Click to add text</a:t>
            </a:r>
          </a:p>
        </p:txBody>
      </p:sp>
      <p:sp>
        <p:nvSpPr>
          <p:cNvPr id="3" name="Title Placeholder 2"/>
          <p:cNvSpPr>
            <a:spLocks noGrp="1"/>
          </p:cNvSpPr>
          <p:nvPr>
            <p:ph type="title"/>
          </p:nvPr>
        </p:nvSpPr>
        <p:spPr>
          <a:xfrm>
            <a:off x="609618" y="545662"/>
            <a:ext cx="12218110" cy="338554"/>
          </a:xfrm>
          <a:prstGeom prst="rect">
            <a:avLst/>
          </a:prstGeom>
        </p:spPr>
        <p:txBody>
          <a:bodyPr vert="horz" wrap="square" lIns="0" tIns="0" rIns="0" bIns="0" rtlCol="0" anchor="b" anchorCtr="0">
            <a:spAutoFit/>
          </a:bodyPr>
          <a:lstStyle/>
          <a:p>
            <a:pPr lvl="0"/>
            <a:r>
              <a:rPr lang="en-US" dirty="0"/>
              <a:t>Click to edit Master title style</a:t>
            </a:r>
          </a:p>
        </p:txBody>
      </p:sp>
      <p:pic>
        <p:nvPicPr>
          <p:cNvPr id="12" name="Picture 4">
            <a:extLst>
              <a:ext uri="{FF2B5EF4-FFF2-40B4-BE49-F238E27FC236}">
                <a16:creationId xmlns:a16="http://schemas.microsoft.com/office/drawing/2014/main" id="{77FAF60A-DF51-4FF5-87E4-84BFBFFB001D}"/>
              </a:ext>
            </a:extLst>
          </p:cNvPr>
          <p:cNvPicPr>
            <a:picLocks noChangeAspect="1" noChangeArrowheads="1"/>
          </p:cNvPicPr>
          <p:nvPr userDrawn="1"/>
        </p:nvPicPr>
        <p:blipFill rotWithShape="1">
          <a:blip r:embed="rId23" cstate="print">
            <a:extLst>
              <a:ext uri="{28A0092B-C50C-407E-A947-70E740481C1C}">
                <a14:useLocalDpi xmlns:a14="http://schemas.microsoft.com/office/drawing/2010/main" val="0"/>
              </a:ext>
            </a:extLst>
          </a:blip>
          <a:srcRect b="30786"/>
          <a:stretch/>
        </p:blipFill>
        <p:spPr bwMode="auto">
          <a:xfrm>
            <a:off x="181976" y="7160052"/>
            <a:ext cx="756786" cy="211234"/>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E152E827-358D-4BFC-8DEF-BB98ED38B64A}"/>
              </a:ext>
            </a:extLst>
          </p:cNvPr>
          <p:cNvSpPr/>
          <p:nvPr userDrawn="1"/>
        </p:nvSpPr>
        <p:spPr>
          <a:xfrm>
            <a:off x="3679825" y="7061200"/>
            <a:ext cx="8762999" cy="3303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1" indent="0" algn="r" defTabSz="1044789" rtl="0" eaLnBrk="1" fontAlgn="auto" latinLnBrk="0" hangingPunct="1">
              <a:lnSpc>
                <a:spcPct val="100000"/>
              </a:lnSpc>
              <a:spcBef>
                <a:spcPts val="0"/>
              </a:spcBef>
              <a:spcAft>
                <a:spcPts val="0"/>
              </a:spcAft>
              <a:buClr>
                <a:schemeClr val="accent1">
                  <a:lumMod val="100000"/>
                </a:schemeClr>
              </a:buClr>
              <a:buSzPct val="100000"/>
              <a:buFont typeface="Wingdings" panose="05000000000000000000" pitchFamily="2" charset="2"/>
              <a:buNone/>
              <a:tabLst/>
              <a:defRPr/>
            </a:pPr>
            <a:r>
              <a:rPr kumimoji="0" lang="fr-FR" sz="1000" b="0" i="0" u="none" strike="noStrike" kern="1200" cap="none" spc="100" normalizeH="0" baseline="0" noProof="0" dirty="0">
                <a:ln>
                  <a:noFill/>
                </a:ln>
                <a:solidFill>
                  <a:schemeClr val="tx2"/>
                </a:solidFill>
                <a:effectLst/>
                <a:uLnTx/>
                <a:uFillTx/>
                <a:latin typeface="+mn-lt"/>
                <a:ea typeface="+mn-ea"/>
                <a:cs typeface="+mn-cs"/>
              </a:rPr>
              <a:t>CYLAD standard présentation – Novembre 2019</a:t>
            </a:r>
            <a:endParaRPr kumimoji="0" lang="fr-FR" sz="1400" b="1" i="0" u="none" strike="noStrike" kern="1200" cap="none" spc="0" normalizeH="0" baseline="0" noProof="0" dirty="0">
              <a:ln>
                <a:noFill/>
              </a:ln>
              <a:solidFill>
                <a:srgbClr val="58BCAD"/>
              </a:solidFill>
              <a:effectLst/>
              <a:uLnTx/>
              <a:uFillTx/>
              <a:latin typeface="+mn-lt"/>
              <a:ea typeface="+mn-ea"/>
              <a:cs typeface="+mn-cs"/>
            </a:endParaRPr>
          </a:p>
        </p:txBody>
      </p:sp>
      <p:sp>
        <p:nvSpPr>
          <p:cNvPr id="14" name="Rectangle 13">
            <a:extLst>
              <a:ext uri="{FF2B5EF4-FFF2-40B4-BE49-F238E27FC236}">
                <a16:creationId xmlns:a16="http://schemas.microsoft.com/office/drawing/2014/main" id="{94F118FF-E499-436E-B890-8203CD92A523}"/>
              </a:ext>
            </a:extLst>
          </p:cNvPr>
          <p:cNvSpPr/>
          <p:nvPr userDrawn="1"/>
        </p:nvSpPr>
        <p:spPr>
          <a:xfrm>
            <a:off x="12442824" y="7057710"/>
            <a:ext cx="571800" cy="3338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044789" rtl="0" eaLnBrk="1" fontAlgn="auto" latinLnBrk="0" hangingPunct="1">
              <a:lnSpc>
                <a:spcPct val="100000"/>
              </a:lnSpc>
              <a:spcBef>
                <a:spcPts val="0"/>
              </a:spcBef>
              <a:spcAft>
                <a:spcPts val="0"/>
              </a:spcAft>
              <a:buClrTx/>
              <a:buSzTx/>
              <a:buFontTx/>
              <a:buNone/>
              <a:tabLst/>
              <a:defRPr/>
            </a:pPr>
            <a:r>
              <a:rPr kumimoji="0" lang="pt-BR" sz="1400" b="1" i="0" u="none" strike="noStrike" kern="1200" cap="none" spc="0" normalizeH="0" baseline="0" noProof="0" dirty="0">
                <a:ln>
                  <a:noFill/>
                </a:ln>
                <a:solidFill>
                  <a:srgbClr val="58BCAD"/>
                </a:solidFill>
                <a:effectLst/>
                <a:uLnTx/>
                <a:uFillTx/>
                <a:latin typeface="+mn-lt"/>
                <a:ea typeface="+mn-ea"/>
                <a:cs typeface="+mn-cs"/>
              </a:rPr>
              <a:t>/  </a:t>
            </a:r>
            <a:fld id="{5674A47C-2196-4FDC-815D-2AC5BA82C3B8}" type="slidenum">
              <a:rPr kumimoji="0" lang="pt-BR" sz="1400" b="1" i="0" u="none" strike="noStrike" kern="1200" cap="none" spc="0" normalizeH="0" baseline="0" noProof="0" smtClean="0">
                <a:ln>
                  <a:noFill/>
                </a:ln>
                <a:solidFill>
                  <a:srgbClr val="58BCAD"/>
                </a:solidFill>
                <a:effectLst/>
                <a:uLnTx/>
                <a:uFillTx/>
                <a:latin typeface="+mn-lt"/>
                <a:ea typeface="+mn-ea"/>
                <a:cs typeface="+mn-cs"/>
              </a:rPr>
              <a:pPr marL="0" marR="0" lvl="0" indent="0" algn="l" defTabSz="1044789" rtl="0" eaLnBrk="1" fontAlgn="auto" latinLnBrk="0" hangingPunct="1">
                <a:lnSpc>
                  <a:spcPct val="100000"/>
                </a:lnSpc>
                <a:spcBef>
                  <a:spcPts val="0"/>
                </a:spcBef>
                <a:spcAft>
                  <a:spcPts val="0"/>
                </a:spcAft>
                <a:buClrTx/>
                <a:buSzTx/>
                <a:buFontTx/>
                <a:buNone/>
                <a:tabLst/>
                <a:defRPr/>
              </a:pPr>
              <a:t>‹N°›</a:t>
            </a:fld>
            <a:endParaRPr kumimoji="0" lang="pt-BR" sz="1400" b="1" i="0" u="none" strike="noStrike" kern="1200" cap="none" spc="0" normalizeH="0" baseline="0" noProof="0" dirty="0">
              <a:ln>
                <a:noFill/>
              </a:ln>
              <a:solidFill>
                <a:srgbClr val="58BCAD"/>
              </a:solidFill>
              <a:effectLst/>
              <a:uLnTx/>
              <a:uFillTx/>
              <a:latin typeface="+mn-lt"/>
              <a:ea typeface="+mn-ea"/>
              <a:cs typeface="+mn-cs"/>
            </a:endParaRPr>
          </a:p>
        </p:txBody>
      </p:sp>
    </p:spTree>
    <p:extLst>
      <p:ext uri="{BB962C8B-B14F-4D97-AF65-F5344CB8AC3E}">
        <p14:creationId xmlns:p14="http://schemas.microsoft.com/office/powerpoint/2010/main" val="1501606208"/>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Lst>
  <p:hf hdr="0" ftr="0" dt="0"/>
  <p:txStyles>
    <p:titleStyle>
      <a:lvl1pPr marL="0" indent="0" algn="l" eaLnBrk="1" hangingPunct="1">
        <a:lnSpc>
          <a:spcPct val="100000"/>
        </a:lnSpc>
        <a:spcBef>
          <a:spcPts val="0"/>
        </a:spcBef>
        <a:spcAft>
          <a:spcPts val="0"/>
        </a:spcAft>
        <a:tabLst>
          <a:tab pos="1821705" algn="l"/>
          <a:tab pos="4901824" algn="l"/>
          <a:tab pos="6076343" algn="l"/>
          <a:tab pos="8752172" algn="l"/>
        </a:tabLst>
        <a:defRPr lang="fr-FR" sz="2200" b="1" i="0" u="none" kern="1200" spc="126" baseline="0" dirty="0">
          <a:solidFill>
            <a:schemeClr val="tx2">
              <a:lumMod val="100000"/>
            </a:schemeClr>
          </a:solidFill>
          <a:latin typeface="Calibri Light" panose="020F0302020204030204" pitchFamily="34" charset="0"/>
          <a:ea typeface="+mj-ea"/>
          <a:cs typeface="Arial" pitchFamily="34" charset="0"/>
        </a:defRPr>
      </a:lvl1pPr>
    </p:titleStyle>
    <p:bodyStyle>
      <a:lvl1pPr marL="362016" indent="-226260" eaLnBrk="1" hangingPunct="1">
        <a:spcBef>
          <a:spcPts val="754"/>
        </a:spcBef>
        <a:spcAft>
          <a:spcPts val="0"/>
        </a:spcAft>
        <a:buFont typeface="Wingdings" pitchFamily="2" charset="2"/>
        <a:buChar char="§"/>
        <a:defRPr lang="en-US" sz="1600" b="0" kern="1200" cap="none" spc="0" baseline="0" dirty="0" smtClean="0">
          <a:solidFill>
            <a:schemeClr val="tx1"/>
          </a:solidFill>
          <a:latin typeface="+mn-lt"/>
          <a:ea typeface="+mn-ea"/>
          <a:cs typeface="Arial" pitchFamily="34" charset="0"/>
        </a:defRPr>
      </a:lvl1pPr>
      <a:lvl2pPr marL="497772" indent="-226260" eaLnBrk="1" hangingPunct="1">
        <a:spcBef>
          <a:spcPts val="754"/>
        </a:spcBef>
        <a:spcAft>
          <a:spcPts val="0"/>
        </a:spcAft>
        <a:buFont typeface="Webdings" pitchFamily="18" charset="2"/>
        <a:buChar char="4"/>
        <a:defRPr sz="1600" b="0" kern="1200" spc="0" baseline="0">
          <a:solidFill>
            <a:schemeClr val="tx1"/>
          </a:solidFill>
          <a:latin typeface="+mn-lt"/>
          <a:ea typeface="+mn-ea"/>
          <a:cs typeface="Arial" pitchFamily="34" charset="0"/>
        </a:defRPr>
      </a:lvl2pPr>
      <a:lvl3pPr marL="814536" indent="-226260" eaLnBrk="1" hangingPunct="1">
        <a:spcBef>
          <a:spcPts val="754"/>
        </a:spcBef>
        <a:spcAft>
          <a:spcPts val="0"/>
        </a:spcAft>
        <a:buFont typeface="Calibri" pitchFamily="34" charset="0"/>
        <a:buChar char="̶"/>
        <a:defRPr sz="1600" b="0" kern="1200" spc="0">
          <a:solidFill>
            <a:schemeClr val="tx1"/>
          </a:solidFill>
          <a:latin typeface="+mn-lt"/>
          <a:ea typeface="+mn-ea"/>
          <a:cs typeface="Arial" pitchFamily="34" charset="0"/>
        </a:defRPr>
      </a:lvl3pPr>
      <a:lvl4pPr marL="1040796" indent="-226260" eaLnBrk="1" hangingPunct="1">
        <a:spcBef>
          <a:spcPts val="754"/>
        </a:spcBef>
        <a:spcAft>
          <a:spcPts val="0"/>
        </a:spcAft>
        <a:buSzPct val="80000"/>
        <a:buFont typeface="Calibri" pitchFamily="34" charset="0"/>
        <a:buChar char="•"/>
        <a:defRPr sz="1600" b="0" i="0" kern="1200" spc="0" baseline="0">
          <a:solidFill>
            <a:schemeClr val="tx1"/>
          </a:solidFill>
          <a:latin typeface="+mn-lt"/>
          <a:ea typeface="+mn-ea"/>
          <a:cs typeface="+mn-cs"/>
        </a:defRPr>
      </a:lvl4pPr>
      <a:lvl5pPr marL="1267056" indent="-226260" eaLnBrk="1" hangingPunct="1">
        <a:spcBef>
          <a:spcPts val="754"/>
        </a:spcBef>
        <a:spcAft>
          <a:spcPts val="0"/>
        </a:spcAft>
        <a:buSzPct val="65000"/>
        <a:buFont typeface="Wingdings" pitchFamily="2" charset="2"/>
        <a:buChar char="w"/>
        <a:defRPr sz="1600" b="0" i="0" kern="1200" spc="0" baseline="0">
          <a:solidFill>
            <a:schemeClr val="tx1"/>
          </a:solidFill>
          <a:latin typeface="+mn-lt"/>
          <a:ea typeface="+mn-ea"/>
          <a:cs typeface="+mn-cs"/>
        </a:defRPr>
      </a:lvl5pPr>
      <a:lvl6pPr marL="1706389" indent="-310253" eaLnBrk="1" hangingPunct="1">
        <a:spcBef>
          <a:spcPts val="754"/>
        </a:spcBef>
        <a:spcAft>
          <a:spcPts val="0"/>
        </a:spcAft>
        <a:buSzPct val="65000"/>
        <a:buFont typeface="Wingdings" pitchFamily="2" charset="2"/>
        <a:buChar char="w"/>
        <a:defRPr sz="1600" b="0" i="0" kern="1200" spc="0" baseline="0">
          <a:solidFill>
            <a:schemeClr val="tx1"/>
          </a:solidFill>
          <a:latin typeface="+mn-lt"/>
          <a:ea typeface="+mn-ea"/>
          <a:cs typeface="+mn-cs"/>
        </a:defRPr>
      </a:lvl6pPr>
      <a:lvl7pPr marL="2480164" eaLnBrk="1" hangingPunct="1">
        <a:defRPr sz="1600">
          <a:latin typeface="+mn-lt"/>
          <a:ea typeface="+mn-ea"/>
          <a:cs typeface="+mn-cs"/>
        </a:defRPr>
      </a:lvl7pPr>
      <a:lvl8pPr marL="2893529" eaLnBrk="1" hangingPunct="1">
        <a:defRPr>
          <a:latin typeface="+mn-lt"/>
          <a:ea typeface="+mn-ea"/>
          <a:cs typeface="+mn-cs"/>
        </a:defRPr>
      </a:lvl8pPr>
      <a:lvl9pPr marL="3306888" eaLnBrk="1" hangingPunct="1">
        <a:defRPr>
          <a:latin typeface="+mn-lt"/>
          <a:ea typeface="+mn-ea"/>
          <a:cs typeface="+mn-cs"/>
        </a:defRPr>
      </a:lvl9pPr>
    </p:bodyStyle>
    <p:otherStyle>
      <a:lvl1pPr marL="0" eaLnBrk="1" hangingPunct="1">
        <a:defRPr>
          <a:latin typeface="+mn-lt"/>
          <a:ea typeface="+mn-ea"/>
          <a:cs typeface="+mn-cs"/>
        </a:defRPr>
      </a:lvl1pPr>
      <a:lvl2pPr marL="413358" eaLnBrk="1" hangingPunct="1">
        <a:defRPr>
          <a:latin typeface="+mn-lt"/>
          <a:ea typeface="+mn-ea"/>
          <a:cs typeface="+mn-cs"/>
        </a:defRPr>
      </a:lvl2pPr>
      <a:lvl3pPr marL="826720" eaLnBrk="1" hangingPunct="1">
        <a:defRPr>
          <a:latin typeface="+mn-lt"/>
          <a:ea typeface="+mn-ea"/>
          <a:cs typeface="+mn-cs"/>
        </a:defRPr>
      </a:lvl3pPr>
      <a:lvl4pPr marL="1240083" eaLnBrk="1" hangingPunct="1">
        <a:defRPr>
          <a:latin typeface="+mn-lt"/>
          <a:ea typeface="+mn-ea"/>
          <a:cs typeface="+mn-cs"/>
        </a:defRPr>
      </a:lvl4pPr>
      <a:lvl5pPr marL="1653445" eaLnBrk="1" hangingPunct="1">
        <a:defRPr>
          <a:latin typeface="+mn-lt"/>
          <a:ea typeface="+mn-ea"/>
          <a:cs typeface="+mn-cs"/>
        </a:defRPr>
      </a:lvl5pPr>
      <a:lvl6pPr marL="2066805" eaLnBrk="1" hangingPunct="1">
        <a:defRPr>
          <a:latin typeface="+mn-lt"/>
          <a:ea typeface="+mn-ea"/>
          <a:cs typeface="+mn-cs"/>
        </a:defRPr>
      </a:lvl6pPr>
      <a:lvl7pPr marL="2480164" eaLnBrk="1" hangingPunct="1">
        <a:defRPr>
          <a:latin typeface="+mn-lt"/>
          <a:ea typeface="+mn-ea"/>
          <a:cs typeface="+mn-cs"/>
        </a:defRPr>
      </a:lvl7pPr>
      <a:lvl8pPr marL="2893529" eaLnBrk="1" hangingPunct="1">
        <a:defRPr>
          <a:latin typeface="+mn-lt"/>
          <a:ea typeface="+mn-ea"/>
          <a:cs typeface="+mn-cs"/>
        </a:defRPr>
      </a:lvl8pPr>
      <a:lvl9pPr marL="3306888" eaLnBrk="1" hangingPunct="1">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23.xml"/><Relationship Id="rId7" Type="http://schemas.openxmlformats.org/officeDocument/2006/relationships/image" Target="../media/image10.png"/><Relationship Id="rId2" Type="http://schemas.openxmlformats.org/officeDocument/2006/relationships/tags" Target="../tags/tag59.xml"/><Relationship Id="rId1" Type="http://schemas.openxmlformats.org/officeDocument/2006/relationships/vmlDrawing" Target="../drawings/vmlDrawing31.vml"/><Relationship Id="rId6" Type="http://schemas.openxmlformats.org/officeDocument/2006/relationships/image" Target="../media/image9.png"/><Relationship Id="rId5" Type="http://schemas.openxmlformats.org/officeDocument/2006/relationships/image" Target="../media/image1.emf"/><Relationship Id="rId10" Type="http://schemas.openxmlformats.org/officeDocument/2006/relationships/image" Target="../media/image8.emf"/><Relationship Id="rId4" Type="http://schemas.openxmlformats.org/officeDocument/2006/relationships/oleObject" Target="../embeddings/oleObject31.bin"/><Relationship Id="rId9" Type="http://schemas.openxmlformats.org/officeDocument/2006/relationships/oleObject" Target="../embeddings/oleObject32.bin"/></Relationships>
</file>

<file path=ppt/slides/_rels/slide10.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tags" Target="../tags/tag85.xml"/><Relationship Id="rId7" Type="http://schemas.openxmlformats.org/officeDocument/2006/relationships/hyperlink" Target="https://www.laregion.fr/parcours-industrie-du-futur" TargetMode="External"/><Relationship Id="rId2" Type="http://schemas.openxmlformats.org/officeDocument/2006/relationships/tags" Target="../tags/tag84.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1.bin"/><Relationship Id="rId10" Type="http://schemas.openxmlformats.org/officeDocument/2006/relationships/image" Target="../media/image67.png"/><Relationship Id="rId4" Type="http://schemas.openxmlformats.org/officeDocument/2006/relationships/slideLayout" Target="../slideLayouts/slideLayout20.xml"/><Relationship Id="rId9" Type="http://schemas.openxmlformats.org/officeDocument/2006/relationships/image" Target="../media/image66.png"/></Relationships>
</file>

<file path=ppt/slides/_rels/slide11.xml.rels><?xml version="1.0" encoding="UTF-8" standalone="yes"?>
<Relationships xmlns="http://schemas.openxmlformats.org/package/2006/relationships"><Relationship Id="rId8" Type="http://schemas.openxmlformats.org/officeDocument/2006/relationships/oleObject" Target="../embeddings/oleObject42.bin"/><Relationship Id="rId3" Type="http://schemas.openxmlformats.org/officeDocument/2006/relationships/tags" Target="../tags/tag87.xml"/><Relationship Id="rId7" Type="http://schemas.openxmlformats.org/officeDocument/2006/relationships/slideLayout" Target="../slideLayouts/slideLayout24.xml"/><Relationship Id="rId2" Type="http://schemas.openxmlformats.org/officeDocument/2006/relationships/tags" Target="../tags/tag86.xml"/><Relationship Id="rId1" Type="http://schemas.openxmlformats.org/officeDocument/2006/relationships/vmlDrawing" Target="../drawings/vmlDrawing41.vml"/><Relationship Id="rId6" Type="http://schemas.openxmlformats.org/officeDocument/2006/relationships/tags" Target="../tags/tag90.xml"/><Relationship Id="rId11" Type="http://schemas.openxmlformats.org/officeDocument/2006/relationships/slide" Target="slide14.xml"/><Relationship Id="rId5" Type="http://schemas.openxmlformats.org/officeDocument/2006/relationships/tags" Target="../tags/tag89.xml"/><Relationship Id="rId10" Type="http://schemas.openxmlformats.org/officeDocument/2006/relationships/slide" Target="slide6.xml"/><Relationship Id="rId4" Type="http://schemas.openxmlformats.org/officeDocument/2006/relationships/tags" Target="../tags/tag88.xml"/><Relationship Id="rId9"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68.jpeg"/><Relationship Id="rId2" Type="http://schemas.openxmlformats.org/officeDocument/2006/relationships/tags" Target="../tags/tag91.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8" Type="http://schemas.openxmlformats.org/officeDocument/2006/relationships/oleObject" Target="../embeddings/oleObject45.bin"/><Relationship Id="rId3" Type="http://schemas.openxmlformats.org/officeDocument/2006/relationships/tags" Target="../tags/tag96.xml"/><Relationship Id="rId7" Type="http://schemas.openxmlformats.org/officeDocument/2006/relationships/slideLayout" Target="../slideLayouts/slideLayout24.xml"/><Relationship Id="rId2" Type="http://schemas.openxmlformats.org/officeDocument/2006/relationships/tags" Target="../tags/tag95.xml"/><Relationship Id="rId1" Type="http://schemas.openxmlformats.org/officeDocument/2006/relationships/vmlDrawing" Target="../drawings/vmlDrawing44.vml"/><Relationship Id="rId6" Type="http://schemas.openxmlformats.org/officeDocument/2006/relationships/tags" Target="../tags/tag99.xml"/><Relationship Id="rId11" Type="http://schemas.openxmlformats.org/officeDocument/2006/relationships/slide" Target="slide11.xml"/><Relationship Id="rId5" Type="http://schemas.openxmlformats.org/officeDocument/2006/relationships/tags" Target="../tags/tag98.xml"/><Relationship Id="rId10" Type="http://schemas.openxmlformats.org/officeDocument/2006/relationships/slide" Target="slide6.xml"/><Relationship Id="rId4" Type="http://schemas.openxmlformats.org/officeDocument/2006/relationships/tags" Target="../tags/tag97.xml"/><Relationship Id="rId9" Type="http://schemas.openxmlformats.org/officeDocument/2006/relationships/image" Target="../media/image1.emf"/></Relationships>
</file>

<file path=ppt/slides/_rels/slide15.xml.rels><?xml version="1.0" encoding="UTF-8" standalone="yes"?>
<Relationships xmlns="http://schemas.openxmlformats.org/package/2006/relationships"><Relationship Id="rId8" Type="http://schemas.openxmlformats.org/officeDocument/2006/relationships/image" Target="../media/image69.emf"/><Relationship Id="rId13" Type="http://schemas.openxmlformats.org/officeDocument/2006/relationships/image" Target="../media/image74.png"/><Relationship Id="rId18" Type="http://schemas.openxmlformats.org/officeDocument/2006/relationships/image" Target="../media/image79.png"/><Relationship Id="rId3" Type="http://schemas.openxmlformats.org/officeDocument/2006/relationships/tags" Target="../tags/tag101.xml"/><Relationship Id="rId7" Type="http://schemas.openxmlformats.org/officeDocument/2006/relationships/oleObject" Target="../embeddings/oleObject46.bin"/><Relationship Id="rId12" Type="http://schemas.openxmlformats.org/officeDocument/2006/relationships/image" Target="../media/image73.jpeg"/><Relationship Id="rId17" Type="http://schemas.openxmlformats.org/officeDocument/2006/relationships/image" Target="../media/image78.png"/><Relationship Id="rId2" Type="http://schemas.openxmlformats.org/officeDocument/2006/relationships/tags" Target="../tags/tag100.xml"/><Relationship Id="rId16" Type="http://schemas.openxmlformats.org/officeDocument/2006/relationships/image" Target="../media/image77.png"/><Relationship Id="rId20" Type="http://schemas.openxmlformats.org/officeDocument/2006/relationships/image" Target="../media/image81.png"/><Relationship Id="rId1" Type="http://schemas.openxmlformats.org/officeDocument/2006/relationships/vmlDrawing" Target="../drawings/vmlDrawing45.vml"/><Relationship Id="rId6" Type="http://schemas.openxmlformats.org/officeDocument/2006/relationships/notesSlide" Target="../notesSlides/notesSlide2.xml"/><Relationship Id="rId11" Type="http://schemas.openxmlformats.org/officeDocument/2006/relationships/image" Target="../media/image72.jpeg"/><Relationship Id="rId5" Type="http://schemas.openxmlformats.org/officeDocument/2006/relationships/slideLayout" Target="../slideLayouts/slideLayout5.xml"/><Relationship Id="rId15" Type="http://schemas.openxmlformats.org/officeDocument/2006/relationships/image" Target="../media/image76.png"/><Relationship Id="rId10" Type="http://schemas.openxmlformats.org/officeDocument/2006/relationships/image" Target="../media/image71.png"/><Relationship Id="rId19" Type="http://schemas.openxmlformats.org/officeDocument/2006/relationships/image" Target="../media/image80.png"/><Relationship Id="rId4" Type="http://schemas.openxmlformats.org/officeDocument/2006/relationships/tags" Target="../tags/tag102.xml"/><Relationship Id="rId9" Type="http://schemas.openxmlformats.org/officeDocument/2006/relationships/image" Target="../media/image70.png"/><Relationship Id="rId14" Type="http://schemas.openxmlformats.org/officeDocument/2006/relationships/image" Target="../media/image75.jpeg"/></Relationships>
</file>

<file path=ppt/slides/_rels/slide16.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88.png"/><Relationship Id="rId18" Type="http://schemas.openxmlformats.org/officeDocument/2006/relationships/image" Target="../media/image93.png"/><Relationship Id="rId3" Type="http://schemas.openxmlformats.org/officeDocument/2006/relationships/tags" Target="../tags/tag104.xml"/><Relationship Id="rId7" Type="http://schemas.openxmlformats.org/officeDocument/2006/relationships/image" Target="../media/image82.png"/><Relationship Id="rId12" Type="http://schemas.openxmlformats.org/officeDocument/2006/relationships/image" Target="../media/image87.png"/><Relationship Id="rId17" Type="http://schemas.openxmlformats.org/officeDocument/2006/relationships/image" Target="../media/image92.png"/><Relationship Id="rId2" Type="http://schemas.openxmlformats.org/officeDocument/2006/relationships/tags" Target="../tags/tag103.xml"/><Relationship Id="rId16" Type="http://schemas.openxmlformats.org/officeDocument/2006/relationships/image" Target="../media/image91.png"/><Relationship Id="rId1" Type="http://schemas.openxmlformats.org/officeDocument/2006/relationships/vmlDrawing" Target="../drawings/vmlDrawing46.vml"/><Relationship Id="rId6" Type="http://schemas.openxmlformats.org/officeDocument/2006/relationships/image" Target="../media/image1.emf"/><Relationship Id="rId11" Type="http://schemas.openxmlformats.org/officeDocument/2006/relationships/image" Target="../media/image86.png"/><Relationship Id="rId5" Type="http://schemas.openxmlformats.org/officeDocument/2006/relationships/oleObject" Target="../embeddings/oleObject47.bin"/><Relationship Id="rId15" Type="http://schemas.openxmlformats.org/officeDocument/2006/relationships/image" Target="../media/image90.png"/><Relationship Id="rId10" Type="http://schemas.openxmlformats.org/officeDocument/2006/relationships/image" Target="../media/image85.png"/><Relationship Id="rId4" Type="http://schemas.openxmlformats.org/officeDocument/2006/relationships/slideLayout" Target="../slideLayouts/slideLayout7.xml"/><Relationship Id="rId9" Type="http://schemas.openxmlformats.org/officeDocument/2006/relationships/image" Target="../media/image84.png"/><Relationship Id="rId14" Type="http://schemas.openxmlformats.org/officeDocument/2006/relationships/image" Target="../media/image89.png"/></Relationships>
</file>

<file path=ppt/slides/_rels/slide17.xml.rels><?xml version="1.0" encoding="UTF-8" standalone="yes"?>
<Relationships xmlns="http://schemas.openxmlformats.org/package/2006/relationships"><Relationship Id="rId8" Type="http://schemas.openxmlformats.org/officeDocument/2006/relationships/image" Target="../media/image95.jpeg"/><Relationship Id="rId13" Type="http://schemas.openxmlformats.org/officeDocument/2006/relationships/image" Target="../media/image100.jpeg"/><Relationship Id="rId3" Type="http://schemas.openxmlformats.org/officeDocument/2006/relationships/tags" Target="../tags/tag106.xml"/><Relationship Id="rId7" Type="http://schemas.openxmlformats.org/officeDocument/2006/relationships/image" Target="../media/image94.jpeg"/><Relationship Id="rId12" Type="http://schemas.openxmlformats.org/officeDocument/2006/relationships/image" Target="../media/image99.jpeg"/><Relationship Id="rId2" Type="http://schemas.openxmlformats.org/officeDocument/2006/relationships/tags" Target="../tags/tag105.xml"/><Relationship Id="rId16" Type="http://schemas.openxmlformats.org/officeDocument/2006/relationships/image" Target="../media/image103.png"/><Relationship Id="rId1" Type="http://schemas.openxmlformats.org/officeDocument/2006/relationships/vmlDrawing" Target="../drawings/vmlDrawing47.vml"/><Relationship Id="rId6" Type="http://schemas.openxmlformats.org/officeDocument/2006/relationships/image" Target="../media/image1.emf"/><Relationship Id="rId11" Type="http://schemas.openxmlformats.org/officeDocument/2006/relationships/image" Target="../media/image98.jpeg"/><Relationship Id="rId5" Type="http://schemas.openxmlformats.org/officeDocument/2006/relationships/oleObject" Target="../embeddings/oleObject48.bin"/><Relationship Id="rId15" Type="http://schemas.openxmlformats.org/officeDocument/2006/relationships/image" Target="../media/image102.jpeg"/><Relationship Id="rId10" Type="http://schemas.openxmlformats.org/officeDocument/2006/relationships/image" Target="../media/image97.jpeg"/><Relationship Id="rId4" Type="http://schemas.openxmlformats.org/officeDocument/2006/relationships/slideLayout" Target="../slideLayouts/slideLayout5.xml"/><Relationship Id="rId9" Type="http://schemas.openxmlformats.org/officeDocument/2006/relationships/image" Target="../media/image96.jpeg"/><Relationship Id="rId14" Type="http://schemas.openxmlformats.org/officeDocument/2006/relationships/image" Target="../media/image101.jpeg"/></Relationships>
</file>

<file path=ppt/slides/_rels/slide18.xml.rels><?xml version="1.0" encoding="UTF-8" standalone="yes"?>
<Relationships xmlns="http://schemas.openxmlformats.org/package/2006/relationships"><Relationship Id="rId8" Type="http://schemas.openxmlformats.org/officeDocument/2006/relationships/image" Target="../media/image104.png"/><Relationship Id="rId13" Type="http://schemas.openxmlformats.org/officeDocument/2006/relationships/image" Target="../media/image109.png"/><Relationship Id="rId3" Type="http://schemas.openxmlformats.org/officeDocument/2006/relationships/tags" Target="../tags/tag108.xml"/><Relationship Id="rId7" Type="http://schemas.openxmlformats.org/officeDocument/2006/relationships/image" Target="../media/image103.png"/><Relationship Id="rId12" Type="http://schemas.openxmlformats.org/officeDocument/2006/relationships/image" Target="../media/image108.png"/><Relationship Id="rId2" Type="http://schemas.openxmlformats.org/officeDocument/2006/relationships/tags" Target="../tags/tag107.xml"/><Relationship Id="rId1" Type="http://schemas.openxmlformats.org/officeDocument/2006/relationships/vmlDrawing" Target="../drawings/vmlDrawing48.vml"/><Relationship Id="rId6" Type="http://schemas.openxmlformats.org/officeDocument/2006/relationships/image" Target="../media/image1.emf"/><Relationship Id="rId11" Type="http://schemas.openxmlformats.org/officeDocument/2006/relationships/image" Target="../media/image107.png"/><Relationship Id="rId5" Type="http://schemas.openxmlformats.org/officeDocument/2006/relationships/oleObject" Target="../embeddings/oleObject49.bin"/><Relationship Id="rId10" Type="http://schemas.openxmlformats.org/officeDocument/2006/relationships/image" Target="../media/image106.png"/><Relationship Id="rId4" Type="http://schemas.openxmlformats.org/officeDocument/2006/relationships/slideLayout" Target="../slideLayouts/slideLayout5.xml"/><Relationship Id="rId9" Type="http://schemas.openxmlformats.org/officeDocument/2006/relationships/image" Target="../media/image105.png"/><Relationship Id="rId14" Type="http://schemas.openxmlformats.org/officeDocument/2006/relationships/image" Target="../media/image110.png"/></Relationships>
</file>

<file path=ppt/slides/_rels/slide19.xml.rels><?xml version="1.0" encoding="UTF-8" standalone="yes"?>
<Relationships xmlns="http://schemas.openxmlformats.org/package/2006/relationships"><Relationship Id="rId3" Type="http://schemas.openxmlformats.org/officeDocument/2006/relationships/tags" Target="../tags/tag110.xml"/><Relationship Id="rId7" Type="http://schemas.openxmlformats.org/officeDocument/2006/relationships/image" Target="../media/image111.jpeg"/><Relationship Id="rId2" Type="http://schemas.openxmlformats.org/officeDocument/2006/relationships/tags" Target="../tags/tag109.xml"/><Relationship Id="rId1" Type="http://schemas.openxmlformats.org/officeDocument/2006/relationships/vmlDrawing" Target="../drawings/vmlDrawing49.v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image" Target="../media/image12.png"/><Relationship Id="rId2" Type="http://schemas.openxmlformats.org/officeDocument/2006/relationships/tags" Target="../tags/tag60.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8" Type="http://schemas.openxmlformats.org/officeDocument/2006/relationships/image" Target="../media/image113.svg"/><Relationship Id="rId13" Type="http://schemas.openxmlformats.org/officeDocument/2006/relationships/image" Target="../media/image118.png"/><Relationship Id="rId18" Type="http://schemas.openxmlformats.org/officeDocument/2006/relationships/image" Target="../media/image123.svg"/><Relationship Id="rId3" Type="http://schemas.openxmlformats.org/officeDocument/2006/relationships/tags" Target="../tags/tag112.xml"/><Relationship Id="rId21" Type="http://schemas.openxmlformats.org/officeDocument/2006/relationships/image" Target="../media/image126.png"/><Relationship Id="rId7" Type="http://schemas.openxmlformats.org/officeDocument/2006/relationships/image" Target="../media/image112.png"/><Relationship Id="rId12" Type="http://schemas.openxmlformats.org/officeDocument/2006/relationships/image" Target="../media/image117.svg"/><Relationship Id="rId17" Type="http://schemas.openxmlformats.org/officeDocument/2006/relationships/image" Target="../media/image122.png"/><Relationship Id="rId2" Type="http://schemas.openxmlformats.org/officeDocument/2006/relationships/tags" Target="../tags/tag111.xml"/><Relationship Id="rId16" Type="http://schemas.openxmlformats.org/officeDocument/2006/relationships/image" Target="../media/image121.svg"/><Relationship Id="rId20" Type="http://schemas.openxmlformats.org/officeDocument/2006/relationships/image" Target="../media/image125.svg"/><Relationship Id="rId1" Type="http://schemas.openxmlformats.org/officeDocument/2006/relationships/vmlDrawing" Target="../drawings/vmlDrawing50.vml"/><Relationship Id="rId6" Type="http://schemas.openxmlformats.org/officeDocument/2006/relationships/image" Target="../media/image1.emf"/><Relationship Id="rId11" Type="http://schemas.openxmlformats.org/officeDocument/2006/relationships/image" Target="../media/image116.png"/><Relationship Id="rId5" Type="http://schemas.openxmlformats.org/officeDocument/2006/relationships/oleObject" Target="../embeddings/oleObject51.bin"/><Relationship Id="rId15" Type="http://schemas.openxmlformats.org/officeDocument/2006/relationships/image" Target="../media/image120.png"/><Relationship Id="rId10" Type="http://schemas.openxmlformats.org/officeDocument/2006/relationships/image" Target="../media/image115.svg"/><Relationship Id="rId19" Type="http://schemas.openxmlformats.org/officeDocument/2006/relationships/image" Target="../media/image124.png"/><Relationship Id="rId4" Type="http://schemas.openxmlformats.org/officeDocument/2006/relationships/slideLayout" Target="../slideLayouts/slideLayout20.xml"/><Relationship Id="rId9" Type="http://schemas.openxmlformats.org/officeDocument/2006/relationships/image" Target="../media/image114.png"/><Relationship Id="rId14" Type="http://schemas.openxmlformats.org/officeDocument/2006/relationships/image" Target="../media/image119.svg"/><Relationship Id="rId22" Type="http://schemas.openxmlformats.org/officeDocument/2006/relationships/image" Target="../media/image127.svg"/></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13.xml"/><Relationship Id="rId1" Type="http://schemas.openxmlformats.org/officeDocument/2006/relationships/vmlDrawing" Target="../drawings/vmlDrawing51.vml"/><Relationship Id="rId5" Type="http://schemas.openxmlformats.org/officeDocument/2006/relationships/image" Target="../media/image3.emf"/><Relationship Id="rId4" Type="http://schemas.openxmlformats.org/officeDocument/2006/relationships/oleObject" Target="../embeddings/oleObject52.bin"/></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8" Type="http://schemas.openxmlformats.org/officeDocument/2006/relationships/image" Target="../media/image14.svg"/><Relationship Id="rId13" Type="http://schemas.openxmlformats.org/officeDocument/2006/relationships/image" Target="../media/image19.png"/><Relationship Id="rId18" Type="http://schemas.openxmlformats.org/officeDocument/2006/relationships/image" Target="../media/image24.svg"/><Relationship Id="rId3" Type="http://schemas.openxmlformats.org/officeDocument/2006/relationships/tags" Target="../tags/tag63.xml"/><Relationship Id="rId21" Type="http://schemas.openxmlformats.org/officeDocument/2006/relationships/image" Target="../media/image27.png"/><Relationship Id="rId7" Type="http://schemas.openxmlformats.org/officeDocument/2006/relationships/image" Target="../media/image13.png"/><Relationship Id="rId12" Type="http://schemas.openxmlformats.org/officeDocument/2006/relationships/image" Target="../media/image18.svg"/><Relationship Id="rId17" Type="http://schemas.openxmlformats.org/officeDocument/2006/relationships/image" Target="../media/image23.png"/><Relationship Id="rId2" Type="http://schemas.openxmlformats.org/officeDocument/2006/relationships/tags" Target="../tags/tag62.xml"/><Relationship Id="rId16" Type="http://schemas.openxmlformats.org/officeDocument/2006/relationships/image" Target="../media/image22.svg"/><Relationship Id="rId20" Type="http://schemas.openxmlformats.org/officeDocument/2006/relationships/image" Target="../media/image26.svg"/><Relationship Id="rId1" Type="http://schemas.openxmlformats.org/officeDocument/2006/relationships/vmlDrawing" Target="../drawings/vmlDrawing33.vml"/><Relationship Id="rId6" Type="http://schemas.openxmlformats.org/officeDocument/2006/relationships/image" Target="../media/image1.emf"/><Relationship Id="rId11" Type="http://schemas.openxmlformats.org/officeDocument/2006/relationships/image" Target="../media/image17.png"/><Relationship Id="rId5" Type="http://schemas.openxmlformats.org/officeDocument/2006/relationships/oleObject" Target="../embeddings/oleObject34.bin"/><Relationship Id="rId15" Type="http://schemas.openxmlformats.org/officeDocument/2006/relationships/image" Target="../media/image21.png"/><Relationship Id="rId10" Type="http://schemas.openxmlformats.org/officeDocument/2006/relationships/image" Target="../media/image16.svg"/><Relationship Id="rId19" Type="http://schemas.openxmlformats.org/officeDocument/2006/relationships/image" Target="../media/image25.png"/><Relationship Id="rId4" Type="http://schemas.openxmlformats.org/officeDocument/2006/relationships/slideLayout" Target="../slideLayouts/slideLayout22.xml"/><Relationship Id="rId9" Type="http://schemas.openxmlformats.org/officeDocument/2006/relationships/image" Target="../media/image15.png"/><Relationship Id="rId14" Type="http://schemas.openxmlformats.org/officeDocument/2006/relationships/image" Target="../media/image20.svg"/><Relationship Id="rId22" Type="http://schemas.openxmlformats.org/officeDocument/2006/relationships/image" Target="../media/image28.svg"/></Relationships>
</file>

<file path=ppt/slides/_rels/slide4.xml.rels><?xml version="1.0" encoding="UTF-8" standalone="yes"?>
<Relationships xmlns="http://schemas.openxmlformats.org/package/2006/relationships"><Relationship Id="rId8" Type="http://schemas.openxmlformats.org/officeDocument/2006/relationships/image" Target="../media/image30.jpeg"/><Relationship Id="rId13" Type="http://schemas.openxmlformats.org/officeDocument/2006/relationships/image" Target="../media/image35.jpeg"/><Relationship Id="rId3" Type="http://schemas.openxmlformats.org/officeDocument/2006/relationships/tags" Target="../tags/tag65.xml"/><Relationship Id="rId7" Type="http://schemas.openxmlformats.org/officeDocument/2006/relationships/image" Target="../media/image29.jpeg"/><Relationship Id="rId12" Type="http://schemas.openxmlformats.org/officeDocument/2006/relationships/image" Target="../media/image34.jpeg"/><Relationship Id="rId2" Type="http://schemas.openxmlformats.org/officeDocument/2006/relationships/tags" Target="../tags/tag64.xml"/><Relationship Id="rId16" Type="http://schemas.openxmlformats.org/officeDocument/2006/relationships/image" Target="../media/image38.jpeg"/><Relationship Id="rId1" Type="http://schemas.openxmlformats.org/officeDocument/2006/relationships/vmlDrawing" Target="../drawings/vmlDrawing34.vml"/><Relationship Id="rId6" Type="http://schemas.openxmlformats.org/officeDocument/2006/relationships/image" Target="../media/image1.emf"/><Relationship Id="rId11" Type="http://schemas.openxmlformats.org/officeDocument/2006/relationships/image" Target="../media/image33.jpeg"/><Relationship Id="rId5" Type="http://schemas.openxmlformats.org/officeDocument/2006/relationships/oleObject" Target="../embeddings/oleObject35.bin"/><Relationship Id="rId15" Type="http://schemas.openxmlformats.org/officeDocument/2006/relationships/image" Target="../media/image37.jpeg"/><Relationship Id="rId10" Type="http://schemas.openxmlformats.org/officeDocument/2006/relationships/image" Target="../media/image32.jpeg"/><Relationship Id="rId4" Type="http://schemas.openxmlformats.org/officeDocument/2006/relationships/slideLayout" Target="../slideLayouts/slideLayout20.xml"/><Relationship Id="rId9" Type="http://schemas.openxmlformats.org/officeDocument/2006/relationships/image" Target="../media/image31.jpeg"/><Relationship Id="rId14" Type="http://schemas.openxmlformats.org/officeDocument/2006/relationships/image" Target="../media/image36.jpeg"/></Relationships>
</file>

<file path=ppt/slides/_rels/slide5.xml.rels><?xml version="1.0" encoding="UTF-8" standalone="yes"?>
<Relationships xmlns="http://schemas.openxmlformats.org/package/2006/relationships"><Relationship Id="rId8" Type="http://schemas.openxmlformats.org/officeDocument/2006/relationships/image" Target="../media/image40.svg"/><Relationship Id="rId13" Type="http://schemas.openxmlformats.org/officeDocument/2006/relationships/image" Target="../media/image45.png"/><Relationship Id="rId3" Type="http://schemas.openxmlformats.org/officeDocument/2006/relationships/tags" Target="../tags/tag67.xml"/><Relationship Id="rId7" Type="http://schemas.openxmlformats.org/officeDocument/2006/relationships/image" Target="../media/image39.png"/><Relationship Id="rId12" Type="http://schemas.openxmlformats.org/officeDocument/2006/relationships/image" Target="../media/image44.svg"/><Relationship Id="rId2" Type="http://schemas.openxmlformats.org/officeDocument/2006/relationships/tags" Target="../tags/tag66.xml"/><Relationship Id="rId16" Type="http://schemas.openxmlformats.org/officeDocument/2006/relationships/image" Target="../media/image48.svg"/><Relationship Id="rId1" Type="http://schemas.openxmlformats.org/officeDocument/2006/relationships/vmlDrawing" Target="../drawings/vmlDrawing35.vml"/><Relationship Id="rId6" Type="http://schemas.openxmlformats.org/officeDocument/2006/relationships/image" Target="../media/image1.emf"/><Relationship Id="rId11" Type="http://schemas.openxmlformats.org/officeDocument/2006/relationships/image" Target="../media/image43.png"/><Relationship Id="rId5" Type="http://schemas.openxmlformats.org/officeDocument/2006/relationships/oleObject" Target="../embeddings/oleObject36.bin"/><Relationship Id="rId15" Type="http://schemas.openxmlformats.org/officeDocument/2006/relationships/image" Target="../media/image47.png"/><Relationship Id="rId10" Type="http://schemas.openxmlformats.org/officeDocument/2006/relationships/image" Target="../media/image42.svg"/><Relationship Id="rId4" Type="http://schemas.openxmlformats.org/officeDocument/2006/relationships/slideLayout" Target="../slideLayouts/slideLayout20.xml"/><Relationship Id="rId9" Type="http://schemas.openxmlformats.org/officeDocument/2006/relationships/image" Target="../media/image41.png"/><Relationship Id="rId14" Type="http://schemas.openxmlformats.org/officeDocument/2006/relationships/image" Target="../media/image46.svg"/></Relationships>
</file>

<file path=ppt/slides/_rels/slide6.xml.rels><?xml version="1.0" encoding="UTF-8" standalone="yes"?>
<Relationships xmlns="http://schemas.openxmlformats.org/package/2006/relationships"><Relationship Id="rId8" Type="http://schemas.openxmlformats.org/officeDocument/2006/relationships/oleObject" Target="../embeddings/oleObject37.bin"/><Relationship Id="rId3" Type="http://schemas.openxmlformats.org/officeDocument/2006/relationships/tags" Target="../tags/tag69.xml"/><Relationship Id="rId7" Type="http://schemas.openxmlformats.org/officeDocument/2006/relationships/slideLayout" Target="../slideLayouts/slideLayout24.xml"/><Relationship Id="rId2" Type="http://schemas.openxmlformats.org/officeDocument/2006/relationships/tags" Target="../tags/tag68.xml"/><Relationship Id="rId1" Type="http://schemas.openxmlformats.org/officeDocument/2006/relationships/vmlDrawing" Target="../drawings/vmlDrawing36.vml"/><Relationship Id="rId6" Type="http://schemas.openxmlformats.org/officeDocument/2006/relationships/tags" Target="../tags/tag72.xml"/><Relationship Id="rId11" Type="http://schemas.openxmlformats.org/officeDocument/2006/relationships/slide" Target="slide14.xml"/><Relationship Id="rId5" Type="http://schemas.openxmlformats.org/officeDocument/2006/relationships/tags" Target="../tags/tag71.xml"/><Relationship Id="rId10" Type="http://schemas.openxmlformats.org/officeDocument/2006/relationships/slide" Target="slide11.xml"/><Relationship Id="rId4" Type="http://schemas.openxmlformats.org/officeDocument/2006/relationships/tags" Target="../tags/tag70.xml"/><Relationship Id="rId9"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12.png"/><Relationship Id="rId2" Type="http://schemas.openxmlformats.org/officeDocument/2006/relationships/tags" Target="../tags/tag73.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54.svg"/><Relationship Id="rId3" Type="http://schemas.openxmlformats.org/officeDocument/2006/relationships/tags" Target="../tags/tag76.xml"/><Relationship Id="rId7" Type="http://schemas.openxmlformats.org/officeDocument/2006/relationships/image" Target="../media/image1.emf"/><Relationship Id="rId12" Type="http://schemas.openxmlformats.org/officeDocument/2006/relationships/image" Target="../media/image53.png"/><Relationship Id="rId2" Type="http://schemas.openxmlformats.org/officeDocument/2006/relationships/tags" Target="../tags/tag75.xml"/><Relationship Id="rId1" Type="http://schemas.openxmlformats.org/officeDocument/2006/relationships/vmlDrawing" Target="../drawings/vmlDrawing38.vml"/><Relationship Id="rId6" Type="http://schemas.openxmlformats.org/officeDocument/2006/relationships/oleObject" Target="../embeddings/oleObject39.bin"/><Relationship Id="rId11" Type="http://schemas.openxmlformats.org/officeDocument/2006/relationships/image" Target="../media/image52.svg"/><Relationship Id="rId5" Type="http://schemas.openxmlformats.org/officeDocument/2006/relationships/notesSlide" Target="../notesSlides/notesSlide1.xml"/><Relationship Id="rId10" Type="http://schemas.openxmlformats.org/officeDocument/2006/relationships/image" Target="../media/image51.png"/><Relationship Id="rId4" Type="http://schemas.openxmlformats.org/officeDocument/2006/relationships/slideLayout" Target="../slideLayouts/slideLayout20.xml"/><Relationship Id="rId9" Type="http://schemas.openxmlformats.org/officeDocument/2006/relationships/image" Target="../media/image50.svg"/></Relationships>
</file>

<file path=ppt/slides/_rels/slide9.xml.rels><?xml version="1.0" encoding="UTF-8" standalone="yes"?>
<Relationships xmlns="http://schemas.openxmlformats.org/package/2006/relationships"><Relationship Id="rId8" Type="http://schemas.openxmlformats.org/officeDocument/2006/relationships/tags" Target="../tags/tag83.xml"/><Relationship Id="rId13" Type="http://schemas.openxmlformats.org/officeDocument/2006/relationships/image" Target="../media/image56.png"/><Relationship Id="rId18" Type="http://schemas.openxmlformats.org/officeDocument/2006/relationships/image" Target="../media/image61.svg"/><Relationship Id="rId3" Type="http://schemas.openxmlformats.org/officeDocument/2006/relationships/tags" Target="../tags/tag78.xml"/><Relationship Id="rId21" Type="http://schemas.openxmlformats.org/officeDocument/2006/relationships/image" Target="../media/image64.png"/><Relationship Id="rId7" Type="http://schemas.openxmlformats.org/officeDocument/2006/relationships/tags" Target="../tags/tag82.xml"/><Relationship Id="rId12" Type="http://schemas.openxmlformats.org/officeDocument/2006/relationships/image" Target="../media/image55.png"/><Relationship Id="rId17" Type="http://schemas.openxmlformats.org/officeDocument/2006/relationships/image" Target="../media/image60.png"/><Relationship Id="rId2" Type="http://schemas.openxmlformats.org/officeDocument/2006/relationships/tags" Target="../tags/tag77.xml"/><Relationship Id="rId16" Type="http://schemas.openxmlformats.org/officeDocument/2006/relationships/image" Target="../media/image59.svg"/><Relationship Id="rId20" Type="http://schemas.openxmlformats.org/officeDocument/2006/relationships/image" Target="../media/image63.svg"/><Relationship Id="rId1" Type="http://schemas.openxmlformats.org/officeDocument/2006/relationships/vmlDrawing" Target="../drawings/vmlDrawing39.vml"/><Relationship Id="rId6" Type="http://schemas.openxmlformats.org/officeDocument/2006/relationships/tags" Target="../tags/tag81.xml"/><Relationship Id="rId11" Type="http://schemas.openxmlformats.org/officeDocument/2006/relationships/image" Target="../media/image1.emf"/><Relationship Id="rId5" Type="http://schemas.openxmlformats.org/officeDocument/2006/relationships/tags" Target="../tags/tag80.xml"/><Relationship Id="rId15" Type="http://schemas.openxmlformats.org/officeDocument/2006/relationships/image" Target="../media/image58.png"/><Relationship Id="rId23" Type="http://schemas.openxmlformats.org/officeDocument/2006/relationships/image" Target="../media/image31.jpeg"/><Relationship Id="rId10" Type="http://schemas.openxmlformats.org/officeDocument/2006/relationships/oleObject" Target="../embeddings/oleObject40.bin"/><Relationship Id="rId19" Type="http://schemas.openxmlformats.org/officeDocument/2006/relationships/image" Target="../media/image62.png"/><Relationship Id="rId4" Type="http://schemas.openxmlformats.org/officeDocument/2006/relationships/tags" Target="../tags/tag79.xml"/><Relationship Id="rId9" Type="http://schemas.openxmlformats.org/officeDocument/2006/relationships/slideLayout" Target="../slideLayouts/slideLayout20.xml"/><Relationship Id="rId14" Type="http://schemas.openxmlformats.org/officeDocument/2006/relationships/image" Target="../media/image57.svg"/><Relationship Id="rId22" Type="http://schemas.openxmlformats.org/officeDocument/2006/relationships/image" Target="../media/image3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491B3391-55AB-49D2-8B12-02E6A48D23F4}"/>
              </a:ext>
            </a:extLst>
          </p:cNvPr>
          <p:cNvGraphicFramePr>
            <a:graphicFrameLocks noChangeAspect="1"/>
          </p:cNvGraphicFramePr>
          <p:nvPr>
            <p:custDataLst>
              <p:tags r:id="rId2"/>
            </p:custDataLst>
            <p:extLst>
              <p:ext uri="{D42A27DB-BD31-4B8C-83A1-F6EECF244321}">
                <p14:modId xmlns:p14="http://schemas.microsoft.com/office/powerpoint/2010/main" val="915412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763" name="Diapositive think-cell" r:id="rId4" imgW="473" imgH="470" progId="TCLayout.ActiveDocument.1">
                  <p:embed/>
                </p:oleObj>
              </mc:Choice>
              <mc:Fallback>
                <p:oleObj name="Diapositive think-cell" r:id="rId4" imgW="473" imgH="470" progId="TCLayout.ActiveDocument.1">
                  <p:embed/>
                  <p:pic>
                    <p:nvPicPr>
                      <p:cNvPr id="6" name="Objet 5" hidden="1">
                        <a:extLst>
                          <a:ext uri="{FF2B5EF4-FFF2-40B4-BE49-F238E27FC236}">
                            <a16:creationId xmlns:a16="http://schemas.microsoft.com/office/drawing/2014/main" id="{491B3391-55AB-49D2-8B12-02E6A48D23F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Espace réservé pour une image  15">
            <a:extLst>
              <a:ext uri="{FF2B5EF4-FFF2-40B4-BE49-F238E27FC236}">
                <a16:creationId xmlns:a16="http://schemas.microsoft.com/office/drawing/2014/main" id="{B86B25AA-DD8D-458F-A7D2-E46B98FF62DC}"/>
              </a:ext>
            </a:extLst>
          </p:cNvPr>
          <p:cNvPicPr>
            <a:picLocks noGrp="1" noChangeAspect="1"/>
          </p:cNvPicPr>
          <p:nvPr>
            <p:ph type="pic" sz="quarter" idx="19"/>
          </p:nvPr>
        </p:nvPicPr>
        <p:blipFill>
          <a:blip r:embed="rId6">
            <a:extLst>
              <a:ext uri="{28A0092B-C50C-407E-A947-70E740481C1C}">
                <a14:useLocalDpi xmlns:a14="http://schemas.microsoft.com/office/drawing/2010/main" val="0"/>
              </a:ext>
            </a:extLst>
          </a:blip>
          <a:srcRect l="17030" r="17030"/>
          <a:stretch>
            <a:fillRect/>
          </a:stretch>
        </p:blipFill>
        <p:spPr>
          <a:xfrm>
            <a:off x="-11112" y="23177"/>
            <a:ext cx="8415338" cy="7561263"/>
          </a:xfrm>
          <a:ln>
            <a:solidFill>
              <a:schemeClr val="tx2"/>
            </a:solidFill>
          </a:ln>
        </p:spPr>
      </p:pic>
      <p:sp>
        <p:nvSpPr>
          <p:cNvPr id="17" name="object 18">
            <a:extLst>
              <a:ext uri="{FF2B5EF4-FFF2-40B4-BE49-F238E27FC236}">
                <a16:creationId xmlns:a16="http://schemas.microsoft.com/office/drawing/2014/main" id="{F4123B74-05DB-43E0-A88E-E4AF0A5E77B8}"/>
              </a:ext>
            </a:extLst>
          </p:cNvPr>
          <p:cNvSpPr>
            <a:spLocks noChangeAspect="1"/>
          </p:cNvSpPr>
          <p:nvPr/>
        </p:nvSpPr>
        <p:spPr>
          <a:xfrm rot="12022366">
            <a:off x="5454713" y="-504498"/>
            <a:ext cx="1603258" cy="8022362"/>
          </a:xfrm>
          <a:custGeom>
            <a:avLst/>
            <a:gdLst/>
            <a:ahLst/>
            <a:cxnLst/>
            <a:rect l="l" t="t" r="r" b="b"/>
            <a:pathLst>
              <a:path w="1167130" h="2886075">
                <a:moveTo>
                  <a:pt x="1166888" y="0"/>
                </a:moveTo>
                <a:lnTo>
                  <a:pt x="0" y="0"/>
                </a:lnTo>
                <a:lnTo>
                  <a:pt x="0" y="2885516"/>
                </a:lnTo>
                <a:lnTo>
                  <a:pt x="1066" y="2885516"/>
                </a:lnTo>
                <a:lnTo>
                  <a:pt x="1166888" y="0"/>
                </a:lnTo>
                <a:close/>
              </a:path>
            </a:pathLst>
          </a:custGeom>
          <a:solidFill>
            <a:schemeClr val="tx2"/>
          </a:solidFill>
          <a:ln>
            <a:solidFill>
              <a:schemeClr val="tx2"/>
            </a:solidFill>
          </a:ln>
        </p:spPr>
        <p:txBody>
          <a:bodyPr wrap="square" lIns="0" tIns="0" rIns="0" bIns="0" rtlCol="0"/>
          <a:lstStyle/>
          <a:p>
            <a:endParaRPr spc="100" baseline="0" dirty="0"/>
          </a:p>
        </p:txBody>
      </p:sp>
      <p:sp>
        <p:nvSpPr>
          <p:cNvPr id="19" name="Rectangle 18">
            <a:extLst>
              <a:ext uri="{FF2B5EF4-FFF2-40B4-BE49-F238E27FC236}">
                <a16:creationId xmlns:a16="http://schemas.microsoft.com/office/drawing/2014/main" id="{A78A32C4-A978-43A6-AB51-DDCBB1377D20}"/>
              </a:ext>
            </a:extLst>
          </p:cNvPr>
          <p:cNvSpPr/>
          <p:nvPr/>
        </p:nvSpPr>
        <p:spPr>
          <a:xfrm>
            <a:off x="3451225" y="6680200"/>
            <a:ext cx="2133600" cy="904240"/>
          </a:xfrm>
          <a:prstGeom prst="rect">
            <a:avLst/>
          </a:prstGeom>
          <a:solidFill>
            <a:schemeClr val="tx2"/>
          </a:solidFill>
        </p:spPr>
        <p:txBody>
          <a:bodyPr wrap="square" lIns="0" tIns="0" rIns="0" bIns="0" rtlCol="0" anchor="ctr"/>
          <a:lstStyle/>
          <a:p>
            <a:pPr algn="ctr"/>
            <a:endParaRPr lang="en-US" sz="1600" b="0" dirty="0" err="1">
              <a:solidFill>
                <a:schemeClr val="bg1"/>
              </a:solidFill>
            </a:endParaRPr>
          </a:p>
        </p:txBody>
      </p:sp>
      <p:sp>
        <p:nvSpPr>
          <p:cNvPr id="4" name="Espace réservé du texte 3">
            <a:extLst>
              <a:ext uri="{FF2B5EF4-FFF2-40B4-BE49-F238E27FC236}">
                <a16:creationId xmlns:a16="http://schemas.microsoft.com/office/drawing/2014/main" id="{1007BF56-0FBA-4602-B296-3DD72A1CF559}"/>
              </a:ext>
            </a:extLst>
          </p:cNvPr>
          <p:cNvSpPr>
            <a:spLocks noGrp="1"/>
          </p:cNvSpPr>
          <p:nvPr>
            <p:ph type="body" sz="quarter" idx="17"/>
          </p:nvPr>
        </p:nvSpPr>
        <p:spPr>
          <a:xfrm>
            <a:off x="457200" y="1002059"/>
            <a:ext cx="5584825" cy="1949252"/>
          </a:xfrm>
        </p:spPr>
        <p:txBody>
          <a:bodyPr/>
          <a:lstStyle/>
          <a:p>
            <a:pPr algn="ctr"/>
            <a:r>
              <a:rPr lang="en-US" sz="6000" spc="300" dirty="0">
                <a:solidFill>
                  <a:schemeClr val="bg1"/>
                </a:solidFill>
                <a:latin typeface="+mj-lt"/>
              </a:rPr>
              <a:t>INDUSTRIE </a:t>
            </a:r>
          </a:p>
          <a:p>
            <a:pPr algn="ctr"/>
            <a:r>
              <a:rPr lang="en-US" sz="6000" spc="300" dirty="0">
                <a:solidFill>
                  <a:schemeClr val="bg1"/>
                </a:solidFill>
                <a:latin typeface="+mj-lt"/>
              </a:rPr>
              <a:t>DU </a:t>
            </a:r>
            <a:r>
              <a:rPr lang="en-US" sz="6000" spc="300" dirty="0">
                <a:solidFill>
                  <a:schemeClr val="accent3"/>
                </a:solidFill>
                <a:latin typeface="+mj-lt"/>
              </a:rPr>
              <a:t>FUTUR</a:t>
            </a:r>
          </a:p>
        </p:txBody>
      </p:sp>
      <p:sp>
        <p:nvSpPr>
          <p:cNvPr id="20" name="Rectangle 19">
            <a:extLst>
              <a:ext uri="{FF2B5EF4-FFF2-40B4-BE49-F238E27FC236}">
                <a16:creationId xmlns:a16="http://schemas.microsoft.com/office/drawing/2014/main" id="{85267FA2-8A2B-44E7-9297-3E00B2802FBF}"/>
              </a:ext>
            </a:extLst>
          </p:cNvPr>
          <p:cNvSpPr/>
          <p:nvPr/>
        </p:nvSpPr>
        <p:spPr>
          <a:xfrm>
            <a:off x="773112" y="3935274"/>
            <a:ext cx="4953001" cy="2062103"/>
          </a:xfrm>
          <a:prstGeom prst="rect">
            <a:avLst/>
          </a:prstGeom>
        </p:spPr>
        <p:txBody>
          <a:bodyPr wrap="square">
            <a:spAutoFit/>
          </a:bodyPr>
          <a:lstStyle/>
          <a:p>
            <a:pPr algn="ctr"/>
            <a:r>
              <a:rPr lang="fr-FR" sz="3200" cap="small" dirty="0">
                <a:solidFill>
                  <a:schemeClr val="bg1"/>
                </a:solidFill>
                <a:latin typeface="+mj-lt"/>
              </a:rPr>
              <a:t>cylad consulting </a:t>
            </a:r>
          </a:p>
          <a:p>
            <a:pPr algn="ctr"/>
            <a:r>
              <a:rPr lang="fr-FR" sz="3200" cap="small" dirty="0">
                <a:solidFill>
                  <a:schemeClr val="bg1"/>
                </a:solidFill>
                <a:latin typeface="+mj-lt"/>
              </a:rPr>
              <a:t>et la région </a:t>
            </a:r>
            <a:r>
              <a:rPr lang="fr-FR" sz="3200" cap="small" dirty="0" err="1">
                <a:solidFill>
                  <a:schemeClr val="bg1"/>
                </a:solidFill>
                <a:latin typeface="+mj-lt"/>
              </a:rPr>
              <a:t>occitanie</a:t>
            </a:r>
            <a:r>
              <a:rPr lang="fr-FR" sz="3200" cap="small" dirty="0">
                <a:solidFill>
                  <a:schemeClr val="bg1"/>
                </a:solidFill>
                <a:latin typeface="+mj-lt"/>
              </a:rPr>
              <a:t> </a:t>
            </a:r>
          </a:p>
          <a:p>
            <a:pPr algn="ctr"/>
            <a:r>
              <a:rPr lang="fr-FR" sz="3200" cap="small" dirty="0">
                <a:solidFill>
                  <a:schemeClr val="bg1"/>
                </a:solidFill>
                <a:latin typeface="+mj-lt"/>
              </a:rPr>
              <a:t>vous accompagnent dans </a:t>
            </a:r>
          </a:p>
          <a:p>
            <a:pPr algn="ctr"/>
            <a:r>
              <a:rPr lang="fr-FR" sz="3200" cap="small" dirty="0">
                <a:solidFill>
                  <a:schemeClr val="bg1"/>
                </a:solidFill>
                <a:latin typeface="+mj-lt"/>
              </a:rPr>
              <a:t>vos </a:t>
            </a:r>
            <a:r>
              <a:rPr lang="fr-FR" sz="3200" cap="small" dirty="0">
                <a:solidFill>
                  <a:schemeClr val="accent3"/>
                </a:solidFill>
                <a:latin typeface="+mj-lt"/>
              </a:rPr>
              <a:t>projets de transformation</a:t>
            </a:r>
          </a:p>
        </p:txBody>
      </p:sp>
      <p:sp>
        <p:nvSpPr>
          <p:cNvPr id="21" name="Rectangle 20">
            <a:extLst>
              <a:ext uri="{FF2B5EF4-FFF2-40B4-BE49-F238E27FC236}">
                <a16:creationId xmlns:a16="http://schemas.microsoft.com/office/drawing/2014/main" id="{61A6C8AD-3F39-4DE4-A4DB-B49B0DEE55D6}"/>
              </a:ext>
            </a:extLst>
          </p:cNvPr>
          <p:cNvSpPr/>
          <p:nvPr/>
        </p:nvSpPr>
        <p:spPr>
          <a:xfrm>
            <a:off x="7581682" y="3184435"/>
            <a:ext cx="5562600" cy="1631216"/>
          </a:xfrm>
          <a:prstGeom prst="rect">
            <a:avLst/>
          </a:prstGeom>
        </p:spPr>
        <p:txBody>
          <a:bodyPr wrap="square">
            <a:spAutoFit/>
          </a:bodyPr>
          <a:lstStyle/>
          <a:p>
            <a:pPr marL="53754" indent="0" algn="ctr" defTabSz="643646">
              <a:buNone/>
            </a:pPr>
            <a:r>
              <a:rPr lang="fr-FR" sz="2000" dirty="0">
                <a:solidFill>
                  <a:schemeClr val="tx2"/>
                </a:solidFill>
                <a:latin typeface="+mj-lt"/>
              </a:rPr>
              <a:t>Vous êtes une </a:t>
            </a:r>
            <a:r>
              <a:rPr lang="fr-FR" sz="2000" b="1" dirty="0">
                <a:solidFill>
                  <a:schemeClr val="tx2"/>
                </a:solidFill>
                <a:latin typeface="+mj-lt"/>
              </a:rPr>
              <a:t>TPE, PME ou ETI établie </a:t>
            </a:r>
            <a:r>
              <a:rPr lang="fr-FR" sz="2000" dirty="0">
                <a:solidFill>
                  <a:schemeClr val="tx2"/>
                </a:solidFill>
                <a:latin typeface="+mj-lt"/>
              </a:rPr>
              <a:t>en Occitanie, engagez votre transformation vers l’Industrie du Futur et bénéficiez d’un accompagnement sur-mesure avec CYLAD</a:t>
            </a:r>
            <a:r>
              <a:rPr lang="fr-FR" sz="2000">
                <a:solidFill>
                  <a:schemeClr val="tx2"/>
                </a:solidFill>
                <a:latin typeface="+mj-lt"/>
              </a:rPr>
              <a:t>, porté </a:t>
            </a:r>
            <a:r>
              <a:rPr lang="fr-FR" sz="2000" dirty="0">
                <a:solidFill>
                  <a:schemeClr val="tx2"/>
                </a:solidFill>
                <a:latin typeface="+mj-lt"/>
              </a:rPr>
              <a:t>par la Région Occitanie et cofinancé par l’Etat</a:t>
            </a:r>
          </a:p>
        </p:txBody>
      </p:sp>
      <p:sp>
        <p:nvSpPr>
          <p:cNvPr id="28" name="object 18">
            <a:extLst>
              <a:ext uri="{FF2B5EF4-FFF2-40B4-BE49-F238E27FC236}">
                <a16:creationId xmlns:a16="http://schemas.microsoft.com/office/drawing/2014/main" id="{7A732174-1374-4421-8C18-C44FFFE46967}"/>
              </a:ext>
            </a:extLst>
          </p:cNvPr>
          <p:cNvSpPr>
            <a:spLocks noChangeAspect="1"/>
          </p:cNvSpPr>
          <p:nvPr/>
        </p:nvSpPr>
        <p:spPr>
          <a:xfrm>
            <a:off x="3176103" y="3222583"/>
            <a:ext cx="147017" cy="390121"/>
          </a:xfrm>
          <a:custGeom>
            <a:avLst/>
            <a:gdLst/>
            <a:ahLst/>
            <a:cxnLst/>
            <a:rect l="l" t="t" r="r" b="b"/>
            <a:pathLst>
              <a:path w="546734" h="1352550">
                <a:moveTo>
                  <a:pt x="0" y="1352428"/>
                </a:moveTo>
                <a:lnTo>
                  <a:pt x="546414" y="0"/>
                </a:lnTo>
              </a:path>
            </a:pathLst>
          </a:custGeom>
          <a:ln w="12700">
            <a:solidFill>
              <a:schemeClr val="accent3"/>
            </a:solidFill>
          </a:ln>
        </p:spPr>
        <p:txBody>
          <a:bodyPr wrap="square" lIns="0" tIns="0" rIns="0" bIns="0" rtlCol="0"/>
          <a:lstStyle/>
          <a:p>
            <a:pPr defTabSz="1045848">
              <a:defRPr/>
            </a:pPr>
            <a:endParaRPr lang="fr-FR" sz="2300" spc="100">
              <a:solidFill>
                <a:srgbClr val="000000"/>
              </a:solidFill>
            </a:endParaRPr>
          </a:p>
        </p:txBody>
      </p:sp>
      <p:grpSp>
        <p:nvGrpSpPr>
          <p:cNvPr id="30" name="Groupe 29">
            <a:extLst>
              <a:ext uri="{FF2B5EF4-FFF2-40B4-BE49-F238E27FC236}">
                <a16:creationId xmlns:a16="http://schemas.microsoft.com/office/drawing/2014/main" id="{1C4EDCE9-3EFE-4591-A6E6-C1C18E31B3C5}"/>
              </a:ext>
            </a:extLst>
          </p:cNvPr>
          <p:cNvGrpSpPr/>
          <p:nvPr/>
        </p:nvGrpSpPr>
        <p:grpSpPr>
          <a:xfrm>
            <a:off x="7718425" y="6107264"/>
            <a:ext cx="4995898" cy="1025056"/>
            <a:chOff x="7506580" y="5708679"/>
            <a:chExt cx="4995898" cy="1025056"/>
          </a:xfrm>
        </p:grpSpPr>
        <p:pic>
          <p:nvPicPr>
            <p:cNvPr id="25" name="Image 24">
              <a:extLst>
                <a:ext uri="{FF2B5EF4-FFF2-40B4-BE49-F238E27FC236}">
                  <a16:creationId xmlns:a16="http://schemas.microsoft.com/office/drawing/2014/main" id="{C2E85DB0-FE35-4003-9513-BA8F676B874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477422" y="5708679"/>
              <a:ext cx="1025056" cy="1025056"/>
            </a:xfrm>
            <a:prstGeom prst="rect">
              <a:avLst/>
            </a:prstGeom>
          </p:spPr>
        </p:pic>
        <p:pic>
          <p:nvPicPr>
            <p:cNvPr id="27" name="Image 26" descr="Une image contenant objet&#10;&#10;Description générée automatiquement">
              <a:extLst>
                <a:ext uri="{FF2B5EF4-FFF2-40B4-BE49-F238E27FC236}">
                  <a16:creationId xmlns:a16="http://schemas.microsoft.com/office/drawing/2014/main" id="{8F5DD390-A0FA-4892-A6D4-074628578720}"/>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506580" y="5824772"/>
              <a:ext cx="1911631" cy="792870"/>
            </a:xfrm>
            <a:prstGeom prst="rect">
              <a:avLst/>
            </a:prstGeom>
          </p:spPr>
        </p:pic>
      </p:grpSp>
      <p:graphicFrame>
        <p:nvGraphicFramePr>
          <p:cNvPr id="2" name="Objet 1">
            <a:extLst>
              <a:ext uri="{FF2B5EF4-FFF2-40B4-BE49-F238E27FC236}">
                <a16:creationId xmlns:a16="http://schemas.microsoft.com/office/drawing/2014/main" id="{60DE59D2-A338-48EF-AC38-877EC60BFD1A}"/>
              </a:ext>
            </a:extLst>
          </p:cNvPr>
          <p:cNvGraphicFramePr>
            <a:graphicFrameLocks noChangeAspect="1"/>
          </p:cNvGraphicFramePr>
          <p:nvPr>
            <p:extLst>
              <p:ext uri="{D42A27DB-BD31-4B8C-83A1-F6EECF244321}">
                <p14:modId xmlns:p14="http://schemas.microsoft.com/office/powerpoint/2010/main" val="3624624885"/>
              </p:ext>
            </p:extLst>
          </p:nvPr>
        </p:nvGraphicFramePr>
        <p:xfrm>
          <a:off x="9918700" y="5954713"/>
          <a:ext cx="1450975" cy="1450975"/>
        </p:xfrm>
        <a:graphic>
          <a:graphicData uri="http://schemas.openxmlformats.org/presentationml/2006/ole">
            <mc:AlternateContent xmlns:mc="http://schemas.openxmlformats.org/markup-compatibility/2006">
              <mc:Choice xmlns:v="urn:schemas-microsoft-com:vml" Requires="v">
                <p:oleObj spid="_x0000_s26764" name="Acrobat Document" r:id="rId9" imgW="1294956" imgH="1295104" progId="AcroExch.Document.11">
                  <p:embed/>
                </p:oleObj>
              </mc:Choice>
              <mc:Fallback>
                <p:oleObj name="Acrobat Document" r:id="rId9" imgW="1294956" imgH="1295104" progId="AcroExch.Document.11">
                  <p:embed/>
                  <p:pic>
                    <p:nvPicPr>
                      <p:cNvPr id="0" name=""/>
                      <p:cNvPicPr/>
                      <p:nvPr/>
                    </p:nvPicPr>
                    <p:blipFill>
                      <a:blip r:embed="rId10"/>
                      <a:stretch>
                        <a:fillRect/>
                      </a:stretch>
                    </p:blipFill>
                    <p:spPr>
                      <a:xfrm>
                        <a:off x="9918700" y="5954713"/>
                        <a:ext cx="1450975" cy="1450975"/>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7F8C874F-46B4-4DD0-BBFC-F5DCCC448F62}"/>
              </a:ext>
            </a:extLst>
          </p:cNvPr>
          <p:cNvSpPr/>
          <p:nvPr/>
        </p:nvSpPr>
        <p:spPr>
          <a:xfrm>
            <a:off x="12442825" y="7132320"/>
            <a:ext cx="701457" cy="272806"/>
          </a:xfrm>
          <a:prstGeom prst="rect">
            <a:avLst/>
          </a:prstGeom>
          <a:solidFill>
            <a:schemeClr val="bg1"/>
          </a:solidFill>
        </p:spPr>
        <p:txBody>
          <a:bodyPr wrap="square" lIns="0" tIns="0" rIns="0" bIns="0" rtlCol="0" anchor="ctr"/>
          <a:lstStyle/>
          <a:p>
            <a:pPr algn="ctr"/>
            <a:endParaRPr lang="en-US" sz="1600" b="0" dirty="0" err="1">
              <a:solidFill>
                <a:schemeClr val="bg1"/>
              </a:solidFill>
            </a:endParaRPr>
          </a:p>
        </p:txBody>
      </p:sp>
    </p:spTree>
    <p:extLst>
      <p:ext uri="{BB962C8B-B14F-4D97-AF65-F5344CB8AC3E}">
        <p14:creationId xmlns:p14="http://schemas.microsoft.com/office/powerpoint/2010/main" val="42354112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A58D52A3-2D0C-4F24-BA8F-C7F0FA5B8FEA}"/>
              </a:ext>
            </a:extLst>
          </p:cNvPr>
          <p:cNvGraphicFramePr>
            <a:graphicFrameLocks noChangeAspect="1"/>
          </p:cNvGraphicFramePr>
          <p:nvPr>
            <p:custDataLst>
              <p:tags r:id="rId2"/>
            </p:custDataLst>
            <p:extLst>
              <p:ext uri="{D42A27DB-BD31-4B8C-83A1-F6EECF244321}">
                <p14:modId xmlns:p14="http://schemas.microsoft.com/office/powerpoint/2010/main" val="3579406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58" name="Diapositive think-cell" r:id="rId5" imgW="473" imgH="470" progId="TCLayout.ActiveDocument.1">
                  <p:embed/>
                </p:oleObj>
              </mc:Choice>
              <mc:Fallback>
                <p:oleObj name="Diapositive think-cell" r:id="rId5" imgW="473" imgH="470" progId="TCLayout.ActiveDocument.1">
                  <p:embed/>
                  <p:pic>
                    <p:nvPicPr>
                      <p:cNvPr id="7" name="Objet 6" hidden="1">
                        <a:extLst>
                          <a:ext uri="{FF2B5EF4-FFF2-40B4-BE49-F238E27FC236}">
                            <a16:creationId xmlns:a16="http://schemas.microsoft.com/office/drawing/2014/main" id="{A58D52A3-2D0C-4F24-BA8F-C7F0FA5B8FE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2E98E7E-637C-4F38-89FD-B080A8090A43}"/>
              </a:ext>
            </a:extLst>
          </p:cNvPr>
          <p:cNvSpPr/>
          <p:nvPr>
            <p:custDataLst>
              <p:tags r:id="rId3"/>
            </p:custDataLst>
          </p:nvPr>
        </p:nvSpPr>
        <p:spPr>
          <a:xfrm>
            <a:off x="0" y="0"/>
            <a:ext cx="158750" cy="158750"/>
          </a:xfrm>
          <a:prstGeom prst="rect">
            <a:avLst/>
          </a:prstGeom>
          <a:solidFill>
            <a:schemeClr val="tx2"/>
          </a:solidFill>
        </p:spPr>
        <p:txBody>
          <a:bodyPr wrap="none" lIns="0" tIns="0" rIns="0" bIns="0" numCol="1" spcCol="0" rtlCol="0" anchor="ctr" anchorCtr="0">
            <a:noAutofit/>
          </a:bodyPr>
          <a:lstStyle/>
          <a:p>
            <a:pPr algn="ctr"/>
            <a:endParaRPr lang="fr-FR" sz="2200" b="1" dirty="0" err="1">
              <a:solidFill>
                <a:schemeClr val="bg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12" name="Flèche : courbe vers le bas 11">
            <a:extLst>
              <a:ext uri="{FF2B5EF4-FFF2-40B4-BE49-F238E27FC236}">
                <a16:creationId xmlns:a16="http://schemas.microsoft.com/office/drawing/2014/main" id="{F37D187E-7457-4885-A6A1-540DA1C1F14E}"/>
              </a:ext>
            </a:extLst>
          </p:cNvPr>
          <p:cNvSpPr/>
          <p:nvPr/>
        </p:nvSpPr>
        <p:spPr>
          <a:xfrm>
            <a:off x="7337425" y="3930901"/>
            <a:ext cx="1066800" cy="563809"/>
          </a:xfrm>
          <a:prstGeom prst="curvedDownArrow">
            <a:avLst/>
          </a:prstGeom>
          <a:solidFill>
            <a:schemeClr val="tx2"/>
          </a:solidFill>
        </p:spPr>
        <p:txBody>
          <a:bodyPr wrap="square" lIns="0" tIns="0" rIns="0" bIns="0" rtlCol="0" anchor="ctr"/>
          <a:lstStyle/>
          <a:p>
            <a:pPr algn="ctr"/>
            <a:endParaRPr lang="en-US" sz="1600" b="0" dirty="0" err="1">
              <a:solidFill>
                <a:schemeClr val="bg1"/>
              </a:solidFill>
            </a:endParaRPr>
          </a:p>
        </p:txBody>
      </p:sp>
      <p:sp>
        <p:nvSpPr>
          <p:cNvPr id="9" name="Rectangle : coins arrondis 8">
            <a:extLst>
              <a:ext uri="{FF2B5EF4-FFF2-40B4-BE49-F238E27FC236}">
                <a16:creationId xmlns:a16="http://schemas.microsoft.com/office/drawing/2014/main" id="{739004C1-0C17-4BE2-B520-5E51F8D2BFE6}"/>
              </a:ext>
            </a:extLst>
          </p:cNvPr>
          <p:cNvSpPr/>
          <p:nvPr/>
        </p:nvSpPr>
        <p:spPr>
          <a:xfrm>
            <a:off x="8010749" y="362852"/>
            <a:ext cx="2743200" cy="704173"/>
          </a:xfrm>
          <a:prstGeom prst="roundRect">
            <a:avLst/>
          </a:prstGeom>
          <a:solidFill>
            <a:schemeClr val="accent3"/>
          </a:solidFill>
        </p:spPr>
        <p:txBody>
          <a:bodyPr wrap="square" lIns="0" tIns="0" rIns="0" bIns="0" rtlCol="0" anchor="ctr"/>
          <a:lstStyle/>
          <a:p>
            <a:pPr lvl="0" algn="ctr">
              <a:spcAft>
                <a:spcPts val="0"/>
              </a:spcAft>
            </a:pPr>
            <a:r>
              <a:rPr lang="fr-FR" sz="1600" u="sng">
                <a:solidFill>
                  <a:schemeClr val="bg1"/>
                </a:solidFill>
                <a:latin typeface="Calibri" panose="020F0502020204030204" pitchFamily="34" charset="0"/>
                <a:ea typeface="Times New Roman" panose="02020603050405020304" pitchFamily="18" charset="0"/>
                <a:hlinkClick r:id="rId7">
                  <a:extLst>
                    <a:ext uri="{A12FA001-AC4F-418D-AE19-62706E023703}">
                      <ahyp:hlinkClr xmlns:ahyp="http://schemas.microsoft.com/office/drawing/2018/hyperlinkcolor" val="tx"/>
                    </a:ext>
                  </a:extLst>
                </a:hlinkClick>
              </a:rPr>
              <a:t>https://www.laregion.fr/</a:t>
            </a:r>
          </a:p>
          <a:p>
            <a:pPr lvl="0" algn="ctr">
              <a:spcAft>
                <a:spcPts val="0"/>
              </a:spcAft>
            </a:pPr>
            <a:r>
              <a:rPr lang="fr-FR" sz="1600" u="sng">
                <a:solidFill>
                  <a:schemeClr val="bg1"/>
                </a:solidFill>
                <a:latin typeface="Calibri" panose="020F0502020204030204" pitchFamily="34" charset="0"/>
                <a:ea typeface="Times New Roman" panose="02020603050405020304" pitchFamily="18" charset="0"/>
                <a:hlinkClick r:id="rId7">
                  <a:extLst>
                    <a:ext uri="{A12FA001-AC4F-418D-AE19-62706E023703}">
                      <ahyp:hlinkClr xmlns:ahyp="http://schemas.microsoft.com/office/drawing/2018/hyperlinkcolor" val="tx"/>
                    </a:ext>
                  </a:extLst>
                </a:hlinkClick>
              </a:rPr>
              <a:t>parcours-industrie-du-futur</a:t>
            </a:r>
            <a:endParaRPr lang="fr-FR" sz="1600" dirty="0">
              <a:solidFill>
                <a:schemeClr val="bg1"/>
              </a:solidFill>
              <a:latin typeface="Calibri" panose="020F0502020204030204" pitchFamily="34" charset="0"/>
              <a:ea typeface="Calibri" panose="020F0502020204030204" pitchFamily="34" charset="0"/>
            </a:endParaRPr>
          </a:p>
        </p:txBody>
      </p:sp>
      <p:sp>
        <p:nvSpPr>
          <p:cNvPr id="2" name="Titre 1">
            <a:extLst>
              <a:ext uri="{FF2B5EF4-FFF2-40B4-BE49-F238E27FC236}">
                <a16:creationId xmlns:a16="http://schemas.microsoft.com/office/drawing/2014/main" id="{96B99EC4-560E-4641-A169-13130ED3C032}"/>
              </a:ext>
            </a:extLst>
          </p:cNvPr>
          <p:cNvSpPr>
            <a:spLocks noGrp="1"/>
          </p:cNvSpPr>
          <p:nvPr>
            <p:ph type="title"/>
          </p:nvPr>
        </p:nvSpPr>
        <p:spPr>
          <a:xfrm>
            <a:off x="609618" y="545662"/>
            <a:ext cx="12218110" cy="338554"/>
          </a:xfrm>
        </p:spPr>
        <p:txBody>
          <a:bodyPr/>
          <a:lstStyle/>
          <a:p>
            <a:r>
              <a:rPr lang="fr-FR" dirty="0"/>
              <a:t>Pour plus d’information sur le dispositif, rendez-vous sur : </a:t>
            </a:r>
          </a:p>
        </p:txBody>
      </p:sp>
      <p:grpSp>
        <p:nvGrpSpPr>
          <p:cNvPr id="8" name="Groupe 7">
            <a:extLst>
              <a:ext uri="{FF2B5EF4-FFF2-40B4-BE49-F238E27FC236}">
                <a16:creationId xmlns:a16="http://schemas.microsoft.com/office/drawing/2014/main" id="{AC5EC273-6C45-4254-BA16-1DECFC2C9339}"/>
              </a:ext>
            </a:extLst>
          </p:cNvPr>
          <p:cNvGrpSpPr/>
          <p:nvPr/>
        </p:nvGrpSpPr>
        <p:grpSpPr>
          <a:xfrm>
            <a:off x="609618" y="1564717"/>
            <a:ext cx="7138782" cy="4439764"/>
            <a:chOff x="0" y="-1556403"/>
            <a:chExt cx="13455650" cy="8816589"/>
          </a:xfrm>
          <a:effectLst>
            <a:outerShdw blurRad="50800" dist="38100" dir="2700000" algn="tl" rotWithShape="0">
              <a:prstClr val="black">
                <a:alpha val="40000"/>
              </a:prstClr>
            </a:outerShdw>
          </a:effectLst>
        </p:grpSpPr>
        <p:pic>
          <p:nvPicPr>
            <p:cNvPr id="5" name="Image 4">
              <a:extLst>
                <a:ext uri="{FF2B5EF4-FFF2-40B4-BE49-F238E27FC236}">
                  <a16:creationId xmlns:a16="http://schemas.microsoft.com/office/drawing/2014/main" id="{DCD24A39-25A5-4A0D-8106-325B6FB7413F}"/>
                </a:ext>
              </a:extLst>
            </p:cNvPr>
            <p:cNvPicPr>
              <a:picLocks noChangeAspect="1"/>
            </p:cNvPicPr>
            <p:nvPr/>
          </p:nvPicPr>
          <p:blipFill>
            <a:blip r:embed="rId8"/>
            <a:stretch>
              <a:fillRect/>
            </a:stretch>
          </p:blipFill>
          <p:spPr>
            <a:xfrm>
              <a:off x="0" y="5613400"/>
              <a:ext cx="13455650" cy="1646786"/>
            </a:xfrm>
            <a:prstGeom prst="rect">
              <a:avLst/>
            </a:prstGeom>
            <a:ln>
              <a:noFill/>
            </a:ln>
          </p:spPr>
        </p:pic>
        <p:pic>
          <p:nvPicPr>
            <p:cNvPr id="3" name="Image 2">
              <a:extLst>
                <a:ext uri="{FF2B5EF4-FFF2-40B4-BE49-F238E27FC236}">
                  <a16:creationId xmlns:a16="http://schemas.microsoft.com/office/drawing/2014/main" id="{85861096-16ED-4A5C-8815-D60577002933}"/>
                </a:ext>
              </a:extLst>
            </p:cNvPr>
            <p:cNvPicPr>
              <a:picLocks noChangeAspect="1"/>
            </p:cNvPicPr>
            <p:nvPr/>
          </p:nvPicPr>
          <p:blipFill rotWithShape="1">
            <a:blip r:embed="rId9"/>
            <a:srcRect b="630"/>
            <a:stretch/>
          </p:blipFill>
          <p:spPr>
            <a:xfrm>
              <a:off x="0" y="-1556402"/>
              <a:ext cx="13455650" cy="7273784"/>
            </a:xfrm>
            <a:prstGeom prst="rect">
              <a:avLst/>
            </a:prstGeom>
            <a:ln>
              <a:noFill/>
            </a:ln>
          </p:spPr>
        </p:pic>
      </p:grpSp>
      <p:pic>
        <p:nvPicPr>
          <p:cNvPr id="10" name="Image 9">
            <a:extLst>
              <a:ext uri="{FF2B5EF4-FFF2-40B4-BE49-F238E27FC236}">
                <a16:creationId xmlns:a16="http://schemas.microsoft.com/office/drawing/2014/main" id="{6ABE8A70-A8B1-4FA7-B622-223030FFF1AB}"/>
              </a:ext>
            </a:extLst>
          </p:cNvPr>
          <p:cNvPicPr>
            <a:picLocks noChangeAspect="1"/>
          </p:cNvPicPr>
          <p:nvPr/>
        </p:nvPicPr>
        <p:blipFill>
          <a:blip r:embed="rId10"/>
          <a:stretch>
            <a:fillRect/>
          </a:stretch>
        </p:blipFill>
        <p:spPr>
          <a:xfrm>
            <a:off x="6753449" y="4546600"/>
            <a:ext cx="5257800" cy="2936014"/>
          </a:xfrm>
          <a:prstGeom prst="rect">
            <a:avLst/>
          </a:prstGeom>
          <a:ln>
            <a:noFill/>
          </a:ln>
          <a:effectLst>
            <a:outerShdw blurRad="50800" dist="38100" dir="2700000" algn="tl" rotWithShape="0">
              <a:prstClr val="black">
                <a:alpha val="40000"/>
              </a:prstClr>
            </a:outerShdw>
          </a:effectLst>
        </p:spPr>
      </p:pic>
      <p:sp>
        <p:nvSpPr>
          <p:cNvPr id="13" name="Rectangle 12">
            <a:extLst>
              <a:ext uri="{FF2B5EF4-FFF2-40B4-BE49-F238E27FC236}">
                <a16:creationId xmlns:a16="http://schemas.microsoft.com/office/drawing/2014/main" id="{C87B6BB2-1401-4614-AD38-48EE58DE7869}"/>
              </a:ext>
            </a:extLst>
          </p:cNvPr>
          <p:cNvSpPr/>
          <p:nvPr/>
        </p:nvSpPr>
        <p:spPr>
          <a:xfrm>
            <a:off x="6981713" y="5346018"/>
            <a:ext cx="4978624" cy="463180"/>
          </a:xfrm>
          <a:prstGeom prst="rect">
            <a:avLst/>
          </a:prstGeom>
          <a:noFill/>
          <a:ln w="19050">
            <a:solidFill>
              <a:schemeClr val="accent3"/>
            </a:solidFill>
          </a:ln>
        </p:spPr>
        <p:txBody>
          <a:bodyPr wrap="square" lIns="0" tIns="0" rIns="0" bIns="0" rtlCol="0" anchor="ctr"/>
          <a:lstStyle/>
          <a:p>
            <a:pPr algn="ctr"/>
            <a:endParaRPr lang="en-US" sz="1600" b="0" dirty="0" err="1">
              <a:solidFill>
                <a:schemeClr val="bg1"/>
              </a:solidFill>
            </a:endParaRPr>
          </a:p>
        </p:txBody>
      </p:sp>
      <p:sp>
        <p:nvSpPr>
          <p:cNvPr id="14" name="Flèche : droite 13">
            <a:extLst>
              <a:ext uri="{FF2B5EF4-FFF2-40B4-BE49-F238E27FC236}">
                <a16:creationId xmlns:a16="http://schemas.microsoft.com/office/drawing/2014/main" id="{926C9B0F-57E0-4746-B6B5-2E389549E5E0}"/>
              </a:ext>
            </a:extLst>
          </p:cNvPr>
          <p:cNvSpPr/>
          <p:nvPr/>
        </p:nvSpPr>
        <p:spPr>
          <a:xfrm>
            <a:off x="6524849" y="5398380"/>
            <a:ext cx="457200" cy="356690"/>
          </a:xfrm>
          <a:prstGeom prst="rightArrow">
            <a:avLst/>
          </a:prstGeom>
          <a:solidFill>
            <a:schemeClr val="accent3"/>
          </a:solidFill>
          <a:ln>
            <a:solidFill>
              <a:schemeClr val="accent3"/>
            </a:solidFill>
          </a:ln>
        </p:spPr>
        <p:txBody>
          <a:bodyPr wrap="square" lIns="0" tIns="0" rIns="0" bIns="0" rtlCol="0" anchor="ctr"/>
          <a:lstStyle/>
          <a:p>
            <a:pPr algn="ctr"/>
            <a:endParaRPr lang="en-US" sz="1600" b="0" dirty="0" err="1">
              <a:solidFill>
                <a:schemeClr val="bg1"/>
              </a:solidFill>
            </a:endParaRPr>
          </a:p>
        </p:txBody>
      </p:sp>
    </p:spTree>
    <p:extLst>
      <p:ext uri="{BB962C8B-B14F-4D97-AF65-F5344CB8AC3E}">
        <p14:creationId xmlns:p14="http://schemas.microsoft.com/office/powerpoint/2010/main" val="27023230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B9441C60-5C4D-4047-88D1-5A38EF7CC617}"/>
              </a:ext>
            </a:extLst>
          </p:cNvPr>
          <p:cNvGraphicFramePr>
            <a:graphicFrameLocks noChangeAspect="1"/>
          </p:cNvGraphicFramePr>
          <p:nvPr>
            <p:custDataLst>
              <p:tags r:id="rId2"/>
            </p:custDataLst>
            <p:extLst>
              <p:ext uri="{D42A27DB-BD31-4B8C-83A1-F6EECF244321}">
                <p14:modId xmlns:p14="http://schemas.microsoft.com/office/powerpoint/2010/main" val="1836856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421" name="Diapositive think-cell" r:id="rId8" imgW="473" imgH="470" progId="TCLayout.ActiveDocument.1">
                  <p:embed/>
                </p:oleObj>
              </mc:Choice>
              <mc:Fallback>
                <p:oleObj name="Diapositive think-cell" r:id="rId8" imgW="473" imgH="470" progId="TCLayout.ActiveDocument.1">
                  <p:embed/>
                  <p:pic>
                    <p:nvPicPr>
                      <p:cNvPr id="6" name="Objet 5" hidden="1">
                        <a:extLst>
                          <a:ext uri="{FF2B5EF4-FFF2-40B4-BE49-F238E27FC236}">
                            <a16:creationId xmlns:a16="http://schemas.microsoft.com/office/drawing/2014/main" id="{B9441C60-5C4D-4047-88D1-5A38EF7CC61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B6D676D-3C57-4EA2-AD22-6FFC826249C3}"/>
              </a:ext>
            </a:extLst>
          </p:cNvPr>
          <p:cNvSpPr/>
          <p:nvPr>
            <p:custDataLst>
              <p:tags r:id="rId3"/>
            </p:custDataLst>
          </p:nvPr>
        </p:nvSpPr>
        <p:spPr>
          <a:xfrm>
            <a:off x="0" y="0"/>
            <a:ext cx="158750" cy="158750"/>
          </a:xfrm>
          <a:prstGeom prst="rect">
            <a:avLst/>
          </a:prstGeom>
          <a:solidFill>
            <a:schemeClr val="tx2"/>
          </a:solidFill>
        </p:spPr>
        <p:txBody>
          <a:bodyPr wrap="none" lIns="0" tIns="0" rIns="0" bIns="0" numCol="1" spcCol="0" rtlCol="0" anchor="ctr" anchorCtr="0">
            <a:noAutofit/>
          </a:bodyPr>
          <a:lstStyle/>
          <a:p>
            <a:pPr algn="ctr"/>
            <a:endParaRPr lang="fr-FR" sz="1600" dirty="0" err="1">
              <a:solidFill>
                <a:schemeClr val="bg1"/>
              </a:solidFill>
              <a:latin typeface="Calibri" panose="020F0502020204030204" pitchFamily="34" charset="0"/>
              <a:cs typeface="Arial" panose="020B0604020202020204" pitchFamily="34" charset="0"/>
              <a:sym typeface="Calibri" panose="020F0502020204030204" pitchFamily="34" charset="0"/>
            </a:endParaRPr>
          </a:p>
        </p:txBody>
      </p:sp>
      <p:sp>
        <p:nvSpPr>
          <p:cNvPr id="9" name="Text Placeholder 6">
            <a:hlinkClick r:id="rId10" action="ppaction://hlinksldjump"/>
            <a:extLst>
              <a:ext uri="{FF2B5EF4-FFF2-40B4-BE49-F238E27FC236}">
                <a16:creationId xmlns:a16="http://schemas.microsoft.com/office/drawing/2014/main" id="{31E507EE-B464-4E6D-9AEC-67F133956EF0}"/>
              </a:ext>
            </a:extLst>
          </p:cNvPr>
          <p:cNvSpPr>
            <a:spLocks noGrp="1"/>
          </p:cNvSpPr>
          <p:nvPr>
            <p:custDataLst>
              <p:tags r:id="rId4"/>
            </p:custDataLst>
          </p:nvPr>
        </p:nvSpPr>
        <p:spPr bwMode="gray">
          <a:xfrm>
            <a:off x="5908675" y="2489200"/>
            <a:ext cx="3201988" cy="406400"/>
          </a:xfrm>
          <a:prstGeom prst="rect">
            <a:avLst/>
          </a:prstGeom>
          <a:solidFill>
            <a:schemeClr val="bg2"/>
          </a:solidFill>
          <a:ln w="38100" algn="ctr">
            <a:solidFill>
              <a:schemeClr val="bg1"/>
            </a:solidFill>
          </a:ln>
        </p:spPr>
        <p:txBody>
          <a:bodyPr vert="horz" wrap="none" lIns="80963" tIns="80963" rIns="0" bIns="80963" numCol="1" spcCol="0" rtlCol="0" anchor="ctr" anchorCtr="0">
            <a:noAutofit/>
          </a:bodyPr>
          <a:lstStyle>
            <a:lvl1pPr marL="362016" indent="-226260" eaLnBrk="1" hangingPunct="1">
              <a:spcBef>
                <a:spcPts val="754"/>
              </a:spcBef>
              <a:spcAft>
                <a:spcPts val="0"/>
              </a:spcAft>
              <a:buFont typeface="Wingdings" pitchFamily="2" charset="2"/>
              <a:buChar char="§"/>
              <a:defRPr lang="en-US" sz="1600" b="0" kern="1200" cap="none" spc="0" baseline="0" dirty="0" smtClean="0">
                <a:solidFill>
                  <a:schemeClr val="tx1"/>
                </a:solidFill>
                <a:latin typeface="+mn-lt"/>
                <a:ea typeface="+mn-ea"/>
                <a:cs typeface="Arial" pitchFamily="34" charset="0"/>
              </a:defRPr>
            </a:lvl1pPr>
            <a:lvl2pPr marL="497772" indent="-226260" eaLnBrk="1" hangingPunct="1">
              <a:spcBef>
                <a:spcPts val="754"/>
              </a:spcBef>
              <a:spcAft>
                <a:spcPts val="0"/>
              </a:spcAft>
              <a:buFont typeface="Webdings" pitchFamily="18" charset="2"/>
              <a:buChar char="4"/>
              <a:defRPr sz="1600" b="0" kern="1200" spc="0" baseline="0">
                <a:solidFill>
                  <a:schemeClr val="tx1"/>
                </a:solidFill>
                <a:latin typeface="+mn-lt"/>
                <a:ea typeface="+mn-ea"/>
                <a:cs typeface="Arial" pitchFamily="34" charset="0"/>
              </a:defRPr>
            </a:lvl2pPr>
            <a:lvl3pPr marL="814536" indent="-226260" eaLnBrk="1" hangingPunct="1">
              <a:spcBef>
                <a:spcPts val="754"/>
              </a:spcBef>
              <a:spcAft>
                <a:spcPts val="0"/>
              </a:spcAft>
              <a:buFont typeface="Calibri" pitchFamily="34" charset="0"/>
              <a:buChar char="̶"/>
              <a:defRPr sz="1600" b="0" kern="1200" spc="0">
                <a:solidFill>
                  <a:schemeClr val="tx1"/>
                </a:solidFill>
                <a:latin typeface="+mn-lt"/>
                <a:ea typeface="+mn-ea"/>
                <a:cs typeface="Arial" pitchFamily="34" charset="0"/>
              </a:defRPr>
            </a:lvl3pPr>
            <a:lvl4pPr marL="1040796" indent="-226260" eaLnBrk="1" hangingPunct="1">
              <a:spcBef>
                <a:spcPts val="754"/>
              </a:spcBef>
              <a:spcAft>
                <a:spcPts val="0"/>
              </a:spcAft>
              <a:buSzPct val="80000"/>
              <a:buFont typeface="Calibri" pitchFamily="34" charset="0"/>
              <a:buChar char="•"/>
              <a:defRPr sz="1600" b="0" i="0" kern="1200" spc="0" baseline="0">
                <a:solidFill>
                  <a:schemeClr val="tx1"/>
                </a:solidFill>
                <a:latin typeface="+mn-lt"/>
                <a:ea typeface="+mn-ea"/>
                <a:cs typeface="+mn-cs"/>
              </a:defRPr>
            </a:lvl4pPr>
            <a:lvl5pPr marL="1267056" indent="-226260" eaLnBrk="1" hangingPunct="1">
              <a:spcBef>
                <a:spcPts val="754"/>
              </a:spcBef>
              <a:spcAft>
                <a:spcPts val="0"/>
              </a:spcAft>
              <a:buSzPct val="65000"/>
              <a:buFont typeface="Wingdings" pitchFamily="2" charset="2"/>
              <a:buChar char="w"/>
              <a:defRPr sz="1600" b="0" i="0" kern="1200" spc="0" baseline="0">
                <a:solidFill>
                  <a:schemeClr val="tx1"/>
                </a:solidFill>
                <a:latin typeface="+mn-lt"/>
                <a:ea typeface="+mn-ea"/>
                <a:cs typeface="+mn-cs"/>
              </a:defRPr>
            </a:lvl5pPr>
            <a:lvl6pPr marL="1706389" indent="-310253" eaLnBrk="1" hangingPunct="1">
              <a:spcBef>
                <a:spcPts val="754"/>
              </a:spcBef>
              <a:spcAft>
                <a:spcPts val="0"/>
              </a:spcAft>
              <a:buSzPct val="65000"/>
              <a:buFont typeface="Wingdings" pitchFamily="2" charset="2"/>
              <a:buChar char="w"/>
              <a:defRPr sz="1600" b="0" i="0" kern="1200" spc="0" baseline="0">
                <a:solidFill>
                  <a:schemeClr val="tx1"/>
                </a:solidFill>
                <a:latin typeface="+mn-lt"/>
                <a:ea typeface="+mn-ea"/>
                <a:cs typeface="+mn-cs"/>
              </a:defRPr>
            </a:lvl6pPr>
            <a:lvl7pPr marL="2480164" eaLnBrk="1" hangingPunct="1">
              <a:defRPr sz="1600">
                <a:latin typeface="+mn-lt"/>
                <a:ea typeface="+mn-ea"/>
                <a:cs typeface="+mn-cs"/>
              </a:defRPr>
            </a:lvl7pPr>
            <a:lvl8pPr marL="2893529" eaLnBrk="1" hangingPunct="1">
              <a:defRPr>
                <a:latin typeface="+mn-lt"/>
                <a:ea typeface="+mn-ea"/>
                <a:cs typeface="+mn-cs"/>
              </a:defRPr>
            </a:lvl8pPr>
            <a:lvl9pPr marL="3306888" eaLnBrk="1" hangingPunct="1">
              <a:defRPr>
                <a:latin typeface="+mn-lt"/>
                <a:ea typeface="+mn-ea"/>
                <a:cs typeface="+mn-cs"/>
              </a:defRPr>
            </a:lvl9pPr>
          </a:lstStyle>
          <a:p>
            <a:pPr marL="227013">
              <a:spcBef>
                <a:spcPct val="0"/>
              </a:spcBef>
              <a:spcAft>
                <a:spcPct val="0"/>
              </a:spcAft>
            </a:pPr>
            <a:r>
              <a:rPr lang="fr-FR" altLang="en-US" dirty="0"/>
              <a:t>Présentation du dispositif</a:t>
            </a:r>
            <a:endParaRPr lang="fr-FR" noProof="0" dirty="0"/>
          </a:p>
        </p:txBody>
      </p:sp>
      <p:sp>
        <p:nvSpPr>
          <p:cNvPr id="8" name="Text Placeholder 6">
            <a:extLst>
              <a:ext uri="{FF2B5EF4-FFF2-40B4-BE49-F238E27FC236}">
                <a16:creationId xmlns:a16="http://schemas.microsoft.com/office/drawing/2014/main" id="{0DD9C9E7-5AE8-431F-BA9C-F7D2ADC6EAF5}"/>
              </a:ext>
            </a:extLst>
          </p:cNvPr>
          <p:cNvSpPr>
            <a:spLocks noGrp="1"/>
          </p:cNvSpPr>
          <p:nvPr>
            <p:custDataLst>
              <p:tags r:id="rId5"/>
            </p:custDataLst>
          </p:nvPr>
        </p:nvSpPr>
        <p:spPr bwMode="gray">
          <a:xfrm>
            <a:off x="5908675" y="2895600"/>
            <a:ext cx="3201988" cy="407988"/>
          </a:xfrm>
          <a:prstGeom prst="rect">
            <a:avLst/>
          </a:prstGeom>
          <a:solidFill>
            <a:schemeClr val="accent1"/>
          </a:solidFill>
          <a:ln w="38100" algn="ctr">
            <a:solidFill>
              <a:schemeClr val="bg1"/>
            </a:solidFill>
          </a:ln>
        </p:spPr>
        <p:txBody>
          <a:bodyPr vert="horz" wrap="none" lIns="80963" tIns="82550" rIns="0" bIns="80963" numCol="1" spcCol="0" rtlCol="0" anchor="ctr" anchorCtr="0">
            <a:noAutofit/>
          </a:bodyPr>
          <a:lstStyle>
            <a:lvl1pPr marL="362016" indent="-226260" eaLnBrk="1" hangingPunct="1">
              <a:spcBef>
                <a:spcPts val="754"/>
              </a:spcBef>
              <a:spcAft>
                <a:spcPts val="0"/>
              </a:spcAft>
              <a:buFont typeface="Wingdings" pitchFamily="2" charset="2"/>
              <a:buChar char="§"/>
              <a:defRPr lang="en-US" sz="1600" b="0" kern="1200" cap="none" spc="0" baseline="0" dirty="0" smtClean="0">
                <a:solidFill>
                  <a:schemeClr val="tx1"/>
                </a:solidFill>
                <a:latin typeface="+mn-lt"/>
                <a:ea typeface="+mn-ea"/>
                <a:cs typeface="Arial" pitchFamily="34" charset="0"/>
              </a:defRPr>
            </a:lvl1pPr>
            <a:lvl2pPr marL="497772" indent="-226260" eaLnBrk="1" hangingPunct="1">
              <a:spcBef>
                <a:spcPts val="754"/>
              </a:spcBef>
              <a:spcAft>
                <a:spcPts val="0"/>
              </a:spcAft>
              <a:buFont typeface="Webdings" pitchFamily="18" charset="2"/>
              <a:buChar char="4"/>
              <a:defRPr sz="1600" b="0" kern="1200" spc="0" baseline="0">
                <a:solidFill>
                  <a:schemeClr val="tx1"/>
                </a:solidFill>
                <a:latin typeface="+mn-lt"/>
                <a:ea typeface="+mn-ea"/>
                <a:cs typeface="Arial" pitchFamily="34" charset="0"/>
              </a:defRPr>
            </a:lvl2pPr>
            <a:lvl3pPr marL="814536" indent="-226260" eaLnBrk="1" hangingPunct="1">
              <a:spcBef>
                <a:spcPts val="754"/>
              </a:spcBef>
              <a:spcAft>
                <a:spcPts val="0"/>
              </a:spcAft>
              <a:buFont typeface="Calibri" pitchFamily="34" charset="0"/>
              <a:buChar char="̶"/>
              <a:defRPr sz="1600" b="0" kern="1200" spc="0">
                <a:solidFill>
                  <a:schemeClr val="tx1"/>
                </a:solidFill>
                <a:latin typeface="+mn-lt"/>
                <a:ea typeface="+mn-ea"/>
                <a:cs typeface="Arial" pitchFamily="34" charset="0"/>
              </a:defRPr>
            </a:lvl3pPr>
            <a:lvl4pPr marL="1040796" indent="-226260" eaLnBrk="1" hangingPunct="1">
              <a:spcBef>
                <a:spcPts val="754"/>
              </a:spcBef>
              <a:spcAft>
                <a:spcPts val="0"/>
              </a:spcAft>
              <a:buSzPct val="80000"/>
              <a:buFont typeface="Calibri" pitchFamily="34" charset="0"/>
              <a:buChar char="•"/>
              <a:defRPr sz="1600" b="0" i="0" kern="1200" spc="0" baseline="0">
                <a:solidFill>
                  <a:schemeClr val="tx1"/>
                </a:solidFill>
                <a:latin typeface="+mn-lt"/>
                <a:ea typeface="+mn-ea"/>
                <a:cs typeface="+mn-cs"/>
              </a:defRPr>
            </a:lvl4pPr>
            <a:lvl5pPr marL="1267056" indent="-226260" eaLnBrk="1" hangingPunct="1">
              <a:spcBef>
                <a:spcPts val="754"/>
              </a:spcBef>
              <a:spcAft>
                <a:spcPts val="0"/>
              </a:spcAft>
              <a:buSzPct val="65000"/>
              <a:buFont typeface="Wingdings" pitchFamily="2" charset="2"/>
              <a:buChar char="w"/>
              <a:defRPr sz="1600" b="0" i="0" kern="1200" spc="0" baseline="0">
                <a:solidFill>
                  <a:schemeClr val="tx1"/>
                </a:solidFill>
                <a:latin typeface="+mn-lt"/>
                <a:ea typeface="+mn-ea"/>
                <a:cs typeface="+mn-cs"/>
              </a:defRPr>
            </a:lvl5pPr>
            <a:lvl6pPr marL="1706389" indent="-310253" eaLnBrk="1" hangingPunct="1">
              <a:spcBef>
                <a:spcPts val="754"/>
              </a:spcBef>
              <a:spcAft>
                <a:spcPts val="0"/>
              </a:spcAft>
              <a:buSzPct val="65000"/>
              <a:buFont typeface="Wingdings" pitchFamily="2" charset="2"/>
              <a:buChar char="w"/>
              <a:defRPr sz="1600" b="0" i="0" kern="1200" spc="0" baseline="0">
                <a:solidFill>
                  <a:schemeClr val="tx1"/>
                </a:solidFill>
                <a:latin typeface="+mn-lt"/>
                <a:ea typeface="+mn-ea"/>
                <a:cs typeface="+mn-cs"/>
              </a:defRPr>
            </a:lvl6pPr>
            <a:lvl7pPr marL="2480164" eaLnBrk="1" hangingPunct="1">
              <a:defRPr sz="1600">
                <a:latin typeface="+mn-lt"/>
                <a:ea typeface="+mn-ea"/>
                <a:cs typeface="+mn-cs"/>
              </a:defRPr>
            </a:lvl7pPr>
            <a:lvl8pPr marL="2893529" eaLnBrk="1" hangingPunct="1">
              <a:defRPr>
                <a:latin typeface="+mn-lt"/>
                <a:ea typeface="+mn-ea"/>
                <a:cs typeface="+mn-cs"/>
              </a:defRPr>
            </a:lvl8pPr>
            <a:lvl9pPr marL="3306888" eaLnBrk="1" hangingPunct="1">
              <a:defRPr>
                <a:latin typeface="+mn-lt"/>
                <a:ea typeface="+mn-ea"/>
                <a:cs typeface="+mn-cs"/>
              </a:defRPr>
            </a:lvl9pPr>
          </a:lstStyle>
          <a:p>
            <a:pPr marL="227013">
              <a:spcBef>
                <a:spcPct val="0"/>
              </a:spcBef>
              <a:spcAft>
                <a:spcPct val="0"/>
              </a:spcAft>
            </a:pPr>
            <a:r>
              <a:rPr lang="fr-FR" altLang="en-US" b="1" dirty="0"/>
              <a:t>Notre approche</a:t>
            </a:r>
            <a:endParaRPr lang="fr-FR" b="1" noProof="0" dirty="0"/>
          </a:p>
        </p:txBody>
      </p:sp>
      <p:sp>
        <p:nvSpPr>
          <p:cNvPr id="11" name="Text Placeholder 6">
            <a:hlinkClick r:id="rId11" action="ppaction://hlinksldjump"/>
            <a:extLst>
              <a:ext uri="{FF2B5EF4-FFF2-40B4-BE49-F238E27FC236}">
                <a16:creationId xmlns:a16="http://schemas.microsoft.com/office/drawing/2014/main" id="{1B15A5AA-AE91-49D0-849B-10B79EED3170}"/>
              </a:ext>
            </a:extLst>
          </p:cNvPr>
          <p:cNvSpPr>
            <a:spLocks noGrp="1"/>
          </p:cNvSpPr>
          <p:nvPr>
            <p:custDataLst>
              <p:tags r:id="rId6"/>
            </p:custDataLst>
          </p:nvPr>
        </p:nvSpPr>
        <p:spPr bwMode="gray">
          <a:xfrm>
            <a:off x="5908675" y="3303588"/>
            <a:ext cx="3201988" cy="406400"/>
          </a:xfrm>
          <a:prstGeom prst="rect">
            <a:avLst/>
          </a:prstGeom>
          <a:solidFill>
            <a:schemeClr val="bg2"/>
          </a:solidFill>
          <a:ln w="38100" algn="ctr">
            <a:solidFill>
              <a:schemeClr val="bg1"/>
            </a:solidFill>
          </a:ln>
        </p:spPr>
        <p:txBody>
          <a:bodyPr vert="horz" wrap="none" lIns="80963" tIns="80963" rIns="0" bIns="80963" numCol="1" spcCol="0" rtlCol="0" anchor="ctr" anchorCtr="0">
            <a:noAutofit/>
          </a:bodyPr>
          <a:lstStyle>
            <a:lvl1pPr marL="362016" indent="-226260" eaLnBrk="1" hangingPunct="1">
              <a:spcBef>
                <a:spcPts val="754"/>
              </a:spcBef>
              <a:spcAft>
                <a:spcPts val="0"/>
              </a:spcAft>
              <a:buFont typeface="Wingdings" pitchFamily="2" charset="2"/>
              <a:buChar char="§"/>
              <a:defRPr lang="en-US" sz="1600" b="0" kern="1200" cap="none" spc="0" baseline="0" dirty="0" smtClean="0">
                <a:solidFill>
                  <a:schemeClr val="tx1"/>
                </a:solidFill>
                <a:latin typeface="+mn-lt"/>
                <a:ea typeface="+mn-ea"/>
                <a:cs typeface="Arial" pitchFamily="34" charset="0"/>
              </a:defRPr>
            </a:lvl1pPr>
            <a:lvl2pPr marL="497772" indent="-226260" eaLnBrk="1" hangingPunct="1">
              <a:spcBef>
                <a:spcPts val="754"/>
              </a:spcBef>
              <a:spcAft>
                <a:spcPts val="0"/>
              </a:spcAft>
              <a:buFont typeface="Webdings" pitchFamily="18" charset="2"/>
              <a:buChar char="4"/>
              <a:defRPr sz="1600" b="0" kern="1200" spc="0" baseline="0">
                <a:solidFill>
                  <a:schemeClr val="tx1"/>
                </a:solidFill>
                <a:latin typeface="+mn-lt"/>
                <a:ea typeface="+mn-ea"/>
                <a:cs typeface="Arial" pitchFamily="34" charset="0"/>
              </a:defRPr>
            </a:lvl2pPr>
            <a:lvl3pPr marL="814536" indent="-226260" eaLnBrk="1" hangingPunct="1">
              <a:spcBef>
                <a:spcPts val="754"/>
              </a:spcBef>
              <a:spcAft>
                <a:spcPts val="0"/>
              </a:spcAft>
              <a:buFont typeface="Calibri" pitchFamily="34" charset="0"/>
              <a:buChar char="̶"/>
              <a:defRPr sz="1600" b="0" kern="1200" spc="0">
                <a:solidFill>
                  <a:schemeClr val="tx1"/>
                </a:solidFill>
                <a:latin typeface="+mn-lt"/>
                <a:ea typeface="+mn-ea"/>
                <a:cs typeface="Arial" pitchFamily="34" charset="0"/>
              </a:defRPr>
            </a:lvl3pPr>
            <a:lvl4pPr marL="1040796" indent="-226260" eaLnBrk="1" hangingPunct="1">
              <a:spcBef>
                <a:spcPts val="754"/>
              </a:spcBef>
              <a:spcAft>
                <a:spcPts val="0"/>
              </a:spcAft>
              <a:buSzPct val="80000"/>
              <a:buFont typeface="Calibri" pitchFamily="34" charset="0"/>
              <a:buChar char="•"/>
              <a:defRPr sz="1600" b="0" i="0" kern="1200" spc="0" baseline="0">
                <a:solidFill>
                  <a:schemeClr val="tx1"/>
                </a:solidFill>
                <a:latin typeface="+mn-lt"/>
                <a:ea typeface="+mn-ea"/>
                <a:cs typeface="+mn-cs"/>
              </a:defRPr>
            </a:lvl4pPr>
            <a:lvl5pPr marL="1267056" indent="-226260" eaLnBrk="1" hangingPunct="1">
              <a:spcBef>
                <a:spcPts val="754"/>
              </a:spcBef>
              <a:spcAft>
                <a:spcPts val="0"/>
              </a:spcAft>
              <a:buSzPct val="65000"/>
              <a:buFont typeface="Wingdings" pitchFamily="2" charset="2"/>
              <a:buChar char="w"/>
              <a:defRPr sz="1600" b="0" i="0" kern="1200" spc="0" baseline="0">
                <a:solidFill>
                  <a:schemeClr val="tx1"/>
                </a:solidFill>
                <a:latin typeface="+mn-lt"/>
                <a:ea typeface="+mn-ea"/>
                <a:cs typeface="+mn-cs"/>
              </a:defRPr>
            </a:lvl5pPr>
            <a:lvl6pPr marL="1706389" indent="-310253" eaLnBrk="1" hangingPunct="1">
              <a:spcBef>
                <a:spcPts val="754"/>
              </a:spcBef>
              <a:spcAft>
                <a:spcPts val="0"/>
              </a:spcAft>
              <a:buSzPct val="65000"/>
              <a:buFont typeface="Wingdings" pitchFamily="2" charset="2"/>
              <a:buChar char="w"/>
              <a:defRPr sz="1600" b="0" i="0" kern="1200" spc="0" baseline="0">
                <a:solidFill>
                  <a:schemeClr val="tx1"/>
                </a:solidFill>
                <a:latin typeface="+mn-lt"/>
                <a:ea typeface="+mn-ea"/>
                <a:cs typeface="+mn-cs"/>
              </a:defRPr>
            </a:lvl6pPr>
            <a:lvl7pPr marL="2480164" eaLnBrk="1" hangingPunct="1">
              <a:defRPr sz="1600">
                <a:latin typeface="+mn-lt"/>
                <a:ea typeface="+mn-ea"/>
                <a:cs typeface="+mn-cs"/>
              </a:defRPr>
            </a:lvl7pPr>
            <a:lvl8pPr marL="2893529" eaLnBrk="1" hangingPunct="1">
              <a:defRPr>
                <a:latin typeface="+mn-lt"/>
                <a:ea typeface="+mn-ea"/>
                <a:cs typeface="+mn-cs"/>
              </a:defRPr>
            </a:lvl8pPr>
            <a:lvl9pPr marL="3306888" eaLnBrk="1" hangingPunct="1">
              <a:defRPr>
                <a:latin typeface="+mn-lt"/>
                <a:ea typeface="+mn-ea"/>
                <a:cs typeface="+mn-cs"/>
              </a:defRPr>
            </a:lvl9pPr>
          </a:lstStyle>
          <a:p>
            <a:pPr marL="227013">
              <a:spcBef>
                <a:spcPct val="0"/>
              </a:spcBef>
              <a:spcAft>
                <a:spcPct val="0"/>
              </a:spcAft>
            </a:pPr>
            <a:r>
              <a:rPr lang="fr-FR" altLang="en-US"/>
              <a:t>Présentation de CYLAD Consulting</a:t>
            </a:r>
            <a:endParaRPr lang="fr-FR" noProof="0" dirty="0"/>
          </a:p>
        </p:txBody>
      </p:sp>
    </p:spTree>
    <p:extLst>
      <p:ext uri="{BB962C8B-B14F-4D97-AF65-F5344CB8AC3E}">
        <p14:creationId xmlns:p14="http://schemas.microsoft.com/office/powerpoint/2010/main" val="5892535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 name="Objet 47" hidden="1">
            <a:extLst>
              <a:ext uri="{FF2B5EF4-FFF2-40B4-BE49-F238E27FC236}">
                <a16:creationId xmlns:a16="http://schemas.microsoft.com/office/drawing/2014/main" id="{17C64D04-C379-40E7-84A0-2C8C7C272958}"/>
              </a:ext>
            </a:extLst>
          </p:cNvPr>
          <p:cNvGraphicFramePr>
            <a:graphicFrameLocks noChangeAspect="1"/>
          </p:cNvGraphicFramePr>
          <p:nvPr>
            <p:custDataLst>
              <p:tags r:id="rId2"/>
            </p:custDataLst>
            <p:extLst>
              <p:ext uri="{D42A27DB-BD31-4B8C-83A1-F6EECF244321}">
                <p14:modId xmlns:p14="http://schemas.microsoft.com/office/powerpoint/2010/main" val="234589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445" name="Diapositive think-cell" r:id="rId5" imgW="473" imgH="470" progId="TCLayout.ActiveDocument.1">
                  <p:embed/>
                </p:oleObj>
              </mc:Choice>
              <mc:Fallback>
                <p:oleObj name="Diapositive think-cell" r:id="rId5" imgW="473" imgH="470" progId="TCLayout.ActiveDocument.1">
                  <p:embed/>
                  <p:pic>
                    <p:nvPicPr>
                      <p:cNvPr id="48" name="Objet 47" hidden="1">
                        <a:extLst>
                          <a:ext uri="{FF2B5EF4-FFF2-40B4-BE49-F238E27FC236}">
                            <a16:creationId xmlns:a16="http://schemas.microsoft.com/office/drawing/2014/main" id="{17C64D04-C379-40E7-84A0-2C8C7C27295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7" name="Rectangle 46" hidden="1">
            <a:extLst>
              <a:ext uri="{FF2B5EF4-FFF2-40B4-BE49-F238E27FC236}">
                <a16:creationId xmlns:a16="http://schemas.microsoft.com/office/drawing/2014/main" id="{8D0D105C-2C02-4B6E-B96F-BDE51378BBAD}"/>
              </a:ext>
            </a:extLst>
          </p:cNvPr>
          <p:cNvSpPr/>
          <p:nvPr>
            <p:custDataLst>
              <p:tags r:id="rId3"/>
            </p:custDataLst>
          </p:nvPr>
        </p:nvSpPr>
        <p:spPr>
          <a:xfrm>
            <a:off x="0" y="0"/>
            <a:ext cx="158750" cy="158750"/>
          </a:xfrm>
          <a:prstGeom prst="rect">
            <a:avLst/>
          </a:prstGeom>
          <a:solidFill>
            <a:schemeClr val="tx2"/>
          </a:solidFill>
        </p:spPr>
        <p:txBody>
          <a:bodyPr wrap="none" lIns="0" tIns="0" rIns="0" bIns="0" numCol="1" spcCol="0" rtlCol="0" anchor="ctr" anchorCtr="0">
            <a:noAutofit/>
          </a:bodyPr>
          <a:lstStyle/>
          <a:p>
            <a:pPr algn="ctr"/>
            <a:endParaRPr lang="fr-FR" sz="2200" b="1" dirty="0" err="1">
              <a:solidFill>
                <a:schemeClr val="bg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pic>
        <p:nvPicPr>
          <p:cNvPr id="3" name="Image 2" descr="Une image contenant route, scène, passage, autoroute&#10;&#10;Description générée automatiquement">
            <a:extLst>
              <a:ext uri="{FF2B5EF4-FFF2-40B4-BE49-F238E27FC236}">
                <a16:creationId xmlns:a16="http://schemas.microsoft.com/office/drawing/2014/main" id="{18BE8E39-3317-4CF7-B808-EB959DBF3869}"/>
              </a:ext>
            </a:extLst>
          </p:cNvPr>
          <p:cNvPicPr>
            <a:picLocks noChangeAspect="1"/>
          </p:cNvPicPr>
          <p:nvPr/>
        </p:nvPicPr>
        <p:blipFill rotWithShape="1">
          <a:blip r:embed="rId7" cstate="print">
            <a:alphaModFix amt="20000"/>
            <a:extLst>
              <a:ext uri="{28A0092B-C50C-407E-A947-70E740481C1C}">
                <a14:useLocalDpi xmlns:a14="http://schemas.microsoft.com/office/drawing/2010/main" val="0"/>
              </a:ext>
            </a:extLst>
          </a:blip>
          <a:srcRect b="15604"/>
          <a:stretch/>
        </p:blipFill>
        <p:spPr>
          <a:xfrm>
            <a:off x="-24591" y="-10160"/>
            <a:ext cx="13471985" cy="7579360"/>
          </a:xfrm>
          <a:prstGeom prst="rect">
            <a:avLst/>
          </a:prstGeom>
        </p:spPr>
      </p:pic>
      <p:grpSp>
        <p:nvGrpSpPr>
          <p:cNvPr id="9" name="Groupe 8">
            <a:extLst>
              <a:ext uri="{FF2B5EF4-FFF2-40B4-BE49-F238E27FC236}">
                <a16:creationId xmlns:a16="http://schemas.microsoft.com/office/drawing/2014/main" id="{B642F2E2-8E22-463B-A4C1-8784A0FDCDEE}"/>
              </a:ext>
            </a:extLst>
          </p:cNvPr>
          <p:cNvGrpSpPr/>
          <p:nvPr/>
        </p:nvGrpSpPr>
        <p:grpSpPr>
          <a:xfrm>
            <a:off x="497508" y="1403700"/>
            <a:ext cx="12330220" cy="390121"/>
            <a:chOff x="497508" y="1915708"/>
            <a:chExt cx="12330220" cy="390121"/>
          </a:xfrm>
        </p:grpSpPr>
        <p:sp>
          <p:nvSpPr>
            <p:cNvPr id="6" name="Rectangle 13">
              <a:extLst>
                <a:ext uri="{FF2B5EF4-FFF2-40B4-BE49-F238E27FC236}">
                  <a16:creationId xmlns:a16="http://schemas.microsoft.com/office/drawing/2014/main" id="{700DA6BA-E703-44B4-AC97-AB941C6E2DA8}"/>
                </a:ext>
              </a:extLst>
            </p:cNvPr>
            <p:cNvSpPr/>
            <p:nvPr/>
          </p:nvSpPr>
          <p:spPr>
            <a:xfrm>
              <a:off x="760863" y="1972269"/>
              <a:ext cx="12066865" cy="276999"/>
            </a:xfrm>
            <a:prstGeom prst="rect">
              <a:avLst/>
            </a:prstGeom>
          </p:spPr>
          <p:txBody>
            <a:bodyPr wrap="square" lIns="0" tIns="0" rIns="0" bIns="0" anchor="ctr">
              <a:spAutoFit/>
            </a:bodyPr>
            <a:lstStyle/>
            <a:p>
              <a:r>
                <a:rPr lang="fr-FR" sz="1800" b="1" dirty="0">
                  <a:solidFill>
                    <a:srgbClr val="00BCA1"/>
                  </a:solidFill>
                  <a:cs typeface="Arial" panose="020B0604020202020204" pitchFamily="34" charset="0"/>
                </a:rPr>
                <a:t>L’ÉCART</a:t>
              </a:r>
              <a:r>
                <a:rPr lang="fr-FR" sz="1800" dirty="0">
                  <a:solidFill>
                    <a:schemeClr val="tx2"/>
                  </a:solidFill>
                  <a:cs typeface="Arial" panose="020B0604020202020204" pitchFamily="34" charset="0"/>
                </a:rPr>
                <a:t> reste aujourd’hui important entre la </a:t>
              </a:r>
              <a:r>
                <a:rPr lang="fr-FR" sz="1800" b="1" dirty="0">
                  <a:solidFill>
                    <a:srgbClr val="00BCA1"/>
                  </a:solidFill>
                  <a:cs typeface="Arial" panose="020B0604020202020204" pitchFamily="34" charset="0"/>
                </a:rPr>
                <a:t>LITTÉRATURE ET LA RÉALITÉ INDUSTRIELLE 4.0 SUR LE TERRAIN</a:t>
              </a:r>
            </a:p>
          </p:txBody>
        </p:sp>
        <p:sp>
          <p:nvSpPr>
            <p:cNvPr id="61" name="object 18">
              <a:extLst>
                <a:ext uri="{FF2B5EF4-FFF2-40B4-BE49-F238E27FC236}">
                  <a16:creationId xmlns:a16="http://schemas.microsoft.com/office/drawing/2014/main" id="{70F638C2-152C-46C5-ADF3-C355E3C11F0D}"/>
                </a:ext>
              </a:extLst>
            </p:cNvPr>
            <p:cNvSpPr>
              <a:spLocks noChangeAspect="1"/>
            </p:cNvSpPr>
            <p:nvPr/>
          </p:nvSpPr>
          <p:spPr>
            <a:xfrm>
              <a:off x="497508" y="1915708"/>
              <a:ext cx="147017" cy="390121"/>
            </a:xfrm>
            <a:custGeom>
              <a:avLst/>
              <a:gdLst/>
              <a:ahLst/>
              <a:cxnLst/>
              <a:rect l="l" t="t" r="r" b="b"/>
              <a:pathLst>
                <a:path w="546734" h="1352550">
                  <a:moveTo>
                    <a:pt x="0" y="1352428"/>
                  </a:moveTo>
                  <a:lnTo>
                    <a:pt x="546414" y="0"/>
                  </a:lnTo>
                </a:path>
              </a:pathLst>
            </a:custGeom>
            <a:ln w="12700">
              <a:solidFill>
                <a:schemeClr val="accent3"/>
              </a:solidFill>
            </a:ln>
          </p:spPr>
          <p:txBody>
            <a:bodyPr wrap="square" lIns="0" tIns="0" rIns="0" bIns="0" rtlCol="0"/>
            <a:lstStyle/>
            <a:p>
              <a:pPr defTabSz="1045848">
                <a:defRPr/>
              </a:pPr>
              <a:endParaRPr lang="fr-FR" sz="2300" spc="100">
                <a:solidFill>
                  <a:srgbClr val="000000"/>
                </a:solidFill>
              </a:endParaRPr>
            </a:p>
          </p:txBody>
        </p:sp>
      </p:grpSp>
      <p:grpSp>
        <p:nvGrpSpPr>
          <p:cNvPr id="10" name="Groupe 9">
            <a:extLst>
              <a:ext uri="{FF2B5EF4-FFF2-40B4-BE49-F238E27FC236}">
                <a16:creationId xmlns:a16="http://schemas.microsoft.com/office/drawing/2014/main" id="{71E48D72-A3EB-4B66-837F-3079014672B3}"/>
              </a:ext>
            </a:extLst>
          </p:cNvPr>
          <p:cNvGrpSpPr/>
          <p:nvPr/>
        </p:nvGrpSpPr>
        <p:grpSpPr>
          <a:xfrm>
            <a:off x="497508" y="2478410"/>
            <a:ext cx="12330220" cy="390121"/>
            <a:chOff x="497508" y="3121604"/>
            <a:chExt cx="12330220" cy="390121"/>
          </a:xfrm>
        </p:grpSpPr>
        <p:sp>
          <p:nvSpPr>
            <p:cNvPr id="34" name="Rectangle 13">
              <a:extLst>
                <a:ext uri="{FF2B5EF4-FFF2-40B4-BE49-F238E27FC236}">
                  <a16:creationId xmlns:a16="http://schemas.microsoft.com/office/drawing/2014/main" id="{7607D798-9E2C-4236-AE3A-F848486D0877}"/>
                </a:ext>
              </a:extLst>
            </p:cNvPr>
            <p:cNvSpPr/>
            <p:nvPr/>
          </p:nvSpPr>
          <p:spPr>
            <a:xfrm>
              <a:off x="760863" y="3178165"/>
              <a:ext cx="12066865" cy="276999"/>
            </a:xfrm>
            <a:prstGeom prst="rect">
              <a:avLst/>
            </a:prstGeom>
          </p:spPr>
          <p:txBody>
            <a:bodyPr wrap="square" lIns="0" tIns="0" rIns="0" bIns="0" anchor="ctr">
              <a:spAutoFit/>
            </a:bodyPr>
            <a:lstStyle/>
            <a:p>
              <a:r>
                <a:rPr lang="fr-FR" sz="1800" b="1" dirty="0">
                  <a:solidFill>
                    <a:srgbClr val="00BCA1"/>
                  </a:solidFill>
                  <a:cs typeface="Arial" panose="020B0604020202020204" pitchFamily="34" charset="0"/>
                </a:rPr>
                <a:t>L’ENSEMBLE DES FONCTIONS DE L’ENTREPRISE </a:t>
              </a:r>
              <a:r>
                <a:rPr lang="fr-FR" sz="1800" dirty="0">
                  <a:solidFill>
                    <a:schemeClr val="tx2"/>
                  </a:solidFill>
                  <a:cs typeface="Arial" panose="020B0604020202020204" pitchFamily="34" charset="0"/>
                </a:rPr>
                <a:t>est profondément transformé par les nouvelles technologies</a:t>
              </a:r>
              <a:endParaRPr lang="fr-FR" sz="1800" b="1" dirty="0">
                <a:solidFill>
                  <a:srgbClr val="00BCA1"/>
                </a:solidFill>
                <a:cs typeface="Arial" panose="020B0604020202020204" pitchFamily="34" charset="0"/>
              </a:endParaRPr>
            </a:p>
          </p:txBody>
        </p:sp>
        <p:sp>
          <p:nvSpPr>
            <p:cNvPr id="17" name="object 18">
              <a:extLst>
                <a:ext uri="{FF2B5EF4-FFF2-40B4-BE49-F238E27FC236}">
                  <a16:creationId xmlns:a16="http://schemas.microsoft.com/office/drawing/2014/main" id="{C34AA9A8-3553-484D-9C30-E767F4782F44}"/>
                </a:ext>
              </a:extLst>
            </p:cNvPr>
            <p:cNvSpPr>
              <a:spLocks noChangeAspect="1"/>
            </p:cNvSpPr>
            <p:nvPr/>
          </p:nvSpPr>
          <p:spPr>
            <a:xfrm>
              <a:off x="497508" y="3121604"/>
              <a:ext cx="147017" cy="390121"/>
            </a:xfrm>
            <a:custGeom>
              <a:avLst/>
              <a:gdLst/>
              <a:ahLst/>
              <a:cxnLst/>
              <a:rect l="l" t="t" r="r" b="b"/>
              <a:pathLst>
                <a:path w="546734" h="1352550">
                  <a:moveTo>
                    <a:pt x="0" y="1352428"/>
                  </a:moveTo>
                  <a:lnTo>
                    <a:pt x="546414" y="0"/>
                  </a:lnTo>
                </a:path>
              </a:pathLst>
            </a:custGeom>
            <a:ln w="12700">
              <a:solidFill>
                <a:schemeClr val="accent3"/>
              </a:solidFill>
            </a:ln>
          </p:spPr>
          <p:txBody>
            <a:bodyPr wrap="square" lIns="0" tIns="0" rIns="0" bIns="0" rtlCol="0"/>
            <a:lstStyle/>
            <a:p>
              <a:pPr defTabSz="1045848">
                <a:defRPr/>
              </a:pPr>
              <a:endParaRPr lang="fr-FR" sz="2300" spc="100">
                <a:solidFill>
                  <a:srgbClr val="000000"/>
                </a:solidFill>
              </a:endParaRPr>
            </a:p>
          </p:txBody>
        </p:sp>
      </p:grpSp>
      <p:grpSp>
        <p:nvGrpSpPr>
          <p:cNvPr id="11" name="Groupe 10">
            <a:extLst>
              <a:ext uri="{FF2B5EF4-FFF2-40B4-BE49-F238E27FC236}">
                <a16:creationId xmlns:a16="http://schemas.microsoft.com/office/drawing/2014/main" id="{3FE60AEA-F64B-4680-89A3-C559959A35DD}"/>
              </a:ext>
            </a:extLst>
          </p:cNvPr>
          <p:cNvGrpSpPr/>
          <p:nvPr/>
        </p:nvGrpSpPr>
        <p:grpSpPr>
          <a:xfrm>
            <a:off x="497508" y="3471182"/>
            <a:ext cx="12330220" cy="553998"/>
            <a:chOff x="497508" y="4149822"/>
            <a:chExt cx="12330220" cy="553998"/>
          </a:xfrm>
        </p:grpSpPr>
        <p:sp>
          <p:nvSpPr>
            <p:cNvPr id="33" name="Rectangle 13">
              <a:extLst>
                <a:ext uri="{FF2B5EF4-FFF2-40B4-BE49-F238E27FC236}">
                  <a16:creationId xmlns:a16="http://schemas.microsoft.com/office/drawing/2014/main" id="{D685DE8F-E0B1-44FD-8348-0CD38A3CA408}"/>
                </a:ext>
              </a:extLst>
            </p:cNvPr>
            <p:cNvSpPr/>
            <p:nvPr/>
          </p:nvSpPr>
          <p:spPr>
            <a:xfrm>
              <a:off x="760863" y="4149822"/>
              <a:ext cx="12066865" cy="553998"/>
            </a:xfrm>
            <a:prstGeom prst="rect">
              <a:avLst/>
            </a:prstGeom>
          </p:spPr>
          <p:txBody>
            <a:bodyPr wrap="square" lIns="0" tIns="0" rIns="0" bIns="0" anchor="ctr">
              <a:spAutoFit/>
            </a:bodyPr>
            <a:lstStyle/>
            <a:p>
              <a:r>
                <a:rPr lang="fr-FR" sz="1800" dirty="0">
                  <a:solidFill>
                    <a:schemeClr val="tx2"/>
                  </a:solidFill>
                  <a:cs typeface="Arial" panose="020B0604020202020204" pitchFamily="34" charset="0"/>
                </a:rPr>
                <a:t>L’Industrie 4.0 recouvre un ensemble de transformations, à la fois digitales &amp; technologiques mais également organisationnelles, opérationnelles, humaines et environnementales qui </a:t>
              </a:r>
              <a:r>
                <a:rPr lang="fr-FR" sz="1800" b="1" dirty="0">
                  <a:solidFill>
                    <a:srgbClr val="00BCA1"/>
                  </a:solidFill>
                  <a:cs typeface="Arial" panose="020B0604020202020204" pitchFamily="34" charset="0"/>
                </a:rPr>
                <a:t>NÉCESSITENT</a:t>
              </a:r>
              <a:r>
                <a:rPr lang="fr-FR" sz="1800" dirty="0">
                  <a:solidFill>
                    <a:schemeClr val="tx2"/>
                  </a:solidFill>
                  <a:cs typeface="Arial" panose="020B0604020202020204" pitchFamily="34" charset="0"/>
                </a:rPr>
                <a:t> une </a:t>
              </a:r>
              <a:r>
                <a:rPr lang="fr-FR" sz="1800" b="1" dirty="0">
                  <a:solidFill>
                    <a:srgbClr val="00BCA1"/>
                  </a:solidFill>
                  <a:cs typeface="Arial" panose="020B0604020202020204" pitchFamily="34" charset="0"/>
                </a:rPr>
                <a:t>APPROCHE GLOBALE</a:t>
              </a:r>
            </a:p>
          </p:txBody>
        </p:sp>
        <p:sp>
          <p:nvSpPr>
            <p:cNvPr id="18" name="object 18">
              <a:extLst>
                <a:ext uri="{FF2B5EF4-FFF2-40B4-BE49-F238E27FC236}">
                  <a16:creationId xmlns:a16="http://schemas.microsoft.com/office/drawing/2014/main" id="{8F5AB34E-7AB1-490B-A830-79A0C9EF19A3}"/>
                </a:ext>
              </a:extLst>
            </p:cNvPr>
            <p:cNvSpPr>
              <a:spLocks noChangeAspect="1"/>
            </p:cNvSpPr>
            <p:nvPr/>
          </p:nvSpPr>
          <p:spPr>
            <a:xfrm>
              <a:off x="497508" y="4231760"/>
              <a:ext cx="147017" cy="390121"/>
            </a:xfrm>
            <a:custGeom>
              <a:avLst/>
              <a:gdLst/>
              <a:ahLst/>
              <a:cxnLst/>
              <a:rect l="l" t="t" r="r" b="b"/>
              <a:pathLst>
                <a:path w="546734" h="1352550">
                  <a:moveTo>
                    <a:pt x="0" y="1352428"/>
                  </a:moveTo>
                  <a:lnTo>
                    <a:pt x="546414" y="0"/>
                  </a:lnTo>
                </a:path>
              </a:pathLst>
            </a:custGeom>
            <a:ln w="12700">
              <a:solidFill>
                <a:schemeClr val="accent3"/>
              </a:solidFill>
            </a:ln>
          </p:spPr>
          <p:txBody>
            <a:bodyPr wrap="square" lIns="0" tIns="0" rIns="0" bIns="0" rtlCol="0"/>
            <a:lstStyle/>
            <a:p>
              <a:pPr defTabSz="1045848">
                <a:defRPr/>
              </a:pPr>
              <a:endParaRPr lang="fr-FR" sz="2300" spc="100">
                <a:solidFill>
                  <a:srgbClr val="000000"/>
                </a:solidFill>
              </a:endParaRPr>
            </a:p>
          </p:txBody>
        </p:sp>
      </p:grpSp>
      <p:grpSp>
        <p:nvGrpSpPr>
          <p:cNvPr id="12" name="Groupe 11">
            <a:extLst>
              <a:ext uri="{FF2B5EF4-FFF2-40B4-BE49-F238E27FC236}">
                <a16:creationId xmlns:a16="http://schemas.microsoft.com/office/drawing/2014/main" id="{C69BA923-9449-497E-A5DC-632DE432571A}"/>
              </a:ext>
            </a:extLst>
          </p:cNvPr>
          <p:cNvGrpSpPr/>
          <p:nvPr/>
        </p:nvGrpSpPr>
        <p:grpSpPr>
          <a:xfrm>
            <a:off x="497508" y="4545892"/>
            <a:ext cx="12330220" cy="553998"/>
            <a:chOff x="497508" y="5206959"/>
            <a:chExt cx="12330220" cy="553998"/>
          </a:xfrm>
        </p:grpSpPr>
        <p:sp>
          <p:nvSpPr>
            <p:cNvPr id="35" name="Rectangle 13">
              <a:extLst>
                <a:ext uri="{FF2B5EF4-FFF2-40B4-BE49-F238E27FC236}">
                  <a16:creationId xmlns:a16="http://schemas.microsoft.com/office/drawing/2014/main" id="{FE4A2595-DC4A-480F-B02D-D488815B5463}"/>
                </a:ext>
              </a:extLst>
            </p:cNvPr>
            <p:cNvSpPr/>
            <p:nvPr/>
          </p:nvSpPr>
          <p:spPr>
            <a:xfrm>
              <a:off x="760863" y="5206959"/>
              <a:ext cx="12066865" cy="553998"/>
            </a:xfrm>
            <a:prstGeom prst="rect">
              <a:avLst/>
            </a:prstGeom>
          </p:spPr>
          <p:txBody>
            <a:bodyPr wrap="square" lIns="0" tIns="0" rIns="0" bIns="0" anchor="ctr">
              <a:spAutoFit/>
            </a:bodyPr>
            <a:lstStyle/>
            <a:p>
              <a:r>
                <a:rPr lang="fr-FR" sz="1800" dirty="0">
                  <a:solidFill>
                    <a:schemeClr val="tx2"/>
                  </a:solidFill>
                  <a:cs typeface="Arial" panose="020B0604020202020204" pitchFamily="34" charset="0"/>
                </a:rPr>
                <a:t>La transformation Industrie 4.0 a des </a:t>
              </a:r>
              <a:r>
                <a:rPr lang="fr-FR" sz="1800" b="1" dirty="0">
                  <a:solidFill>
                    <a:srgbClr val="00BCA1"/>
                  </a:solidFill>
                  <a:cs typeface="Arial" panose="020B0604020202020204" pitchFamily="34" charset="0"/>
                </a:rPr>
                <a:t>IMPACTS IMPORTANTS</a:t>
              </a:r>
              <a:r>
                <a:rPr lang="fr-FR" sz="1800" dirty="0">
                  <a:solidFill>
                    <a:srgbClr val="00BCA1"/>
                  </a:solidFill>
                  <a:cs typeface="Arial" panose="020B0604020202020204" pitchFamily="34" charset="0"/>
                </a:rPr>
                <a:t> </a:t>
              </a:r>
              <a:r>
                <a:rPr lang="fr-FR" sz="1800" dirty="0">
                  <a:solidFill>
                    <a:schemeClr val="tx2"/>
                  </a:solidFill>
                  <a:cs typeface="Arial" panose="020B0604020202020204" pitchFamily="34" charset="0"/>
                </a:rPr>
                <a:t>sur les équipes à tous les niveaux et </a:t>
              </a:r>
              <a:r>
                <a:rPr lang="fr-FR" sz="1800" b="1" dirty="0">
                  <a:solidFill>
                    <a:srgbClr val="00BCA1"/>
                  </a:solidFill>
                  <a:cs typeface="Arial" panose="020B0604020202020204" pitchFamily="34" charset="0"/>
                </a:rPr>
                <a:t>NÉCESSITE</a:t>
              </a:r>
              <a:r>
                <a:rPr lang="fr-FR" sz="1800" dirty="0">
                  <a:solidFill>
                    <a:schemeClr val="tx2"/>
                  </a:solidFill>
                  <a:cs typeface="Arial" panose="020B0604020202020204" pitchFamily="34" charset="0"/>
                </a:rPr>
                <a:t> une approche de </a:t>
              </a:r>
              <a:r>
                <a:rPr lang="fr-FR" sz="1800" b="1" dirty="0">
                  <a:solidFill>
                    <a:srgbClr val="00BCA1"/>
                  </a:solidFill>
                  <a:cs typeface="Arial" panose="020B0604020202020204" pitchFamily="34" charset="0"/>
                </a:rPr>
                <a:t>CONDUITE DE CHANGEMENT</a:t>
              </a:r>
              <a:r>
                <a:rPr lang="fr-FR" sz="1800" dirty="0">
                  <a:solidFill>
                    <a:srgbClr val="00BCA1"/>
                  </a:solidFill>
                  <a:cs typeface="Arial" panose="020B0604020202020204" pitchFamily="34" charset="0"/>
                </a:rPr>
                <a:t> </a:t>
              </a:r>
              <a:r>
                <a:rPr lang="fr-FR" sz="1800" dirty="0">
                  <a:solidFill>
                    <a:schemeClr val="tx2"/>
                  </a:solidFill>
                  <a:cs typeface="Arial" panose="020B0604020202020204" pitchFamily="34" charset="0"/>
                </a:rPr>
                <a:t>dès le diagnostic et tout au long du projet</a:t>
              </a:r>
            </a:p>
          </p:txBody>
        </p:sp>
        <p:sp>
          <p:nvSpPr>
            <p:cNvPr id="19" name="object 18">
              <a:extLst>
                <a:ext uri="{FF2B5EF4-FFF2-40B4-BE49-F238E27FC236}">
                  <a16:creationId xmlns:a16="http://schemas.microsoft.com/office/drawing/2014/main" id="{5206412D-9D5E-4645-A8DF-8C1ECDBB62FD}"/>
                </a:ext>
              </a:extLst>
            </p:cNvPr>
            <p:cNvSpPr>
              <a:spLocks noChangeAspect="1"/>
            </p:cNvSpPr>
            <p:nvPr/>
          </p:nvSpPr>
          <p:spPr>
            <a:xfrm>
              <a:off x="497508" y="5288897"/>
              <a:ext cx="147017" cy="390121"/>
            </a:xfrm>
            <a:custGeom>
              <a:avLst/>
              <a:gdLst/>
              <a:ahLst/>
              <a:cxnLst/>
              <a:rect l="l" t="t" r="r" b="b"/>
              <a:pathLst>
                <a:path w="546734" h="1352550">
                  <a:moveTo>
                    <a:pt x="0" y="1352428"/>
                  </a:moveTo>
                  <a:lnTo>
                    <a:pt x="546414" y="0"/>
                  </a:lnTo>
                </a:path>
              </a:pathLst>
            </a:custGeom>
            <a:ln w="12700">
              <a:solidFill>
                <a:schemeClr val="accent3"/>
              </a:solidFill>
            </a:ln>
          </p:spPr>
          <p:txBody>
            <a:bodyPr wrap="square" lIns="0" tIns="0" rIns="0" bIns="0" rtlCol="0"/>
            <a:lstStyle/>
            <a:p>
              <a:pPr defTabSz="1045848">
                <a:defRPr/>
              </a:pPr>
              <a:endParaRPr lang="fr-FR" sz="2300" spc="100">
                <a:solidFill>
                  <a:srgbClr val="000000"/>
                </a:solidFill>
              </a:endParaRPr>
            </a:p>
          </p:txBody>
        </p:sp>
      </p:grpSp>
      <p:grpSp>
        <p:nvGrpSpPr>
          <p:cNvPr id="13" name="Groupe 12">
            <a:extLst>
              <a:ext uri="{FF2B5EF4-FFF2-40B4-BE49-F238E27FC236}">
                <a16:creationId xmlns:a16="http://schemas.microsoft.com/office/drawing/2014/main" id="{93C62736-26D2-49A6-AEF9-2575B7E3C0DB}"/>
              </a:ext>
            </a:extLst>
          </p:cNvPr>
          <p:cNvGrpSpPr/>
          <p:nvPr/>
        </p:nvGrpSpPr>
        <p:grpSpPr>
          <a:xfrm>
            <a:off x="497508" y="5759102"/>
            <a:ext cx="12330220" cy="553998"/>
            <a:chOff x="497508" y="6271110"/>
            <a:chExt cx="12330220" cy="553998"/>
          </a:xfrm>
        </p:grpSpPr>
        <p:sp>
          <p:nvSpPr>
            <p:cNvPr id="45" name="Rectangle 13">
              <a:extLst>
                <a:ext uri="{FF2B5EF4-FFF2-40B4-BE49-F238E27FC236}">
                  <a16:creationId xmlns:a16="http://schemas.microsoft.com/office/drawing/2014/main" id="{AF415F3D-9917-48F7-8669-8BE7955B62CA}"/>
                </a:ext>
              </a:extLst>
            </p:cNvPr>
            <p:cNvSpPr/>
            <p:nvPr/>
          </p:nvSpPr>
          <p:spPr>
            <a:xfrm>
              <a:off x="760863" y="6271110"/>
              <a:ext cx="12066865" cy="553998"/>
            </a:xfrm>
            <a:prstGeom prst="rect">
              <a:avLst/>
            </a:prstGeom>
          </p:spPr>
          <p:txBody>
            <a:bodyPr wrap="square" lIns="0" tIns="0" rIns="0" bIns="0" anchor="ctr">
              <a:spAutoFit/>
            </a:bodyPr>
            <a:lstStyle/>
            <a:p>
              <a:r>
                <a:rPr lang="fr-FR" sz="1800" dirty="0">
                  <a:solidFill>
                    <a:schemeClr val="tx2"/>
                  </a:solidFill>
                  <a:cs typeface="Arial" panose="020B0604020202020204" pitchFamily="34" charset="0"/>
                </a:rPr>
                <a:t>Avec un périmètre de départ très vaste, le projet requiert une </a:t>
              </a:r>
              <a:r>
                <a:rPr lang="fr-FR" sz="1800" b="1" dirty="0">
                  <a:solidFill>
                    <a:srgbClr val="00BCA1"/>
                  </a:solidFill>
                  <a:cs typeface="Arial" panose="020B0604020202020204" pitchFamily="34" charset="0"/>
                </a:rPr>
                <a:t>MÉTHODOLOGIE ROBUSTE ET SYSTÉMIQUE</a:t>
              </a:r>
              <a:r>
                <a:rPr lang="fr-FR" sz="1800" b="1" dirty="0">
                  <a:solidFill>
                    <a:schemeClr val="tx2"/>
                  </a:solidFill>
                  <a:cs typeface="Arial" panose="020B0604020202020204" pitchFamily="34" charset="0"/>
                </a:rPr>
                <a:t> </a:t>
              </a:r>
              <a:r>
                <a:rPr lang="fr-FR" sz="1800" dirty="0">
                  <a:solidFill>
                    <a:schemeClr val="tx2"/>
                  </a:solidFill>
                  <a:cs typeface="Arial" panose="020B0604020202020204" pitchFamily="34" charset="0"/>
                </a:rPr>
                <a:t>et une équipe pragmatique avec une forte expertise industrielle pour </a:t>
              </a:r>
              <a:r>
                <a:rPr lang="fr-FR" sz="1800" b="1" dirty="0">
                  <a:solidFill>
                    <a:srgbClr val="00BCA1"/>
                  </a:solidFill>
                  <a:cs typeface="Arial" panose="020B0604020202020204" pitchFamily="34" charset="0"/>
                </a:rPr>
                <a:t>DELIVRER DES RESULTATS PLUS RAPIDEMENT</a:t>
              </a:r>
            </a:p>
          </p:txBody>
        </p:sp>
        <p:sp>
          <p:nvSpPr>
            <p:cNvPr id="20" name="object 18">
              <a:extLst>
                <a:ext uri="{FF2B5EF4-FFF2-40B4-BE49-F238E27FC236}">
                  <a16:creationId xmlns:a16="http://schemas.microsoft.com/office/drawing/2014/main" id="{18093C3A-86B6-4A92-9FFC-8D21655B10F8}"/>
                </a:ext>
              </a:extLst>
            </p:cNvPr>
            <p:cNvSpPr>
              <a:spLocks noChangeAspect="1"/>
            </p:cNvSpPr>
            <p:nvPr/>
          </p:nvSpPr>
          <p:spPr>
            <a:xfrm>
              <a:off x="497508" y="6342219"/>
              <a:ext cx="147017" cy="390121"/>
            </a:xfrm>
            <a:custGeom>
              <a:avLst/>
              <a:gdLst/>
              <a:ahLst/>
              <a:cxnLst/>
              <a:rect l="l" t="t" r="r" b="b"/>
              <a:pathLst>
                <a:path w="546734" h="1352550">
                  <a:moveTo>
                    <a:pt x="0" y="1352428"/>
                  </a:moveTo>
                  <a:lnTo>
                    <a:pt x="546414" y="0"/>
                  </a:lnTo>
                </a:path>
              </a:pathLst>
            </a:custGeom>
            <a:ln w="12700">
              <a:solidFill>
                <a:schemeClr val="accent3"/>
              </a:solidFill>
            </a:ln>
          </p:spPr>
          <p:txBody>
            <a:bodyPr wrap="square" lIns="0" tIns="0" rIns="0" bIns="0" rtlCol="0"/>
            <a:lstStyle/>
            <a:p>
              <a:pPr defTabSz="1045848">
                <a:defRPr/>
              </a:pPr>
              <a:endParaRPr lang="fr-FR" sz="2300" spc="100">
                <a:solidFill>
                  <a:srgbClr val="000000"/>
                </a:solidFill>
              </a:endParaRPr>
            </a:p>
          </p:txBody>
        </p:sp>
      </p:grpSp>
      <p:sp>
        <p:nvSpPr>
          <p:cNvPr id="24" name="object 23">
            <a:extLst>
              <a:ext uri="{FF2B5EF4-FFF2-40B4-BE49-F238E27FC236}">
                <a16:creationId xmlns:a16="http://schemas.microsoft.com/office/drawing/2014/main" id="{18E2C887-5C03-457B-B8E9-D91D42675CBE}"/>
              </a:ext>
            </a:extLst>
          </p:cNvPr>
          <p:cNvSpPr>
            <a:spLocks noChangeAspect="1"/>
          </p:cNvSpPr>
          <p:nvPr/>
        </p:nvSpPr>
        <p:spPr>
          <a:xfrm>
            <a:off x="1" y="-10160"/>
            <a:ext cx="484975" cy="1237344"/>
          </a:xfrm>
          <a:custGeom>
            <a:avLst/>
            <a:gdLst/>
            <a:ahLst/>
            <a:cxnLst/>
            <a:rect l="l" t="t" r="r" b="b"/>
            <a:pathLst>
              <a:path w="799465" h="1977389">
                <a:moveTo>
                  <a:pt x="798918" y="0"/>
                </a:moveTo>
                <a:lnTo>
                  <a:pt x="0" y="0"/>
                </a:lnTo>
                <a:lnTo>
                  <a:pt x="0" y="1977389"/>
                </a:lnTo>
                <a:lnTo>
                  <a:pt x="798918" y="0"/>
                </a:lnTo>
                <a:close/>
              </a:path>
            </a:pathLst>
          </a:custGeom>
          <a:solidFill>
            <a:schemeClr val="tx2"/>
          </a:solidFill>
        </p:spPr>
        <p:txBody>
          <a:bodyPr wrap="square" lIns="0" tIns="0" rIns="0" bIns="0" rtlCol="0"/>
          <a:lstStyle/>
          <a:p>
            <a:endParaRPr spc="100" baseline="0"/>
          </a:p>
        </p:txBody>
      </p:sp>
      <p:sp>
        <p:nvSpPr>
          <p:cNvPr id="22" name="Titre 1">
            <a:extLst>
              <a:ext uri="{FF2B5EF4-FFF2-40B4-BE49-F238E27FC236}">
                <a16:creationId xmlns:a16="http://schemas.microsoft.com/office/drawing/2014/main" id="{10D11A46-9EC9-4265-9FFA-8BF7934D86AC}"/>
              </a:ext>
            </a:extLst>
          </p:cNvPr>
          <p:cNvSpPr>
            <a:spLocks noGrp="1"/>
          </p:cNvSpPr>
          <p:nvPr>
            <p:ph type="title"/>
          </p:nvPr>
        </p:nvSpPr>
        <p:spPr>
          <a:xfrm>
            <a:off x="609618" y="545662"/>
            <a:ext cx="12218110" cy="338554"/>
          </a:xfrm>
        </p:spPr>
        <p:txBody>
          <a:bodyPr/>
          <a:lstStyle/>
          <a:p>
            <a:r>
              <a:rPr lang="fr-FR" dirty="0"/>
              <a:t>Nos convictions</a:t>
            </a:r>
            <a:endParaRPr lang="en-US" dirty="0"/>
          </a:p>
        </p:txBody>
      </p:sp>
    </p:spTree>
    <p:extLst>
      <p:ext uri="{BB962C8B-B14F-4D97-AF65-F5344CB8AC3E}">
        <p14:creationId xmlns:p14="http://schemas.microsoft.com/office/powerpoint/2010/main" val="13905702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A58D52A3-2D0C-4F24-BA8F-C7F0FA5B8FE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92" name="Diapositive think-cell" r:id="rId5" imgW="473" imgH="470" progId="TCLayout.ActiveDocument.1">
                  <p:embed/>
                </p:oleObj>
              </mc:Choice>
              <mc:Fallback>
                <p:oleObj name="Diapositive think-cell" r:id="rId5" imgW="473" imgH="470" progId="TCLayout.ActiveDocument.1">
                  <p:embed/>
                  <p:pic>
                    <p:nvPicPr>
                      <p:cNvPr id="7" name="Objet 6" hidden="1">
                        <a:extLst>
                          <a:ext uri="{FF2B5EF4-FFF2-40B4-BE49-F238E27FC236}">
                            <a16:creationId xmlns:a16="http://schemas.microsoft.com/office/drawing/2014/main" id="{A58D52A3-2D0C-4F24-BA8F-C7F0FA5B8FE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2E98E7E-637C-4F38-89FD-B080A8090A43}"/>
              </a:ext>
            </a:extLst>
          </p:cNvPr>
          <p:cNvSpPr/>
          <p:nvPr>
            <p:custDataLst>
              <p:tags r:id="rId3"/>
            </p:custDataLst>
          </p:nvPr>
        </p:nvSpPr>
        <p:spPr>
          <a:xfrm>
            <a:off x="0" y="0"/>
            <a:ext cx="158750" cy="158750"/>
          </a:xfrm>
          <a:prstGeom prst="rect">
            <a:avLst/>
          </a:prstGeom>
          <a:solidFill>
            <a:schemeClr val="tx2"/>
          </a:solidFill>
        </p:spPr>
        <p:txBody>
          <a:bodyPr wrap="none" lIns="0" tIns="0" rIns="0" bIns="0" numCol="1" spcCol="0" rtlCol="0" anchor="ctr" anchorCtr="0">
            <a:noAutofit/>
          </a:bodyPr>
          <a:lstStyle/>
          <a:p>
            <a:pPr algn="ctr"/>
            <a:endParaRPr lang="fr-FR" sz="2200" b="1" dirty="0" err="1">
              <a:solidFill>
                <a:schemeClr val="bg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2" name="Titre 1">
            <a:extLst>
              <a:ext uri="{FF2B5EF4-FFF2-40B4-BE49-F238E27FC236}">
                <a16:creationId xmlns:a16="http://schemas.microsoft.com/office/drawing/2014/main" id="{96B99EC4-560E-4641-A169-13130ED3C032}"/>
              </a:ext>
            </a:extLst>
          </p:cNvPr>
          <p:cNvSpPr>
            <a:spLocks noGrp="1"/>
          </p:cNvSpPr>
          <p:nvPr>
            <p:ph type="title"/>
          </p:nvPr>
        </p:nvSpPr>
        <p:spPr/>
        <p:txBody>
          <a:bodyPr/>
          <a:lstStyle/>
          <a:p>
            <a:r>
              <a:rPr lang="fr-FR" dirty="0"/>
              <a:t>Les objectifs à atteindre selon notre approche lors des 3 phases</a:t>
            </a:r>
          </a:p>
        </p:txBody>
      </p:sp>
      <p:sp>
        <p:nvSpPr>
          <p:cNvPr id="8" name="Arrow: Pentagon 10">
            <a:extLst>
              <a:ext uri="{FF2B5EF4-FFF2-40B4-BE49-F238E27FC236}">
                <a16:creationId xmlns:a16="http://schemas.microsoft.com/office/drawing/2014/main" id="{5E803C08-0296-4F77-9D92-D6AF02DD346D}"/>
              </a:ext>
            </a:extLst>
          </p:cNvPr>
          <p:cNvSpPr/>
          <p:nvPr/>
        </p:nvSpPr>
        <p:spPr>
          <a:xfrm>
            <a:off x="1769371" y="2184533"/>
            <a:ext cx="3836264" cy="459106"/>
          </a:xfrm>
          <a:prstGeom prst="homePlate">
            <a:avLst/>
          </a:prstGeom>
          <a:solidFill>
            <a:schemeClr val="tx2"/>
          </a:solidFill>
          <a:ln>
            <a:solidFill>
              <a:schemeClr val="bg1"/>
            </a:solidFill>
          </a:ln>
        </p:spPr>
        <p:txBody>
          <a:bodyPr wrap="square" lIns="0" tIns="0" rIns="0" bIns="0" rtlCol="0" anchor="ctr"/>
          <a:lstStyle/>
          <a:p>
            <a:pPr algn="ctr"/>
            <a:r>
              <a:rPr lang="fr-FR" sz="1600" b="1" dirty="0">
                <a:solidFill>
                  <a:schemeClr val="bg1"/>
                </a:solidFill>
              </a:rPr>
              <a:t>Diagnostic flash</a:t>
            </a:r>
          </a:p>
        </p:txBody>
      </p:sp>
      <p:sp>
        <p:nvSpPr>
          <p:cNvPr id="9" name="Arrow: Chevron 11">
            <a:extLst>
              <a:ext uri="{FF2B5EF4-FFF2-40B4-BE49-F238E27FC236}">
                <a16:creationId xmlns:a16="http://schemas.microsoft.com/office/drawing/2014/main" id="{6A9E3A23-1EFC-451F-903D-A821B7378BEB}"/>
              </a:ext>
            </a:extLst>
          </p:cNvPr>
          <p:cNvSpPr/>
          <p:nvPr/>
        </p:nvSpPr>
        <p:spPr>
          <a:xfrm>
            <a:off x="5542844" y="2196537"/>
            <a:ext cx="3836264" cy="459106"/>
          </a:xfrm>
          <a:prstGeom prst="chevron">
            <a:avLst/>
          </a:prstGeom>
          <a:solidFill>
            <a:schemeClr val="tx2"/>
          </a:solidFill>
        </p:spPr>
        <p:txBody>
          <a:bodyPr wrap="square" lIns="0" tIns="0" rIns="0" bIns="0" rtlCol="0" anchor="ctr"/>
          <a:lstStyle/>
          <a:p>
            <a:pPr algn="ctr"/>
            <a:r>
              <a:rPr lang="fr-FR" sz="1600" b="1" dirty="0">
                <a:solidFill>
                  <a:schemeClr val="bg1"/>
                </a:solidFill>
              </a:rPr>
              <a:t>Lancement de la feuille de route </a:t>
            </a:r>
          </a:p>
          <a:p>
            <a:pPr algn="ctr"/>
            <a:r>
              <a:rPr lang="fr-FR" sz="1600" b="1" dirty="0">
                <a:solidFill>
                  <a:schemeClr val="bg1"/>
                </a:solidFill>
              </a:rPr>
              <a:t>de transformation</a:t>
            </a:r>
          </a:p>
        </p:txBody>
      </p:sp>
      <p:sp>
        <p:nvSpPr>
          <p:cNvPr id="10" name="Arrow: Chevron 12">
            <a:extLst>
              <a:ext uri="{FF2B5EF4-FFF2-40B4-BE49-F238E27FC236}">
                <a16:creationId xmlns:a16="http://schemas.microsoft.com/office/drawing/2014/main" id="{F761ACB9-A6B1-4CCB-9976-4AB3E3C2F6D0}"/>
              </a:ext>
            </a:extLst>
          </p:cNvPr>
          <p:cNvSpPr/>
          <p:nvPr/>
        </p:nvSpPr>
        <p:spPr>
          <a:xfrm>
            <a:off x="9316318" y="2208541"/>
            <a:ext cx="3888507" cy="459106"/>
          </a:xfrm>
          <a:prstGeom prst="chevron">
            <a:avLst/>
          </a:prstGeom>
          <a:solidFill>
            <a:schemeClr val="tx2"/>
          </a:solidFill>
        </p:spPr>
        <p:txBody>
          <a:bodyPr wrap="square" lIns="0" tIns="0" rIns="0" bIns="0" rtlCol="0" anchor="ctr"/>
          <a:lstStyle/>
          <a:p>
            <a:pPr algn="ctr"/>
            <a:r>
              <a:rPr lang="fr-FR" sz="1600" b="1" dirty="0">
                <a:solidFill>
                  <a:schemeClr val="bg1"/>
                </a:solidFill>
              </a:rPr>
              <a:t>Elaboration et mise en œuvre </a:t>
            </a:r>
          </a:p>
          <a:p>
            <a:pPr algn="ctr"/>
            <a:r>
              <a:rPr lang="fr-FR" sz="1600" b="1" dirty="0">
                <a:solidFill>
                  <a:schemeClr val="bg1"/>
                </a:solidFill>
              </a:rPr>
              <a:t>des plans d’actions</a:t>
            </a:r>
          </a:p>
        </p:txBody>
      </p:sp>
      <p:sp>
        <p:nvSpPr>
          <p:cNvPr id="21" name="Rectangle 20">
            <a:extLst>
              <a:ext uri="{FF2B5EF4-FFF2-40B4-BE49-F238E27FC236}">
                <a16:creationId xmlns:a16="http://schemas.microsoft.com/office/drawing/2014/main" id="{2EC64137-0C7A-491F-9655-55C159F859B9}"/>
              </a:ext>
            </a:extLst>
          </p:cNvPr>
          <p:cNvSpPr/>
          <p:nvPr/>
        </p:nvSpPr>
        <p:spPr>
          <a:xfrm>
            <a:off x="1774550" y="2308272"/>
            <a:ext cx="252000" cy="252000"/>
          </a:xfrm>
          <a:prstGeom prst="rect">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1050" b="1" dirty="0">
                <a:solidFill>
                  <a:schemeClr val="tx1"/>
                </a:solidFill>
              </a:rPr>
              <a:t>1</a:t>
            </a:r>
          </a:p>
        </p:txBody>
      </p:sp>
      <p:sp>
        <p:nvSpPr>
          <p:cNvPr id="22" name="Rectangle 21">
            <a:extLst>
              <a:ext uri="{FF2B5EF4-FFF2-40B4-BE49-F238E27FC236}">
                <a16:creationId xmlns:a16="http://schemas.microsoft.com/office/drawing/2014/main" id="{04FA8BFA-DAAE-4230-AA08-A1847787538E}"/>
              </a:ext>
            </a:extLst>
          </p:cNvPr>
          <p:cNvSpPr/>
          <p:nvPr/>
        </p:nvSpPr>
        <p:spPr>
          <a:xfrm>
            <a:off x="5742447" y="2272477"/>
            <a:ext cx="252000" cy="252000"/>
          </a:xfrm>
          <a:prstGeom prst="rect">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1050" b="1" dirty="0">
                <a:solidFill>
                  <a:schemeClr val="tx1"/>
                </a:solidFill>
              </a:rPr>
              <a:t>2a</a:t>
            </a:r>
          </a:p>
        </p:txBody>
      </p:sp>
      <p:sp>
        <p:nvSpPr>
          <p:cNvPr id="23" name="Rectangle 22">
            <a:extLst>
              <a:ext uri="{FF2B5EF4-FFF2-40B4-BE49-F238E27FC236}">
                <a16:creationId xmlns:a16="http://schemas.microsoft.com/office/drawing/2014/main" id="{61464B8A-C588-4702-B8FD-2ECD8A0E05D3}"/>
              </a:ext>
            </a:extLst>
          </p:cNvPr>
          <p:cNvSpPr/>
          <p:nvPr/>
        </p:nvSpPr>
        <p:spPr>
          <a:xfrm>
            <a:off x="9515654" y="2309220"/>
            <a:ext cx="252000" cy="252000"/>
          </a:xfrm>
          <a:prstGeom prst="rect">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1050" b="1" dirty="0">
                <a:solidFill>
                  <a:schemeClr val="tx1"/>
                </a:solidFill>
              </a:rPr>
              <a:t>2b</a:t>
            </a:r>
          </a:p>
        </p:txBody>
      </p:sp>
      <p:sp>
        <p:nvSpPr>
          <p:cNvPr id="24" name="Rectangle 23">
            <a:extLst>
              <a:ext uri="{FF2B5EF4-FFF2-40B4-BE49-F238E27FC236}">
                <a16:creationId xmlns:a16="http://schemas.microsoft.com/office/drawing/2014/main" id="{B0EADAD4-758E-46EA-BB19-60BE31433C13}"/>
              </a:ext>
            </a:extLst>
          </p:cNvPr>
          <p:cNvSpPr/>
          <p:nvPr/>
        </p:nvSpPr>
        <p:spPr>
          <a:xfrm>
            <a:off x="1830093" y="1611188"/>
            <a:ext cx="2664296" cy="321087"/>
          </a:xfrm>
          <a:prstGeom prst="rect">
            <a:avLst/>
          </a:prstGeom>
          <a:noFill/>
          <a:ln>
            <a:noFill/>
          </a:ln>
        </p:spPr>
        <p:txBody>
          <a:bodyPr wrap="square" lIns="0" tIns="0" rIns="0" bIns="0" rtlCol="0" anchor="ctr"/>
          <a:lstStyle/>
          <a:p>
            <a:r>
              <a:rPr lang="fr-FR" sz="1600" b="1" dirty="0">
                <a:solidFill>
                  <a:schemeClr val="tx2"/>
                </a:solidFill>
              </a:rPr>
              <a:t>Phase 1</a:t>
            </a:r>
          </a:p>
        </p:txBody>
      </p:sp>
      <p:cxnSp>
        <p:nvCxnSpPr>
          <p:cNvPr id="25" name="Horizontal Line">
            <a:extLst>
              <a:ext uri="{FF2B5EF4-FFF2-40B4-BE49-F238E27FC236}">
                <a16:creationId xmlns:a16="http://schemas.microsoft.com/office/drawing/2014/main" id="{85FCAC83-4A18-4F5F-B819-578BA1300330}"/>
              </a:ext>
            </a:extLst>
          </p:cNvPr>
          <p:cNvCxnSpPr>
            <a:cxnSpLocks/>
          </p:cNvCxnSpPr>
          <p:nvPr/>
        </p:nvCxnSpPr>
        <p:spPr>
          <a:xfrm flipH="1">
            <a:off x="1769371" y="1977094"/>
            <a:ext cx="3564000" cy="0"/>
          </a:xfrm>
          <a:prstGeom prst="line">
            <a:avLst/>
          </a:prstGeom>
          <a:ln w="12700" cmpd="sng">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256AA773-72A9-402B-8DEA-E0CC8312B8AC}"/>
              </a:ext>
            </a:extLst>
          </p:cNvPr>
          <p:cNvSpPr/>
          <p:nvPr/>
        </p:nvSpPr>
        <p:spPr>
          <a:xfrm>
            <a:off x="5605635" y="1611188"/>
            <a:ext cx="5544608" cy="321087"/>
          </a:xfrm>
          <a:prstGeom prst="rect">
            <a:avLst/>
          </a:prstGeom>
          <a:noFill/>
          <a:ln>
            <a:noFill/>
          </a:ln>
        </p:spPr>
        <p:txBody>
          <a:bodyPr wrap="square" lIns="0" tIns="0" rIns="0" bIns="0" rtlCol="0" anchor="ctr"/>
          <a:lstStyle/>
          <a:p>
            <a:r>
              <a:rPr lang="fr-FR" sz="1600" b="1" dirty="0">
                <a:solidFill>
                  <a:schemeClr val="tx2"/>
                </a:solidFill>
              </a:rPr>
              <a:t>Phase 2</a:t>
            </a:r>
          </a:p>
        </p:txBody>
      </p:sp>
      <p:cxnSp>
        <p:nvCxnSpPr>
          <p:cNvPr id="27" name="Horizontal Line">
            <a:extLst>
              <a:ext uri="{FF2B5EF4-FFF2-40B4-BE49-F238E27FC236}">
                <a16:creationId xmlns:a16="http://schemas.microsoft.com/office/drawing/2014/main" id="{4EE5D11D-4136-444D-8ACF-4704C8D4B1DF}"/>
              </a:ext>
            </a:extLst>
          </p:cNvPr>
          <p:cNvCxnSpPr>
            <a:cxnSpLocks/>
          </p:cNvCxnSpPr>
          <p:nvPr/>
        </p:nvCxnSpPr>
        <p:spPr>
          <a:xfrm flipH="1">
            <a:off x="5605635" y="1977094"/>
            <a:ext cx="7308000" cy="0"/>
          </a:xfrm>
          <a:prstGeom prst="line">
            <a:avLst/>
          </a:prstGeom>
          <a:ln w="12700" cmpd="sng">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0" name="Horizontal Line">
            <a:extLst>
              <a:ext uri="{FF2B5EF4-FFF2-40B4-BE49-F238E27FC236}">
                <a16:creationId xmlns:a16="http://schemas.microsoft.com/office/drawing/2014/main" id="{E8F3AE19-7A21-42F2-856F-5C6DBEF1E5A6}"/>
              </a:ext>
            </a:extLst>
          </p:cNvPr>
          <p:cNvCxnSpPr>
            <a:cxnSpLocks/>
          </p:cNvCxnSpPr>
          <p:nvPr/>
        </p:nvCxnSpPr>
        <p:spPr>
          <a:xfrm flipV="1">
            <a:off x="5615166" y="2807264"/>
            <a:ext cx="0" cy="3672000"/>
          </a:xfrm>
          <a:prstGeom prst="line">
            <a:avLst/>
          </a:prstGeom>
          <a:ln w="12700" cmpd="sng">
            <a:solidFill>
              <a:schemeClr val="bg1">
                <a:lumMod val="85000"/>
              </a:schemeClr>
            </a:solidFill>
            <a:prstDash val="dash"/>
          </a:ln>
          <a:effectLst/>
        </p:spPr>
        <p:style>
          <a:lnRef idx="1">
            <a:schemeClr val="accent1"/>
          </a:lnRef>
          <a:fillRef idx="0">
            <a:schemeClr val="accent1"/>
          </a:fillRef>
          <a:effectRef idx="0">
            <a:schemeClr val="accent1"/>
          </a:effectRef>
          <a:fontRef idx="minor">
            <a:schemeClr val="tx1"/>
          </a:fontRef>
        </p:style>
      </p:cxnSp>
      <p:sp>
        <p:nvSpPr>
          <p:cNvPr id="51" name="Espace réservé du texte 2">
            <a:extLst>
              <a:ext uri="{FF2B5EF4-FFF2-40B4-BE49-F238E27FC236}">
                <a16:creationId xmlns:a16="http://schemas.microsoft.com/office/drawing/2014/main" id="{690E9E20-F466-4221-91A9-E4F3A3066BAF}"/>
              </a:ext>
            </a:extLst>
          </p:cNvPr>
          <p:cNvSpPr txBox="1">
            <a:spLocks/>
          </p:cNvSpPr>
          <p:nvPr/>
        </p:nvSpPr>
        <p:spPr bwMode="auto">
          <a:xfrm>
            <a:off x="623788" y="2798326"/>
            <a:ext cx="1368000" cy="321087"/>
          </a:xfrm>
          <a:prstGeom prst="rect">
            <a:avLst/>
          </a:prstGeom>
          <a:noFill/>
          <a:ln>
            <a:noFill/>
          </a:ln>
        </p:spPr>
        <p:txBody>
          <a:bodyPr vert="horz" wrap="square" lIns="63120" tIns="63120" rIns="63120" bIns="63120" numCol="1" anchor="t" anchorCtr="0" compatLnSpc="1">
            <a:prstTxWarp prst="textNoShape">
              <a:avLst/>
            </a:prstTxWarp>
            <a:noAutofit/>
          </a:bodyPr>
          <a:lstStyle>
            <a:lvl1pPr marL="229122" indent="-229122" algn="l" defTabSz="893763" rtl="0" eaLnBrk="0" fontAlgn="base" hangingPunct="0">
              <a:spcBef>
                <a:spcPts val="513"/>
              </a:spcBef>
              <a:spcAft>
                <a:spcPct val="0"/>
              </a:spcAft>
              <a:buClr>
                <a:schemeClr val="tx1"/>
              </a:buClr>
              <a:buSzPct val="80000"/>
              <a:buFont typeface="Webdings" pitchFamily="18" charset="2"/>
              <a:buChar char="4"/>
              <a:defRPr sz="1400">
                <a:solidFill>
                  <a:schemeClr val="tx1"/>
                </a:solidFill>
                <a:latin typeface="Arial" pitchFamily="34" charset="0"/>
                <a:ea typeface="+mn-ea"/>
                <a:cs typeface="Arial" pitchFamily="34" charset="0"/>
              </a:defRPr>
            </a:lvl1pPr>
            <a:lvl2pPr marL="460972" indent="-231850" algn="l" defTabSz="893763" rtl="0" eaLnBrk="0" fontAlgn="base" hangingPunct="0">
              <a:spcBef>
                <a:spcPts val="513"/>
              </a:spcBef>
              <a:spcAft>
                <a:spcPct val="0"/>
              </a:spcAft>
              <a:buClr>
                <a:schemeClr val="tx1"/>
              </a:buClr>
              <a:buSzPct val="80000"/>
              <a:buFont typeface="Wingdings" pitchFamily="2" charset="2"/>
              <a:buChar char="§"/>
              <a:defRPr sz="1200">
                <a:solidFill>
                  <a:schemeClr val="tx1"/>
                </a:solidFill>
                <a:latin typeface="Arial" pitchFamily="34" charset="0"/>
                <a:cs typeface="Arial" pitchFamily="34" charset="0"/>
              </a:defRPr>
            </a:lvl2pPr>
            <a:lvl3pPr marL="621902" indent="-152748" algn="l" defTabSz="893763" rtl="0" eaLnBrk="0" fontAlgn="base" hangingPunct="0">
              <a:spcBef>
                <a:spcPts val="513"/>
              </a:spcBef>
              <a:spcAft>
                <a:spcPct val="0"/>
              </a:spcAft>
              <a:buSzPct val="80000"/>
              <a:buFont typeface="Arial" charset="0"/>
              <a:buChar char="-"/>
              <a:defRPr sz="1000">
                <a:solidFill>
                  <a:schemeClr val="tx1"/>
                </a:solidFill>
                <a:latin typeface="Arial" pitchFamily="34" charset="0"/>
                <a:cs typeface="Arial" pitchFamily="34" charset="0"/>
              </a:defRPr>
            </a:lvl3pPr>
            <a:lvl4pPr marL="776015" indent="-165023" algn="l" defTabSz="893763" rtl="0" eaLnBrk="0" fontAlgn="base" hangingPunct="0">
              <a:spcBef>
                <a:spcPts val="513"/>
              </a:spcBef>
              <a:spcAft>
                <a:spcPct val="0"/>
              </a:spcAft>
              <a:buChar char="–"/>
              <a:defRPr sz="900">
                <a:solidFill>
                  <a:schemeClr val="tx1"/>
                </a:solidFill>
                <a:latin typeface="+mn-lt"/>
                <a:cs typeface="Arial" charset="0"/>
              </a:defRPr>
            </a:lvl4pPr>
            <a:lvl5pPr marL="849661" indent="-75011" algn="l" defTabSz="893763" rtl="0" eaLnBrk="0" fontAlgn="base" hangingPunct="0">
              <a:spcBef>
                <a:spcPts val="513"/>
              </a:spcBef>
              <a:spcAft>
                <a:spcPct val="0"/>
              </a:spcAft>
              <a:buSzPct val="80000"/>
              <a:buFont typeface="Arial" charset="0"/>
              <a:buChar char="-"/>
              <a:defRPr sz="900">
                <a:solidFill>
                  <a:schemeClr val="tx1"/>
                </a:solidFill>
                <a:latin typeface="+mn-lt"/>
                <a:cs typeface="Arial" charset="0"/>
              </a:defRPr>
            </a:lvl5pPr>
            <a:lvl6pPr marL="2408356" indent="-223652" algn="l" defTabSz="895974" rtl="0" eaLnBrk="1" fontAlgn="base" hangingPunct="1">
              <a:spcBef>
                <a:spcPct val="20000"/>
              </a:spcBef>
              <a:spcAft>
                <a:spcPct val="0"/>
              </a:spcAft>
              <a:buChar char="»"/>
              <a:defRPr>
                <a:solidFill>
                  <a:schemeClr val="tx1"/>
                </a:solidFill>
                <a:latin typeface="+mn-lt"/>
              </a:defRPr>
            </a:lvl6pPr>
            <a:lvl7pPr marL="2801112" indent="-223652" algn="l" defTabSz="895974" rtl="0" eaLnBrk="1" fontAlgn="base" hangingPunct="1">
              <a:spcBef>
                <a:spcPct val="20000"/>
              </a:spcBef>
              <a:spcAft>
                <a:spcPct val="0"/>
              </a:spcAft>
              <a:buChar char="»"/>
              <a:defRPr>
                <a:solidFill>
                  <a:schemeClr val="tx1"/>
                </a:solidFill>
                <a:latin typeface="+mn-lt"/>
              </a:defRPr>
            </a:lvl7pPr>
            <a:lvl8pPr marL="3193868" indent="-223652" algn="l" defTabSz="895974" rtl="0" eaLnBrk="1" fontAlgn="base" hangingPunct="1">
              <a:spcBef>
                <a:spcPct val="20000"/>
              </a:spcBef>
              <a:spcAft>
                <a:spcPct val="0"/>
              </a:spcAft>
              <a:buChar char="»"/>
              <a:defRPr>
                <a:solidFill>
                  <a:schemeClr val="tx1"/>
                </a:solidFill>
                <a:latin typeface="+mn-lt"/>
              </a:defRPr>
            </a:lvl8pPr>
            <a:lvl9pPr marL="3586623" indent="-223652" algn="l" defTabSz="895974" rtl="0" eaLnBrk="1" fontAlgn="base" hangingPunct="1">
              <a:spcBef>
                <a:spcPct val="20000"/>
              </a:spcBef>
              <a:spcAft>
                <a:spcPct val="0"/>
              </a:spcAft>
              <a:buChar char="»"/>
              <a:defRPr>
                <a:solidFill>
                  <a:schemeClr val="tx1"/>
                </a:solidFill>
                <a:latin typeface="+mn-lt"/>
              </a:defRPr>
            </a:lvl9pPr>
          </a:lstStyle>
          <a:p>
            <a:pPr marL="0" indent="0" defTabSz="893852">
              <a:spcBef>
                <a:spcPts val="0"/>
              </a:spcBef>
              <a:spcAft>
                <a:spcPts val="0"/>
              </a:spcAft>
              <a:buClr>
                <a:srgbClr val="1B4276"/>
              </a:buClr>
              <a:buNone/>
              <a:defRPr/>
            </a:pPr>
            <a:r>
              <a:rPr lang="fr-FR" sz="1800" b="1" kern="0" dirty="0">
                <a:solidFill>
                  <a:schemeClr val="tx2"/>
                </a:solidFill>
                <a:latin typeface="+mn-lt"/>
              </a:rPr>
              <a:t>Objectifs</a:t>
            </a:r>
            <a:endParaRPr lang="fr-FR" sz="1800" kern="0" dirty="0">
              <a:solidFill>
                <a:schemeClr val="tx2"/>
              </a:solidFill>
              <a:latin typeface="+mn-lt"/>
            </a:endParaRPr>
          </a:p>
        </p:txBody>
      </p:sp>
      <p:sp>
        <p:nvSpPr>
          <p:cNvPr id="56" name="Rectangle 55">
            <a:extLst>
              <a:ext uri="{FF2B5EF4-FFF2-40B4-BE49-F238E27FC236}">
                <a16:creationId xmlns:a16="http://schemas.microsoft.com/office/drawing/2014/main" id="{EF58B783-31A3-4E51-B6CE-E3B13E4D4873}"/>
              </a:ext>
            </a:extLst>
          </p:cNvPr>
          <p:cNvSpPr/>
          <p:nvPr/>
        </p:nvSpPr>
        <p:spPr>
          <a:xfrm>
            <a:off x="1769371" y="2844669"/>
            <a:ext cx="3623378" cy="3335896"/>
          </a:xfrm>
          <a:prstGeom prst="rect">
            <a:avLst/>
          </a:prstGeom>
          <a:noFill/>
          <a:ln>
            <a:noFill/>
          </a:ln>
        </p:spPr>
        <p:txBody>
          <a:bodyPr wrap="square" lIns="0" tIns="0" rIns="0" bIns="0" rtlCol="0" anchor="t"/>
          <a:lstStyle/>
          <a:p>
            <a:pPr marL="285750" indent="-285750">
              <a:lnSpc>
                <a:spcPct val="150000"/>
              </a:lnSpc>
              <a:spcAft>
                <a:spcPts val="600"/>
              </a:spcAft>
              <a:buFont typeface="Arial" panose="020B0604020202020204" pitchFamily="34" charset="0"/>
              <a:buChar char="•"/>
            </a:pPr>
            <a:r>
              <a:rPr lang="fr-FR" sz="1400" b="1" dirty="0">
                <a:solidFill>
                  <a:schemeClr val="tx2"/>
                </a:solidFill>
              </a:rPr>
              <a:t>Réaliser un diagnostic 360°, partagé avec tous, de la situation actuelle</a:t>
            </a:r>
          </a:p>
          <a:p>
            <a:pPr marL="285750" indent="-285750">
              <a:lnSpc>
                <a:spcPct val="150000"/>
              </a:lnSpc>
              <a:spcAft>
                <a:spcPts val="600"/>
              </a:spcAft>
              <a:buFont typeface="Arial" panose="020B0604020202020204" pitchFamily="34" charset="0"/>
              <a:buChar char="•"/>
            </a:pPr>
            <a:r>
              <a:rPr lang="fr-FR" sz="1400" b="1" dirty="0">
                <a:solidFill>
                  <a:schemeClr val="tx2"/>
                </a:solidFill>
              </a:rPr>
              <a:t>Définir avec le chef d’entreprise et les acteurs clés une feuille de route </a:t>
            </a:r>
            <a:r>
              <a:rPr lang="fr-FR" sz="1400" dirty="0">
                <a:solidFill>
                  <a:schemeClr val="tx2"/>
                </a:solidFill>
              </a:rPr>
              <a:t>pour améliorer la maturité de l’entreprise sur les 7 facteurs déterminants de l’Industrie du Futur</a:t>
            </a:r>
            <a:endParaRPr lang="fr-FR" sz="1400" strike="sngStrike" dirty="0">
              <a:solidFill>
                <a:schemeClr val="tx2"/>
              </a:solidFill>
              <a:highlight>
                <a:srgbClr val="FFFF00"/>
              </a:highlight>
            </a:endParaRPr>
          </a:p>
          <a:p>
            <a:pPr marL="285750" indent="-285750">
              <a:lnSpc>
                <a:spcPct val="150000"/>
              </a:lnSpc>
              <a:spcAft>
                <a:spcPts val="600"/>
              </a:spcAft>
              <a:buFont typeface="Arial" panose="020B0604020202020204" pitchFamily="34" charset="0"/>
              <a:buChar char="•"/>
            </a:pPr>
            <a:r>
              <a:rPr lang="fr-FR" sz="1400" b="1" dirty="0">
                <a:solidFill>
                  <a:schemeClr val="tx2"/>
                </a:solidFill>
              </a:rPr>
              <a:t>Embarquer toute l’entreprise dans le projet</a:t>
            </a:r>
          </a:p>
        </p:txBody>
      </p:sp>
      <p:sp>
        <p:nvSpPr>
          <p:cNvPr id="57" name="Rectangle 56">
            <a:extLst>
              <a:ext uri="{FF2B5EF4-FFF2-40B4-BE49-F238E27FC236}">
                <a16:creationId xmlns:a16="http://schemas.microsoft.com/office/drawing/2014/main" id="{AB270533-D9BE-4075-89B7-6E8B89345914}"/>
              </a:ext>
            </a:extLst>
          </p:cNvPr>
          <p:cNvSpPr/>
          <p:nvPr/>
        </p:nvSpPr>
        <p:spPr>
          <a:xfrm>
            <a:off x="5542844" y="2844668"/>
            <a:ext cx="3623379" cy="3465133"/>
          </a:xfrm>
          <a:prstGeom prst="rect">
            <a:avLst/>
          </a:prstGeom>
          <a:noFill/>
          <a:ln>
            <a:noFill/>
          </a:ln>
        </p:spPr>
        <p:txBody>
          <a:bodyPr wrap="square" lIns="0" tIns="0" rIns="0" bIns="0" rtlCol="0" anchor="t"/>
          <a:lstStyle/>
          <a:p>
            <a:pPr marL="171450" indent="-171450">
              <a:lnSpc>
                <a:spcPct val="150000"/>
              </a:lnSpc>
              <a:spcAft>
                <a:spcPts val="600"/>
              </a:spcAft>
              <a:buFont typeface="Arial" panose="020B0604020202020204" pitchFamily="34" charset="0"/>
              <a:buChar char="•"/>
            </a:pPr>
            <a:r>
              <a:rPr lang="fr-FR" sz="1400" b="1" dirty="0">
                <a:solidFill>
                  <a:schemeClr val="tx2"/>
                </a:solidFill>
              </a:rPr>
              <a:t>Structurer une équipe projet PME – CYLAD</a:t>
            </a:r>
            <a:r>
              <a:rPr lang="fr-FR" sz="1400" dirty="0">
                <a:solidFill>
                  <a:schemeClr val="tx2"/>
                </a:solidFill>
              </a:rPr>
              <a:t> et définir un </a:t>
            </a:r>
            <a:r>
              <a:rPr lang="fr-FR" sz="1400" b="1" dirty="0">
                <a:solidFill>
                  <a:schemeClr val="tx2"/>
                </a:solidFill>
              </a:rPr>
              <a:t>mode de pilotage</a:t>
            </a:r>
            <a:r>
              <a:rPr lang="fr-FR" sz="1400" dirty="0">
                <a:solidFill>
                  <a:schemeClr val="tx2"/>
                </a:solidFill>
              </a:rPr>
              <a:t> pour assurer un suivi en continu et accompagner le changement (Comités de pilotage, management visuel, KPIs, communication …)</a:t>
            </a:r>
          </a:p>
          <a:p>
            <a:pPr marL="171450" indent="-171450">
              <a:lnSpc>
                <a:spcPct val="150000"/>
              </a:lnSpc>
              <a:spcAft>
                <a:spcPts val="600"/>
              </a:spcAft>
              <a:buFont typeface="Arial" panose="020B0604020202020204" pitchFamily="34" charset="0"/>
              <a:buChar char="•"/>
            </a:pPr>
            <a:r>
              <a:rPr lang="fr-FR" sz="1400" b="1" dirty="0">
                <a:solidFill>
                  <a:schemeClr val="tx2"/>
                </a:solidFill>
              </a:rPr>
              <a:t>Mettre sur les rails </a:t>
            </a:r>
            <a:r>
              <a:rPr lang="fr-FR" sz="1400" dirty="0">
                <a:solidFill>
                  <a:schemeClr val="tx2"/>
                </a:solidFill>
              </a:rPr>
              <a:t>l’équipe projet et</a:t>
            </a:r>
            <a:r>
              <a:rPr lang="fr-FR" sz="1400" b="1" dirty="0">
                <a:solidFill>
                  <a:schemeClr val="tx2"/>
                </a:solidFill>
              </a:rPr>
              <a:t> lancer les premiers chantiers de la feuille de route, </a:t>
            </a:r>
            <a:r>
              <a:rPr lang="fr-FR" sz="1400" dirty="0">
                <a:solidFill>
                  <a:schemeClr val="tx2"/>
                </a:solidFill>
              </a:rPr>
              <a:t>en particulier les actions ‘</a:t>
            </a:r>
            <a:r>
              <a:rPr lang="fr-FR" sz="1400" b="1" dirty="0">
                <a:solidFill>
                  <a:schemeClr val="tx2"/>
                </a:solidFill>
              </a:rPr>
              <a:t>rapides’ </a:t>
            </a:r>
            <a:r>
              <a:rPr lang="fr-FR" sz="1400" dirty="0">
                <a:solidFill>
                  <a:schemeClr val="tx2"/>
                </a:solidFill>
              </a:rPr>
              <a:t>identifiées en phase 1</a:t>
            </a:r>
          </a:p>
          <a:p>
            <a:pPr marL="171450" indent="-171450">
              <a:lnSpc>
                <a:spcPct val="150000"/>
              </a:lnSpc>
              <a:spcAft>
                <a:spcPts val="600"/>
              </a:spcAft>
              <a:buFont typeface="Arial" panose="020B0604020202020204" pitchFamily="34" charset="0"/>
              <a:buChar char="•"/>
            </a:pPr>
            <a:endParaRPr lang="fr-FR" sz="1400" b="0" dirty="0">
              <a:solidFill>
                <a:schemeClr val="tx2"/>
              </a:solidFill>
            </a:endParaRPr>
          </a:p>
        </p:txBody>
      </p:sp>
      <p:sp>
        <p:nvSpPr>
          <p:cNvPr id="58" name="Rectangle 57">
            <a:extLst>
              <a:ext uri="{FF2B5EF4-FFF2-40B4-BE49-F238E27FC236}">
                <a16:creationId xmlns:a16="http://schemas.microsoft.com/office/drawing/2014/main" id="{3824AADD-4E3A-4D47-B56E-496FE2E562E8}"/>
              </a:ext>
            </a:extLst>
          </p:cNvPr>
          <p:cNvSpPr/>
          <p:nvPr/>
        </p:nvSpPr>
        <p:spPr>
          <a:xfrm>
            <a:off x="9316318" y="2844669"/>
            <a:ext cx="3888507" cy="3335896"/>
          </a:xfrm>
          <a:prstGeom prst="rect">
            <a:avLst/>
          </a:prstGeom>
          <a:noFill/>
          <a:ln>
            <a:noFill/>
          </a:ln>
        </p:spPr>
        <p:txBody>
          <a:bodyPr wrap="square" lIns="0" tIns="0" rIns="0" bIns="0" rtlCol="0" anchor="t"/>
          <a:lstStyle/>
          <a:p>
            <a:pPr marL="171450" indent="-171450">
              <a:lnSpc>
                <a:spcPct val="150000"/>
              </a:lnSpc>
              <a:spcAft>
                <a:spcPts val="600"/>
              </a:spcAft>
              <a:buFont typeface="Arial" panose="020B0604020202020204" pitchFamily="34" charset="0"/>
              <a:buChar char="•"/>
            </a:pPr>
            <a:r>
              <a:rPr lang="fr-FR" sz="1400" b="1" dirty="0">
                <a:solidFill>
                  <a:schemeClr val="tx2"/>
                </a:solidFill>
              </a:rPr>
              <a:t>Réaliser études, business case et plans d’actions détaillés</a:t>
            </a:r>
            <a:r>
              <a:rPr lang="fr-FR" sz="1400" dirty="0">
                <a:solidFill>
                  <a:schemeClr val="tx2"/>
                </a:solidFill>
              </a:rPr>
              <a:t> pour les 3 facteurs déterminants retenus</a:t>
            </a:r>
          </a:p>
          <a:p>
            <a:pPr marL="171450" indent="-171450">
              <a:lnSpc>
                <a:spcPct val="150000"/>
              </a:lnSpc>
              <a:spcAft>
                <a:spcPts val="600"/>
              </a:spcAft>
              <a:buFont typeface="Arial" panose="020B0604020202020204" pitchFamily="34" charset="0"/>
              <a:buChar char="•"/>
            </a:pPr>
            <a:r>
              <a:rPr lang="fr-FR" sz="1400" dirty="0">
                <a:solidFill>
                  <a:schemeClr val="tx2"/>
                </a:solidFill>
              </a:rPr>
              <a:t>Accompagner les équipes sur </a:t>
            </a:r>
            <a:r>
              <a:rPr lang="fr-FR" sz="1400" b="1" dirty="0">
                <a:solidFill>
                  <a:schemeClr val="tx2"/>
                </a:solidFill>
              </a:rPr>
              <a:t>la mise en œuvre opérationnelle du plan d’actions</a:t>
            </a:r>
            <a:r>
              <a:rPr lang="fr-FR" sz="1400" dirty="0">
                <a:solidFill>
                  <a:schemeClr val="tx2"/>
                </a:solidFill>
              </a:rPr>
              <a:t>, en particulier les actions rapides, cahiers des charges, recours à des offres 4.0, actions terrains et pragmatiques</a:t>
            </a:r>
          </a:p>
          <a:p>
            <a:pPr marL="171450" indent="-171450">
              <a:lnSpc>
                <a:spcPct val="150000"/>
              </a:lnSpc>
              <a:spcAft>
                <a:spcPts val="600"/>
              </a:spcAft>
              <a:buFont typeface="Arial" panose="020B0604020202020204" pitchFamily="34" charset="0"/>
              <a:buChar char="•"/>
            </a:pPr>
            <a:r>
              <a:rPr lang="fr-FR" sz="1400" b="1" dirty="0">
                <a:solidFill>
                  <a:schemeClr val="tx2"/>
                </a:solidFill>
              </a:rPr>
              <a:t>Assurer le pilotage et la coordination de la mise en œuvre de la feuille de route globale</a:t>
            </a:r>
            <a:r>
              <a:rPr lang="fr-FR" sz="1400" dirty="0">
                <a:solidFill>
                  <a:schemeClr val="tx2"/>
                </a:solidFill>
              </a:rPr>
              <a:t> de transformation</a:t>
            </a:r>
          </a:p>
        </p:txBody>
      </p:sp>
      <p:grpSp>
        <p:nvGrpSpPr>
          <p:cNvPr id="59" name="Graphic 115">
            <a:extLst>
              <a:ext uri="{FF2B5EF4-FFF2-40B4-BE49-F238E27FC236}">
                <a16:creationId xmlns:a16="http://schemas.microsoft.com/office/drawing/2014/main" id="{EAF2ACDD-E64D-4981-B704-1F05B52E4293}"/>
              </a:ext>
            </a:extLst>
          </p:cNvPr>
          <p:cNvGrpSpPr/>
          <p:nvPr/>
        </p:nvGrpSpPr>
        <p:grpSpPr>
          <a:xfrm>
            <a:off x="234950" y="2857368"/>
            <a:ext cx="338554" cy="321086"/>
            <a:chOff x="304172" y="4952980"/>
            <a:chExt cx="338554" cy="338554"/>
          </a:xfrm>
        </p:grpSpPr>
        <p:sp>
          <p:nvSpPr>
            <p:cNvPr id="60" name="Forme libre : forme 59">
              <a:extLst>
                <a:ext uri="{FF2B5EF4-FFF2-40B4-BE49-F238E27FC236}">
                  <a16:creationId xmlns:a16="http://schemas.microsoft.com/office/drawing/2014/main" id="{021AD371-7762-483C-AACD-73412DA4790E}"/>
                </a:ext>
              </a:extLst>
            </p:cNvPr>
            <p:cNvSpPr/>
            <p:nvPr/>
          </p:nvSpPr>
          <p:spPr>
            <a:xfrm>
              <a:off x="432540" y="4982956"/>
              <a:ext cx="180209" cy="179856"/>
            </a:xfrm>
            <a:custGeom>
              <a:avLst/>
              <a:gdLst>
                <a:gd name="connsiteX0" fmla="*/ 148470 w 180209"/>
                <a:gd name="connsiteY0" fmla="*/ 31739 h 179856"/>
                <a:gd name="connsiteX1" fmla="*/ 144943 w 180209"/>
                <a:gd name="connsiteY1" fmla="*/ 0 h 179856"/>
                <a:gd name="connsiteX2" fmla="*/ 106151 w 180209"/>
                <a:gd name="connsiteY2" fmla="*/ 38793 h 179856"/>
                <a:gd name="connsiteX3" fmla="*/ 108267 w 180209"/>
                <a:gd name="connsiteY3" fmla="*/ 57131 h 179856"/>
                <a:gd name="connsiteX4" fmla="*/ 51841 w 180209"/>
                <a:gd name="connsiteY4" fmla="*/ 113557 h 179856"/>
                <a:gd name="connsiteX5" fmla="*/ 35266 w 180209"/>
                <a:gd name="connsiteY5" fmla="*/ 109325 h 179856"/>
                <a:gd name="connsiteX6" fmla="*/ 0 w 180209"/>
                <a:gd name="connsiteY6" fmla="*/ 144591 h 179856"/>
                <a:gd name="connsiteX7" fmla="*/ 35266 w 180209"/>
                <a:gd name="connsiteY7" fmla="*/ 179857 h 179856"/>
                <a:gd name="connsiteX8" fmla="*/ 70532 w 180209"/>
                <a:gd name="connsiteY8" fmla="*/ 144591 h 179856"/>
                <a:gd name="connsiteX9" fmla="*/ 66653 w 180209"/>
                <a:gd name="connsiteY9" fmla="*/ 128368 h 179856"/>
                <a:gd name="connsiteX10" fmla="*/ 123078 w 180209"/>
                <a:gd name="connsiteY10" fmla="*/ 71943 h 179856"/>
                <a:gd name="connsiteX11" fmla="*/ 141417 w 180209"/>
                <a:gd name="connsiteY11" fmla="*/ 74059 h 179856"/>
                <a:gd name="connsiteX12" fmla="*/ 180209 w 180209"/>
                <a:gd name="connsiteY12" fmla="*/ 35266 h 179856"/>
                <a:gd name="connsiteX13" fmla="*/ 148470 w 180209"/>
                <a:gd name="connsiteY13" fmla="*/ 31739 h 17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0209" h="179856">
                  <a:moveTo>
                    <a:pt x="148470" y="31739"/>
                  </a:moveTo>
                  <a:lnTo>
                    <a:pt x="144943" y="0"/>
                  </a:lnTo>
                  <a:lnTo>
                    <a:pt x="106151" y="38793"/>
                  </a:lnTo>
                  <a:lnTo>
                    <a:pt x="108267" y="57131"/>
                  </a:lnTo>
                  <a:lnTo>
                    <a:pt x="51841" y="113557"/>
                  </a:lnTo>
                  <a:cubicBezTo>
                    <a:pt x="46904" y="111088"/>
                    <a:pt x="41261" y="109325"/>
                    <a:pt x="35266" y="109325"/>
                  </a:cubicBezTo>
                  <a:cubicBezTo>
                    <a:pt x="15870" y="109325"/>
                    <a:pt x="0" y="125194"/>
                    <a:pt x="0" y="144591"/>
                  </a:cubicBezTo>
                  <a:cubicBezTo>
                    <a:pt x="0" y="163987"/>
                    <a:pt x="15870" y="179857"/>
                    <a:pt x="35266" y="179857"/>
                  </a:cubicBezTo>
                  <a:cubicBezTo>
                    <a:pt x="54662" y="179857"/>
                    <a:pt x="70532" y="163987"/>
                    <a:pt x="70532" y="144591"/>
                  </a:cubicBezTo>
                  <a:cubicBezTo>
                    <a:pt x="70532" y="138596"/>
                    <a:pt x="69121" y="133306"/>
                    <a:pt x="66653" y="128368"/>
                  </a:cubicBezTo>
                  <a:lnTo>
                    <a:pt x="123078" y="71943"/>
                  </a:lnTo>
                  <a:lnTo>
                    <a:pt x="141417" y="74059"/>
                  </a:lnTo>
                  <a:lnTo>
                    <a:pt x="180209" y="35266"/>
                  </a:lnTo>
                  <a:lnTo>
                    <a:pt x="148470" y="31739"/>
                  </a:lnTo>
                  <a:close/>
                </a:path>
              </a:pathLst>
            </a:custGeom>
            <a:solidFill>
              <a:schemeClr val="tx2"/>
            </a:solidFill>
            <a:ln w="3473" cap="flat">
              <a:noFill/>
              <a:prstDash val="solid"/>
              <a:miter/>
            </a:ln>
          </p:spPr>
          <p:txBody>
            <a:bodyPr rtlCol="0" anchor="ctr"/>
            <a:lstStyle/>
            <a:p>
              <a:endParaRPr lang="en-US"/>
            </a:p>
          </p:txBody>
        </p:sp>
        <p:sp>
          <p:nvSpPr>
            <p:cNvPr id="61" name="Forme libre : forme 60">
              <a:extLst>
                <a:ext uri="{FF2B5EF4-FFF2-40B4-BE49-F238E27FC236}">
                  <a16:creationId xmlns:a16="http://schemas.microsoft.com/office/drawing/2014/main" id="{96795860-7FD8-4F4A-8274-AE2658BA6577}"/>
                </a:ext>
              </a:extLst>
            </p:cNvPr>
            <p:cNvSpPr/>
            <p:nvPr/>
          </p:nvSpPr>
          <p:spPr>
            <a:xfrm>
              <a:off x="334148" y="4993535"/>
              <a:ext cx="268021" cy="268021"/>
            </a:xfrm>
            <a:custGeom>
              <a:avLst/>
              <a:gdLst>
                <a:gd name="connsiteX0" fmla="*/ 249684 w 268021"/>
                <a:gd name="connsiteY0" fmla="*/ 73353 h 268021"/>
                <a:gd name="connsiteX1" fmla="*/ 245099 w 268021"/>
                <a:gd name="connsiteY1" fmla="*/ 78291 h 268021"/>
                <a:gd name="connsiteX2" fmla="*/ 238398 w 268021"/>
                <a:gd name="connsiteY2" fmla="*/ 77585 h 268021"/>
                <a:gd name="connsiteX3" fmla="*/ 230993 w 268021"/>
                <a:gd name="connsiteY3" fmla="*/ 76527 h 268021"/>
                <a:gd name="connsiteX4" fmla="*/ 246862 w 268021"/>
                <a:gd name="connsiteY4" fmla="*/ 134011 h 268021"/>
                <a:gd name="connsiteX5" fmla="*/ 134011 w 268021"/>
                <a:gd name="connsiteY5" fmla="*/ 246862 h 268021"/>
                <a:gd name="connsiteX6" fmla="*/ 21160 w 268021"/>
                <a:gd name="connsiteY6" fmla="*/ 134011 h 268021"/>
                <a:gd name="connsiteX7" fmla="*/ 134011 w 268021"/>
                <a:gd name="connsiteY7" fmla="*/ 21160 h 268021"/>
                <a:gd name="connsiteX8" fmla="*/ 191495 w 268021"/>
                <a:gd name="connsiteY8" fmla="*/ 37029 h 268021"/>
                <a:gd name="connsiteX9" fmla="*/ 190789 w 268021"/>
                <a:gd name="connsiteY9" fmla="*/ 29976 h 268021"/>
                <a:gd name="connsiteX10" fmla="*/ 189731 w 268021"/>
                <a:gd name="connsiteY10" fmla="*/ 22923 h 268021"/>
                <a:gd name="connsiteX11" fmla="*/ 194669 w 268021"/>
                <a:gd name="connsiteY11" fmla="*/ 17986 h 268021"/>
                <a:gd name="connsiteX12" fmla="*/ 197137 w 268021"/>
                <a:gd name="connsiteY12" fmla="*/ 15517 h 268021"/>
                <a:gd name="connsiteX13" fmla="*/ 134011 w 268021"/>
                <a:gd name="connsiteY13" fmla="*/ 0 h 268021"/>
                <a:gd name="connsiteX14" fmla="*/ 0 w 268021"/>
                <a:gd name="connsiteY14" fmla="*/ 134011 h 268021"/>
                <a:gd name="connsiteX15" fmla="*/ 134011 w 268021"/>
                <a:gd name="connsiteY15" fmla="*/ 268022 h 268021"/>
                <a:gd name="connsiteX16" fmla="*/ 268022 w 268021"/>
                <a:gd name="connsiteY16" fmla="*/ 134011 h 268021"/>
                <a:gd name="connsiteX17" fmla="*/ 252152 w 268021"/>
                <a:gd name="connsiteY17" fmla="*/ 71237 h 268021"/>
                <a:gd name="connsiteX18" fmla="*/ 249684 w 268021"/>
                <a:gd name="connsiteY18" fmla="*/ 73353 h 268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8021" h="268021">
                  <a:moveTo>
                    <a:pt x="249684" y="73353"/>
                  </a:moveTo>
                  <a:lnTo>
                    <a:pt x="245099" y="78291"/>
                  </a:lnTo>
                  <a:lnTo>
                    <a:pt x="238398" y="77585"/>
                  </a:lnTo>
                  <a:lnTo>
                    <a:pt x="230993" y="76527"/>
                  </a:lnTo>
                  <a:cubicBezTo>
                    <a:pt x="240867" y="93455"/>
                    <a:pt x="246862" y="112851"/>
                    <a:pt x="246862" y="134011"/>
                  </a:cubicBezTo>
                  <a:cubicBezTo>
                    <a:pt x="246862" y="196079"/>
                    <a:pt x="196079" y="246862"/>
                    <a:pt x="134011" y="246862"/>
                  </a:cubicBezTo>
                  <a:cubicBezTo>
                    <a:pt x="71943" y="246862"/>
                    <a:pt x="21160" y="196079"/>
                    <a:pt x="21160" y="134011"/>
                  </a:cubicBezTo>
                  <a:cubicBezTo>
                    <a:pt x="21160" y="71943"/>
                    <a:pt x="71943" y="21160"/>
                    <a:pt x="134011" y="21160"/>
                  </a:cubicBezTo>
                  <a:cubicBezTo>
                    <a:pt x="154818" y="21160"/>
                    <a:pt x="174567" y="26802"/>
                    <a:pt x="191495" y="37029"/>
                  </a:cubicBezTo>
                  <a:lnTo>
                    <a:pt x="190789" y="29976"/>
                  </a:lnTo>
                  <a:lnTo>
                    <a:pt x="189731" y="22923"/>
                  </a:lnTo>
                  <a:lnTo>
                    <a:pt x="194669" y="17986"/>
                  </a:lnTo>
                  <a:lnTo>
                    <a:pt x="197137" y="15517"/>
                  </a:lnTo>
                  <a:cubicBezTo>
                    <a:pt x="178094" y="5643"/>
                    <a:pt x="156934" y="0"/>
                    <a:pt x="134011" y="0"/>
                  </a:cubicBezTo>
                  <a:cubicBezTo>
                    <a:pt x="59952" y="0"/>
                    <a:pt x="0" y="59952"/>
                    <a:pt x="0" y="134011"/>
                  </a:cubicBezTo>
                  <a:cubicBezTo>
                    <a:pt x="0" y="208070"/>
                    <a:pt x="59952" y="268022"/>
                    <a:pt x="134011" y="268022"/>
                  </a:cubicBezTo>
                  <a:cubicBezTo>
                    <a:pt x="208070" y="268022"/>
                    <a:pt x="268022" y="208070"/>
                    <a:pt x="268022" y="134011"/>
                  </a:cubicBezTo>
                  <a:cubicBezTo>
                    <a:pt x="268022" y="111088"/>
                    <a:pt x="262379" y="89928"/>
                    <a:pt x="252152" y="71237"/>
                  </a:cubicBezTo>
                  <a:lnTo>
                    <a:pt x="249684" y="73353"/>
                  </a:lnTo>
                  <a:close/>
                </a:path>
              </a:pathLst>
            </a:custGeom>
            <a:solidFill>
              <a:schemeClr val="tx2"/>
            </a:solidFill>
            <a:ln w="3473" cap="flat">
              <a:noFill/>
              <a:prstDash val="solid"/>
              <a:miter/>
            </a:ln>
          </p:spPr>
          <p:txBody>
            <a:bodyPr rtlCol="0" anchor="ctr"/>
            <a:lstStyle/>
            <a:p>
              <a:endParaRPr lang="en-US"/>
            </a:p>
          </p:txBody>
        </p:sp>
        <p:sp>
          <p:nvSpPr>
            <p:cNvPr id="62" name="Forme libre : forme 61">
              <a:extLst>
                <a:ext uri="{FF2B5EF4-FFF2-40B4-BE49-F238E27FC236}">
                  <a16:creationId xmlns:a16="http://schemas.microsoft.com/office/drawing/2014/main" id="{295F210C-2676-40E5-B376-78D8521FF617}"/>
                </a:ext>
              </a:extLst>
            </p:cNvPr>
            <p:cNvSpPr/>
            <p:nvPr/>
          </p:nvSpPr>
          <p:spPr>
            <a:xfrm>
              <a:off x="383520" y="5042908"/>
              <a:ext cx="169277" cy="169277"/>
            </a:xfrm>
            <a:custGeom>
              <a:avLst/>
              <a:gdLst>
                <a:gd name="connsiteX0" fmla="*/ 143533 w 169277"/>
                <a:gd name="connsiteY0" fmla="*/ 60658 h 169277"/>
                <a:gd name="connsiteX1" fmla="*/ 148117 w 169277"/>
                <a:gd name="connsiteY1" fmla="*/ 84639 h 169277"/>
                <a:gd name="connsiteX2" fmla="*/ 84639 w 169277"/>
                <a:gd name="connsiteY2" fmla="*/ 148117 h 169277"/>
                <a:gd name="connsiteX3" fmla="*/ 21160 w 169277"/>
                <a:gd name="connsiteY3" fmla="*/ 84639 h 169277"/>
                <a:gd name="connsiteX4" fmla="*/ 84639 w 169277"/>
                <a:gd name="connsiteY4" fmla="*/ 21160 h 169277"/>
                <a:gd name="connsiteX5" fmla="*/ 108619 w 169277"/>
                <a:gd name="connsiteY5" fmla="*/ 25744 h 169277"/>
                <a:gd name="connsiteX6" fmla="*/ 124489 w 169277"/>
                <a:gd name="connsiteY6" fmla="*/ 9874 h 169277"/>
                <a:gd name="connsiteX7" fmla="*/ 84639 w 169277"/>
                <a:gd name="connsiteY7" fmla="*/ 0 h 169277"/>
                <a:gd name="connsiteX8" fmla="*/ 0 w 169277"/>
                <a:gd name="connsiteY8" fmla="*/ 84639 h 169277"/>
                <a:gd name="connsiteX9" fmla="*/ 84639 w 169277"/>
                <a:gd name="connsiteY9" fmla="*/ 169277 h 169277"/>
                <a:gd name="connsiteX10" fmla="*/ 169277 w 169277"/>
                <a:gd name="connsiteY10" fmla="*/ 84639 h 169277"/>
                <a:gd name="connsiteX11" fmla="*/ 159403 w 169277"/>
                <a:gd name="connsiteY11" fmla="*/ 44788 h 169277"/>
                <a:gd name="connsiteX12" fmla="*/ 143533 w 169277"/>
                <a:gd name="connsiteY12" fmla="*/ 60658 h 169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277" h="169277">
                  <a:moveTo>
                    <a:pt x="143533" y="60658"/>
                  </a:moveTo>
                  <a:cubicBezTo>
                    <a:pt x="146707" y="68063"/>
                    <a:pt x="148117" y="76175"/>
                    <a:pt x="148117" y="84639"/>
                  </a:cubicBezTo>
                  <a:cubicBezTo>
                    <a:pt x="148117" y="119552"/>
                    <a:pt x="119552" y="148117"/>
                    <a:pt x="84639" y="148117"/>
                  </a:cubicBezTo>
                  <a:cubicBezTo>
                    <a:pt x="49725" y="148117"/>
                    <a:pt x="21160" y="119552"/>
                    <a:pt x="21160" y="84639"/>
                  </a:cubicBezTo>
                  <a:cubicBezTo>
                    <a:pt x="21160" y="49725"/>
                    <a:pt x="49725" y="21160"/>
                    <a:pt x="84639" y="21160"/>
                  </a:cubicBezTo>
                  <a:cubicBezTo>
                    <a:pt x="93102" y="21160"/>
                    <a:pt x="101214" y="22923"/>
                    <a:pt x="108619" y="25744"/>
                  </a:cubicBezTo>
                  <a:lnTo>
                    <a:pt x="124489" y="9874"/>
                  </a:lnTo>
                  <a:cubicBezTo>
                    <a:pt x="112499" y="3527"/>
                    <a:pt x="99098" y="0"/>
                    <a:pt x="84639" y="0"/>
                  </a:cubicBezTo>
                  <a:cubicBezTo>
                    <a:pt x="38087" y="0"/>
                    <a:pt x="0" y="38087"/>
                    <a:pt x="0" y="84639"/>
                  </a:cubicBezTo>
                  <a:cubicBezTo>
                    <a:pt x="0" y="131190"/>
                    <a:pt x="38087" y="169277"/>
                    <a:pt x="84639" y="169277"/>
                  </a:cubicBezTo>
                  <a:cubicBezTo>
                    <a:pt x="131190" y="169277"/>
                    <a:pt x="169277" y="131190"/>
                    <a:pt x="169277" y="84639"/>
                  </a:cubicBezTo>
                  <a:cubicBezTo>
                    <a:pt x="169277" y="70179"/>
                    <a:pt x="165750" y="56778"/>
                    <a:pt x="159403" y="44788"/>
                  </a:cubicBezTo>
                  <a:lnTo>
                    <a:pt x="143533" y="60658"/>
                  </a:lnTo>
                  <a:close/>
                </a:path>
              </a:pathLst>
            </a:custGeom>
            <a:solidFill>
              <a:schemeClr val="tx2"/>
            </a:solidFill>
            <a:ln w="3473" cap="flat">
              <a:noFill/>
              <a:prstDash val="solid"/>
              <a:miter/>
            </a:ln>
          </p:spPr>
          <p:txBody>
            <a:bodyPr rtlCol="0" anchor="ctr"/>
            <a:lstStyle/>
            <a:p>
              <a:endParaRPr lang="en-US"/>
            </a:p>
          </p:txBody>
        </p:sp>
      </p:grpSp>
      <p:sp>
        <p:nvSpPr>
          <p:cNvPr id="5" name="Espace réservé du texte 4">
            <a:extLst>
              <a:ext uri="{FF2B5EF4-FFF2-40B4-BE49-F238E27FC236}">
                <a16:creationId xmlns:a16="http://schemas.microsoft.com/office/drawing/2014/main" id="{29EC1EB9-2896-4699-A803-B43880B492D7}"/>
              </a:ext>
            </a:extLst>
          </p:cNvPr>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12973070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B9441C60-5C4D-4047-88D1-5A38EF7CC617}"/>
              </a:ext>
            </a:extLst>
          </p:cNvPr>
          <p:cNvGraphicFramePr>
            <a:graphicFrameLocks noChangeAspect="1"/>
          </p:cNvGraphicFramePr>
          <p:nvPr>
            <p:custDataLst>
              <p:tags r:id="rId2"/>
            </p:custDataLst>
            <p:extLst>
              <p:ext uri="{D42A27DB-BD31-4B8C-83A1-F6EECF244321}">
                <p14:modId xmlns:p14="http://schemas.microsoft.com/office/powerpoint/2010/main" val="22001973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76" name="Diapositive think-cell" r:id="rId8" imgW="473" imgH="470" progId="TCLayout.ActiveDocument.1">
                  <p:embed/>
                </p:oleObj>
              </mc:Choice>
              <mc:Fallback>
                <p:oleObj name="Diapositive think-cell" r:id="rId8" imgW="473" imgH="470" progId="TCLayout.ActiveDocument.1">
                  <p:embed/>
                  <p:pic>
                    <p:nvPicPr>
                      <p:cNvPr id="6" name="Objet 5" hidden="1">
                        <a:extLst>
                          <a:ext uri="{FF2B5EF4-FFF2-40B4-BE49-F238E27FC236}">
                            <a16:creationId xmlns:a16="http://schemas.microsoft.com/office/drawing/2014/main" id="{B9441C60-5C4D-4047-88D1-5A38EF7CC61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B6D676D-3C57-4EA2-AD22-6FFC826249C3}"/>
              </a:ext>
            </a:extLst>
          </p:cNvPr>
          <p:cNvSpPr/>
          <p:nvPr>
            <p:custDataLst>
              <p:tags r:id="rId3"/>
            </p:custDataLst>
          </p:nvPr>
        </p:nvSpPr>
        <p:spPr>
          <a:xfrm>
            <a:off x="0" y="0"/>
            <a:ext cx="158750" cy="158750"/>
          </a:xfrm>
          <a:prstGeom prst="rect">
            <a:avLst/>
          </a:prstGeom>
          <a:solidFill>
            <a:schemeClr val="tx2"/>
          </a:solidFill>
        </p:spPr>
        <p:txBody>
          <a:bodyPr wrap="none" lIns="0" tIns="0" rIns="0" bIns="0" numCol="1" spcCol="0" rtlCol="0" anchor="ctr" anchorCtr="0">
            <a:noAutofit/>
          </a:bodyPr>
          <a:lstStyle/>
          <a:p>
            <a:pPr algn="ctr"/>
            <a:endParaRPr lang="fr-FR" sz="1600" b="1" dirty="0" err="1">
              <a:solidFill>
                <a:schemeClr val="bg1"/>
              </a:solidFill>
              <a:latin typeface="Calibri" panose="020F0502020204030204" pitchFamily="34" charset="0"/>
              <a:cs typeface="Arial" panose="020B0604020202020204" pitchFamily="34" charset="0"/>
              <a:sym typeface="Calibri" panose="020F0502020204030204" pitchFamily="34" charset="0"/>
            </a:endParaRPr>
          </a:p>
        </p:txBody>
      </p:sp>
      <p:sp>
        <p:nvSpPr>
          <p:cNvPr id="7" name="Text Placeholder 6">
            <a:hlinkClick r:id="rId10" action="ppaction://hlinksldjump"/>
            <a:extLst>
              <a:ext uri="{FF2B5EF4-FFF2-40B4-BE49-F238E27FC236}">
                <a16:creationId xmlns:a16="http://schemas.microsoft.com/office/drawing/2014/main" id="{74140380-610D-4A4D-9B9B-305807A60C88}"/>
              </a:ext>
            </a:extLst>
          </p:cNvPr>
          <p:cNvSpPr>
            <a:spLocks noGrp="1"/>
          </p:cNvSpPr>
          <p:nvPr>
            <p:custDataLst>
              <p:tags r:id="rId4"/>
            </p:custDataLst>
          </p:nvPr>
        </p:nvSpPr>
        <p:spPr bwMode="gray">
          <a:xfrm>
            <a:off x="5908675" y="2489200"/>
            <a:ext cx="3270250" cy="406400"/>
          </a:xfrm>
          <a:prstGeom prst="rect">
            <a:avLst/>
          </a:prstGeom>
          <a:solidFill>
            <a:schemeClr val="bg2"/>
          </a:solidFill>
          <a:ln w="38100" algn="ctr">
            <a:solidFill>
              <a:schemeClr val="bg1"/>
            </a:solidFill>
          </a:ln>
        </p:spPr>
        <p:txBody>
          <a:bodyPr vert="horz" wrap="none" lIns="80963" tIns="80963" rIns="0" bIns="80963" numCol="1" spcCol="0" rtlCol="0" anchor="ctr" anchorCtr="0">
            <a:noAutofit/>
          </a:bodyPr>
          <a:lstStyle>
            <a:lvl1pPr marL="362016" indent="-226260" eaLnBrk="1" hangingPunct="1">
              <a:spcBef>
                <a:spcPts val="754"/>
              </a:spcBef>
              <a:spcAft>
                <a:spcPts val="0"/>
              </a:spcAft>
              <a:buFont typeface="Wingdings" pitchFamily="2" charset="2"/>
              <a:buChar char="§"/>
              <a:defRPr lang="en-US" sz="1600" b="0" kern="1200" cap="none" spc="0" baseline="0" dirty="0" smtClean="0">
                <a:solidFill>
                  <a:schemeClr val="tx1"/>
                </a:solidFill>
                <a:latin typeface="+mn-lt"/>
                <a:ea typeface="+mn-ea"/>
                <a:cs typeface="Arial" pitchFamily="34" charset="0"/>
              </a:defRPr>
            </a:lvl1pPr>
            <a:lvl2pPr marL="497772" indent="-226260" eaLnBrk="1" hangingPunct="1">
              <a:spcBef>
                <a:spcPts val="754"/>
              </a:spcBef>
              <a:spcAft>
                <a:spcPts val="0"/>
              </a:spcAft>
              <a:buFont typeface="Webdings" pitchFamily="18" charset="2"/>
              <a:buChar char="4"/>
              <a:defRPr sz="1600" b="0" kern="1200" spc="0" baseline="0">
                <a:solidFill>
                  <a:schemeClr val="tx1"/>
                </a:solidFill>
                <a:latin typeface="+mn-lt"/>
                <a:ea typeface="+mn-ea"/>
                <a:cs typeface="Arial" pitchFamily="34" charset="0"/>
              </a:defRPr>
            </a:lvl2pPr>
            <a:lvl3pPr marL="814536" indent="-226260" eaLnBrk="1" hangingPunct="1">
              <a:spcBef>
                <a:spcPts val="754"/>
              </a:spcBef>
              <a:spcAft>
                <a:spcPts val="0"/>
              </a:spcAft>
              <a:buFont typeface="Calibri" pitchFamily="34" charset="0"/>
              <a:buChar char="̶"/>
              <a:defRPr sz="1600" b="0" kern="1200" spc="0">
                <a:solidFill>
                  <a:schemeClr val="tx1"/>
                </a:solidFill>
                <a:latin typeface="+mn-lt"/>
                <a:ea typeface="+mn-ea"/>
                <a:cs typeface="Arial" pitchFamily="34" charset="0"/>
              </a:defRPr>
            </a:lvl3pPr>
            <a:lvl4pPr marL="1040796" indent="-226260" eaLnBrk="1" hangingPunct="1">
              <a:spcBef>
                <a:spcPts val="754"/>
              </a:spcBef>
              <a:spcAft>
                <a:spcPts val="0"/>
              </a:spcAft>
              <a:buSzPct val="80000"/>
              <a:buFont typeface="Calibri" pitchFamily="34" charset="0"/>
              <a:buChar char="•"/>
              <a:defRPr sz="1600" b="0" i="0" kern="1200" spc="0" baseline="0">
                <a:solidFill>
                  <a:schemeClr val="tx1"/>
                </a:solidFill>
                <a:latin typeface="+mn-lt"/>
                <a:ea typeface="+mn-ea"/>
                <a:cs typeface="+mn-cs"/>
              </a:defRPr>
            </a:lvl4pPr>
            <a:lvl5pPr marL="1267056" indent="-226260" eaLnBrk="1" hangingPunct="1">
              <a:spcBef>
                <a:spcPts val="754"/>
              </a:spcBef>
              <a:spcAft>
                <a:spcPts val="0"/>
              </a:spcAft>
              <a:buSzPct val="65000"/>
              <a:buFont typeface="Wingdings" pitchFamily="2" charset="2"/>
              <a:buChar char="w"/>
              <a:defRPr sz="1600" b="0" i="0" kern="1200" spc="0" baseline="0">
                <a:solidFill>
                  <a:schemeClr val="tx1"/>
                </a:solidFill>
                <a:latin typeface="+mn-lt"/>
                <a:ea typeface="+mn-ea"/>
                <a:cs typeface="+mn-cs"/>
              </a:defRPr>
            </a:lvl5pPr>
            <a:lvl6pPr marL="1706389" indent="-310253" eaLnBrk="1" hangingPunct="1">
              <a:spcBef>
                <a:spcPts val="754"/>
              </a:spcBef>
              <a:spcAft>
                <a:spcPts val="0"/>
              </a:spcAft>
              <a:buSzPct val="65000"/>
              <a:buFont typeface="Wingdings" pitchFamily="2" charset="2"/>
              <a:buChar char="w"/>
              <a:defRPr sz="1600" b="0" i="0" kern="1200" spc="0" baseline="0">
                <a:solidFill>
                  <a:schemeClr val="tx1"/>
                </a:solidFill>
                <a:latin typeface="+mn-lt"/>
                <a:ea typeface="+mn-ea"/>
                <a:cs typeface="+mn-cs"/>
              </a:defRPr>
            </a:lvl6pPr>
            <a:lvl7pPr marL="2480164" eaLnBrk="1" hangingPunct="1">
              <a:defRPr sz="1600">
                <a:latin typeface="+mn-lt"/>
                <a:ea typeface="+mn-ea"/>
                <a:cs typeface="+mn-cs"/>
              </a:defRPr>
            </a:lvl7pPr>
            <a:lvl8pPr marL="2893529" eaLnBrk="1" hangingPunct="1">
              <a:defRPr>
                <a:latin typeface="+mn-lt"/>
                <a:ea typeface="+mn-ea"/>
                <a:cs typeface="+mn-cs"/>
              </a:defRPr>
            </a:lvl8pPr>
            <a:lvl9pPr marL="3306888" eaLnBrk="1" hangingPunct="1">
              <a:defRPr>
                <a:latin typeface="+mn-lt"/>
                <a:ea typeface="+mn-ea"/>
                <a:cs typeface="+mn-cs"/>
              </a:defRPr>
            </a:lvl9pPr>
          </a:lstStyle>
          <a:p>
            <a:pPr marL="227013">
              <a:spcBef>
                <a:spcPct val="0"/>
              </a:spcBef>
              <a:spcAft>
                <a:spcPct val="0"/>
              </a:spcAft>
            </a:pPr>
            <a:r>
              <a:rPr lang="fr-FR" altLang="en-US" dirty="0"/>
              <a:t>Présentation du dispositif</a:t>
            </a:r>
            <a:endParaRPr lang="fr-FR" noProof="0" dirty="0"/>
          </a:p>
        </p:txBody>
      </p:sp>
      <p:sp>
        <p:nvSpPr>
          <p:cNvPr id="8" name="Text Placeholder 6">
            <a:hlinkClick r:id="rId11" action="ppaction://hlinksldjump"/>
            <a:extLst>
              <a:ext uri="{FF2B5EF4-FFF2-40B4-BE49-F238E27FC236}">
                <a16:creationId xmlns:a16="http://schemas.microsoft.com/office/drawing/2014/main" id="{C957C693-BA3A-4D2A-A283-A5466D97689A}"/>
              </a:ext>
            </a:extLst>
          </p:cNvPr>
          <p:cNvSpPr>
            <a:spLocks noGrp="1"/>
          </p:cNvSpPr>
          <p:nvPr>
            <p:custDataLst>
              <p:tags r:id="rId5"/>
            </p:custDataLst>
          </p:nvPr>
        </p:nvSpPr>
        <p:spPr bwMode="gray">
          <a:xfrm>
            <a:off x="5908675" y="2895600"/>
            <a:ext cx="3270250" cy="407988"/>
          </a:xfrm>
          <a:prstGeom prst="rect">
            <a:avLst/>
          </a:prstGeom>
          <a:solidFill>
            <a:schemeClr val="bg2"/>
          </a:solidFill>
          <a:ln w="38100" algn="ctr">
            <a:solidFill>
              <a:schemeClr val="bg1"/>
            </a:solidFill>
          </a:ln>
        </p:spPr>
        <p:txBody>
          <a:bodyPr vert="horz" wrap="none" lIns="80963" tIns="82550" rIns="0" bIns="80963" numCol="1" spcCol="0" rtlCol="0" anchor="ctr" anchorCtr="0">
            <a:noAutofit/>
          </a:bodyPr>
          <a:lstStyle>
            <a:lvl1pPr marL="362016" indent="-226260" eaLnBrk="1" hangingPunct="1">
              <a:spcBef>
                <a:spcPts val="754"/>
              </a:spcBef>
              <a:spcAft>
                <a:spcPts val="0"/>
              </a:spcAft>
              <a:buFont typeface="Wingdings" pitchFamily="2" charset="2"/>
              <a:buChar char="§"/>
              <a:defRPr lang="en-US" sz="1600" b="0" kern="1200" cap="none" spc="0" baseline="0" dirty="0" smtClean="0">
                <a:solidFill>
                  <a:schemeClr val="tx1"/>
                </a:solidFill>
                <a:latin typeface="+mn-lt"/>
                <a:ea typeface="+mn-ea"/>
                <a:cs typeface="Arial" pitchFamily="34" charset="0"/>
              </a:defRPr>
            </a:lvl1pPr>
            <a:lvl2pPr marL="497772" indent="-226260" eaLnBrk="1" hangingPunct="1">
              <a:spcBef>
                <a:spcPts val="754"/>
              </a:spcBef>
              <a:spcAft>
                <a:spcPts val="0"/>
              </a:spcAft>
              <a:buFont typeface="Webdings" pitchFamily="18" charset="2"/>
              <a:buChar char="4"/>
              <a:defRPr sz="1600" b="0" kern="1200" spc="0" baseline="0">
                <a:solidFill>
                  <a:schemeClr val="tx1"/>
                </a:solidFill>
                <a:latin typeface="+mn-lt"/>
                <a:ea typeface="+mn-ea"/>
                <a:cs typeface="Arial" pitchFamily="34" charset="0"/>
              </a:defRPr>
            </a:lvl2pPr>
            <a:lvl3pPr marL="814536" indent="-226260" eaLnBrk="1" hangingPunct="1">
              <a:spcBef>
                <a:spcPts val="754"/>
              </a:spcBef>
              <a:spcAft>
                <a:spcPts val="0"/>
              </a:spcAft>
              <a:buFont typeface="Calibri" pitchFamily="34" charset="0"/>
              <a:buChar char="̶"/>
              <a:defRPr sz="1600" b="0" kern="1200" spc="0">
                <a:solidFill>
                  <a:schemeClr val="tx1"/>
                </a:solidFill>
                <a:latin typeface="+mn-lt"/>
                <a:ea typeface="+mn-ea"/>
                <a:cs typeface="Arial" pitchFamily="34" charset="0"/>
              </a:defRPr>
            </a:lvl3pPr>
            <a:lvl4pPr marL="1040796" indent="-226260" eaLnBrk="1" hangingPunct="1">
              <a:spcBef>
                <a:spcPts val="754"/>
              </a:spcBef>
              <a:spcAft>
                <a:spcPts val="0"/>
              </a:spcAft>
              <a:buSzPct val="80000"/>
              <a:buFont typeface="Calibri" pitchFamily="34" charset="0"/>
              <a:buChar char="•"/>
              <a:defRPr sz="1600" b="0" i="0" kern="1200" spc="0" baseline="0">
                <a:solidFill>
                  <a:schemeClr val="tx1"/>
                </a:solidFill>
                <a:latin typeface="+mn-lt"/>
                <a:ea typeface="+mn-ea"/>
                <a:cs typeface="+mn-cs"/>
              </a:defRPr>
            </a:lvl4pPr>
            <a:lvl5pPr marL="1267056" indent="-226260" eaLnBrk="1" hangingPunct="1">
              <a:spcBef>
                <a:spcPts val="754"/>
              </a:spcBef>
              <a:spcAft>
                <a:spcPts val="0"/>
              </a:spcAft>
              <a:buSzPct val="65000"/>
              <a:buFont typeface="Wingdings" pitchFamily="2" charset="2"/>
              <a:buChar char="w"/>
              <a:defRPr sz="1600" b="0" i="0" kern="1200" spc="0" baseline="0">
                <a:solidFill>
                  <a:schemeClr val="tx1"/>
                </a:solidFill>
                <a:latin typeface="+mn-lt"/>
                <a:ea typeface="+mn-ea"/>
                <a:cs typeface="+mn-cs"/>
              </a:defRPr>
            </a:lvl5pPr>
            <a:lvl6pPr marL="1706389" indent="-310253" eaLnBrk="1" hangingPunct="1">
              <a:spcBef>
                <a:spcPts val="754"/>
              </a:spcBef>
              <a:spcAft>
                <a:spcPts val="0"/>
              </a:spcAft>
              <a:buSzPct val="65000"/>
              <a:buFont typeface="Wingdings" pitchFamily="2" charset="2"/>
              <a:buChar char="w"/>
              <a:defRPr sz="1600" b="0" i="0" kern="1200" spc="0" baseline="0">
                <a:solidFill>
                  <a:schemeClr val="tx1"/>
                </a:solidFill>
                <a:latin typeface="+mn-lt"/>
                <a:ea typeface="+mn-ea"/>
                <a:cs typeface="+mn-cs"/>
              </a:defRPr>
            </a:lvl6pPr>
            <a:lvl7pPr marL="2480164" eaLnBrk="1" hangingPunct="1">
              <a:defRPr sz="1600">
                <a:latin typeface="+mn-lt"/>
                <a:ea typeface="+mn-ea"/>
                <a:cs typeface="+mn-cs"/>
              </a:defRPr>
            </a:lvl7pPr>
            <a:lvl8pPr marL="2893529" eaLnBrk="1" hangingPunct="1">
              <a:defRPr>
                <a:latin typeface="+mn-lt"/>
                <a:ea typeface="+mn-ea"/>
                <a:cs typeface="+mn-cs"/>
              </a:defRPr>
            </a:lvl8pPr>
            <a:lvl9pPr marL="3306888" eaLnBrk="1" hangingPunct="1">
              <a:defRPr>
                <a:latin typeface="+mn-lt"/>
                <a:ea typeface="+mn-ea"/>
                <a:cs typeface="+mn-cs"/>
              </a:defRPr>
            </a:lvl9pPr>
          </a:lstStyle>
          <a:p>
            <a:pPr marL="227013">
              <a:spcBef>
                <a:spcPct val="0"/>
              </a:spcBef>
              <a:spcAft>
                <a:spcPct val="0"/>
              </a:spcAft>
            </a:pPr>
            <a:r>
              <a:rPr lang="fr-FR" altLang="en-US" dirty="0"/>
              <a:t>Notre approche</a:t>
            </a:r>
            <a:endParaRPr lang="fr-FR" noProof="0" dirty="0"/>
          </a:p>
        </p:txBody>
      </p:sp>
      <p:sp>
        <p:nvSpPr>
          <p:cNvPr id="4" name="Text Placeholder 6">
            <a:extLst>
              <a:ext uri="{FF2B5EF4-FFF2-40B4-BE49-F238E27FC236}">
                <a16:creationId xmlns:a16="http://schemas.microsoft.com/office/drawing/2014/main" id="{A3DE4CA7-26D7-4637-80B0-9DCEDEDEA692}"/>
              </a:ext>
            </a:extLst>
          </p:cNvPr>
          <p:cNvSpPr>
            <a:spLocks noGrp="1"/>
          </p:cNvSpPr>
          <p:nvPr>
            <p:custDataLst>
              <p:tags r:id="rId6"/>
            </p:custDataLst>
          </p:nvPr>
        </p:nvSpPr>
        <p:spPr bwMode="gray">
          <a:xfrm>
            <a:off x="5908674" y="3303588"/>
            <a:ext cx="3270250" cy="406400"/>
          </a:xfrm>
          <a:prstGeom prst="rect">
            <a:avLst/>
          </a:prstGeom>
          <a:solidFill>
            <a:schemeClr val="accent1"/>
          </a:solidFill>
          <a:ln w="38100" algn="ctr">
            <a:solidFill>
              <a:schemeClr val="bg1"/>
            </a:solidFill>
          </a:ln>
        </p:spPr>
        <p:txBody>
          <a:bodyPr vert="horz" wrap="none" lIns="80963" tIns="80963" rIns="0" bIns="80963" numCol="1" spcCol="0" rtlCol="0" anchor="ctr" anchorCtr="0">
            <a:noAutofit/>
          </a:bodyPr>
          <a:lstStyle>
            <a:lvl1pPr marL="362016" indent="-226260" eaLnBrk="1" hangingPunct="1">
              <a:spcBef>
                <a:spcPts val="754"/>
              </a:spcBef>
              <a:spcAft>
                <a:spcPts val="0"/>
              </a:spcAft>
              <a:buFont typeface="Wingdings" pitchFamily="2" charset="2"/>
              <a:buChar char="§"/>
              <a:defRPr lang="en-US" sz="1600" b="0" kern="1200" cap="none" spc="0" baseline="0" dirty="0" smtClean="0">
                <a:solidFill>
                  <a:schemeClr val="tx1"/>
                </a:solidFill>
                <a:latin typeface="+mn-lt"/>
                <a:ea typeface="+mn-ea"/>
                <a:cs typeface="Arial" pitchFamily="34" charset="0"/>
              </a:defRPr>
            </a:lvl1pPr>
            <a:lvl2pPr marL="497772" indent="-226260" eaLnBrk="1" hangingPunct="1">
              <a:spcBef>
                <a:spcPts val="754"/>
              </a:spcBef>
              <a:spcAft>
                <a:spcPts val="0"/>
              </a:spcAft>
              <a:buFont typeface="Webdings" pitchFamily="18" charset="2"/>
              <a:buChar char="4"/>
              <a:defRPr sz="1600" b="0" kern="1200" spc="0" baseline="0">
                <a:solidFill>
                  <a:schemeClr val="tx1"/>
                </a:solidFill>
                <a:latin typeface="+mn-lt"/>
                <a:ea typeface="+mn-ea"/>
                <a:cs typeface="Arial" pitchFamily="34" charset="0"/>
              </a:defRPr>
            </a:lvl2pPr>
            <a:lvl3pPr marL="814536" indent="-226260" eaLnBrk="1" hangingPunct="1">
              <a:spcBef>
                <a:spcPts val="754"/>
              </a:spcBef>
              <a:spcAft>
                <a:spcPts val="0"/>
              </a:spcAft>
              <a:buFont typeface="Calibri" pitchFamily="34" charset="0"/>
              <a:buChar char="̶"/>
              <a:defRPr sz="1600" b="0" kern="1200" spc="0">
                <a:solidFill>
                  <a:schemeClr val="tx1"/>
                </a:solidFill>
                <a:latin typeface="+mn-lt"/>
                <a:ea typeface="+mn-ea"/>
                <a:cs typeface="Arial" pitchFamily="34" charset="0"/>
              </a:defRPr>
            </a:lvl3pPr>
            <a:lvl4pPr marL="1040796" indent="-226260" eaLnBrk="1" hangingPunct="1">
              <a:spcBef>
                <a:spcPts val="754"/>
              </a:spcBef>
              <a:spcAft>
                <a:spcPts val="0"/>
              </a:spcAft>
              <a:buSzPct val="80000"/>
              <a:buFont typeface="Calibri" pitchFamily="34" charset="0"/>
              <a:buChar char="•"/>
              <a:defRPr sz="1600" b="0" i="0" kern="1200" spc="0" baseline="0">
                <a:solidFill>
                  <a:schemeClr val="tx1"/>
                </a:solidFill>
                <a:latin typeface="+mn-lt"/>
                <a:ea typeface="+mn-ea"/>
                <a:cs typeface="+mn-cs"/>
              </a:defRPr>
            </a:lvl4pPr>
            <a:lvl5pPr marL="1267056" indent="-226260" eaLnBrk="1" hangingPunct="1">
              <a:spcBef>
                <a:spcPts val="754"/>
              </a:spcBef>
              <a:spcAft>
                <a:spcPts val="0"/>
              </a:spcAft>
              <a:buSzPct val="65000"/>
              <a:buFont typeface="Wingdings" pitchFamily="2" charset="2"/>
              <a:buChar char="w"/>
              <a:defRPr sz="1600" b="0" i="0" kern="1200" spc="0" baseline="0">
                <a:solidFill>
                  <a:schemeClr val="tx1"/>
                </a:solidFill>
                <a:latin typeface="+mn-lt"/>
                <a:ea typeface="+mn-ea"/>
                <a:cs typeface="+mn-cs"/>
              </a:defRPr>
            </a:lvl5pPr>
            <a:lvl6pPr marL="1706389" indent="-310253" eaLnBrk="1" hangingPunct="1">
              <a:spcBef>
                <a:spcPts val="754"/>
              </a:spcBef>
              <a:spcAft>
                <a:spcPts val="0"/>
              </a:spcAft>
              <a:buSzPct val="65000"/>
              <a:buFont typeface="Wingdings" pitchFamily="2" charset="2"/>
              <a:buChar char="w"/>
              <a:defRPr sz="1600" b="0" i="0" kern="1200" spc="0" baseline="0">
                <a:solidFill>
                  <a:schemeClr val="tx1"/>
                </a:solidFill>
                <a:latin typeface="+mn-lt"/>
                <a:ea typeface="+mn-ea"/>
                <a:cs typeface="+mn-cs"/>
              </a:defRPr>
            </a:lvl6pPr>
            <a:lvl7pPr marL="2480164" eaLnBrk="1" hangingPunct="1">
              <a:defRPr sz="1600">
                <a:latin typeface="+mn-lt"/>
                <a:ea typeface="+mn-ea"/>
                <a:cs typeface="+mn-cs"/>
              </a:defRPr>
            </a:lvl7pPr>
            <a:lvl8pPr marL="2893529" eaLnBrk="1" hangingPunct="1">
              <a:defRPr>
                <a:latin typeface="+mn-lt"/>
                <a:ea typeface="+mn-ea"/>
                <a:cs typeface="+mn-cs"/>
              </a:defRPr>
            </a:lvl8pPr>
            <a:lvl9pPr marL="3306888" eaLnBrk="1" hangingPunct="1">
              <a:defRPr>
                <a:latin typeface="+mn-lt"/>
                <a:ea typeface="+mn-ea"/>
                <a:cs typeface="+mn-cs"/>
              </a:defRPr>
            </a:lvl9pPr>
          </a:lstStyle>
          <a:p>
            <a:pPr marL="227013">
              <a:spcBef>
                <a:spcPct val="0"/>
              </a:spcBef>
              <a:spcAft>
                <a:spcPct val="0"/>
              </a:spcAft>
            </a:pPr>
            <a:r>
              <a:rPr lang="fr-FR" altLang="en-US" b="1" dirty="0"/>
              <a:t>Présentation de CYLAD Consulting</a:t>
            </a:r>
            <a:endParaRPr lang="fr-FR" b="1" noProof="0" dirty="0"/>
          </a:p>
        </p:txBody>
      </p:sp>
    </p:spTree>
    <p:extLst>
      <p:ext uri="{BB962C8B-B14F-4D97-AF65-F5344CB8AC3E}">
        <p14:creationId xmlns:p14="http://schemas.microsoft.com/office/powerpoint/2010/main" val="19144330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A81C7971-480A-46AF-9C9A-2C35DDBE1DF8}"/>
              </a:ext>
            </a:extLst>
          </p:cNvPr>
          <p:cNvGraphicFramePr>
            <a:graphicFrameLocks noChangeAspect="1"/>
          </p:cNvGraphicFramePr>
          <p:nvPr>
            <p:custDataLst>
              <p:tags r:id="rId2"/>
            </p:custDataLst>
            <p:extLst>
              <p:ext uri="{D42A27DB-BD31-4B8C-83A1-F6EECF244321}">
                <p14:modId xmlns:p14="http://schemas.microsoft.com/office/powerpoint/2010/main" val="1138586463"/>
              </p:ext>
            </p:extLst>
          </p:nvPr>
        </p:nvGraphicFramePr>
        <p:xfrm>
          <a:off x="1377157" y="1588"/>
          <a:ext cx="1588" cy="1588"/>
        </p:xfrm>
        <a:graphic>
          <a:graphicData uri="http://schemas.openxmlformats.org/presentationml/2006/ole">
            <mc:AlternateContent xmlns:mc="http://schemas.openxmlformats.org/markup-compatibility/2006">
              <mc:Choice xmlns:v="urn:schemas-microsoft-com:vml" Requires="v">
                <p:oleObj spid="_x0000_s30822" name="Diapositive think-cell" r:id="rId7" imgW="395" imgH="394" progId="TCLayout.ActiveDocument.1">
                  <p:embed/>
                </p:oleObj>
              </mc:Choice>
              <mc:Fallback>
                <p:oleObj name="Diapositive think-cell" r:id="rId7" imgW="395" imgH="394" progId="TCLayout.ActiveDocument.1">
                  <p:embed/>
                  <p:pic>
                    <p:nvPicPr>
                      <p:cNvPr id="6" name="Objet 5" hidden="1">
                        <a:extLst>
                          <a:ext uri="{FF2B5EF4-FFF2-40B4-BE49-F238E27FC236}">
                            <a16:creationId xmlns:a16="http://schemas.microsoft.com/office/drawing/2014/main" id="{A81C7971-480A-46AF-9C9A-2C35DDBE1DF8}"/>
                          </a:ext>
                        </a:extLst>
                      </p:cNvPr>
                      <p:cNvPicPr/>
                      <p:nvPr/>
                    </p:nvPicPr>
                    <p:blipFill>
                      <a:blip r:embed="rId8"/>
                      <a:stretch>
                        <a:fillRect/>
                      </a:stretch>
                    </p:blipFill>
                    <p:spPr>
                      <a:xfrm>
                        <a:off x="1377157"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3A5E108-F56C-4517-A73C-99D3864BA03A}"/>
              </a:ext>
            </a:extLst>
          </p:cNvPr>
          <p:cNvSpPr/>
          <p:nvPr>
            <p:custDataLst>
              <p:tags r:id="rId3"/>
            </p:custDataLst>
          </p:nvPr>
        </p:nvSpPr>
        <p:spPr>
          <a:xfrm>
            <a:off x="1375569" y="0"/>
            <a:ext cx="158750" cy="158750"/>
          </a:xfrm>
          <a:prstGeom prst="rect">
            <a:avLst/>
          </a:prstGeom>
          <a:solidFill>
            <a:schemeClr val="tx2"/>
          </a:solidFill>
        </p:spPr>
        <p:txBody>
          <a:bodyPr vert="horz" wrap="none" lIns="0" tIns="0" rIns="0" bIns="0" numCol="1" spcCol="0" rtlCol="0" anchor="ctr" anchorCtr="0">
            <a:noAutofit/>
          </a:bodyPr>
          <a:lstStyle/>
          <a:p>
            <a:pPr algn="ctr"/>
            <a:endParaRPr lang="fr-FR" sz="2200" b="1" dirty="0">
              <a:solidFill>
                <a:schemeClr val="bg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2" name="Titre 1">
            <a:extLst>
              <a:ext uri="{FF2B5EF4-FFF2-40B4-BE49-F238E27FC236}">
                <a16:creationId xmlns:a16="http://schemas.microsoft.com/office/drawing/2014/main" id="{14FDE8F1-CEA9-444D-9FCB-E62DB28D3F1A}"/>
              </a:ext>
            </a:extLst>
          </p:cNvPr>
          <p:cNvSpPr>
            <a:spLocks noGrp="1"/>
          </p:cNvSpPr>
          <p:nvPr>
            <p:ph type="title"/>
          </p:nvPr>
        </p:nvSpPr>
        <p:spPr>
          <a:xfrm>
            <a:off x="609618" y="207108"/>
            <a:ext cx="12218110" cy="677108"/>
          </a:xfrm>
        </p:spPr>
        <p:txBody>
          <a:bodyPr/>
          <a:lstStyle/>
          <a:p>
            <a:r>
              <a:rPr lang="fr-FR" dirty="0"/>
              <a:t>Cabinet de conseil en Management et Stratégie, CYLAD accompagne ses clients dans leur transformation, leur développement et l’amélioration de leur performance</a:t>
            </a:r>
          </a:p>
        </p:txBody>
      </p:sp>
      <p:grpSp>
        <p:nvGrpSpPr>
          <p:cNvPr id="11" name="Groupe 10">
            <a:extLst>
              <a:ext uri="{FF2B5EF4-FFF2-40B4-BE49-F238E27FC236}">
                <a16:creationId xmlns:a16="http://schemas.microsoft.com/office/drawing/2014/main" id="{E2704B35-ACDB-4192-A4CC-FA8FA4ABCF15}"/>
              </a:ext>
            </a:extLst>
          </p:cNvPr>
          <p:cNvGrpSpPr/>
          <p:nvPr/>
        </p:nvGrpSpPr>
        <p:grpSpPr>
          <a:xfrm>
            <a:off x="913694" y="1641613"/>
            <a:ext cx="11811271" cy="5092357"/>
            <a:chOff x="913694" y="1641613"/>
            <a:chExt cx="11811271" cy="5092357"/>
          </a:xfrm>
        </p:grpSpPr>
        <p:sp>
          <p:nvSpPr>
            <p:cNvPr id="39" name="Freeform 38">
              <a:extLst>
                <a:ext uri="{FF2B5EF4-FFF2-40B4-BE49-F238E27FC236}">
                  <a16:creationId xmlns:a16="http://schemas.microsoft.com/office/drawing/2014/main" id="{C93990FB-B3BC-4C41-80F8-4792018FEF95}"/>
                </a:ext>
              </a:extLst>
            </p:cNvPr>
            <p:cNvSpPr>
              <a:spLocks noChangeAspect="1"/>
            </p:cNvSpPr>
            <p:nvPr>
              <p:custDataLst>
                <p:tags r:id="rId4"/>
              </p:custDataLst>
            </p:nvPr>
          </p:nvSpPr>
          <p:spPr>
            <a:xfrm>
              <a:off x="9945437" y="3279448"/>
              <a:ext cx="782049" cy="698008"/>
            </a:xfrm>
            <a:custGeom>
              <a:avLst/>
              <a:gdLst/>
              <a:ahLst/>
              <a:cxnLst/>
              <a:rect l="l" t="t" r="r" b="b"/>
              <a:pathLst>
                <a:path w="928629" h="828837">
                  <a:moveTo>
                    <a:pt x="724907" y="747483"/>
                  </a:moveTo>
                  <a:lnTo>
                    <a:pt x="740009" y="749910"/>
                  </a:lnTo>
                  <a:lnTo>
                    <a:pt x="762310" y="759385"/>
                  </a:lnTo>
                  <a:lnTo>
                    <a:pt x="774878" y="755616"/>
                  </a:lnTo>
                  <a:lnTo>
                    <a:pt x="792898" y="750340"/>
                  </a:lnTo>
                  <a:lnTo>
                    <a:pt x="806743" y="752182"/>
                  </a:lnTo>
                  <a:lnTo>
                    <a:pt x="808377" y="784918"/>
                  </a:lnTo>
                  <a:lnTo>
                    <a:pt x="800470" y="794488"/>
                  </a:lnTo>
                  <a:lnTo>
                    <a:pt x="798087" y="816954"/>
                  </a:lnTo>
                  <a:lnTo>
                    <a:pt x="790020" y="809288"/>
                  </a:lnTo>
                  <a:lnTo>
                    <a:pt x="773995" y="828837"/>
                  </a:lnTo>
                  <a:lnTo>
                    <a:pt x="769216" y="827325"/>
                  </a:lnTo>
                  <a:lnTo>
                    <a:pt x="755022" y="826450"/>
                  </a:lnTo>
                  <a:lnTo>
                    <a:pt x="740792" y="802476"/>
                  </a:lnTo>
                  <a:lnTo>
                    <a:pt x="737634" y="784119"/>
                  </a:lnTo>
                  <a:lnTo>
                    <a:pt x="724315" y="760068"/>
                  </a:lnTo>
                  <a:close/>
                  <a:moveTo>
                    <a:pt x="673468" y="0"/>
                  </a:moveTo>
                  <a:lnTo>
                    <a:pt x="679978" y="11424"/>
                  </a:lnTo>
                  <a:lnTo>
                    <a:pt x="681582" y="26093"/>
                  </a:lnTo>
                  <a:lnTo>
                    <a:pt x="687334" y="28923"/>
                  </a:lnTo>
                  <a:lnTo>
                    <a:pt x="688319" y="38759"/>
                  </a:lnTo>
                  <a:lnTo>
                    <a:pt x="696709" y="50685"/>
                  </a:lnTo>
                  <a:lnTo>
                    <a:pt x="698442" y="63973"/>
                  </a:lnTo>
                  <a:lnTo>
                    <a:pt x="697625" y="72510"/>
                  </a:lnTo>
                  <a:lnTo>
                    <a:pt x="705942" y="90982"/>
                  </a:lnTo>
                  <a:lnTo>
                    <a:pt x="720752" y="82099"/>
                  </a:lnTo>
                  <a:lnTo>
                    <a:pt x="728397" y="92070"/>
                  </a:lnTo>
                  <a:lnTo>
                    <a:pt x="739472" y="101280"/>
                  </a:lnTo>
                  <a:lnTo>
                    <a:pt x="737100" y="111746"/>
                  </a:lnTo>
                  <a:lnTo>
                    <a:pt x="742023" y="132033"/>
                  </a:lnTo>
                  <a:lnTo>
                    <a:pt x="745527" y="143872"/>
                  </a:lnTo>
                  <a:lnTo>
                    <a:pt x="751341" y="146768"/>
                  </a:lnTo>
                  <a:lnTo>
                    <a:pt x="757605" y="167089"/>
                  </a:lnTo>
                  <a:lnTo>
                    <a:pt x="755375" y="179445"/>
                  </a:lnTo>
                  <a:lnTo>
                    <a:pt x="762849" y="195644"/>
                  </a:lnTo>
                  <a:lnTo>
                    <a:pt x="787862" y="208151"/>
                  </a:lnTo>
                  <a:lnTo>
                    <a:pt x="804170" y="219550"/>
                  </a:lnTo>
                  <a:lnTo>
                    <a:pt x="819654" y="230009"/>
                  </a:lnTo>
                  <a:lnTo>
                    <a:pt x="816631" y="235839"/>
                  </a:lnTo>
                  <a:lnTo>
                    <a:pt x="829834" y="250954"/>
                  </a:lnTo>
                  <a:lnTo>
                    <a:pt x="838810" y="277134"/>
                  </a:lnTo>
                  <a:lnTo>
                    <a:pt x="848022" y="271807"/>
                  </a:lnTo>
                  <a:lnTo>
                    <a:pt x="857384" y="282318"/>
                  </a:lnTo>
                  <a:lnTo>
                    <a:pt x="863023" y="278587"/>
                  </a:lnTo>
                  <a:lnTo>
                    <a:pt x="866999" y="304361"/>
                  </a:lnTo>
                  <a:lnTo>
                    <a:pt x="883380" y="319352"/>
                  </a:lnTo>
                  <a:lnTo>
                    <a:pt x="894099" y="328692"/>
                  </a:lnTo>
                  <a:lnTo>
                    <a:pt x="912142" y="348566"/>
                  </a:lnTo>
                  <a:lnTo>
                    <a:pt x="918627" y="368376"/>
                  </a:lnTo>
                  <a:lnTo>
                    <a:pt x="919222" y="382481"/>
                  </a:lnTo>
                  <a:lnTo>
                    <a:pt x="917629" y="397844"/>
                  </a:lnTo>
                  <a:lnTo>
                    <a:pt x="928629" y="419021"/>
                  </a:lnTo>
                  <a:lnTo>
                    <a:pt x="927305" y="441188"/>
                  </a:lnTo>
                  <a:lnTo>
                    <a:pt x="923312" y="452835"/>
                  </a:lnTo>
                  <a:lnTo>
                    <a:pt x="917082" y="475361"/>
                  </a:lnTo>
                  <a:lnTo>
                    <a:pt x="917552" y="489907"/>
                  </a:lnTo>
                  <a:lnTo>
                    <a:pt x="912981" y="508167"/>
                  </a:lnTo>
                  <a:lnTo>
                    <a:pt x="902789" y="531463"/>
                  </a:lnTo>
                  <a:lnTo>
                    <a:pt x="885687" y="544107"/>
                  </a:lnTo>
                  <a:lnTo>
                    <a:pt x="877259" y="564131"/>
                  </a:lnTo>
                  <a:lnTo>
                    <a:pt x="869562" y="576966"/>
                  </a:lnTo>
                  <a:lnTo>
                    <a:pt x="862721" y="599487"/>
                  </a:lnTo>
                  <a:lnTo>
                    <a:pt x="853812" y="612558"/>
                  </a:lnTo>
                  <a:lnTo>
                    <a:pt x="847972" y="632277"/>
                  </a:lnTo>
                  <a:lnTo>
                    <a:pt x="844992" y="650530"/>
                  </a:lnTo>
                  <a:lnTo>
                    <a:pt x="846173" y="658942"/>
                  </a:lnTo>
                  <a:lnTo>
                    <a:pt x="832937" y="668210"/>
                  </a:lnTo>
                  <a:lnTo>
                    <a:pt x="807102" y="669182"/>
                  </a:lnTo>
                  <a:lnTo>
                    <a:pt x="785799" y="680159"/>
                  </a:lnTo>
                  <a:lnTo>
                    <a:pt x="775190" y="690560"/>
                  </a:lnTo>
                  <a:lnTo>
                    <a:pt x="761243" y="702126"/>
                  </a:lnTo>
                  <a:lnTo>
                    <a:pt x="742125" y="690217"/>
                  </a:lnTo>
                  <a:lnTo>
                    <a:pt x="727983" y="685478"/>
                  </a:lnTo>
                  <a:lnTo>
                    <a:pt x="731566" y="671511"/>
                  </a:lnTo>
                  <a:lnTo>
                    <a:pt x="718950" y="676572"/>
                  </a:lnTo>
                  <a:lnTo>
                    <a:pt x="698737" y="696023"/>
                  </a:lnTo>
                  <a:lnTo>
                    <a:pt x="678781" y="688725"/>
                  </a:lnTo>
                  <a:lnTo>
                    <a:pt x="665691" y="684474"/>
                  </a:lnTo>
                  <a:lnTo>
                    <a:pt x="652493" y="682555"/>
                  </a:lnTo>
                  <a:lnTo>
                    <a:pt x="630150" y="674805"/>
                  </a:lnTo>
                  <a:lnTo>
                    <a:pt x="615228" y="658347"/>
                  </a:lnTo>
                  <a:lnTo>
                    <a:pt x="610945" y="638186"/>
                  </a:lnTo>
                  <a:lnTo>
                    <a:pt x="605579" y="624837"/>
                  </a:lnTo>
                  <a:lnTo>
                    <a:pt x="594238" y="614158"/>
                  </a:lnTo>
                  <a:lnTo>
                    <a:pt x="572031" y="610993"/>
                  </a:lnTo>
                  <a:lnTo>
                    <a:pt x="579619" y="598277"/>
                  </a:lnTo>
                  <a:lnTo>
                    <a:pt x="574035" y="578901"/>
                  </a:lnTo>
                  <a:lnTo>
                    <a:pt x="562761" y="596958"/>
                  </a:lnTo>
                  <a:lnTo>
                    <a:pt x="542223" y="601767"/>
                  </a:lnTo>
                  <a:lnTo>
                    <a:pt x="554295" y="587306"/>
                  </a:lnTo>
                  <a:lnTo>
                    <a:pt x="557792" y="572284"/>
                  </a:lnTo>
                  <a:lnTo>
                    <a:pt x="566708" y="559584"/>
                  </a:lnTo>
                  <a:lnTo>
                    <a:pt x="564866" y="540466"/>
                  </a:lnTo>
                  <a:lnTo>
                    <a:pt x="546088" y="562492"/>
                  </a:lnTo>
                  <a:lnTo>
                    <a:pt x="531667" y="571362"/>
                  </a:lnTo>
                  <a:lnTo>
                    <a:pt x="522825" y="592077"/>
                  </a:lnTo>
                  <a:lnTo>
                    <a:pt x="504802" y="581346"/>
                  </a:lnTo>
                  <a:lnTo>
                    <a:pt x="505518" y="567551"/>
                  </a:lnTo>
                  <a:lnTo>
                    <a:pt x="491073" y="548787"/>
                  </a:lnTo>
                  <a:lnTo>
                    <a:pt x="478896" y="539128"/>
                  </a:lnTo>
                  <a:lnTo>
                    <a:pt x="483235" y="533190"/>
                  </a:lnTo>
                  <a:lnTo>
                    <a:pt x="453618" y="517646"/>
                  </a:lnTo>
                  <a:lnTo>
                    <a:pt x="437398" y="516915"/>
                  </a:lnTo>
                  <a:lnTo>
                    <a:pt x="415198" y="504476"/>
                  </a:lnTo>
                  <a:lnTo>
                    <a:pt x="373868" y="506890"/>
                  </a:lnTo>
                  <a:lnTo>
                    <a:pt x="343979" y="516041"/>
                  </a:lnTo>
                  <a:lnTo>
                    <a:pt x="317709" y="524591"/>
                  </a:lnTo>
                  <a:lnTo>
                    <a:pt x="295685" y="522891"/>
                  </a:lnTo>
                  <a:lnTo>
                    <a:pt x="271214" y="536058"/>
                  </a:lnTo>
                  <a:lnTo>
                    <a:pt x="251202" y="541998"/>
                  </a:lnTo>
                  <a:lnTo>
                    <a:pt x="246754" y="555531"/>
                  </a:lnTo>
                  <a:lnTo>
                    <a:pt x="238231" y="566053"/>
                  </a:lnTo>
                  <a:lnTo>
                    <a:pt x="218642" y="566683"/>
                  </a:lnTo>
                  <a:lnTo>
                    <a:pt x="204147" y="568991"/>
                  </a:lnTo>
                  <a:lnTo>
                    <a:pt x="183744" y="564261"/>
                  </a:lnTo>
                  <a:lnTo>
                    <a:pt x="167150" y="567090"/>
                  </a:lnTo>
                  <a:lnTo>
                    <a:pt x="151302" y="568281"/>
                  </a:lnTo>
                  <a:lnTo>
                    <a:pt x="137573" y="582146"/>
                  </a:lnTo>
                  <a:lnTo>
                    <a:pt x="130842" y="580968"/>
                  </a:lnTo>
                  <a:lnTo>
                    <a:pt x="119264" y="588337"/>
                  </a:lnTo>
                  <a:lnTo>
                    <a:pt x="108167" y="596642"/>
                  </a:lnTo>
                  <a:lnTo>
                    <a:pt x="91329" y="595615"/>
                  </a:lnTo>
                  <a:lnTo>
                    <a:pt x="75854" y="595605"/>
                  </a:lnTo>
                  <a:lnTo>
                    <a:pt x="51369" y="578945"/>
                  </a:lnTo>
                  <a:lnTo>
                    <a:pt x="38961" y="574006"/>
                  </a:lnTo>
                  <a:lnTo>
                    <a:pt x="39464" y="559142"/>
                  </a:lnTo>
                  <a:lnTo>
                    <a:pt x="50925" y="555620"/>
                  </a:lnTo>
                  <a:lnTo>
                    <a:pt x="54839" y="549737"/>
                  </a:lnTo>
                  <a:lnTo>
                    <a:pt x="54024" y="540475"/>
                  </a:lnTo>
                  <a:lnTo>
                    <a:pt x="56847" y="522612"/>
                  </a:lnTo>
                  <a:lnTo>
                    <a:pt x="54260" y="507452"/>
                  </a:lnTo>
                  <a:lnTo>
                    <a:pt x="42057" y="481731"/>
                  </a:lnTo>
                  <a:lnTo>
                    <a:pt x="38274" y="467278"/>
                  </a:lnTo>
                  <a:lnTo>
                    <a:pt x="39266" y="452908"/>
                  </a:lnTo>
                  <a:lnTo>
                    <a:pt x="30078" y="436549"/>
                  </a:lnTo>
                  <a:lnTo>
                    <a:pt x="29490" y="429184"/>
                  </a:lnTo>
                  <a:lnTo>
                    <a:pt x="19266" y="419221"/>
                  </a:lnTo>
                  <a:lnTo>
                    <a:pt x="16388" y="399695"/>
                  </a:lnTo>
                  <a:lnTo>
                    <a:pt x="3199" y="380049"/>
                  </a:lnTo>
                  <a:lnTo>
                    <a:pt x="0" y="369497"/>
                  </a:lnTo>
                  <a:lnTo>
                    <a:pt x="10143" y="380195"/>
                  </a:lnTo>
                  <a:lnTo>
                    <a:pt x="2355" y="357276"/>
                  </a:lnTo>
                  <a:lnTo>
                    <a:pt x="13803" y="364427"/>
                  </a:lnTo>
                  <a:lnTo>
                    <a:pt x="20634" y="373993"/>
                  </a:lnTo>
                  <a:lnTo>
                    <a:pt x="20249" y="361344"/>
                  </a:lnTo>
                  <a:lnTo>
                    <a:pt x="8825" y="341964"/>
                  </a:lnTo>
                  <a:lnTo>
                    <a:pt x="6612" y="334234"/>
                  </a:lnTo>
                  <a:lnTo>
                    <a:pt x="1260" y="326901"/>
                  </a:lnTo>
                  <a:lnTo>
                    <a:pt x="3765" y="312757"/>
                  </a:lnTo>
                  <a:lnTo>
                    <a:pt x="8496" y="306750"/>
                  </a:lnTo>
                  <a:lnTo>
                    <a:pt x="11645" y="294563"/>
                  </a:lnTo>
                  <a:lnTo>
                    <a:pt x="9178" y="280360"/>
                  </a:lnTo>
                  <a:lnTo>
                    <a:pt x="18716" y="262925"/>
                  </a:lnTo>
                  <a:lnTo>
                    <a:pt x="20460" y="281379"/>
                  </a:lnTo>
                  <a:lnTo>
                    <a:pt x="30212" y="264706"/>
                  </a:lnTo>
                  <a:lnTo>
                    <a:pt x="48964" y="256622"/>
                  </a:lnTo>
                  <a:lnTo>
                    <a:pt x="60210" y="246326"/>
                  </a:lnTo>
                  <a:lnTo>
                    <a:pt x="77851" y="237481"/>
                  </a:lnTo>
                  <a:lnTo>
                    <a:pt x="88346" y="235601"/>
                  </a:lnTo>
                  <a:lnTo>
                    <a:pt x="94699" y="238570"/>
                  </a:lnTo>
                  <a:lnTo>
                    <a:pt x="112889" y="229600"/>
                  </a:lnTo>
                  <a:lnTo>
                    <a:pt x="126890" y="226934"/>
                  </a:lnTo>
                  <a:lnTo>
                    <a:pt x="130392" y="221669"/>
                  </a:lnTo>
                  <a:lnTo>
                    <a:pt x="136501" y="219478"/>
                  </a:lnTo>
                  <a:lnTo>
                    <a:pt x="149260" y="220044"/>
                  </a:lnTo>
                  <a:lnTo>
                    <a:pt x="173519" y="213018"/>
                  </a:lnTo>
                  <a:lnTo>
                    <a:pt x="186068" y="202380"/>
                  </a:lnTo>
                  <a:lnTo>
                    <a:pt x="191961" y="189597"/>
                  </a:lnTo>
                  <a:lnTo>
                    <a:pt x="205500" y="177479"/>
                  </a:lnTo>
                  <a:lnTo>
                    <a:pt x="206537" y="167969"/>
                  </a:lnTo>
                  <a:lnTo>
                    <a:pt x="207141" y="155036"/>
                  </a:lnTo>
                  <a:lnTo>
                    <a:pt x="223294" y="134866"/>
                  </a:lnTo>
                  <a:lnTo>
                    <a:pt x="233016" y="155358"/>
                  </a:lnTo>
                  <a:lnTo>
                    <a:pt x="242840" y="150617"/>
                  </a:lnTo>
                  <a:lnTo>
                    <a:pt x="234620" y="139402"/>
                  </a:lnTo>
                  <a:lnTo>
                    <a:pt x="241864" y="127904"/>
                  </a:lnTo>
                  <a:lnTo>
                    <a:pt x="252048" y="133035"/>
                  </a:lnTo>
                  <a:lnTo>
                    <a:pt x="254852" y="115027"/>
                  </a:lnTo>
                  <a:lnTo>
                    <a:pt x="267465" y="103407"/>
                  </a:lnTo>
                  <a:lnTo>
                    <a:pt x="273030" y="94095"/>
                  </a:lnTo>
                  <a:lnTo>
                    <a:pt x="284637" y="90081"/>
                  </a:lnTo>
                  <a:lnTo>
                    <a:pt x="284999" y="83499"/>
                  </a:lnTo>
                  <a:lnTo>
                    <a:pt x="295141" y="86247"/>
                  </a:lnTo>
                  <a:lnTo>
                    <a:pt x="295548" y="80329"/>
                  </a:lnTo>
                  <a:lnTo>
                    <a:pt x="305700" y="76959"/>
                  </a:lnTo>
                  <a:lnTo>
                    <a:pt x="316855" y="73788"/>
                  </a:lnTo>
                  <a:lnTo>
                    <a:pt x="333907" y="84588"/>
                  </a:lnTo>
                  <a:lnTo>
                    <a:pt x="346720" y="98548"/>
                  </a:lnTo>
                  <a:lnTo>
                    <a:pt x="361166" y="98708"/>
                  </a:lnTo>
                  <a:lnTo>
                    <a:pt x="375845" y="100921"/>
                  </a:lnTo>
                  <a:lnTo>
                    <a:pt x="370955" y="87975"/>
                  </a:lnTo>
                  <a:lnTo>
                    <a:pt x="382012" y="69102"/>
                  </a:lnTo>
                  <a:lnTo>
                    <a:pt x="392418" y="62962"/>
                  </a:lnTo>
                  <a:lnTo>
                    <a:pt x="388818" y="57095"/>
                  </a:lnTo>
                  <a:lnTo>
                    <a:pt x="398843" y="43697"/>
                  </a:lnTo>
                  <a:lnTo>
                    <a:pt x="412824" y="35432"/>
                  </a:lnTo>
                  <a:lnTo>
                    <a:pt x="424633" y="38215"/>
                  </a:lnTo>
                  <a:lnTo>
                    <a:pt x="444027" y="33802"/>
                  </a:lnTo>
                  <a:lnTo>
                    <a:pt x="443610" y="21843"/>
                  </a:lnTo>
                  <a:lnTo>
                    <a:pt x="426701" y="14145"/>
                  </a:lnTo>
                  <a:lnTo>
                    <a:pt x="438993" y="10751"/>
                  </a:lnTo>
                  <a:lnTo>
                    <a:pt x="454282" y="16544"/>
                  </a:lnTo>
                  <a:lnTo>
                    <a:pt x="466545" y="26135"/>
                  </a:lnTo>
                  <a:lnTo>
                    <a:pt x="485986" y="32124"/>
                  </a:lnTo>
                  <a:lnTo>
                    <a:pt x="492578" y="29755"/>
                  </a:lnTo>
                  <a:lnTo>
                    <a:pt x="506886" y="36954"/>
                  </a:lnTo>
                  <a:lnTo>
                    <a:pt x="520371" y="30249"/>
                  </a:lnTo>
                  <a:lnTo>
                    <a:pt x="529043" y="32287"/>
                  </a:lnTo>
                  <a:lnTo>
                    <a:pt x="534446" y="27790"/>
                  </a:lnTo>
                  <a:lnTo>
                    <a:pt x="545044" y="39375"/>
                  </a:lnTo>
                  <a:lnTo>
                    <a:pt x="538893" y="51924"/>
                  </a:lnTo>
                  <a:lnTo>
                    <a:pt x="530128" y="61408"/>
                  </a:lnTo>
                  <a:lnTo>
                    <a:pt x="522196" y="62190"/>
                  </a:lnTo>
                  <a:lnTo>
                    <a:pt x="524870" y="71584"/>
                  </a:lnTo>
                  <a:lnTo>
                    <a:pt x="518089" y="83342"/>
                  </a:lnTo>
                  <a:lnTo>
                    <a:pt x="509890" y="94922"/>
                  </a:lnTo>
                  <a:lnTo>
                    <a:pt x="511541" y="101581"/>
                  </a:lnTo>
                  <a:lnTo>
                    <a:pt x="529892" y="114630"/>
                  </a:lnTo>
                  <a:lnTo>
                    <a:pt x="547669" y="122210"/>
                  </a:lnTo>
                  <a:lnTo>
                    <a:pt x="559560" y="130361"/>
                  </a:lnTo>
                  <a:lnTo>
                    <a:pt x="576243" y="144410"/>
                  </a:lnTo>
                  <a:lnTo>
                    <a:pt x="582751" y="144387"/>
                  </a:lnTo>
                  <a:lnTo>
                    <a:pt x="594832" y="150466"/>
                  </a:lnTo>
                  <a:lnTo>
                    <a:pt x="598341" y="157808"/>
                  </a:lnTo>
                  <a:lnTo>
                    <a:pt x="620377" y="165879"/>
                  </a:lnTo>
                  <a:lnTo>
                    <a:pt x="635617" y="157748"/>
                  </a:lnTo>
                  <a:lnTo>
                    <a:pt x="640133" y="144990"/>
                  </a:lnTo>
                  <a:lnTo>
                    <a:pt x="644818" y="134479"/>
                  </a:lnTo>
                  <a:lnTo>
                    <a:pt x="647684" y="121495"/>
                  </a:lnTo>
                  <a:lnTo>
                    <a:pt x="654700" y="102694"/>
                  </a:lnTo>
                  <a:lnTo>
                    <a:pt x="651496" y="91289"/>
                  </a:lnTo>
                  <a:lnTo>
                    <a:pt x="653161" y="84435"/>
                  </a:lnTo>
                  <a:lnTo>
                    <a:pt x="650492" y="70969"/>
                  </a:lnTo>
                  <a:lnTo>
                    <a:pt x="653517" y="53273"/>
                  </a:lnTo>
                  <a:lnTo>
                    <a:pt x="657943" y="48508"/>
                  </a:lnTo>
                  <a:lnTo>
                    <a:pt x="654350" y="40679"/>
                  </a:lnTo>
                  <a:lnTo>
                    <a:pt x="659928" y="28264"/>
                  </a:lnTo>
                  <a:lnTo>
                    <a:pt x="664309" y="15413"/>
                  </a:lnTo>
                  <a:lnTo>
                    <a:pt x="664892" y="8746"/>
                  </a:lnTo>
                  <a:close/>
                </a:path>
              </a:pathLst>
            </a:custGeom>
            <a:solidFill>
              <a:srgbClr val="BFBFBF"/>
            </a:solidFill>
            <a:ln w="3175" cap="rnd">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11" tIns="72011" rIns="72011" bIns="72011" numCol="1" spcCol="0" rtlCol="0" fromWordArt="0" anchor="ctr" anchorCtr="0" forceAA="0" compatLnSpc="1">
              <a:prstTxWarp prst="textNoShape">
                <a:avLst/>
              </a:prstTxWarp>
              <a:noAutofit/>
            </a:bodyPr>
            <a:lstStyle/>
            <a:p>
              <a:pPr algn="ctr"/>
              <a:endParaRPr lang="fr-FR" sz="1600" dirty="0">
                <a:solidFill>
                  <a:schemeClr val="tx1"/>
                </a:solidFill>
                <a:latin typeface="Calibri" panose="020F0502020204030204" pitchFamily="34" charset="0"/>
                <a:cs typeface="Calibri" panose="020F0502020204030204" pitchFamily="34" charset="0"/>
              </a:endParaRPr>
            </a:p>
          </p:txBody>
        </p:sp>
        <p:sp>
          <p:nvSpPr>
            <p:cNvPr id="54" name="Freeform 2">
              <a:extLst>
                <a:ext uri="{FF2B5EF4-FFF2-40B4-BE49-F238E27FC236}">
                  <a16:creationId xmlns:a16="http://schemas.microsoft.com/office/drawing/2014/main" id="{2FB6E0D9-4E96-4B5E-AD61-F332C752AA1F}"/>
                </a:ext>
              </a:extLst>
            </p:cNvPr>
            <p:cNvSpPr>
              <a:spLocks noChangeAspect="1"/>
            </p:cNvSpPr>
            <p:nvPr/>
          </p:nvSpPr>
          <p:spPr>
            <a:xfrm>
              <a:off x="9443913" y="1913397"/>
              <a:ext cx="714276" cy="602604"/>
            </a:xfrm>
            <a:custGeom>
              <a:avLst/>
              <a:gdLst/>
              <a:ahLst/>
              <a:cxnLst/>
              <a:rect l="l" t="t" r="r" b="b"/>
              <a:pathLst>
                <a:path w="5293194" h="4465637">
                  <a:moveTo>
                    <a:pt x="3969157" y="3893202"/>
                  </a:moveTo>
                  <a:lnTo>
                    <a:pt x="3969283" y="3893900"/>
                  </a:lnTo>
                  <a:lnTo>
                    <a:pt x="3969257" y="3894526"/>
                  </a:lnTo>
                  <a:lnTo>
                    <a:pt x="3969109" y="3895124"/>
                  </a:lnTo>
                  <a:lnTo>
                    <a:pt x="3968862" y="3895731"/>
                  </a:lnTo>
                  <a:lnTo>
                    <a:pt x="3968670" y="3896079"/>
                  </a:lnTo>
                  <a:lnTo>
                    <a:pt x="3968193" y="3897187"/>
                  </a:lnTo>
                  <a:lnTo>
                    <a:pt x="3967113" y="3898973"/>
                  </a:lnTo>
                  <a:lnTo>
                    <a:pt x="3966439" y="3900683"/>
                  </a:lnTo>
                  <a:lnTo>
                    <a:pt x="3965903" y="3901438"/>
                  </a:lnTo>
                  <a:lnTo>
                    <a:pt x="3965307" y="3902042"/>
                  </a:lnTo>
                  <a:lnTo>
                    <a:pt x="3963580" y="3903182"/>
                  </a:lnTo>
                  <a:lnTo>
                    <a:pt x="3962397" y="3904344"/>
                  </a:lnTo>
                  <a:lnTo>
                    <a:pt x="3960131" y="3905706"/>
                  </a:lnTo>
                  <a:lnTo>
                    <a:pt x="3955918" y="3907378"/>
                  </a:lnTo>
                  <a:lnTo>
                    <a:pt x="3955349" y="3907415"/>
                  </a:lnTo>
                  <a:lnTo>
                    <a:pt x="3954764" y="3907277"/>
                  </a:lnTo>
                  <a:lnTo>
                    <a:pt x="3954215" y="3906957"/>
                  </a:lnTo>
                  <a:lnTo>
                    <a:pt x="3953434" y="3906128"/>
                  </a:lnTo>
                  <a:lnTo>
                    <a:pt x="3953036" y="3905191"/>
                  </a:lnTo>
                  <a:lnTo>
                    <a:pt x="3953019" y="3904204"/>
                  </a:lnTo>
                  <a:lnTo>
                    <a:pt x="3953390" y="3903234"/>
                  </a:lnTo>
                  <a:lnTo>
                    <a:pt x="3954070" y="3902182"/>
                  </a:lnTo>
                  <a:lnTo>
                    <a:pt x="3954865" y="3901286"/>
                  </a:lnTo>
                  <a:lnTo>
                    <a:pt x="3955350" y="3900943"/>
                  </a:lnTo>
                  <a:lnTo>
                    <a:pt x="3961123" y="3899291"/>
                  </a:lnTo>
                  <a:lnTo>
                    <a:pt x="3961891" y="3898840"/>
                  </a:lnTo>
                  <a:lnTo>
                    <a:pt x="3963848" y="3897054"/>
                  </a:lnTo>
                  <a:lnTo>
                    <a:pt x="3964174" y="3896546"/>
                  </a:lnTo>
                  <a:lnTo>
                    <a:pt x="3964599" y="3895872"/>
                  </a:lnTo>
                  <a:lnTo>
                    <a:pt x="3964839" y="3895609"/>
                  </a:lnTo>
                  <a:close/>
                  <a:moveTo>
                    <a:pt x="3966868" y="3885278"/>
                  </a:moveTo>
                  <a:lnTo>
                    <a:pt x="3967699" y="3885332"/>
                  </a:lnTo>
                  <a:lnTo>
                    <a:pt x="3968096" y="3885438"/>
                  </a:lnTo>
                  <a:lnTo>
                    <a:pt x="3969033" y="3885841"/>
                  </a:lnTo>
                  <a:lnTo>
                    <a:pt x="3969368" y="3885908"/>
                  </a:lnTo>
                  <a:lnTo>
                    <a:pt x="3970419" y="3885845"/>
                  </a:lnTo>
                  <a:lnTo>
                    <a:pt x="3971543" y="3885947"/>
                  </a:lnTo>
                  <a:lnTo>
                    <a:pt x="3971883" y="3885905"/>
                  </a:lnTo>
                  <a:lnTo>
                    <a:pt x="3972014" y="3886269"/>
                  </a:lnTo>
                  <a:lnTo>
                    <a:pt x="3972120" y="3886638"/>
                  </a:lnTo>
                  <a:lnTo>
                    <a:pt x="3971147" y="3887103"/>
                  </a:lnTo>
                  <a:lnTo>
                    <a:pt x="3970724" y="3887431"/>
                  </a:lnTo>
                  <a:lnTo>
                    <a:pt x="3969445" y="3889075"/>
                  </a:lnTo>
                  <a:lnTo>
                    <a:pt x="3969083" y="3889381"/>
                  </a:lnTo>
                  <a:lnTo>
                    <a:pt x="3968508" y="3889718"/>
                  </a:lnTo>
                  <a:lnTo>
                    <a:pt x="3967257" y="3890084"/>
                  </a:lnTo>
                  <a:lnTo>
                    <a:pt x="3965936" y="3890233"/>
                  </a:lnTo>
                  <a:lnTo>
                    <a:pt x="3965710" y="3890187"/>
                  </a:lnTo>
                  <a:lnTo>
                    <a:pt x="3965483" y="3890058"/>
                  </a:lnTo>
                  <a:lnTo>
                    <a:pt x="3964833" y="3889548"/>
                  </a:lnTo>
                  <a:lnTo>
                    <a:pt x="3963273" y="3888708"/>
                  </a:lnTo>
                  <a:lnTo>
                    <a:pt x="3962585" y="3888121"/>
                  </a:lnTo>
                  <a:lnTo>
                    <a:pt x="3962092" y="3887391"/>
                  </a:lnTo>
                  <a:lnTo>
                    <a:pt x="3962092" y="3886588"/>
                  </a:lnTo>
                  <a:lnTo>
                    <a:pt x="3962211" y="3886397"/>
                  </a:lnTo>
                  <a:lnTo>
                    <a:pt x="3962367" y="3886266"/>
                  </a:lnTo>
                  <a:lnTo>
                    <a:pt x="3962559" y="3886184"/>
                  </a:lnTo>
                  <a:close/>
                  <a:moveTo>
                    <a:pt x="3964951" y="3872764"/>
                  </a:moveTo>
                  <a:lnTo>
                    <a:pt x="3965335" y="3872809"/>
                  </a:lnTo>
                  <a:lnTo>
                    <a:pt x="3965798" y="3873905"/>
                  </a:lnTo>
                  <a:lnTo>
                    <a:pt x="3965152" y="3875453"/>
                  </a:lnTo>
                  <a:lnTo>
                    <a:pt x="3964062" y="3876856"/>
                  </a:lnTo>
                  <a:lnTo>
                    <a:pt x="3963191" y="3877540"/>
                  </a:lnTo>
                  <a:lnTo>
                    <a:pt x="3962821" y="3877579"/>
                  </a:lnTo>
                  <a:lnTo>
                    <a:pt x="3962438" y="3877515"/>
                  </a:lnTo>
                  <a:lnTo>
                    <a:pt x="3962073" y="3877323"/>
                  </a:lnTo>
                  <a:lnTo>
                    <a:pt x="3961749" y="3876976"/>
                  </a:lnTo>
                  <a:lnTo>
                    <a:pt x="3961612" y="3876450"/>
                  </a:lnTo>
                  <a:lnTo>
                    <a:pt x="3961741" y="3875910"/>
                  </a:lnTo>
                  <a:lnTo>
                    <a:pt x="3961998" y="3875430"/>
                  </a:lnTo>
                  <a:lnTo>
                    <a:pt x="3962240" y="3875106"/>
                  </a:lnTo>
                  <a:lnTo>
                    <a:pt x="3964583" y="3872952"/>
                  </a:lnTo>
                  <a:close/>
                  <a:moveTo>
                    <a:pt x="3981958" y="3846333"/>
                  </a:moveTo>
                  <a:lnTo>
                    <a:pt x="3982744" y="3846389"/>
                  </a:lnTo>
                  <a:lnTo>
                    <a:pt x="3983035" y="3847014"/>
                  </a:lnTo>
                  <a:lnTo>
                    <a:pt x="3982590" y="3847892"/>
                  </a:lnTo>
                  <a:lnTo>
                    <a:pt x="3981352" y="3849282"/>
                  </a:lnTo>
                  <a:lnTo>
                    <a:pt x="3980307" y="3850812"/>
                  </a:lnTo>
                  <a:lnTo>
                    <a:pt x="3979233" y="3853339"/>
                  </a:lnTo>
                  <a:lnTo>
                    <a:pt x="3979033" y="3854114"/>
                  </a:lnTo>
                  <a:lnTo>
                    <a:pt x="3979003" y="3854485"/>
                  </a:lnTo>
                  <a:lnTo>
                    <a:pt x="3979005" y="3855565"/>
                  </a:lnTo>
                  <a:lnTo>
                    <a:pt x="3977835" y="3860956"/>
                  </a:lnTo>
                  <a:lnTo>
                    <a:pt x="3976871" y="3863371"/>
                  </a:lnTo>
                  <a:lnTo>
                    <a:pt x="3976228" y="3864411"/>
                  </a:lnTo>
                  <a:lnTo>
                    <a:pt x="3975469" y="3865317"/>
                  </a:lnTo>
                  <a:lnTo>
                    <a:pt x="3974469" y="3866195"/>
                  </a:lnTo>
                  <a:lnTo>
                    <a:pt x="3972275" y="3867597"/>
                  </a:lnTo>
                  <a:lnTo>
                    <a:pt x="3967764" y="3869361"/>
                  </a:lnTo>
                  <a:lnTo>
                    <a:pt x="3966585" y="3869377"/>
                  </a:lnTo>
                  <a:lnTo>
                    <a:pt x="3965866" y="3869059"/>
                  </a:lnTo>
                  <a:lnTo>
                    <a:pt x="3965541" y="3868443"/>
                  </a:lnTo>
                  <a:lnTo>
                    <a:pt x="3965517" y="3867638"/>
                  </a:lnTo>
                  <a:lnTo>
                    <a:pt x="3966054" y="3865577"/>
                  </a:lnTo>
                  <a:lnTo>
                    <a:pt x="3966999" y="3863275"/>
                  </a:lnTo>
                  <a:lnTo>
                    <a:pt x="3968177" y="3861488"/>
                  </a:lnTo>
                  <a:lnTo>
                    <a:pt x="3970262" y="3856208"/>
                  </a:lnTo>
                  <a:lnTo>
                    <a:pt x="3971176" y="3854532"/>
                  </a:lnTo>
                  <a:lnTo>
                    <a:pt x="3972459" y="3852737"/>
                  </a:lnTo>
                  <a:lnTo>
                    <a:pt x="3974976" y="3850144"/>
                  </a:lnTo>
                  <a:lnTo>
                    <a:pt x="3975640" y="3849708"/>
                  </a:lnTo>
                  <a:lnTo>
                    <a:pt x="3976156" y="3849577"/>
                  </a:lnTo>
                  <a:lnTo>
                    <a:pt x="3977239" y="3849509"/>
                  </a:lnTo>
                  <a:lnTo>
                    <a:pt x="3977759" y="3849297"/>
                  </a:lnTo>
                  <a:lnTo>
                    <a:pt x="3981196" y="3846727"/>
                  </a:lnTo>
                  <a:close/>
                  <a:moveTo>
                    <a:pt x="3989054" y="3842411"/>
                  </a:moveTo>
                  <a:lnTo>
                    <a:pt x="3989434" y="3843162"/>
                  </a:lnTo>
                  <a:lnTo>
                    <a:pt x="3989446" y="3845031"/>
                  </a:lnTo>
                  <a:lnTo>
                    <a:pt x="3989608" y="3846237"/>
                  </a:lnTo>
                  <a:lnTo>
                    <a:pt x="3989898" y="3852060"/>
                  </a:lnTo>
                  <a:lnTo>
                    <a:pt x="3990357" y="3853943"/>
                  </a:lnTo>
                  <a:lnTo>
                    <a:pt x="3990468" y="3854886"/>
                  </a:lnTo>
                  <a:lnTo>
                    <a:pt x="3990418" y="3855447"/>
                  </a:lnTo>
                  <a:lnTo>
                    <a:pt x="3989640" y="3857950"/>
                  </a:lnTo>
                  <a:lnTo>
                    <a:pt x="3989514" y="3858997"/>
                  </a:lnTo>
                  <a:lnTo>
                    <a:pt x="3989512" y="3860093"/>
                  </a:lnTo>
                  <a:lnTo>
                    <a:pt x="3989600" y="3861254"/>
                  </a:lnTo>
                  <a:lnTo>
                    <a:pt x="3989808" y="3862485"/>
                  </a:lnTo>
                  <a:lnTo>
                    <a:pt x="3990132" y="3863622"/>
                  </a:lnTo>
                  <a:lnTo>
                    <a:pt x="3991575" y="3866879"/>
                  </a:lnTo>
                  <a:lnTo>
                    <a:pt x="3991733" y="3867430"/>
                  </a:lnTo>
                  <a:lnTo>
                    <a:pt x="3991752" y="3867970"/>
                  </a:lnTo>
                  <a:lnTo>
                    <a:pt x="3991627" y="3868423"/>
                  </a:lnTo>
                  <a:lnTo>
                    <a:pt x="3991403" y="3868785"/>
                  </a:lnTo>
                  <a:lnTo>
                    <a:pt x="3990277" y="3870027"/>
                  </a:lnTo>
                  <a:lnTo>
                    <a:pt x="3990069" y="3870421"/>
                  </a:lnTo>
                  <a:lnTo>
                    <a:pt x="3989913" y="3870880"/>
                  </a:lnTo>
                  <a:lnTo>
                    <a:pt x="3989632" y="3872330"/>
                  </a:lnTo>
                  <a:lnTo>
                    <a:pt x="3989485" y="3872780"/>
                  </a:lnTo>
                  <a:lnTo>
                    <a:pt x="3988962" y="3873531"/>
                  </a:lnTo>
                  <a:lnTo>
                    <a:pt x="3988259" y="3873950"/>
                  </a:lnTo>
                  <a:lnTo>
                    <a:pt x="3987454" y="3874134"/>
                  </a:lnTo>
                  <a:lnTo>
                    <a:pt x="3979618" y="3874439"/>
                  </a:lnTo>
                  <a:lnTo>
                    <a:pt x="3973867" y="3876200"/>
                  </a:lnTo>
                  <a:lnTo>
                    <a:pt x="3973462" y="3876406"/>
                  </a:lnTo>
                  <a:lnTo>
                    <a:pt x="3972732" y="3876996"/>
                  </a:lnTo>
                  <a:lnTo>
                    <a:pt x="3970440" y="3879537"/>
                  </a:lnTo>
                  <a:lnTo>
                    <a:pt x="3965648" y="3883416"/>
                  </a:lnTo>
                  <a:lnTo>
                    <a:pt x="3964278" y="3883775"/>
                  </a:lnTo>
                  <a:lnTo>
                    <a:pt x="3963419" y="3884183"/>
                  </a:lnTo>
                  <a:lnTo>
                    <a:pt x="3963167" y="3884189"/>
                  </a:lnTo>
                  <a:lnTo>
                    <a:pt x="3962254" y="3883814"/>
                  </a:lnTo>
                  <a:lnTo>
                    <a:pt x="3962067" y="3883675"/>
                  </a:lnTo>
                  <a:lnTo>
                    <a:pt x="3961953" y="3883557"/>
                  </a:lnTo>
                  <a:lnTo>
                    <a:pt x="3961746" y="3883285"/>
                  </a:lnTo>
                  <a:lnTo>
                    <a:pt x="3961617" y="3883172"/>
                  </a:lnTo>
                  <a:lnTo>
                    <a:pt x="3962303" y="3882443"/>
                  </a:lnTo>
                  <a:lnTo>
                    <a:pt x="3965839" y="3877146"/>
                  </a:lnTo>
                  <a:lnTo>
                    <a:pt x="3967177" y="3875626"/>
                  </a:lnTo>
                  <a:lnTo>
                    <a:pt x="3967384" y="3875183"/>
                  </a:lnTo>
                  <a:lnTo>
                    <a:pt x="3967867" y="3872716"/>
                  </a:lnTo>
                  <a:lnTo>
                    <a:pt x="3968082" y="3872130"/>
                  </a:lnTo>
                  <a:lnTo>
                    <a:pt x="3968462" y="3871774"/>
                  </a:lnTo>
                  <a:lnTo>
                    <a:pt x="3969937" y="3871260"/>
                  </a:lnTo>
                  <a:lnTo>
                    <a:pt x="3971329" y="3870396"/>
                  </a:lnTo>
                  <a:lnTo>
                    <a:pt x="3971755" y="3870257"/>
                  </a:lnTo>
                  <a:lnTo>
                    <a:pt x="3972603" y="3870116"/>
                  </a:lnTo>
                  <a:lnTo>
                    <a:pt x="3973020" y="3869947"/>
                  </a:lnTo>
                  <a:lnTo>
                    <a:pt x="3973890" y="3869297"/>
                  </a:lnTo>
                  <a:lnTo>
                    <a:pt x="3976952" y="3866222"/>
                  </a:lnTo>
                  <a:lnTo>
                    <a:pt x="3978232" y="3864507"/>
                  </a:lnTo>
                  <a:lnTo>
                    <a:pt x="3979437" y="3861743"/>
                  </a:lnTo>
                  <a:lnTo>
                    <a:pt x="3980051" y="3858845"/>
                  </a:lnTo>
                  <a:lnTo>
                    <a:pt x="3980129" y="3857614"/>
                  </a:lnTo>
                  <a:lnTo>
                    <a:pt x="3980681" y="3855000"/>
                  </a:lnTo>
                  <a:lnTo>
                    <a:pt x="3980743" y="3854056"/>
                  </a:lnTo>
                  <a:lnTo>
                    <a:pt x="3981272" y="3852905"/>
                  </a:lnTo>
                  <a:lnTo>
                    <a:pt x="3984894" y="3847092"/>
                  </a:lnTo>
                  <a:lnTo>
                    <a:pt x="3985663" y="3845230"/>
                  </a:lnTo>
                  <a:lnTo>
                    <a:pt x="3986042" y="3844572"/>
                  </a:lnTo>
                  <a:lnTo>
                    <a:pt x="3986504" y="3844010"/>
                  </a:lnTo>
                  <a:lnTo>
                    <a:pt x="3987099" y="3843508"/>
                  </a:lnTo>
                  <a:lnTo>
                    <a:pt x="3988369" y="3842530"/>
                  </a:lnTo>
                  <a:close/>
                  <a:moveTo>
                    <a:pt x="4643954" y="3817235"/>
                  </a:moveTo>
                  <a:lnTo>
                    <a:pt x="4644046" y="3819152"/>
                  </a:lnTo>
                  <a:lnTo>
                    <a:pt x="4644438" y="3821113"/>
                  </a:lnTo>
                  <a:lnTo>
                    <a:pt x="4644094" y="3822881"/>
                  </a:lnTo>
                  <a:lnTo>
                    <a:pt x="4644149" y="3825125"/>
                  </a:lnTo>
                  <a:lnTo>
                    <a:pt x="4643976" y="3827214"/>
                  </a:lnTo>
                  <a:lnTo>
                    <a:pt x="4642941" y="3828475"/>
                  </a:lnTo>
                  <a:lnTo>
                    <a:pt x="4642900" y="3826927"/>
                  </a:lnTo>
                  <a:lnTo>
                    <a:pt x="4642060" y="3826132"/>
                  </a:lnTo>
                  <a:lnTo>
                    <a:pt x="4641103" y="3825642"/>
                  </a:lnTo>
                  <a:lnTo>
                    <a:pt x="4640122" y="3825415"/>
                  </a:lnTo>
                  <a:lnTo>
                    <a:pt x="4639186" y="3825420"/>
                  </a:lnTo>
                  <a:lnTo>
                    <a:pt x="4639505" y="3824207"/>
                  </a:lnTo>
                  <a:lnTo>
                    <a:pt x="4640128" y="3823288"/>
                  </a:lnTo>
                  <a:lnTo>
                    <a:pt x="4641743" y="3821660"/>
                  </a:lnTo>
                  <a:lnTo>
                    <a:pt x="4640005" y="3819588"/>
                  </a:lnTo>
                  <a:lnTo>
                    <a:pt x="4640576" y="3818546"/>
                  </a:lnTo>
                  <a:close/>
                  <a:moveTo>
                    <a:pt x="4558802" y="3753041"/>
                  </a:moveTo>
                  <a:lnTo>
                    <a:pt x="4559633" y="3753061"/>
                  </a:lnTo>
                  <a:lnTo>
                    <a:pt x="4560044" y="3754192"/>
                  </a:lnTo>
                  <a:lnTo>
                    <a:pt x="4559697" y="3756026"/>
                  </a:lnTo>
                  <a:lnTo>
                    <a:pt x="4559493" y="3759624"/>
                  </a:lnTo>
                  <a:lnTo>
                    <a:pt x="4557683" y="3767155"/>
                  </a:lnTo>
                  <a:lnTo>
                    <a:pt x="4558014" y="3770916"/>
                  </a:lnTo>
                  <a:lnTo>
                    <a:pt x="4556680" y="3770677"/>
                  </a:lnTo>
                  <a:lnTo>
                    <a:pt x="4556754" y="3762614"/>
                  </a:lnTo>
                  <a:lnTo>
                    <a:pt x="4557428" y="3758684"/>
                  </a:lnTo>
                  <a:lnTo>
                    <a:pt x="4557576" y="3755870"/>
                  </a:lnTo>
                  <a:lnTo>
                    <a:pt x="4557869" y="3754543"/>
                  </a:lnTo>
                  <a:close/>
                  <a:moveTo>
                    <a:pt x="4502308" y="3732619"/>
                  </a:moveTo>
                  <a:lnTo>
                    <a:pt x="4503976" y="3733984"/>
                  </a:lnTo>
                  <a:lnTo>
                    <a:pt x="4504742" y="3733073"/>
                  </a:lnTo>
                  <a:lnTo>
                    <a:pt x="4506063" y="3734021"/>
                  </a:lnTo>
                  <a:lnTo>
                    <a:pt x="4506269" y="3735090"/>
                  </a:lnTo>
                  <a:lnTo>
                    <a:pt x="4504839" y="3735211"/>
                  </a:lnTo>
                  <a:lnTo>
                    <a:pt x="4504636" y="3736430"/>
                  </a:lnTo>
                  <a:lnTo>
                    <a:pt x="4505759" y="3737419"/>
                  </a:lnTo>
                  <a:lnTo>
                    <a:pt x="4508131" y="3740006"/>
                  </a:lnTo>
                  <a:lnTo>
                    <a:pt x="4510038" y="3742336"/>
                  </a:lnTo>
                  <a:lnTo>
                    <a:pt x="4511421" y="3744158"/>
                  </a:lnTo>
                  <a:lnTo>
                    <a:pt x="4512839" y="3744844"/>
                  </a:lnTo>
                  <a:lnTo>
                    <a:pt x="4514340" y="3745116"/>
                  </a:lnTo>
                  <a:lnTo>
                    <a:pt x="4515262" y="3746366"/>
                  </a:lnTo>
                  <a:lnTo>
                    <a:pt x="4515428" y="3747349"/>
                  </a:lnTo>
                  <a:lnTo>
                    <a:pt x="4514386" y="3748608"/>
                  </a:lnTo>
                  <a:lnTo>
                    <a:pt x="4512628" y="3748356"/>
                  </a:lnTo>
                  <a:lnTo>
                    <a:pt x="4511533" y="3746711"/>
                  </a:lnTo>
                  <a:lnTo>
                    <a:pt x="4510295" y="3745830"/>
                  </a:lnTo>
                  <a:lnTo>
                    <a:pt x="4509336" y="3745824"/>
                  </a:lnTo>
                  <a:lnTo>
                    <a:pt x="4508547" y="3746691"/>
                  </a:lnTo>
                  <a:lnTo>
                    <a:pt x="4507109" y="3746439"/>
                  </a:lnTo>
                  <a:lnTo>
                    <a:pt x="4506138" y="3747130"/>
                  </a:lnTo>
                  <a:lnTo>
                    <a:pt x="4505633" y="3748283"/>
                  </a:lnTo>
                  <a:lnTo>
                    <a:pt x="4503639" y="3749422"/>
                  </a:lnTo>
                  <a:lnTo>
                    <a:pt x="4502806" y="3751306"/>
                  </a:lnTo>
                  <a:lnTo>
                    <a:pt x="4502549" y="3752416"/>
                  </a:lnTo>
                  <a:lnTo>
                    <a:pt x="4502908" y="3755058"/>
                  </a:lnTo>
                  <a:lnTo>
                    <a:pt x="4502062" y="3755895"/>
                  </a:lnTo>
                  <a:lnTo>
                    <a:pt x="4500807" y="3756091"/>
                  </a:lnTo>
                  <a:lnTo>
                    <a:pt x="4500106" y="3753557"/>
                  </a:lnTo>
                  <a:lnTo>
                    <a:pt x="4499728" y="3750683"/>
                  </a:lnTo>
                  <a:lnTo>
                    <a:pt x="4498780" y="3747142"/>
                  </a:lnTo>
                  <a:lnTo>
                    <a:pt x="4499149" y="3744284"/>
                  </a:lnTo>
                  <a:lnTo>
                    <a:pt x="4498789" y="3742597"/>
                  </a:lnTo>
                  <a:lnTo>
                    <a:pt x="4498319" y="3739468"/>
                  </a:lnTo>
                  <a:lnTo>
                    <a:pt x="4498696" y="3735339"/>
                  </a:lnTo>
                  <a:lnTo>
                    <a:pt x="4500625" y="3733021"/>
                  </a:lnTo>
                  <a:close/>
                  <a:moveTo>
                    <a:pt x="4128360" y="3635372"/>
                  </a:moveTo>
                  <a:lnTo>
                    <a:pt x="4129489" y="3635665"/>
                  </a:lnTo>
                  <a:lnTo>
                    <a:pt x="4130298" y="3636528"/>
                  </a:lnTo>
                  <a:lnTo>
                    <a:pt x="4130453" y="3638143"/>
                  </a:lnTo>
                  <a:lnTo>
                    <a:pt x="4130041" y="3639730"/>
                  </a:lnTo>
                  <a:lnTo>
                    <a:pt x="4129250" y="3644869"/>
                  </a:lnTo>
                  <a:lnTo>
                    <a:pt x="4128736" y="3646129"/>
                  </a:lnTo>
                  <a:lnTo>
                    <a:pt x="4127758" y="3647152"/>
                  </a:lnTo>
                  <a:lnTo>
                    <a:pt x="4124885" y="3652580"/>
                  </a:lnTo>
                  <a:lnTo>
                    <a:pt x="4120646" y="3658123"/>
                  </a:lnTo>
                  <a:lnTo>
                    <a:pt x="4118009" y="3659762"/>
                  </a:lnTo>
                  <a:lnTo>
                    <a:pt x="4115022" y="3660828"/>
                  </a:lnTo>
                  <a:lnTo>
                    <a:pt x="4113613" y="3659345"/>
                  </a:lnTo>
                  <a:lnTo>
                    <a:pt x="4115286" y="3655307"/>
                  </a:lnTo>
                  <a:lnTo>
                    <a:pt x="4119973" y="3648204"/>
                  </a:lnTo>
                  <a:lnTo>
                    <a:pt x="4122765" y="3640824"/>
                  </a:lnTo>
                  <a:lnTo>
                    <a:pt x="4124556" y="3637355"/>
                  </a:lnTo>
                  <a:lnTo>
                    <a:pt x="4127221" y="3635480"/>
                  </a:lnTo>
                  <a:close/>
                  <a:moveTo>
                    <a:pt x="4147750" y="3580601"/>
                  </a:moveTo>
                  <a:lnTo>
                    <a:pt x="4147688" y="3581695"/>
                  </a:lnTo>
                  <a:lnTo>
                    <a:pt x="4146024" y="3586457"/>
                  </a:lnTo>
                  <a:lnTo>
                    <a:pt x="4145135" y="3588138"/>
                  </a:lnTo>
                  <a:lnTo>
                    <a:pt x="4143966" y="3588931"/>
                  </a:lnTo>
                  <a:lnTo>
                    <a:pt x="4142805" y="3589205"/>
                  </a:lnTo>
                  <a:lnTo>
                    <a:pt x="4142058" y="3588929"/>
                  </a:lnTo>
                  <a:lnTo>
                    <a:pt x="4141626" y="3587992"/>
                  </a:lnTo>
                  <a:lnTo>
                    <a:pt x="4141466" y="3586953"/>
                  </a:lnTo>
                  <a:lnTo>
                    <a:pt x="4141679" y="3585801"/>
                  </a:lnTo>
                  <a:lnTo>
                    <a:pt x="4142297" y="3584436"/>
                  </a:lnTo>
                  <a:lnTo>
                    <a:pt x="4143367" y="3583028"/>
                  </a:lnTo>
                  <a:lnTo>
                    <a:pt x="4144633" y="3581987"/>
                  </a:lnTo>
                  <a:lnTo>
                    <a:pt x="4146662" y="3581045"/>
                  </a:lnTo>
                  <a:close/>
                  <a:moveTo>
                    <a:pt x="5025287" y="3539273"/>
                  </a:moveTo>
                  <a:lnTo>
                    <a:pt x="5024450" y="3545962"/>
                  </a:lnTo>
                  <a:lnTo>
                    <a:pt x="5022360" y="3550562"/>
                  </a:lnTo>
                  <a:lnTo>
                    <a:pt x="5019843" y="3554251"/>
                  </a:lnTo>
                  <a:lnTo>
                    <a:pt x="5016899" y="3557031"/>
                  </a:lnTo>
                  <a:lnTo>
                    <a:pt x="5013272" y="3559557"/>
                  </a:lnTo>
                  <a:lnTo>
                    <a:pt x="5009542" y="3561912"/>
                  </a:lnTo>
                  <a:lnTo>
                    <a:pt x="5005045" y="3562991"/>
                  </a:lnTo>
                  <a:lnTo>
                    <a:pt x="5001412" y="3563243"/>
                  </a:lnTo>
                  <a:lnTo>
                    <a:pt x="4999618" y="3562127"/>
                  </a:lnTo>
                  <a:lnTo>
                    <a:pt x="5000493" y="3561712"/>
                  </a:lnTo>
                  <a:lnTo>
                    <a:pt x="5001640" y="3561652"/>
                  </a:lnTo>
                  <a:lnTo>
                    <a:pt x="5002803" y="3561521"/>
                  </a:lnTo>
                  <a:lnTo>
                    <a:pt x="5004344" y="3561491"/>
                  </a:lnTo>
                  <a:lnTo>
                    <a:pt x="5009709" y="3558745"/>
                  </a:lnTo>
                  <a:lnTo>
                    <a:pt x="5017997" y="3553051"/>
                  </a:lnTo>
                  <a:lnTo>
                    <a:pt x="5019672" y="3551013"/>
                  </a:lnTo>
                  <a:lnTo>
                    <a:pt x="5020854" y="3549730"/>
                  </a:lnTo>
                  <a:lnTo>
                    <a:pt x="5022081" y="3547636"/>
                  </a:lnTo>
                  <a:lnTo>
                    <a:pt x="5023964" y="3542395"/>
                  </a:lnTo>
                  <a:close/>
                  <a:moveTo>
                    <a:pt x="4746357" y="3477731"/>
                  </a:moveTo>
                  <a:lnTo>
                    <a:pt x="4746305" y="3478349"/>
                  </a:lnTo>
                  <a:lnTo>
                    <a:pt x="4746669" y="3479262"/>
                  </a:lnTo>
                  <a:lnTo>
                    <a:pt x="4745965" y="3480256"/>
                  </a:lnTo>
                  <a:lnTo>
                    <a:pt x="4744714" y="3481726"/>
                  </a:lnTo>
                  <a:lnTo>
                    <a:pt x="4744518" y="3482374"/>
                  </a:lnTo>
                  <a:lnTo>
                    <a:pt x="4743636" y="3482508"/>
                  </a:lnTo>
                  <a:lnTo>
                    <a:pt x="4742733" y="3482600"/>
                  </a:lnTo>
                  <a:lnTo>
                    <a:pt x="4741718" y="3483400"/>
                  </a:lnTo>
                  <a:lnTo>
                    <a:pt x="4741126" y="3483687"/>
                  </a:lnTo>
                  <a:lnTo>
                    <a:pt x="4740808" y="3483068"/>
                  </a:lnTo>
                  <a:lnTo>
                    <a:pt x="4741187" y="3482262"/>
                  </a:lnTo>
                  <a:lnTo>
                    <a:pt x="4742067" y="3480685"/>
                  </a:lnTo>
                  <a:lnTo>
                    <a:pt x="4742719" y="3480309"/>
                  </a:lnTo>
                  <a:lnTo>
                    <a:pt x="4743412" y="3479910"/>
                  </a:lnTo>
                  <a:lnTo>
                    <a:pt x="4743895" y="3479310"/>
                  </a:lnTo>
                  <a:lnTo>
                    <a:pt x="4744583" y="3478593"/>
                  </a:lnTo>
                  <a:lnTo>
                    <a:pt x="4745646" y="3478194"/>
                  </a:lnTo>
                  <a:close/>
                  <a:moveTo>
                    <a:pt x="356518" y="3455866"/>
                  </a:moveTo>
                  <a:lnTo>
                    <a:pt x="356897" y="3457016"/>
                  </a:lnTo>
                  <a:lnTo>
                    <a:pt x="357118" y="3458415"/>
                  </a:lnTo>
                  <a:lnTo>
                    <a:pt x="357495" y="3459775"/>
                  </a:lnTo>
                  <a:lnTo>
                    <a:pt x="358043" y="3460506"/>
                  </a:lnTo>
                  <a:lnTo>
                    <a:pt x="358479" y="3460912"/>
                  </a:lnTo>
                  <a:lnTo>
                    <a:pt x="358678" y="3461164"/>
                  </a:lnTo>
                  <a:lnTo>
                    <a:pt x="358471" y="3462252"/>
                  </a:lnTo>
                  <a:lnTo>
                    <a:pt x="357567" y="3463054"/>
                  </a:lnTo>
                  <a:lnTo>
                    <a:pt x="356796" y="3462051"/>
                  </a:lnTo>
                  <a:lnTo>
                    <a:pt x="356597" y="3460613"/>
                  </a:lnTo>
                  <a:lnTo>
                    <a:pt x="356178" y="3459154"/>
                  </a:lnTo>
                  <a:lnTo>
                    <a:pt x="355888" y="3457644"/>
                  </a:lnTo>
                  <a:lnTo>
                    <a:pt x="355922" y="3457289"/>
                  </a:lnTo>
                  <a:lnTo>
                    <a:pt x="356093" y="3457913"/>
                  </a:lnTo>
                  <a:lnTo>
                    <a:pt x="356334" y="3457440"/>
                  </a:lnTo>
                  <a:lnTo>
                    <a:pt x="356364" y="3456032"/>
                  </a:lnTo>
                  <a:close/>
                  <a:moveTo>
                    <a:pt x="371360" y="3440419"/>
                  </a:moveTo>
                  <a:lnTo>
                    <a:pt x="372564" y="3441268"/>
                  </a:lnTo>
                  <a:lnTo>
                    <a:pt x="373608" y="3443378"/>
                  </a:lnTo>
                  <a:lnTo>
                    <a:pt x="375590" y="3445882"/>
                  </a:lnTo>
                  <a:lnTo>
                    <a:pt x="378871" y="3447592"/>
                  </a:lnTo>
                  <a:lnTo>
                    <a:pt x="381212" y="3448906"/>
                  </a:lnTo>
                  <a:lnTo>
                    <a:pt x="381591" y="3449898"/>
                  </a:lnTo>
                  <a:lnTo>
                    <a:pt x="381522" y="3450372"/>
                  </a:lnTo>
                  <a:lnTo>
                    <a:pt x="380714" y="3450197"/>
                  </a:lnTo>
                  <a:lnTo>
                    <a:pt x="379413" y="3450160"/>
                  </a:lnTo>
                  <a:lnTo>
                    <a:pt x="378834" y="3450242"/>
                  </a:lnTo>
                  <a:lnTo>
                    <a:pt x="377748" y="3450788"/>
                  </a:lnTo>
                  <a:lnTo>
                    <a:pt x="376681" y="3451006"/>
                  </a:lnTo>
                  <a:lnTo>
                    <a:pt x="375560" y="3450209"/>
                  </a:lnTo>
                  <a:lnTo>
                    <a:pt x="374433" y="3449735"/>
                  </a:lnTo>
                  <a:lnTo>
                    <a:pt x="372965" y="3449279"/>
                  </a:lnTo>
                  <a:lnTo>
                    <a:pt x="372338" y="3448344"/>
                  </a:lnTo>
                  <a:lnTo>
                    <a:pt x="371618" y="3447373"/>
                  </a:lnTo>
                  <a:lnTo>
                    <a:pt x="370783" y="3445856"/>
                  </a:lnTo>
                  <a:lnTo>
                    <a:pt x="371172" y="3444854"/>
                  </a:lnTo>
                  <a:lnTo>
                    <a:pt x="371450" y="3444137"/>
                  </a:lnTo>
                  <a:lnTo>
                    <a:pt x="371728" y="3443419"/>
                  </a:lnTo>
                  <a:lnTo>
                    <a:pt x="371725" y="3442583"/>
                  </a:lnTo>
                  <a:lnTo>
                    <a:pt x="371328" y="3441912"/>
                  </a:lnTo>
                  <a:lnTo>
                    <a:pt x="371063" y="3441469"/>
                  </a:lnTo>
                  <a:close/>
                  <a:moveTo>
                    <a:pt x="364825" y="3439491"/>
                  </a:moveTo>
                  <a:lnTo>
                    <a:pt x="365702" y="3440035"/>
                  </a:lnTo>
                  <a:lnTo>
                    <a:pt x="366345" y="3440639"/>
                  </a:lnTo>
                  <a:lnTo>
                    <a:pt x="367253" y="3442531"/>
                  </a:lnTo>
                  <a:lnTo>
                    <a:pt x="367806" y="3443926"/>
                  </a:lnTo>
                  <a:lnTo>
                    <a:pt x="367490" y="3445299"/>
                  </a:lnTo>
                  <a:lnTo>
                    <a:pt x="366953" y="3446406"/>
                  </a:lnTo>
                  <a:lnTo>
                    <a:pt x="367446" y="3447114"/>
                  </a:lnTo>
                  <a:lnTo>
                    <a:pt x="368859" y="3447711"/>
                  </a:lnTo>
                  <a:lnTo>
                    <a:pt x="369875" y="3448480"/>
                  </a:lnTo>
                  <a:lnTo>
                    <a:pt x="370707" y="3449162"/>
                  </a:lnTo>
                  <a:lnTo>
                    <a:pt x="370585" y="3450607"/>
                  </a:lnTo>
                  <a:lnTo>
                    <a:pt x="370025" y="3451206"/>
                  </a:lnTo>
                  <a:lnTo>
                    <a:pt x="369007" y="3451280"/>
                  </a:lnTo>
                  <a:lnTo>
                    <a:pt x="367421" y="3450280"/>
                  </a:lnTo>
                  <a:lnTo>
                    <a:pt x="366444" y="3449694"/>
                  </a:lnTo>
                  <a:lnTo>
                    <a:pt x="365423" y="3448931"/>
                  </a:lnTo>
                  <a:lnTo>
                    <a:pt x="364228" y="3446928"/>
                  </a:lnTo>
                  <a:lnTo>
                    <a:pt x="363828" y="3446254"/>
                  </a:lnTo>
                  <a:lnTo>
                    <a:pt x="363131" y="3444961"/>
                  </a:lnTo>
                  <a:lnTo>
                    <a:pt x="363126" y="3444124"/>
                  </a:lnTo>
                  <a:lnTo>
                    <a:pt x="363799" y="3442397"/>
                  </a:lnTo>
                  <a:lnTo>
                    <a:pt x="364134" y="3441536"/>
                  </a:lnTo>
                  <a:lnTo>
                    <a:pt x="363714" y="3440359"/>
                  </a:lnTo>
                  <a:lnTo>
                    <a:pt x="363994" y="3439642"/>
                  </a:lnTo>
                  <a:close/>
                  <a:moveTo>
                    <a:pt x="4865240" y="3439180"/>
                  </a:moveTo>
                  <a:lnTo>
                    <a:pt x="4866145" y="3439235"/>
                  </a:lnTo>
                  <a:lnTo>
                    <a:pt x="4867177" y="3439543"/>
                  </a:lnTo>
                  <a:lnTo>
                    <a:pt x="4867309" y="3440597"/>
                  </a:lnTo>
                  <a:lnTo>
                    <a:pt x="4867032" y="3441371"/>
                  </a:lnTo>
                  <a:lnTo>
                    <a:pt x="4866427" y="3441906"/>
                  </a:lnTo>
                  <a:lnTo>
                    <a:pt x="4865582" y="3442237"/>
                  </a:lnTo>
                  <a:lnTo>
                    <a:pt x="4864133" y="3445799"/>
                  </a:lnTo>
                  <a:lnTo>
                    <a:pt x="4864260" y="3447538"/>
                  </a:lnTo>
                  <a:lnTo>
                    <a:pt x="4866171" y="3448793"/>
                  </a:lnTo>
                  <a:lnTo>
                    <a:pt x="4865420" y="3450692"/>
                  </a:lnTo>
                  <a:lnTo>
                    <a:pt x="4865091" y="3452994"/>
                  </a:lnTo>
                  <a:lnTo>
                    <a:pt x="4864394" y="3454602"/>
                  </a:lnTo>
                  <a:lnTo>
                    <a:pt x="4862531" y="3454443"/>
                  </a:lnTo>
                  <a:lnTo>
                    <a:pt x="4862956" y="3453463"/>
                  </a:lnTo>
                  <a:lnTo>
                    <a:pt x="4863091" y="3452219"/>
                  </a:lnTo>
                  <a:lnTo>
                    <a:pt x="4862769" y="3451323"/>
                  </a:lnTo>
                  <a:lnTo>
                    <a:pt x="4861850" y="3451398"/>
                  </a:lnTo>
                  <a:lnTo>
                    <a:pt x="4860047" y="3452421"/>
                  </a:lnTo>
                  <a:lnTo>
                    <a:pt x="4859110" y="3452753"/>
                  </a:lnTo>
                  <a:lnTo>
                    <a:pt x="4858110" y="3452860"/>
                  </a:lnTo>
                  <a:lnTo>
                    <a:pt x="4857104" y="3452648"/>
                  </a:lnTo>
                  <a:lnTo>
                    <a:pt x="4855537" y="3452022"/>
                  </a:lnTo>
                  <a:lnTo>
                    <a:pt x="4854306" y="3452288"/>
                  </a:lnTo>
                  <a:lnTo>
                    <a:pt x="4854040" y="3451955"/>
                  </a:lnTo>
                  <a:lnTo>
                    <a:pt x="4853765" y="3451431"/>
                  </a:lnTo>
                  <a:lnTo>
                    <a:pt x="4852764" y="3450475"/>
                  </a:lnTo>
                  <a:lnTo>
                    <a:pt x="4853023" y="3449996"/>
                  </a:lnTo>
                  <a:lnTo>
                    <a:pt x="4853881" y="3449285"/>
                  </a:lnTo>
                  <a:lnTo>
                    <a:pt x="4854475" y="3447685"/>
                  </a:lnTo>
                  <a:lnTo>
                    <a:pt x="4855443" y="3446044"/>
                  </a:lnTo>
                  <a:lnTo>
                    <a:pt x="4856624" y="3444547"/>
                  </a:lnTo>
                  <a:lnTo>
                    <a:pt x="4857861" y="3443366"/>
                  </a:lnTo>
                  <a:lnTo>
                    <a:pt x="4861194" y="3441273"/>
                  </a:lnTo>
                  <a:lnTo>
                    <a:pt x="4863183" y="3440655"/>
                  </a:lnTo>
                  <a:lnTo>
                    <a:pt x="4864883" y="3440930"/>
                  </a:lnTo>
                  <a:lnTo>
                    <a:pt x="4864728" y="3439655"/>
                  </a:lnTo>
                  <a:close/>
                  <a:moveTo>
                    <a:pt x="4207774" y="3437386"/>
                  </a:moveTo>
                  <a:lnTo>
                    <a:pt x="4208166" y="3437452"/>
                  </a:lnTo>
                  <a:lnTo>
                    <a:pt x="4207996" y="3438020"/>
                  </a:lnTo>
                  <a:lnTo>
                    <a:pt x="4208202" y="3438416"/>
                  </a:lnTo>
                  <a:lnTo>
                    <a:pt x="4208465" y="3439440"/>
                  </a:lnTo>
                  <a:lnTo>
                    <a:pt x="4207522" y="3440685"/>
                  </a:lnTo>
                  <a:lnTo>
                    <a:pt x="4206553" y="3441287"/>
                  </a:lnTo>
                  <a:lnTo>
                    <a:pt x="4205717" y="3441625"/>
                  </a:lnTo>
                  <a:lnTo>
                    <a:pt x="4205458" y="3441294"/>
                  </a:lnTo>
                  <a:lnTo>
                    <a:pt x="4205518" y="3440654"/>
                  </a:lnTo>
                  <a:lnTo>
                    <a:pt x="4205828" y="3439738"/>
                  </a:lnTo>
                  <a:lnTo>
                    <a:pt x="4206682" y="3438861"/>
                  </a:lnTo>
                  <a:lnTo>
                    <a:pt x="4206977" y="3437911"/>
                  </a:lnTo>
                  <a:close/>
                  <a:moveTo>
                    <a:pt x="351429" y="3417861"/>
                  </a:moveTo>
                  <a:lnTo>
                    <a:pt x="351617" y="3418461"/>
                  </a:lnTo>
                  <a:lnTo>
                    <a:pt x="351661" y="3419052"/>
                  </a:lnTo>
                  <a:lnTo>
                    <a:pt x="351514" y="3420322"/>
                  </a:lnTo>
                  <a:lnTo>
                    <a:pt x="355151" y="3426565"/>
                  </a:lnTo>
                  <a:lnTo>
                    <a:pt x="357950" y="3433633"/>
                  </a:lnTo>
                  <a:lnTo>
                    <a:pt x="357004" y="3433258"/>
                  </a:lnTo>
                  <a:lnTo>
                    <a:pt x="356227" y="3432548"/>
                  </a:lnTo>
                  <a:lnTo>
                    <a:pt x="355640" y="3431571"/>
                  </a:lnTo>
                  <a:lnTo>
                    <a:pt x="355243" y="3430426"/>
                  </a:lnTo>
                  <a:lnTo>
                    <a:pt x="354940" y="3429945"/>
                  </a:lnTo>
                  <a:lnTo>
                    <a:pt x="354498" y="3429910"/>
                  </a:lnTo>
                  <a:lnTo>
                    <a:pt x="354029" y="3430267"/>
                  </a:lnTo>
                  <a:lnTo>
                    <a:pt x="353673" y="3430933"/>
                  </a:lnTo>
                  <a:lnTo>
                    <a:pt x="353786" y="3431433"/>
                  </a:lnTo>
                  <a:lnTo>
                    <a:pt x="354689" y="3433857"/>
                  </a:lnTo>
                  <a:lnTo>
                    <a:pt x="359388" y="3442239"/>
                  </a:lnTo>
                  <a:lnTo>
                    <a:pt x="357789" y="3443691"/>
                  </a:lnTo>
                  <a:lnTo>
                    <a:pt x="356026" y="3443191"/>
                  </a:lnTo>
                  <a:lnTo>
                    <a:pt x="353179" y="3440401"/>
                  </a:lnTo>
                  <a:lnTo>
                    <a:pt x="353324" y="3441400"/>
                  </a:lnTo>
                  <a:lnTo>
                    <a:pt x="354012" y="3444187"/>
                  </a:lnTo>
                  <a:lnTo>
                    <a:pt x="353723" y="3445102"/>
                  </a:lnTo>
                  <a:lnTo>
                    <a:pt x="352578" y="3445493"/>
                  </a:lnTo>
                  <a:lnTo>
                    <a:pt x="350943" y="3445589"/>
                  </a:lnTo>
                  <a:lnTo>
                    <a:pt x="349416" y="3445312"/>
                  </a:lnTo>
                  <a:lnTo>
                    <a:pt x="348607" y="3444572"/>
                  </a:lnTo>
                  <a:lnTo>
                    <a:pt x="348106" y="3443353"/>
                  </a:lnTo>
                  <a:lnTo>
                    <a:pt x="347521" y="3442560"/>
                  </a:lnTo>
                  <a:lnTo>
                    <a:pt x="347036" y="3441680"/>
                  </a:lnTo>
                  <a:lnTo>
                    <a:pt x="346861" y="3440191"/>
                  </a:lnTo>
                  <a:lnTo>
                    <a:pt x="346934" y="3438929"/>
                  </a:lnTo>
                  <a:lnTo>
                    <a:pt x="347249" y="3437472"/>
                  </a:lnTo>
                  <a:lnTo>
                    <a:pt x="347968" y="3436222"/>
                  </a:lnTo>
                  <a:lnTo>
                    <a:pt x="349254" y="3435566"/>
                  </a:lnTo>
                  <a:lnTo>
                    <a:pt x="349527" y="3434875"/>
                  </a:lnTo>
                  <a:lnTo>
                    <a:pt x="348755" y="3432924"/>
                  </a:lnTo>
                  <a:lnTo>
                    <a:pt x="348372" y="3430663"/>
                  </a:lnTo>
                  <a:lnTo>
                    <a:pt x="348949" y="3428862"/>
                  </a:lnTo>
                  <a:lnTo>
                    <a:pt x="351064" y="3428277"/>
                  </a:lnTo>
                  <a:lnTo>
                    <a:pt x="350188" y="3425641"/>
                  </a:lnTo>
                  <a:lnTo>
                    <a:pt x="349871" y="3423552"/>
                  </a:lnTo>
                  <a:lnTo>
                    <a:pt x="350244" y="3421220"/>
                  </a:lnTo>
                  <a:close/>
                  <a:moveTo>
                    <a:pt x="351026" y="3399054"/>
                  </a:moveTo>
                  <a:lnTo>
                    <a:pt x="351670" y="3399423"/>
                  </a:lnTo>
                  <a:lnTo>
                    <a:pt x="352107" y="3403853"/>
                  </a:lnTo>
                  <a:lnTo>
                    <a:pt x="354688" y="3414535"/>
                  </a:lnTo>
                  <a:lnTo>
                    <a:pt x="355630" y="3416776"/>
                  </a:lnTo>
                  <a:lnTo>
                    <a:pt x="359062" y="3422746"/>
                  </a:lnTo>
                  <a:lnTo>
                    <a:pt x="359845" y="3423657"/>
                  </a:lnTo>
                  <a:lnTo>
                    <a:pt x="361581" y="3424821"/>
                  </a:lnTo>
                  <a:lnTo>
                    <a:pt x="363709" y="3426851"/>
                  </a:lnTo>
                  <a:lnTo>
                    <a:pt x="364848" y="3428873"/>
                  </a:lnTo>
                  <a:lnTo>
                    <a:pt x="366771" y="3430180"/>
                  </a:lnTo>
                  <a:lnTo>
                    <a:pt x="367353" y="3431186"/>
                  </a:lnTo>
                  <a:lnTo>
                    <a:pt x="367281" y="3432836"/>
                  </a:lnTo>
                  <a:lnTo>
                    <a:pt x="366610" y="3434025"/>
                  </a:lnTo>
                  <a:lnTo>
                    <a:pt x="365698" y="3434330"/>
                  </a:lnTo>
                  <a:lnTo>
                    <a:pt x="364937" y="3433315"/>
                  </a:lnTo>
                  <a:lnTo>
                    <a:pt x="362836" y="3433359"/>
                  </a:lnTo>
                  <a:lnTo>
                    <a:pt x="361579" y="3431585"/>
                  </a:lnTo>
                  <a:lnTo>
                    <a:pt x="359996" y="3427177"/>
                  </a:lnTo>
                  <a:lnTo>
                    <a:pt x="355322" y="3420694"/>
                  </a:lnTo>
                  <a:lnTo>
                    <a:pt x="351862" y="3409466"/>
                  </a:lnTo>
                  <a:lnTo>
                    <a:pt x="350850" y="3407929"/>
                  </a:lnTo>
                  <a:lnTo>
                    <a:pt x="350827" y="3407028"/>
                  </a:lnTo>
                  <a:lnTo>
                    <a:pt x="349886" y="3401784"/>
                  </a:lnTo>
                  <a:lnTo>
                    <a:pt x="350287" y="3399848"/>
                  </a:lnTo>
                  <a:close/>
                  <a:moveTo>
                    <a:pt x="4750165" y="3397138"/>
                  </a:moveTo>
                  <a:lnTo>
                    <a:pt x="4750460" y="3397778"/>
                  </a:lnTo>
                  <a:lnTo>
                    <a:pt x="4749801" y="3399148"/>
                  </a:lnTo>
                  <a:lnTo>
                    <a:pt x="4748601" y="3403032"/>
                  </a:lnTo>
                  <a:lnTo>
                    <a:pt x="4742631" y="3413588"/>
                  </a:lnTo>
                  <a:lnTo>
                    <a:pt x="4740092" y="3416412"/>
                  </a:lnTo>
                  <a:lnTo>
                    <a:pt x="4739188" y="3417144"/>
                  </a:lnTo>
                  <a:lnTo>
                    <a:pt x="4738127" y="3417110"/>
                  </a:lnTo>
                  <a:lnTo>
                    <a:pt x="4736983" y="3416645"/>
                  </a:lnTo>
                  <a:lnTo>
                    <a:pt x="4733690" y="3415780"/>
                  </a:lnTo>
                  <a:lnTo>
                    <a:pt x="4735935" y="3417988"/>
                  </a:lnTo>
                  <a:lnTo>
                    <a:pt x="4736207" y="3418987"/>
                  </a:lnTo>
                  <a:lnTo>
                    <a:pt x="4735236" y="3420020"/>
                  </a:lnTo>
                  <a:lnTo>
                    <a:pt x="4734047" y="3420268"/>
                  </a:lnTo>
                  <a:lnTo>
                    <a:pt x="4731174" y="3420070"/>
                  </a:lnTo>
                  <a:lnTo>
                    <a:pt x="4729764" y="3420682"/>
                  </a:lnTo>
                  <a:lnTo>
                    <a:pt x="4730104" y="3421342"/>
                  </a:lnTo>
                  <a:lnTo>
                    <a:pt x="4731297" y="3421730"/>
                  </a:lnTo>
                  <a:lnTo>
                    <a:pt x="4732483" y="3423713"/>
                  </a:lnTo>
                  <a:lnTo>
                    <a:pt x="4733970" y="3424241"/>
                  </a:lnTo>
                  <a:lnTo>
                    <a:pt x="4731982" y="3426260"/>
                  </a:lnTo>
                  <a:lnTo>
                    <a:pt x="4730874" y="3426958"/>
                  </a:lnTo>
                  <a:lnTo>
                    <a:pt x="4729444" y="3426844"/>
                  </a:lnTo>
                  <a:lnTo>
                    <a:pt x="4733031" y="3428384"/>
                  </a:lnTo>
                  <a:lnTo>
                    <a:pt x="4733811" y="3429558"/>
                  </a:lnTo>
                  <a:lnTo>
                    <a:pt x="4732454" y="3431009"/>
                  </a:lnTo>
                  <a:lnTo>
                    <a:pt x="4726415" y="3432672"/>
                  </a:lnTo>
                  <a:lnTo>
                    <a:pt x="4725131" y="3434429"/>
                  </a:lnTo>
                  <a:lnTo>
                    <a:pt x="4729074" y="3433818"/>
                  </a:lnTo>
                  <a:lnTo>
                    <a:pt x="4731296" y="3434297"/>
                  </a:lnTo>
                  <a:lnTo>
                    <a:pt x="4732518" y="3436250"/>
                  </a:lnTo>
                  <a:lnTo>
                    <a:pt x="4731825" y="3437593"/>
                  </a:lnTo>
                  <a:lnTo>
                    <a:pt x="4729989" y="3438812"/>
                  </a:lnTo>
                  <a:lnTo>
                    <a:pt x="4726705" y="3440346"/>
                  </a:lnTo>
                  <a:lnTo>
                    <a:pt x="4723179" y="3440298"/>
                  </a:lnTo>
                  <a:lnTo>
                    <a:pt x="4721530" y="3440640"/>
                  </a:lnTo>
                  <a:lnTo>
                    <a:pt x="4721489" y="3442095"/>
                  </a:lnTo>
                  <a:lnTo>
                    <a:pt x="4724903" y="3441721"/>
                  </a:lnTo>
                  <a:lnTo>
                    <a:pt x="4727556" y="3441866"/>
                  </a:lnTo>
                  <a:lnTo>
                    <a:pt x="4729512" y="3443007"/>
                  </a:lnTo>
                  <a:lnTo>
                    <a:pt x="4727537" y="3443731"/>
                  </a:lnTo>
                  <a:lnTo>
                    <a:pt x="4723305" y="3443567"/>
                  </a:lnTo>
                  <a:lnTo>
                    <a:pt x="4721410" y="3444221"/>
                  </a:lnTo>
                  <a:lnTo>
                    <a:pt x="4722094" y="3444831"/>
                  </a:lnTo>
                  <a:lnTo>
                    <a:pt x="4722649" y="3445068"/>
                  </a:lnTo>
                  <a:lnTo>
                    <a:pt x="4723203" y="3444965"/>
                  </a:lnTo>
                  <a:lnTo>
                    <a:pt x="4723886" y="3444515"/>
                  </a:lnTo>
                  <a:lnTo>
                    <a:pt x="4724222" y="3445176"/>
                  </a:lnTo>
                  <a:lnTo>
                    <a:pt x="4723536" y="3445517"/>
                  </a:lnTo>
                  <a:lnTo>
                    <a:pt x="4723034" y="3445940"/>
                  </a:lnTo>
                  <a:lnTo>
                    <a:pt x="4722258" y="3447148"/>
                  </a:lnTo>
                  <a:lnTo>
                    <a:pt x="4723862" y="3446995"/>
                  </a:lnTo>
                  <a:lnTo>
                    <a:pt x="4726629" y="3445686"/>
                  </a:lnTo>
                  <a:lnTo>
                    <a:pt x="4727934" y="3445611"/>
                  </a:lnTo>
                  <a:lnTo>
                    <a:pt x="4727961" y="3446870"/>
                  </a:lnTo>
                  <a:lnTo>
                    <a:pt x="4728377" y="3448359"/>
                  </a:lnTo>
                  <a:lnTo>
                    <a:pt x="4728914" y="3449590"/>
                  </a:lnTo>
                  <a:lnTo>
                    <a:pt x="4729285" y="3450033"/>
                  </a:lnTo>
                  <a:lnTo>
                    <a:pt x="4732687" y="3448414"/>
                  </a:lnTo>
                  <a:lnTo>
                    <a:pt x="4733973" y="3448206"/>
                  </a:lnTo>
                  <a:lnTo>
                    <a:pt x="4732965" y="3447061"/>
                  </a:lnTo>
                  <a:lnTo>
                    <a:pt x="4731999" y="3446822"/>
                  </a:lnTo>
                  <a:lnTo>
                    <a:pt x="4729848" y="3447077"/>
                  </a:lnTo>
                  <a:lnTo>
                    <a:pt x="4731725" y="3445592"/>
                  </a:lnTo>
                  <a:lnTo>
                    <a:pt x="4734054" y="3446438"/>
                  </a:lnTo>
                  <a:lnTo>
                    <a:pt x="4736142" y="3448688"/>
                  </a:lnTo>
                  <a:lnTo>
                    <a:pt x="4737303" y="3451411"/>
                  </a:lnTo>
                  <a:lnTo>
                    <a:pt x="4737225" y="3451537"/>
                  </a:lnTo>
                  <a:lnTo>
                    <a:pt x="4737038" y="3453691"/>
                  </a:lnTo>
                  <a:lnTo>
                    <a:pt x="4736766" y="3454274"/>
                  </a:lnTo>
                  <a:lnTo>
                    <a:pt x="4736198" y="3454716"/>
                  </a:lnTo>
                  <a:lnTo>
                    <a:pt x="4734951" y="3455311"/>
                  </a:lnTo>
                  <a:lnTo>
                    <a:pt x="4733710" y="3456355"/>
                  </a:lnTo>
                  <a:lnTo>
                    <a:pt x="4732577" y="3458672"/>
                  </a:lnTo>
                  <a:lnTo>
                    <a:pt x="4731679" y="3459824"/>
                  </a:lnTo>
                  <a:lnTo>
                    <a:pt x="4731981" y="3460418"/>
                  </a:lnTo>
                  <a:lnTo>
                    <a:pt x="4733247" y="3459940"/>
                  </a:lnTo>
                  <a:lnTo>
                    <a:pt x="4736754" y="3459475"/>
                  </a:lnTo>
                  <a:lnTo>
                    <a:pt x="4737662" y="3458880"/>
                  </a:lnTo>
                  <a:lnTo>
                    <a:pt x="4739065" y="3457312"/>
                  </a:lnTo>
                  <a:lnTo>
                    <a:pt x="4740030" y="3456748"/>
                  </a:lnTo>
                  <a:lnTo>
                    <a:pt x="4739806" y="3461285"/>
                  </a:lnTo>
                  <a:lnTo>
                    <a:pt x="4736742" y="3465289"/>
                  </a:lnTo>
                  <a:lnTo>
                    <a:pt x="4727841" y="3471127"/>
                  </a:lnTo>
                  <a:lnTo>
                    <a:pt x="4725567" y="3471823"/>
                  </a:lnTo>
                  <a:lnTo>
                    <a:pt x="4724606" y="3472343"/>
                  </a:lnTo>
                  <a:lnTo>
                    <a:pt x="4724270" y="3472980"/>
                  </a:lnTo>
                  <a:lnTo>
                    <a:pt x="4724345" y="3474553"/>
                  </a:lnTo>
                  <a:lnTo>
                    <a:pt x="4724133" y="3475083"/>
                  </a:lnTo>
                  <a:lnTo>
                    <a:pt x="4723652" y="3475143"/>
                  </a:lnTo>
                  <a:lnTo>
                    <a:pt x="4722193" y="3474814"/>
                  </a:lnTo>
                  <a:lnTo>
                    <a:pt x="4721694" y="3474772"/>
                  </a:lnTo>
                  <a:lnTo>
                    <a:pt x="4717826" y="3475916"/>
                  </a:lnTo>
                  <a:lnTo>
                    <a:pt x="4716448" y="3476036"/>
                  </a:lnTo>
                  <a:lnTo>
                    <a:pt x="4711936" y="3475180"/>
                  </a:lnTo>
                  <a:lnTo>
                    <a:pt x="4712601" y="3474107"/>
                  </a:lnTo>
                  <a:lnTo>
                    <a:pt x="4712998" y="3473812"/>
                  </a:lnTo>
                  <a:lnTo>
                    <a:pt x="4712664" y="3473150"/>
                  </a:lnTo>
                  <a:lnTo>
                    <a:pt x="4711518" y="3473507"/>
                  </a:lnTo>
                  <a:lnTo>
                    <a:pt x="4710256" y="3473647"/>
                  </a:lnTo>
                  <a:lnTo>
                    <a:pt x="4708944" y="3473500"/>
                  </a:lnTo>
                  <a:lnTo>
                    <a:pt x="4707627" y="3472972"/>
                  </a:lnTo>
                  <a:lnTo>
                    <a:pt x="4706924" y="3472084"/>
                  </a:lnTo>
                  <a:lnTo>
                    <a:pt x="4707705" y="3471360"/>
                  </a:lnTo>
                  <a:lnTo>
                    <a:pt x="4710059" y="3470292"/>
                  </a:lnTo>
                  <a:lnTo>
                    <a:pt x="4707700" y="3469289"/>
                  </a:lnTo>
                  <a:lnTo>
                    <a:pt x="4702365" y="3473528"/>
                  </a:lnTo>
                  <a:lnTo>
                    <a:pt x="4699872" y="3474325"/>
                  </a:lnTo>
                  <a:lnTo>
                    <a:pt x="4701051" y="3473048"/>
                  </a:lnTo>
                  <a:lnTo>
                    <a:pt x="4702468" y="3472019"/>
                  </a:lnTo>
                  <a:lnTo>
                    <a:pt x="4703170" y="3471221"/>
                  </a:lnTo>
                  <a:lnTo>
                    <a:pt x="4704009" y="3468938"/>
                  </a:lnTo>
                  <a:lnTo>
                    <a:pt x="4705705" y="3466764"/>
                  </a:lnTo>
                  <a:lnTo>
                    <a:pt x="4706353" y="3462873"/>
                  </a:lnTo>
                  <a:lnTo>
                    <a:pt x="4707438" y="3461506"/>
                  </a:lnTo>
                  <a:lnTo>
                    <a:pt x="4705663" y="3460032"/>
                  </a:lnTo>
                  <a:lnTo>
                    <a:pt x="4704428" y="3460496"/>
                  </a:lnTo>
                  <a:lnTo>
                    <a:pt x="4703649" y="3462154"/>
                  </a:lnTo>
                  <a:lnTo>
                    <a:pt x="4703275" y="3464313"/>
                  </a:lnTo>
                  <a:lnTo>
                    <a:pt x="4702392" y="3465305"/>
                  </a:lnTo>
                  <a:lnTo>
                    <a:pt x="4700996" y="3463996"/>
                  </a:lnTo>
                  <a:lnTo>
                    <a:pt x="4700248" y="3461736"/>
                  </a:lnTo>
                  <a:lnTo>
                    <a:pt x="4701324" y="3459856"/>
                  </a:lnTo>
                  <a:lnTo>
                    <a:pt x="4700330" y="3459105"/>
                  </a:lnTo>
                  <a:lnTo>
                    <a:pt x="4699249" y="3458939"/>
                  </a:lnTo>
                  <a:lnTo>
                    <a:pt x="4696797" y="3458932"/>
                  </a:lnTo>
                  <a:lnTo>
                    <a:pt x="4696253" y="3460159"/>
                  </a:lnTo>
                  <a:lnTo>
                    <a:pt x="4696808" y="3460479"/>
                  </a:lnTo>
                  <a:lnTo>
                    <a:pt x="4697096" y="3460737"/>
                  </a:lnTo>
                  <a:lnTo>
                    <a:pt x="4697358" y="3460913"/>
                  </a:lnTo>
                  <a:lnTo>
                    <a:pt x="4697824" y="3460975"/>
                  </a:lnTo>
                  <a:lnTo>
                    <a:pt x="4696611" y="3462182"/>
                  </a:lnTo>
                  <a:lnTo>
                    <a:pt x="4694431" y="3462557"/>
                  </a:lnTo>
                  <a:lnTo>
                    <a:pt x="4691978" y="3462588"/>
                  </a:lnTo>
                  <a:lnTo>
                    <a:pt x="4687889" y="3463234"/>
                  </a:lnTo>
                  <a:lnTo>
                    <a:pt x="4686918" y="3463081"/>
                  </a:lnTo>
                  <a:lnTo>
                    <a:pt x="4686820" y="3462090"/>
                  </a:lnTo>
                  <a:lnTo>
                    <a:pt x="4687390" y="3460042"/>
                  </a:lnTo>
                  <a:lnTo>
                    <a:pt x="4687617" y="3459551"/>
                  </a:lnTo>
                  <a:lnTo>
                    <a:pt x="4688161" y="3458934"/>
                  </a:lnTo>
                  <a:lnTo>
                    <a:pt x="4688385" y="3458561"/>
                  </a:lnTo>
                  <a:lnTo>
                    <a:pt x="4688454" y="3457870"/>
                  </a:lnTo>
                  <a:lnTo>
                    <a:pt x="4688237" y="3457294"/>
                  </a:lnTo>
                  <a:lnTo>
                    <a:pt x="4687965" y="3456779"/>
                  </a:lnTo>
                  <a:lnTo>
                    <a:pt x="4687882" y="3456295"/>
                  </a:lnTo>
                  <a:lnTo>
                    <a:pt x="4688124" y="3456054"/>
                  </a:lnTo>
                  <a:lnTo>
                    <a:pt x="4689014" y="3455787"/>
                  </a:lnTo>
                  <a:lnTo>
                    <a:pt x="4689240" y="3455534"/>
                  </a:lnTo>
                  <a:lnTo>
                    <a:pt x="4689125" y="3455037"/>
                  </a:lnTo>
                  <a:lnTo>
                    <a:pt x="4688814" y="3454499"/>
                  </a:lnTo>
                  <a:lnTo>
                    <a:pt x="4688581" y="3453932"/>
                  </a:lnTo>
                  <a:lnTo>
                    <a:pt x="4688695" y="3453291"/>
                  </a:lnTo>
                  <a:lnTo>
                    <a:pt x="4691593" y="3449312"/>
                  </a:lnTo>
                  <a:lnTo>
                    <a:pt x="4692031" y="3447260"/>
                  </a:lnTo>
                  <a:lnTo>
                    <a:pt x="4690869" y="3447989"/>
                  </a:lnTo>
                  <a:lnTo>
                    <a:pt x="4689370" y="3450182"/>
                  </a:lnTo>
                  <a:lnTo>
                    <a:pt x="4687598" y="3452041"/>
                  </a:lnTo>
                  <a:lnTo>
                    <a:pt x="4686765" y="3454783"/>
                  </a:lnTo>
                  <a:lnTo>
                    <a:pt x="4686115" y="3455662"/>
                  </a:lnTo>
                  <a:lnTo>
                    <a:pt x="4685483" y="3456819"/>
                  </a:lnTo>
                  <a:lnTo>
                    <a:pt x="4685292" y="3460444"/>
                  </a:lnTo>
                  <a:lnTo>
                    <a:pt x="4684671" y="3461563"/>
                  </a:lnTo>
                  <a:lnTo>
                    <a:pt x="4684125" y="3461505"/>
                  </a:lnTo>
                  <a:lnTo>
                    <a:pt x="4681840" y="3460524"/>
                  </a:lnTo>
                  <a:lnTo>
                    <a:pt x="4678947" y="3460518"/>
                  </a:lnTo>
                  <a:lnTo>
                    <a:pt x="4682056" y="3463009"/>
                  </a:lnTo>
                  <a:lnTo>
                    <a:pt x="4682497" y="3464065"/>
                  </a:lnTo>
                  <a:lnTo>
                    <a:pt x="4681067" y="3465348"/>
                  </a:lnTo>
                  <a:lnTo>
                    <a:pt x="4680650" y="3465959"/>
                  </a:lnTo>
                  <a:lnTo>
                    <a:pt x="4680198" y="3467845"/>
                  </a:lnTo>
                  <a:lnTo>
                    <a:pt x="4679731" y="3468480"/>
                  </a:lnTo>
                  <a:lnTo>
                    <a:pt x="4677234" y="3469869"/>
                  </a:lnTo>
                  <a:lnTo>
                    <a:pt x="4677592" y="3470589"/>
                  </a:lnTo>
                  <a:lnTo>
                    <a:pt x="4681601" y="3469109"/>
                  </a:lnTo>
                  <a:lnTo>
                    <a:pt x="4683111" y="3467747"/>
                  </a:lnTo>
                  <a:lnTo>
                    <a:pt x="4682946" y="3465062"/>
                  </a:lnTo>
                  <a:lnTo>
                    <a:pt x="4685329" y="3465146"/>
                  </a:lnTo>
                  <a:lnTo>
                    <a:pt x="4686093" y="3465694"/>
                  </a:lnTo>
                  <a:lnTo>
                    <a:pt x="4686458" y="3467344"/>
                  </a:lnTo>
                  <a:lnTo>
                    <a:pt x="4685004" y="3469589"/>
                  </a:lnTo>
                  <a:lnTo>
                    <a:pt x="4683302" y="3471371"/>
                  </a:lnTo>
                  <a:lnTo>
                    <a:pt x="4682581" y="3474225"/>
                  </a:lnTo>
                  <a:lnTo>
                    <a:pt x="4681170" y="3475450"/>
                  </a:lnTo>
                  <a:lnTo>
                    <a:pt x="4679119" y="3475954"/>
                  </a:lnTo>
                  <a:lnTo>
                    <a:pt x="4674808" y="3476033"/>
                  </a:lnTo>
                  <a:lnTo>
                    <a:pt x="4672042" y="3476795"/>
                  </a:lnTo>
                  <a:lnTo>
                    <a:pt x="4669776" y="3476885"/>
                  </a:lnTo>
                  <a:lnTo>
                    <a:pt x="4668865" y="3477122"/>
                  </a:lnTo>
                  <a:lnTo>
                    <a:pt x="4668341" y="3477150"/>
                  </a:lnTo>
                  <a:lnTo>
                    <a:pt x="4667591" y="3476401"/>
                  </a:lnTo>
                  <a:lnTo>
                    <a:pt x="4667090" y="3476411"/>
                  </a:lnTo>
                  <a:lnTo>
                    <a:pt x="4665719" y="3477315"/>
                  </a:lnTo>
                  <a:lnTo>
                    <a:pt x="4665295" y="3477403"/>
                  </a:lnTo>
                  <a:lnTo>
                    <a:pt x="4664281" y="3477046"/>
                  </a:lnTo>
                  <a:lnTo>
                    <a:pt x="4662553" y="3476102"/>
                  </a:lnTo>
                  <a:lnTo>
                    <a:pt x="4661700" y="3476089"/>
                  </a:lnTo>
                  <a:lnTo>
                    <a:pt x="4661193" y="3476534"/>
                  </a:lnTo>
                  <a:lnTo>
                    <a:pt x="4660181" y="3478255"/>
                  </a:lnTo>
                  <a:lnTo>
                    <a:pt x="4659368" y="3478980"/>
                  </a:lnTo>
                  <a:lnTo>
                    <a:pt x="4658543" y="3479082"/>
                  </a:lnTo>
                  <a:lnTo>
                    <a:pt x="4657537" y="3478941"/>
                  </a:lnTo>
                  <a:lnTo>
                    <a:pt x="4656651" y="3478960"/>
                  </a:lnTo>
                  <a:lnTo>
                    <a:pt x="4656167" y="3479514"/>
                  </a:lnTo>
                  <a:lnTo>
                    <a:pt x="4655624" y="3480370"/>
                  </a:lnTo>
                  <a:lnTo>
                    <a:pt x="4654609" y="3480853"/>
                  </a:lnTo>
                  <a:lnTo>
                    <a:pt x="4652568" y="3481113"/>
                  </a:lnTo>
                  <a:lnTo>
                    <a:pt x="4648481" y="3481036"/>
                  </a:lnTo>
                  <a:lnTo>
                    <a:pt x="4646554" y="3480367"/>
                  </a:lnTo>
                  <a:lnTo>
                    <a:pt x="4645127" y="3478781"/>
                  </a:lnTo>
                  <a:lnTo>
                    <a:pt x="4643737" y="3477803"/>
                  </a:lnTo>
                  <a:lnTo>
                    <a:pt x="4641480" y="3477479"/>
                  </a:lnTo>
                  <a:lnTo>
                    <a:pt x="4637519" y="3477467"/>
                  </a:lnTo>
                  <a:lnTo>
                    <a:pt x="4635939" y="3476867"/>
                  </a:lnTo>
                  <a:lnTo>
                    <a:pt x="4634991" y="3475938"/>
                  </a:lnTo>
                  <a:lnTo>
                    <a:pt x="4635057" y="3475259"/>
                  </a:lnTo>
                  <a:lnTo>
                    <a:pt x="4636513" y="3475409"/>
                  </a:lnTo>
                  <a:lnTo>
                    <a:pt x="4633508" y="3472904"/>
                  </a:lnTo>
                  <a:lnTo>
                    <a:pt x="4638795" y="3472243"/>
                  </a:lnTo>
                  <a:lnTo>
                    <a:pt x="4640471" y="3471632"/>
                  </a:lnTo>
                  <a:lnTo>
                    <a:pt x="4635880" y="3470690"/>
                  </a:lnTo>
                  <a:lnTo>
                    <a:pt x="4636488" y="3469725"/>
                  </a:lnTo>
                  <a:lnTo>
                    <a:pt x="4636838" y="3469312"/>
                  </a:lnTo>
                  <a:lnTo>
                    <a:pt x="4637412" y="3469008"/>
                  </a:lnTo>
                  <a:lnTo>
                    <a:pt x="4637056" y="3468283"/>
                  </a:lnTo>
                  <a:lnTo>
                    <a:pt x="4634929" y="3469084"/>
                  </a:lnTo>
                  <a:lnTo>
                    <a:pt x="4630186" y="3471968"/>
                  </a:lnTo>
                  <a:lnTo>
                    <a:pt x="4627498" y="3471900"/>
                  </a:lnTo>
                  <a:lnTo>
                    <a:pt x="4626955" y="3472346"/>
                  </a:lnTo>
                  <a:lnTo>
                    <a:pt x="4626654" y="3472906"/>
                  </a:lnTo>
                  <a:lnTo>
                    <a:pt x="4626693" y="3473176"/>
                  </a:lnTo>
                  <a:lnTo>
                    <a:pt x="4626072" y="3473097"/>
                  </a:lnTo>
                  <a:lnTo>
                    <a:pt x="4625098" y="3472708"/>
                  </a:lnTo>
                  <a:lnTo>
                    <a:pt x="4624751" y="3472626"/>
                  </a:lnTo>
                  <a:lnTo>
                    <a:pt x="4623231" y="3472668"/>
                  </a:lnTo>
                  <a:lnTo>
                    <a:pt x="4622656" y="3472845"/>
                  </a:lnTo>
                  <a:lnTo>
                    <a:pt x="4621863" y="3474957"/>
                  </a:lnTo>
                  <a:lnTo>
                    <a:pt x="4620262" y="3477034"/>
                  </a:lnTo>
                  <a:lnTo>
                    <a:pt x="4613437" y="3479517"/>
                  </a:lnTo>
                  <a:lnTo>
                    <a:pt x="4611661" y="3480636"/>
                  </a:lnTo>
                  <a:lnTo>
                    <a:pt x="4610638" y="3480997"/>
                  </a:lnTo>
                  <a:lnTo>
                    <a:pt x="4609707" y="3480767"/>
                  </a:lnTo>
                  <a:lnTo>
                    <a:pt x="4608856" y="3479572"/>
                  </a:lnTo>
                  <a:lnTo>
                    <a:pt x="4608486" y="3478099"/>
                  </a:lnTo>
                  <a:lnTo>
                    <a:pt x="4608723" y="3477100"/>
                  </a:lnTo>
                  <a:lnTo>
                    <a:pt x="4609712" y="3477322"/>
                  </a:lnTo>
                  <a:lnTo>
                    <a:pt x="4608525" y="3474235"/>
                  </a:lnTo>
                  <a:lnTo>
                    <a:pt x="4606430" y="3470584"/>
                  </a:lnTo>
                  <a:lnTo>
                    <a:pt x="4605367" y="3467248"/>
                  </a:lnTo>
                  <a:lnTo>
                    <a:pt x="4607283" y="3465101"/>
                  </a:lnTo>
                  <a:lnTo>
                    <a:pt x="4606556" y="3464320"/>
                  </a:lnTo>
                  <a:lnTo>
                    <a:pt x="4606251" y="3464049"/>
                  </a:lnTo>
                  <a:lnTo>
                    <a:pt x="4607218" y="3463096"/>
                  </a:lnTo>
                  <a:lnTo>
                    <a:pt x="4606674" y="3462306"/>
                  </a:lnTo>
                  <a:lnTo>
                    <a:pt x="4605548" y="3461621"/>
                  </a:lnTo>
                  <a:lnTo>
                    <a:pt x="4604767" y="3460990"/>
                  </a:lnTo>
                  <a:lnTo>
                    <a:pt x="4603772" y="3458931"/>
                  </a:lnTo>
                  <a:lnTo>
                    <a:pt x="4603447" y="3457953"/>
                  </a:lnTo>
                  <a:lnTo>
                    <a:pt x="4603079" y="3456437"/>
                  </a:lnTo>
                  <a:lnTo>
                    <a:pt x="4601251" y="3462728"/>
                  </a:lnTo>
                  <a:lnTo>
                    <a:pt x="4600399" y="3463347"/>
                  </a:lnTo>
                  <a:lnTo>
                    <a:pt x="4599536" y="3463041"/>
                  </a:lnTo>
                  <a:lnTo>
                    <a:pt x="4598465" y="3462941"/>
                  </a:lnTo>
                  <a:lnTo>
                    <a:pt x="4597422" y="3463022"/>
                  </a:lnTo>
                  <a:lnTo>
                    <a:pt x="4596625" y="3463275"/>
                  </a:lnTo>
                  <a:lnTo>
                    <a:pt x="4595993" y="3463255"/>
                  </a:lnTo>
                  <a:lnTo>
                    <a:pt x="4593922" y="3462695"/>
                  </a:lnTo>
                  <a:lnTo>
                    <a:pt x="4592938" y="3462743"/>
                  </a:lnTo>
                  <a:lnTo>
                    <a:pt x="4586817" y="3466027"/>
                  </a:lnTo>
                  <a:lnTo>
                    <a:pt x="4584439" y="3468330"/>
                  </a:lnTo>
                  <a:lnTo>
                    <a:pt x="4583152" y="3468907"/>
                  </a:lnTo>
                  <a:lnTo>
                    <a:pt x="4581192" y="3468194"/>
                  </a:lnTo>
                  <a:lnTo>
                    <a:pt x="4578329" y="3464732"/>
                  </a:lnTo>
                  <a:lnTo>
                    <a:pt x="4577457" y="3460256"/>
                  </a:lnTo>
                  <a:lnTo>
                    <a:pt x="4577901" y="3455617"/>
                  </a:lnTo>
                  <a:lnTo>
                    <a:pt x="4578994" y="3451660"/>
                  </a:lnTo>
                  <a:lnTo>
                    <a:pt x="4580712" y="3447866"/>
                  </a:lnTo>
                  <a:lnTo>
                    <a:pt x="4581212" y="3445694"/>
                  </a:lnTo>
                  <a:lnTo>
                    <a:pt x="4580805" y="3443509"/>
                  </a:lnTo>
                  <a:lnTo>
                    <a:pt x="4580112" y="3441191"/>
                  </a:lnTo>
                  <a:lnTo>
                    <a:pt x="4579997" y="3438803"/>
                  </a:lnTo>
                  <a:lnTo>
                    <a:pt x="4580225" y="3436587"/>
                  </a:lnTo>
                  <a:lnTo>
                    <a:pt x="4582250" y="3428980"/>
                  </a:lnTo>
                  <a:lnTo>
                    <a:pt x="4586390" y="3418697"/>
                  </a:lnTo>
                  <a:lnTo>
                    <a:pt x="4587865" y="3412239"/>
                  </a:lnTo>
                  <a:lnTo>
                    <a:pt x="4589048" y="3413209"/>
                  </a:lnTo>
                  <a:lnTo>
                    <a:pt x="4589595" y="3413786"/>
                  </a:lnTo>
                  <a:lnTo>
                    <a:pt x="4590064" y="3414415"/>
                  </a:lnTo>
                  <a:lnTo>
                    <a:pt x="4590685" y="3417820"/>
                  </a:lnTo>
                  <a:lnTo>
                    <a:pt x="4592405" y="3421662"/>
                  </a:lnTo>
                  <a:lnTo>
                    <a:pt x="4594709" y="3425062"/>
                  </a:lnTo>
                  <a:lnTo>
                    <a:pt x="4597123" y="3427131"/>
                  </a:lnTo>
                  <a:lnTo>
                    <a:pt x="4597586" y="3428356"/>
                  </a:lnTo>
                  <a:lnTo>
                    <a:pt x="4596454" y="3434607"/>
                  </a:lnTo>
                  <a:lnTo>
                    <a:pt x="4596512" y="3435319"/>
                  </a:lnTo>
                  <a:lnTo>
                    <a:pt x="4596835" y="3437091"/>
                  </a:lnTo>
                  <a:lnTo>
                    <a:pt x="4596894" y="3437741"/>
                  </a:lnTo>
                  <a:lnTo>
                    <a:pt x="4596613" y="3437903"/>
                  </a:lnTo>
                  <a:lnTo>
                    <a:pt x="4596109" y="3438006"/>
                  </a:lnTo>
                  <a:lnTo>
                    <a:pt x="4595813" y="3438527"/>
                  </a:lnTo>
                  <a:lnTo>
                    <a:pt x="4596139" y="3439916"/>
                  </a:lnTo>
                  <a:lnTo>
                    <a:pt x="4595769" y="3439880"/>
                  </a:lnTo>
                  <a:lnTo>
                    <a:pt x="4594910" y="3439979"/>
                  </a:lnTo>
                  <a:lnTo>
                    <a:pt x="4594543" y="3439937"/>
                  </a:lnTo>
                  <a:lnTo>
                    <a:pt x="4595050" y="3440987"/>
                  </a:lnTo>
                  <a:lnTo>
                    <a:pt x="4595308" y="3441921"/>
                  </a:lnTo>
                  <a:lnTo>
                    <a:pt x="4595353" y="3442799"/>
                  </a:lnTo>
                  <a:lnTo>
                    <a:pt x="4595187" y="3443716"/>
                  </a:lnTo>
                  <a:lnTo>
                    <a:pt x="4597652" y="3445123"/>
                  </a:lnTo>
                  <a:lnTo>
                    <a:pt x="4599124" y="3445425"/>
                  </a:lnTo>
                  <a:lnTo>
                    <a:pt x="4600697" y="3445025"/>
                  </a:lnTo>
                  <a:lnTo>
                    <a:pt x="4601902" y="3444001"/>
                  </a:lnTo>
                  <a:lnTo>
                    <a:pt x="4602671" y="3442977"/>
                  </a:lnTo>
                  <a:lnTo>
                    <a:pt x="4603533" y="3442385"/>
                  </a:lnTo>
                  <a:lnTo>
                    <a:pt x="4605001" y="3442692"/>
                  </a:lnTo>
                  <a:lnTo>
                    <a:pt x="4604990" y="3443511"/>
                  </a:lnTo>
                  <a:lnTo>
                    <a:pt x="4605431" y="3445903"/>
                  </a:lnTo>
                  <a:lnTo>
                    <a:pt x="4607421" y="3446007"/>
                  </a:lnTo>
                  <a:lnTo>
                    <a:pt x="4609411" y="3446457"/>
                  </a:lnTo>
                  <a:lnTo>
                    <a:pt x="4611416" y="3447221"/>
                  </a:lnTo>
                  <a:lnTo>
                    <a:pt x="4613448" y="3448285"/>
                  </a:lnTo>
                  <a:lnTo>
                    <a:pt x="4614981" y="3448868"/>
                  </a:lnTo>
                  <a:lnTo>
                    <a:pt x="4615718" y="3449491"/>
                  </a:lnTo>
                  <a:lnTo>
                    <a:pt x="4616403" y="3450816"/>
                  </a:lnTo>
                  <a:lnTo>
                    <a:pt x="4616621" y="3452093"/>
                  </a:lnTo>
                  <a:lnTo>
                    <a:pt x="4616193" y="3452628"/>
                  </a:lnTo>
                  <a:lnTo>
                    <a:pt x="4615305" y="3452568"/>
                  </a:lnTo>
                  <a:lnTo>
                    <a:pt x="4614143" y="3452046"/>
                  </a:lnTo>
                  <a:lnTo>
                    <a:pt x="4614913" y="3453168"/>
                  </a:lnTo>
                  <a:lnTo>
                    <a:pt x="4615710" y="3453804"/>
                  </a:lnTo>
                  <a:lnTo>
                    <a:pt x="4616560" y="3453965"/>
                  </a:lnTo>
                  <a:lnTo>
                    <a:pt x="4617485" y="3453667"/>
                  </a:lnTo>
                  <a:lnTo>
                    <a:pt x="4618287" y="3452995"/>
                  </a:lnTo>
                  <a:lnTo>
                    <a:pt x="4618325" y="3452361"/>
                  </a:lnTo>
                  <a:lnTo>
                    <a:pt x="4618110" y="3451670"/>
                  </a:lnTo>
                  <a:lnTo>
                    <a:pt x="4618114" y="3450799"/>
                  </a:lnTo>
                  <a:lnTo>
                    <a:pt x="4617874" y="3450719"/>
                  </a:lnTo>
                  <a:lnTo>
                    <a:pt x="4617688" y="3450046"/>
                  </a:lnTo>
                  <a:lnTo>
                    <a:pt x="4617954" y="3449509"/>
                  </a:lnTo>
                  <a:lnTo>
                    <a:pt x="4619066" y="3449822"/>
                  </a:lnTo>
                  <a:lnTo>
                    <a:pt x="4619840" y="3450290"/>
                  </a:lnTo>
                  <a:lnTo>
                    <a:pt x="4620335" y="3450743"/>
                  </a:lnTo>
                  <a:lnTo>
                    <a:pt x="4620425" y="3451358"/>
                  </a:lnTo>
                  <a:lnTo>
                    <a:pt x="4619992" y="3452302"/>
                  </a:lnTo>
                  <a:lnTo>
                    <a:pt x="4620394" y="3452580"/>
                  </a:lnTo>
                  <a:lnTo>
                    <a:pt x="4620678" y="3452868"/>
                  </a:lnTo>
                  <a:lnTo>
                    <a:pt x="4621007" y="3453080"/>
                  </a:lnTo>
                  <a:lnTo>
                    <a:pt x="4621549" y="3453141"/>
                  </a:lnTo>
                  <a:lnTo>
                    <a:pt x="4621876" y="3453808"/>
                  </a:lnTo>
                  <a:lnTo>
                    <a:pt x="4621194" y="3454495"/>
                  </a:lnTo>
                  <a:lnTo>
                    <a:pt x="4620983" y="3455168"/>
                  </a:lnTo>
                  <a:lnTo>
                    <a:pt x="4621487" y="3461222"/>
                  </a:lnTo>
                  <a:lnTo>
                    <a:pt x="4620860" y="3462271"/>
                  </a:lnTo>
                  <a:lnTo>
                    <a:pt x="4619322" y="3463784"/>
                  </a:lnTo>
                  <a:lnTo>
                    <a:pt x="4618483" y="3465581"/>
                  </a:lnTo>
                  <a:lnTo>
                    <a:pt x="4619953" y="3467492"/>
                  </a:lnTo>
                  <a:lnTo>
                    <a:pt x="4620325" y="3465524"/>
                  </a:lnTo>
                  <a:lnTo>
                    <a:pt x="4621215" y="3464287"/>
                  </a:lnTo>
                  <a:lnTo>
                    <a:pt x="4623614" y="3462053"/>
                  </a:lnTo>
                  <a:lnTo>
                    <a:pt x="4624255" y="3460544"/>
                  </a:lnTo>
                  <a:lnTo>
                    <a:pt x="4624662" y="3459825"/>
                  </a:lnTo>
                  <a:lnTo>
                    <a:pt x="4625299" y="3459533"/>
                  </a:lnTo>
                  <a:lnTo>
                    <a:pt x="4626105" y="3459937"/>
                  </a:lnTo>
                  <a:lnTo>
                    <a:pt x="4627033" y="3460883"/>
                  </a:lnTo>
                  <a:lnTo>
                    <a:pt x="4627567" y="3461974"/>
                  </a:lnTo>
                  <a:lnTo>
                    <a:pt x="4627161" y="3462802"/>
                  </a:lnTo>
                  <a:lnTo>
                    <a:pt x="4626599" y="3463436"/>
                  </a:lnTo>
                  <a:lnTo>
                    <a:pt x="4626854" y="3464070"/>
                  </a:lnTo>
                  <a:lnTo>
                    <a:pt x="4627545" y="3464658"/>
                  </a:lnTo>
                  <a:lnTo>
                    <a:pt x="4628302" y="3465134"/>
                  </a:lnTo>
                  <a:lnTo>
                    <a:pt x="4629142" y="3465264"/>
                  </a:lnTo>
                  <a:lnTo>
                    <a:pt x="4635304" y="3463445"/>
                  </a:lnTo>
                  <a:lnTo>
                    <a:pt x="4636638" y="3462615"/>
                  </a:lnTo>
                  <a:lnTo>
                    <a:pt x="4636826" y="3460898"/>
                  </a:lnTo>
                  <a:lnTo>
                    <a:pt x="4634752" y="3459514"/>
                  </a:lnTo>
                  <a:lnTo>
                    <a:pt x="4632638" y="3458393"/>
                  </a:lnTo>
                  <a:lnTo>
                    <a:pt x="4631776" y="3457055"/>
                  </a:lnTo>
                  <a:lnTo>
                    <a:pt x="4633485" y="3455059"/>
                  </a:lnTo>
                  <a:lnTo>
                    <a:pt x="4633189" y="3454456"/>
                  </a:lnTo>
                  <a:lnTo>
                    <a:pt x="4631577" y="3454554"/>
                  </a:lnTo>
                  <a:lnTo>
                    <a:pt x="4630984" y="3454738"/>
                  </a:lnTo>
                  <a:lnTo>
                    <a:pt x="4631046" y="3451556"/>
                  </a:lnTo>
                  <a:lnTo>
                    <a:pt x="4632831" y="3449386"/>
                  </a:lnTo>
                  <a:lnTo>
                    <a:pt x="4635391" y="3448107"/>
                  </a:lnTo>
                  <a:lnTo>
                    <a:pt x="4643223" y="3446567"/>
                  </a:lnTo>
                  <a:lnTo>
                    <a:pt x="4644666" y="3446804"/>
                  </a:lnTo>
                  <a:lnTo>
                    <a:pt x="4645037" y="3446932"/>
                  </a:lnTo>
                  <a:lnTo>
                    <a:pt x="4645351" y="3446875"/>
                  </a:lnTo>
                  <a:lnTo>
                    <a:pt x="4645952" y="3446513"/>
                  </a:lnTo>
                  <a:lnTo>
                    <a:pt x="4646649" y="3446349"/>
                  </a:lnTo>
                  <a:lnTo>
                    <a:pt x="4646918" y="3446725"/>
                  </a:lnTo>
                  <a:lnTo>
                    <a:pt x="4646976" y="3447258"/>
                  </a:lnTo>
                  <a:lnTo>
                    <a:pt x="4647044" y="3447603"/>
                  </a:lnTo>
                  <a:lnTo>
                    <a:pt x="4647426" y="3448188"/>
                  </a:lnTo>
                  <a:lnTo>
                    <a:pt x="4647559" y="3448901"/>
                  </a:lnTo>
                  <a:lnTo>
                    <a:pt x="4647764" y="3449634"/>
                  </a:lnTo>
                  <a:lnTo>
                    <a:pt x="4648355" y="3450255"/>
                  </a:lnTo>
                  <a:lnTo>
                    <a:pt x="4649352" y="3449629"/>
                  </a:lnTo>
                  <a:lnTo>
                    <a:pt x="4652240" y="3451153"/>
                  </a:lnTo>
                  <a:lnTo>
                    <a:pt x="4652970" y="3450744"/>
                  </a:lnTo>
                  <a:lnTo>
                    <a:pt x="4653044" y="3448692"/>
                  </a:lnTo>
                  <a:lnTo>
                    <a:pt x="4652623" y="3447221"/>
                  </a:lnTo>
                  <a:lnTo>
                    <a:pt x="4651614" y="3446741"/>
                  </a:lnTo>
                  <a:lnTo>
                    <a:pt x="4649929" y="3447617"/>
                  </a:lnTo>
                  <a:lnTo>
                    <a:pt x="4651397" y="3446034"/>
                  </a:lnTo>
                  <a:lnTo>
                    <a:pt x="4653894" y="3444703"/>
                  </a:lnTo>
                  <a:lnTo>
                    <a:pt x="4656664" y="3443812"/>
                  </a:lnTo>
                  <a:lnTo>
                    <a:pt x="4658941" y="3443548"/>
                  </a:lnTo>
                  <a:lnTo>
                    <a:pt x="4660380" y="3443970"/>
                  </a:lnTo>
                  <a:lnTo>
                    <a:pt x="4661172" y="3444851"/>
                  </a:lnTo>
                  <a:lnTo>
                    <a:pt x="4661869" y="3445998"/>
                  </a:lnTo>
                  <a:lnTo>
                    <a:pt x="4663024" y="3447213"/>
                  </a:lnTo>
                  <a:lnTo>
                    <a:pt x="4663250" y="3447088"/>
                  </a:lnTo>
                  <a:lnTo>
                    <a:pt x="4665259" y="3447424"/>
                  </a:lnTo>
                  <a:lnTo>
                    <a:pt x="4667014" y="3448098"/>
                  </a:lnTo>
                  <a:lnTo>
                    <a:pt x="4667574" y="3448145"/>
                  </a:lnTo>
                  <a:lnTo>
                    <a:pt x="4667697" y="3447233"/>
                  </a:lnTo>
                  <a:lnTo>
                    <a:pt x="4668888" y="3448720"/>
                  </a:lnTo>
                  <a:lnTo>
                    <a:pt x="4669594" y="3448963"/>
                  </a:lnTo>
                  <a:lnTo>
                    <a:pt x="4670089" y="3448369"/>
                  </a:lnTo>
                  <a:lnTo>
                    <a:pt x="4670646" y="3447363"/>
                  </a:lnTo>
                  <a:lnTo>
                    <a:pt x="4670665" y="3447064"/>
                  </a:lnTo>
                  <a:lnTo>
                    <a:pt x="4670586" y="3446623"/>
                  </a:lnTo>
                  <a:lnTo>
                    <a:pt x="4670586" y="3446078"/>
                  </a:lnTo>
                  <a:lnTo>
                    <a:pt x="4670857" y="3445472"/>
                  </a:lnTo>
                  <a:lnTo>
                    <a:pt x="4671312" y="3445062"/>
                  </a:lnTo>
                  <a:lnTo>
                    <a:pt x="4679315" y="3441861"/>
                  </a:lnTo>
                  <a:lnTo>
                    <a:pt x="4687601" y="3436812"/>
                  </a:lnTo>
                  <a:lnTo>
                    <a:pt x="4693769" y="3431673"/>
                  </a:lnTo>
                  <a:lnTo>
                    <a:pt x="4694607" y="3432015"/>
                  </a:lnTo>
                  <a:lnTo>
                    <a:pt x="4695720" y="3432799"/>
                  </a:lnTo>
                  <a:lnTo>
                    <a:pt x="4696568" y="3432867"/>
                  </a:lnTo>
                  <a:lnTo>
                    <a:pt x="4696614" y="3431002"/>
                  </a:lnTo>
                  <a:lnTo>
                    <a:pt x="4695755" y="3430550"/>
                  </a:lnTo>
                  <a:lnTo>
                    <a:pt x="4698807" y="3427372"/>
                  </a:lnTo>
                  <a:lnTo>
                    <a:pt x="4711517" y="3422534"/>
                  </a:lnTo>
                  <a:lnTo>
                    <a:pt x="4711145" y="3421807"/>
                  </a:lnTo>
                  <a:lnTo>
                    <a:pt x="4704617" y="3424246"/>
                  </a:lnTo>
                  <a:lnTo>
                    <a:pt x="4702501" y="3424256"/>
                  </a:lnTo>
                  <a:lnTo>
                    <a:pt x="4703995" y="3422509"/>
                  </a:lnTo>
                  <a:lnTo>
                    <a:pt x="4707942" y="3419865"/>
                  </a:lnTo>
                  <a:lnTo>
                    <a:pt x="4709125" y="3417850"/>
                  </a:lnTo>
                  <a:lnTo>
                    <a:pt x="4710794" y="3417827"/>
                  </a:lnTo>
                  <a:lnTo>
                    <a:pt x="4712314" y="3416863"/>
                  </a:lnTo>
                  <a:lnTo>
                    <a:pt x="4713758" y="3415518"/>
                  </a:lnTo>
                  <a:lnTo>
                    <a:pt x="4724052" y="3409175"/>
                  </a:lnTo>
                  <a:lnTo>
                    <a:pt x="4730401" y="3406209"/>
                  </a:lnTo>
                  <a:lnTo>
                    <a:pt x="4734937" y="3401931"/>
                  </a:lnTo>
                  <a:lnTo>
                    <a:pt x="4740728" y="3398986"/>
                  </a:lnTo>
                  <a:lnTo>
                    <a:pt x="4747926" y="3397264"/>
                  </a:lnTo>
                  <a:close/>
                  <a:moveTo>
                    <a:pt x="343605" y="3385543"/>
                  </a:moveTo>
                  <a:lnTo>
                    <a:pt x="345743" y="3385893"/>
                  </a:lnTo>
                  <a:lnTo>
                    <a:pt x="346292" y="3386425"/>
                  </a:lnTo>
                  <a:lnTo>
                    <a:pt x="346368" y="3387412"/>
                  </a:lnTo>
                  <a:lnTo>
                    <a:pt x="346668" y="3388309"/>
                  </a:lnTo>
                  <a:lnTo>
                    <a:pt x="348732" y="3390995"/>
                  </a:lnTo>
                  <a:lnTo>
                    <a:pt x="351514" y="3393172"/>
                  </a:lnTo>
                  <a:lnTo>
                    <a:pt x="352429" y="3394135"/>
                  </a:lnTo>
                  <a:lnTo>
                    <a:pt x="352582" y="3395184"/>
                  </a:lnTo>
                  <a:lnTo>
                    <a:pt x="352152" y="3396251"/>
                  </a:lnTo>
                  <a:lnTo>
                    <a:pt x="351418" y="3396434"/>
                  </a:lnTo>
                  <a:lnTo>
                    <a:pt x="351058" y="3396163"/>
                  </a:lnTo>
                  <a:lnTo>
                    <a:pt x="350611" y="3396048"/>
                  </a:lnTo>
                  <a:lnTo>
                    <a:pt x="349561" y="3395936"/>
                  </a:lnTo>
                  <a:lnTo>
                    <a:pt x="348373" y="3395596"/>
                  </a:lnTo>
                  <a:lnTo>
                    <a:pt x="346764" y="3394375"/>
                  </a:lnTo>
                  <a:lnTo>
                    <a:pt x="343131" y="3390698"/>
                  </a:lnTo>
                  <a:lnTo>
                    <a:pt x="342380" y="3388887"/>
                  </a:lnTo>
                  <a:lnTo>
                    <a:pt x="342459" y="3387639"/>
                  </a:lnTo>
                  <a:lnTo>
                    <a:pt x="342751" y="3387168"/>
                  </a:lnTo>
                  <a:lnTo>
                    <a:pt x="342780" y="3386718"/>
                  </a:lnTo>
                  <a:lnTo>
                    <a:pt x="342707" y="3386430"/>
                  </a:lnTo>
                  <a:lnTo>
                    <a:pt x="342955" y="3385945"/>
                  </a:lnTo>
                  <a:close/>
                  <a:moveTo>
                    <a:pt x="386142" y="3377653"/>
                  </a:moveTo>
                  <a:lnTo>
                    <a:pt x="387808" y="3378015"/>
                  </a:lnTo>
                  <a:lnTo>
                    <a:pt x="388257" y="3379043"/>
                  </a:lnTo>
                  <a:lnTo>
                    <a:pt x="387435" y="3380356"/>
                  </a:lnTo>
                  <a:lnTo>
                    <a:pt x="386642" y="3381163"/>
                  </a:lnTo>
                  <a:lnTo>
                    <a:pt x="386116" y="3381584"/>
                  </a:lnTo>
                  <a:lnTo>
                    <a:pt x="386011" y="3381851"/>
                  </a:lnTo>
                  <a:lnTo>
                    <a:pt x="386244" y="3381955"/>
                  </a:lnTo>
                  <a:lnTo>
                    <a:pt x="385632" y="3382714"/>
                  </a:lnTo>
                  <a:lnTo>
                    <a:pt x="384916" y="3383390"/>
                  </a:lnTo>
                  <a:lnTo>
                    <a:pt x="384073" y="3384070"/>
                  </a:lnTo>
                  <a:lnTo>
                    <a:pt x="382561" y="3384945"/>
                  </a:lnTo>
                  <a:lnTo>
                    <a:pt x="381246" y="3385073"/>
                  </a:lnTo>
                  <a:lnTo>
                    <a:pt x="380600" y="3384985"/>
                  </a:lnTo>
                  <a:lnTo>
                    <a:pt x="378617" y="3383938"/>
                  </a:lnTo>
                  <a:lnTo>
                    <a:pt x="378063" y="3383365"/>
                  </a:lnTo>
                  <a:lnTo>
                    <a:pt x="378115" y="3382598"/>
                  </a:lnTo>
                  <a:lnTo>
                    <a:pt x="378620" y="3381790"/>
                  </a:lnTo>
                  <a:lnTo>
                    <a:pt x="379182" y="3380601"/>
                  </a:lnTo>
                  <a:lnTo>
                    <a:pt x="380218" y="3379456"/>
                  </a:lnTo>
                  <a:lnTo>
                    <a:pt x="383330" y="3378052"/>
                  </a:lnTo>
                  <a:lnTo>
                    <a:pt x="384603" y="3377729"/>
                  </a:lnTo>
                  <a:close/>
                  <a:moveTo>
                    <a:pt x="386193" y="3364279"/>
                  </a:moveTo>
                  <a:lnTo>
                    <a:pt x="388137" y="3364468"/>
                  </a:lnTo>
                  <a:lnTo>
                    <a:pt x="388879" y="3364381"/>
                  </a:lnTo>
                  <a:lnTo>
                    <a:pt x="389615" y="3364420"/>
                  </a:lnTo>
                  <a:lnTo>
                    <a:pt x="390241" y="3364841"/>
                  </a:lnTo>
                  <a:lnTo>
                    <a:pt x="390362" y="3365585"/>
                  </a:lnTo>
                  <a:lnTo>
                    <a:pt x="390181" y="3368844"/>
                  </a:lnTo>
                  <a:lnTo>
                    <a:pt x="390662" y="3371481"/>
                  </a:lnTo>
                  <a:lnTo>
                    <a:pt x="389616" y="3373896"/>
                  </a:lnTo>
                  <a:lnTo>
                    <a:pt x="387628" y="3375286"/>
                  </a:lnTo>
                  <a:lnTo>
                    <a:pt x="385274" y="3374822"/>
                  </a:lnTo>
                  <a:lnTo>
                    <a:pt x="386441" y="3373492"/>
                  </a:lnTo>
                  <a:lnTo>
                    <a:pt x="386354" y="3372311"/>
                  </a:lnTo>
                  <a:lnTo>
                    <a:pt x="385543" y="3371504"/>
                  </a:lnTo>
                  <a:lnTo>
                    <a:pt x="384532" y="3371275"/>
                  </a:lnTo>
                  <a:lnTo>
                    <a:pt x="383506" y="3371669"/>
                  </a:lnTo>
                  <a:lnTo>
                    <a:pt x="382685" y="3372199"/>
                  </a:lnTo>
                  <a:lnTo>
                    <a:pt x="381808" y="3372445"/>
                  </a:lnTo>
                  <a:lnTo>
                    <a:pt x="380589" y="3372016"/>
                  </a:lnTo>
                  <a:lnTo>
                    <a:pt x="381286" y="3370721"/>
                  </a:lnTo>
                  <a:lnTo>
                    <a:pt x="381360" y="3369498"/>
                  </a:lnTo>
                  <a:lnTo>
                    <a:pt x="381572" y="3368534"/>
                  </a:lnTo>
                  <a:lnTo>
                    <a:pt x="382669" y="3368065"/>
                  </a:lnTo>
                  <a:lnTo>
                    <a:pt x="382966" y="3367312"/>
                  </a:lnTo>
                  <a:lnTo>
                    <a:pt x="383029" y="3365621"/>
                  </a:lnTo>
                  <a:lnTo>
                    <a:pt x="384401" y="3364649"/>
                  </a:lnTo>
                  <a:close/>
                  <a:moveTo>
                    <a:pt x="4919954" y="3347390"/>
                  </a:moveTo>
                  <a:lnTo>
                    <a:pt x="4920575" y="3347478"/>
                  </a:lnTo>
                  <a:lnTo>
                    <a:pt x="4920047" y="3348754"/>
                  </a:lnTo>
                  <a:lnTo>
                    <a:pt x="4920474" y="3350013"/>
                  </a:lnTo>
                  <a:lnTo>
                    <a:pt x="4921127" y="3351123"/>
                  </a:lnTo>
                  <a:lnTo>
                    <a:pt x="4921205" y="3351637"/>
                  </a:lnTo>
                  <a:lnTo>
                    <a:pt x="4920668" y="3351616"/>
                  </a:lnTo>
                  <a:lnTo>
                    <a:pt x="4919751" y="3351819"/>
                  </a:lnTo>
                  <a:lnTo>
                    <a:pt x="4917544" y="3353258"/>
                  </a:lnTo>
                  <a:lnTo>
                    <a:pt x="4915987" y="3353686"/>
                  </a:lnTo>
                  <a:lnTo>
                    <a:pt x="4915745" y="3352807"/>
                  </a:lnTo>
                  <a:lnTo>
                    <a:pt x="4918385" y="3349038"/>
                  </a:lnTo>
                  <a:close/>
                  <a:moveTo>
                    <a:pt x="4514866" y="3343418"/>
                  </a:moveTo>
                  <a:lnTo>
                    <a:pt x="4515205" y="3344049"/>
                  </a:lnTo>
                  <a:lnTo>
                    <a:pt x="4515319" y="3344559"/>
                  </a:lnTo>
                  <a:lnTo>
                    <a:pt x="4515501" y="3347237"/>
                  </a:lnTo>
                  <a:lnTo>
                    <a:pt x="4515921" y="3349212"/>
                  </a:lnTo>
                  <a:lnTo>
                    <a:pt x="4516519" y="3351182"/>
                  </a:lnTo>
                  <a:lnTo>
                    <a:pt x="4517152" y="3352747"/>
                  </a:lnTo>
                  <a:lnTo>
                    <a:pt x="4517544" y="3354281"/>
                  </a:lnTo>
                  <a:lnTo>
                    <a:pt x="4517623" y="3356116"/>
                  </a:lnTo>
                  <a:lnTo>
                    <a:pt x="4517367" y="3358972"/>
                  </a:lnTo>
                  <a:lnTo>
                    <a:pt x="4515794" y="3364955"/>
                  </a:lnTo>
                  <a:lnTo>
                    <a:pt x="4513760" y="3370122"/>
                  </a:lnTo>
                  <a:lnTo>
                    <a:pt x="4512705" y="3368846"/>
                  </a:lnTo>
                  <a:lnTo>
                    <a:pt x="4511665" y="3368688"/>
                  </a:lnTo>
                  <a:lnTo>
                    <a:pt x="4510582" y="3368992"/>
                  </a:lnTo>
                  <a:lnTo>
                    <a:pt x="4509363" y="3369098"/>
                  </a:lnTo>
                  <a:lnTo>
                    <a:pt x="4510965" y="3365363"/>
                  </a:lnTo>
                  <a:lnTo>
                    <a:pt x="4511014" y="3364407"/>
                  </a:lnTo>
                  <a:lnTo>
                    <a:pt x="4510124" y="3363473"/>
                  </a:lnTo>
                  <a:lnTo>
                    <a:pt x="4509280" y="3363831"/>
                  </a:lnTo>
                  <a:lnTo>
                    <a:pt x="4508604" y="3364760"/>
                  </a:lnTo>
                  <a:lnTo>
                    <a:pt x="4508202" y="3365513"/>
                  </a:lnTo>
                  <a:lnTo>
                    <a:pt x="4507947" y="3364538"/>
                  </a:lnTo>
                  <a:lnTo>
                    <a:pt x="4507879" y="3363664"/>
                  </a:lnTo>
                  <a:lnTo>
                    <a:pt x="4507992" y="3362864"/>
                  </a:lnTo>
                  <a:lnTo>
                    <a:pt x="4508296" y="3362113"/>
                  </a:lnTo>
                  <a:lnTo>
                    <a:pt x="4507222" y="3362877"/>
                  </a:lnTo>
                  <a:lnTo>
                    <a:pt x="4506465" y="3363063"/>
                  </a:lnTo>
                  <a:lnTo>
                    <a:pt x="4505918" y="3362503"/>
                  </a:lnTo>
                  <a:lnTo>
                    <a:pt x="4505483" y="3361008"/>
                  </a:lnTo>
                  <a:lnTo>
                    <a:pt x="4505458" y="3360002"/>
                  </a:lnTo>
                  <a:lnTo>
                    <a:pt x="4505614" y="3358553"/>
                  </a:lnTo>
                  <a:lnTo>
                    <a:pt x="4505918" y="3357177"/>
                  </a:lnTo>
                  <a:lnTo>
                    <a:pt x="4506371" y="3356422"/>
                  </a:lnTo>
                  <a:lnTo>
                    <a:pt x="4509998" y="3353264"/>
                  </a:lnTo>
                  <a:lnTo>
                    <a:pt x="4511901" y="3352552"/>
                  </a:lnTo>
                  <a:lnTo>
                    <a:pt x="4512099" y="3354979"/>
                  </a:lnTo>
                  <a:lnTo>
                    <a:pt x="4513122" y="3353558"/>
                  </a:lnTo>
                  <a:lnTo>
                    <a:pt x="4514415" y="3352805"/>
                  </a:lnTo>
                  <a:lnTo>
                    <a:pt x="4515450" y="3351822"/>
                  </a:lnTo>
                  <a:lnTo>
                    <a:pt x="4515682" y="3349705"/>
                  </a:lnTo>
                  <a:lnTo>
                    <a:pt x="4514612" y="3348708"/>
                  </a:lnTo>
                  <a:lnTo>
                    <a:pt x="4514454" y="3347049"/>
                  </a:lnTo>
                  <a:close/>
                  <a:moveTo>
                    <a:pt x="324124" y="3338416"/>
                  </a:moveTo>
                  <a:lnTo>
                    <a:pt x="324848" y="3338577"/>
                  </a:lnTo>
                  <a:lnTo>
                    <a:pt x="326106" y="3340273"/>
                  </a:lnTo>
                  <a:lnTo>
                    <a:pt x="326466" y="3340530"/>
                  </a:lnTo>
                  <a:lnTo>
                    <a:pt x="328251" y="3341273"/>
                  </a:lnTo>
                  <a:lnTo>
                    <a:pt x="328969" y="3341823"/>
                  </a:lnTo>
                  <a:lnTo>
                    <a:pt x="329749" y="3342667"/>
                  </a:lnTo>
                  <a:lnTo>
                    <a:pt x="330812" y="3343374"/>
                  </a:lnTo>
                  <a:lnTo>
                    <a:pt x="331855" y="3344424"/>
                  </a:lnTo>
                  <a:lnTo>
                    <a:pt x="334349" y="3349693"/>
                  </a:lnTo>
                  <a:lnTo>
                    <a:pt x="333962" y="3350654"/>
                  </a:lnTo>
                  <a:lnTo>
                    <a:pt x="332702" y="3351018"/>
                  </a:lnTo>
                  <a:lnTo>
                    <a:pt x="330166" y="3348525"/>
                  </a:lnTo>
                  <a:lnTo>
                    <a:pt x="329137" y="3348085"/>
                  </a:lnTo>
                  <a:lnTo>
                    <a:pt x="328409" y="3348039"/>
                  </a:lnTo>
                  <a:lnTo>
                    <a:pt x="327696" y="3347796"/>
                  </a:lnTo>
                  <a:lnTo>
                    <a:pt x="325936" y="3346731"/>
                  </a:lnTo>
                  <a:lnTo>
                    <a:pt x="324783" y="3345620"/>
                  </a:lnTo>
                  <a:lnTo>
                    <a:pt x="323042" y="3343425"/>
                  </a:lnTo>
                  <a:lnTo>
                    <a:pt x="322682" y="3342655"/>
                  </a:lnTo>
                  <a:lnTo>
                    <a:pt x="323043" y="3342400"/>
                  </a:lnTo>
                  <a:lnTo>
                    <a:pt x="323457" y="3341770"/>
                  </a:lnTo>
                  <a:lnTo>
                    <a:pt x="323122" y="3340803"/>
                  </a:lnTo>
                  <a:lnTo>
                    <a:pt x="322498" y="3340206"/>
                  </a:lnTo>
                  <a:lnTo>
                    <a:pt x="322636" y="3339396"/>
                  </a:lnTo>
                  <a:lnTo>
                    <a:pt x="323317" y="3338745"/>
                  </a:lnTo>
                  <a:close/>
                  <a:moveTo>
                    <a:pt x="4508485" y="3335843"/>
                  </a:moveTo>
                  <a:lnTo>
                    <a:pt x="4510839" y="3336249"/>
                  </a:lnTo>
                  <a:lnTo>
                    <a:pt x="4512142" y="3338229"/>
                  </a:lnTo>
                  <a:lnTo>
                    <a:pt x="4513422" y="3339690"/>
                  </a:lnTo>
                  <a:lnTo>
                    <a:pt x="4514295" y="3341388"/>
                  </a:lnTo>
                  <a:lnTo>
                    <a:pt x="4514371" y="3344073"/>
                  </a:lnTo>
                  <a:lnTo>
                    <a:pt x="4513663" y="3346044"/>
                  </a:lnTo>
                  <a:lnTo>
                    <a:pt x="4510753" y="3350220"/>
                  </a:lnTo>
                  <a:lnTo>
                    <a:pt x="4509479" y="3351328"/>
                  </a:lnTo>
                  <a:lnTo>
                    <a:pt x="4508727" y="3350386"/>
                  </a:lnTo>
                  <a:lnTo>
                    <a:pt x="4508692" y="3347446"/>
                  </a:lnTo>
                  <a:lnTo>
                    <a:pt x="4509153" y="3343110"/>
                  </a:lnTo>
                  <a:lnTo>
                    <a:pt x="4508127" y="3337622"/>
                  </a:lnTo>
                  <a:close/>
                  <a:moveTo>
                    <a:pt x="304620" y="3326334"/>
                  </a:moveTo>
                  <a:lnTo>
                    <a:pt x="306382" y="3327385"/>
                  </a:lnTo>
                  <a:lnTo>
                    <a:pt x="308801" y="3330401"/>
                  </a:lnTo>
                  <a:lnTo>
                    <a:pt x="309116" y="3330941"/>
                  </a:lnTo>
                  <a:lnTo>
                    <a:pt x="309275" y="3331720"/>
                  </a:lnTo>
                  <a:lnTo>
                    <a:pt x="308552" y="3331478"/>
                  </a:lnTo>
                  <a:lnTo>
                    <a:pt x="307382" y="3330657"/>
                  </a:lnTo>
                  <a:lnTo>
                    <a:pt x="306412" y="3330939"/>
                  </a:lnTo>
                  <a:lnTo>
                    <a:pt x="305405" y="3332049"/>
                  </a:lnTo>
                  <a:lnTo>
                    <a:pt x="304379" y="3332577"/>
                  </a:lnTo>
                  <a:lnTo>
                    <a:pt x="303682" y="3332463"/>
                  </a:lnTo>
                  <a:lnTo>
                    <a:pt x="303227" y="3331913"/>
                  </a:lnTo>
                  <a:lnTo>
                    <a:pt x="302469" y="3330126"/>
                  </a:lnTo>
                  <a:lnTo>
                    <a:pt x="302153" y="3328572"/>
                  </a:lnTo>
                  <a:lnTo>
                    <a:pt x="302922" y="3326953"/>
                  </a:lnTo>
                  <a:close/>
                  <a:moveTo>
                    <a:pt x="212120" y="3322423"/>
                  </a:moveTo>
                  <a:lnTo>
                    <a:pt x="215182" y="3322443"/>
                  </a:lnTo>
                  <a:lnTo>
                    <a:pt x="217168" y="3323414"/>
                  </a:lnTo>
                  <a:lnTo>
                    <a:pt x="218913" y="3325445"/>
                  </a:lnTo>
                  <a:lnTo>
                    <a:pt x="218856" y="3327555"/>
                  </a:lnTo>
                  <a:lnTo>
                    <a:pt x="217215" y="3330178"/>
                  </a:lnTo>
                  <a:lnTo>
                    <a:pt x="215044" y="3333616"/>
                  </a:lnTo>
                  <a:lnTo>
                    <a:pt x="211992" y="3333392"/>
                  </a:lnTo>
                  <a:lnTo>
                    <a:pt x="210050" y="3331002"/>
                  </a:lnTo>
                  <a:lnTo>
                    <a:pt x="210678" y="3329494"/>
                  </a:lnTo>
                  <a:lnTo>
                    <a:pt x="210725" y="3328068"/>
                  </a:lnTo>
                  <a:lnTo>
                    <a:pt x="209088" y="3326909"/>
                  </a:lnTo>
                  <a:lnTo>
                    <a:pt x="209440" y="3324588"/>
                  </a:lnTo>
                  <a:lnTo>
                    <a:pt x="210697" y="3323221"/>
                  </a:lnTo>
                  <a:close/>
                  <a:moveTo>
                    <a:pt x="352161" y="3321168"/>
                  </a:moveTo>
                  <a:lnTo>
                    <a:pt x="355292" y="3321483"/>
                  </a:lnTo>
                  <a:lnTo>
                    <a:pt x="357133" y="3322083"/>
                  </a:lnTo>
                  <a:lnTo>
                    <a:pt x="356972" y="3322573"/>
                  </a:lnTo>
                  <a:lnTo>
                    <a:pt x="356821" y="3322647"/>
                  </a:lnTo>
                  <a:lnTo>
                    <a:pt x="356650" y="3322548"/>
                  </a:lnTo>
                  <a:lnTo>
                    <a:pt x="356411" y="3322579"/>
                  </a:lnTo>
                  <a:lnTo>
                    <a:pt x="351993" y="3324535"/>
                  </a:lnTo>
                  <a:lnTo>
                    <a:pt x="351047" y="3325536"/>
                  </a:lnTo>
                  <a:lnTo>
                    <a:pt x="350559" y="3325960"/>
                  </a:lnTo>
                  <a:lnTo>
                    <a:pt x="347136" y="3329932"/>
                  </a:lnTo>
                  <a:lnTo>
                    <a:pt x="344517" y="3331322"/>
                  </a:lnTo>
                  <a:lnTo>
                    <a:pt x="342880" y="3330215"/>
                  </a:lnTo>
                  <a:lnTo>
                    <a:pt x="342105" y="3327600"/>
                  </a:lnTo>
                  <a:lnTo>
                    <a:pt x="342063" y="3324452"/>
                  </a:lnTo>
                  <a:lnTo>
                    <a:pt x="347645" y="3321888"/>
                  </a:lnTo>
                  <a:lnTo>
                    <a:pt x="348709" y="3321607"/>
                  </a:lnTo>
                  <a:lnTo>
                    <a:pt x="349657" y="3321909"/>
                  </a:lnTo>
                  <a:lnTo>
                    <a:pt x="350399" y="3323178"/>
                  </a:lnTo>
                  <a:lnTo>
                    <a:pt x="351045" y="3321852"/>
                  </a:lnTo>
                  <a:lnTo>
                    <a:pt x="351513" y="3321280"/>
                  </a:lnTo>
                  <a:close/>
                  <a:moveTo>
                    <a:pt x="203570" y="3320000"/>
                  </a:moveTo>
                  <a:lnTo>
                    <a:pt x="204813" y="3320341"/>
                  </a:lnTo>
                  <a:lnTo>
                    <a:pt x="206066" y="3321303"/>
                  </a:lnTo>
                  <a:lnTo>
                    <a:pt x="207332" y="3322637"/>
                  </a:lnTo>
                  <a:lnTo>
                    <a:pt x="207888" y="3323400"/>
                  </a:lnTo>
                  <a:lnTo>
                    <a:pt x="208082" y="3323844"/>
                  </a:lnTo>
                  <a:lnTo>
                    <a:pt x="208270" y="3324785"/>
                  </a:lnTo>
                  <a:lnTo>
                    <a:pt x="207963" y="3325344"/>
                  </a:lnTo>
                  <a:lnTo>
                    <a:pt x="207417" y="3325243"/>
                  </a:lnTo>
                  <a:lnTo>
                    <a:pt x="206776" y="3325213"/>
                  </a:lnTo>
                  <a:lnTo>
                    <a:pt x="205978" y="3325941"/>
                  </a:lnTo>
                  <a:lnTo>
                    <a:pt x="205024" y="3327829"/>
                  </a:lnTo>
                  <a:lnTo>
                    <a:pt x="204407" y="3328007"/>
                  </a:lnTo>
                  <a:lnTo>
                    <a:pt x="203772" y="3327588"/>
                  </a:lnTo>
                  <a:lnTo>
                    <a:pt x="202088" y="3325658"/>
                  </a:lnTo>
                  <a:lnTo>
                    <a:pt x="202224" y="3324514"/>
                  </a:lnTo>
                  <a:lnTo>
                    <a:pt x="202632" y="3323228"/>
                  </a:lnTo>
                  <a:lnTo>
                    <a:pt x="202250" y="3321979"/>
                  </a:lnTo>
                  <a:lnTo>
                    <a:pt x="202436" y="3320686"/>
                  </a:lnTo>
                  <a:close/>
                  <a:moveTo>
                    <a:pt x="297587" y="3316749"/>
                  </a:moveTo>
                  <a:lnTo>
                    <a:pt x="298375" y="3319258"/>
                  </a:lnTo>
                  <a:lnTo>
                    <a:pt x="298859" y="3320099"/>
                  </a:lnTo>
                  <a:lnTo>
                    <a:pt x="300426" y="3330381"/>
                  </a:lnTo>
                  <a:lnTo>
                    <a:pt x="300824" y="3330856"/>
                  </a:lnTo>
                  <a:lnTo>
                    <a:pt x="301502" y="3331923"/>
                  </a:lnTo>
                  <a:lnTo>
                    <a:pt x="301394" y="3332801"/>
                  </a:lnTo>
                  <a:lnTo>
                    <a:pt x="300528" y="3332814"/>
                  </a:lnTo>
                  <a:lnTo>
                    <a:pt x="300055" y="3332543"/>
                  </a:lnTo>
                  <a:lnTo>
                    <a:pt x="299317" y="3331982"/>
                  </a:lnTo>
                  <a:lnTo>
                    <a:pt x="298026" y="3330613"/>
                  </a:lnTo>
                  <a:lnTo>
                    <a:pt x="295069" y="3323114"/>
                  </a:lnTo>
                  <a:lnTo>
                    <a:pt x="294912" y="3321076"/>
                  </a:lnTo>
                  <a:lnTo>
                    <a:pt x="295687" y="3318920"/>
                  </a:lnTo>
                  <a:lnTo>
                    <a:pt x="296796" y="3317018"/>
                  </a:lnTo>
                  <a:close/>
                  <a:moveTo>
                    <a:pt x="3391324" y="3305156"/>
                  </a:moveTo>
                  <a:lnTo>
                    <a:pt x="3393444" y="3305434"/>
                  </a:lnTo>
                  <a:lnTo>
                    <a:pt x="3394492" y="3305249"/>
                  </a:lnTo>
                  <a:lnTo>
                    <a:pt x="3395366" y="3305589"/>
                  </a:lnTo>
                  <a:lnTo>
                    <a:pt x="3397098" y="3306751"/>
                  </a:lnTo>
                  <a:lnTo>
                    <a:pt x="3394857" y="3309785"/>
                  </a:lnTo>
                  <a:lnTo>
                    <a:pt x="3394192" y="3311039"/>
                  </a:lnTo>
                  <a:lnTo>
                    <a:pt x="3393806" y="3312539"/>
                  </a:lnTo>
                  <a:lnTo>
                    <a:pt x="3393809" y="3313915"/>
                  </a:lnTo>
                  <a:lnTo>
                    <a:pt x="3394044" y="3315186"/>
                  </a:lnTo>
                  <a:lnTo>
                    <a:pt x="3394809" y="3318102"/>
                  </a:lnTo>
                  <a:lnTo>
                    <a:pt x="3394963" y="3319230"/>
                  </a:lnTo>
                  <a:lnTo>
                    <a:pt x="3394668" y="3320219"/>
                  </a:lnTo>
                  <a:lnTo>
                    <a:pt x="3393788" y="3321572"/>
                  </a:lnTo>
                  <a:lnTo>
                    <a:pt x="3392754" y="3322774"/>
                  </a:lnTo>
                  <a:lnTo>
                    <a:pt x="3391610" y="3323648"/>
                  </a:lnTo>
                  <a:lnTo>
                    <a:pt x="3390301" y="3324222"/>
                  </a:lnTo>
                  <a:lnTo>
                    <a:pt x="3383468" y="3325126"/>
                  </a:lnTo>
                  <a:lnTo>
                    <a:pt x="3379365" y="3327765"/>
                  </a:lnTo>
                  <a:lnTo>
                    <a:pt x="3378993" y="3328121"/>
                  </a:lnTo>
                  <a:lnTo>
                    <a:pt x="3378381" y="3329384"/>
                  </a:lnTo>
                  <a:lnTo>
                    <a:pt x="3377987" y="3329741"/>
                  </a:lnTo>
                  <a:lnTo>
                    <a:pt x="3377328" y="3329711"/>
                  </a:lnTo>
                  <a:lnTo>
                    <a:pt x="3377170" y="3329240"/>
                  </a:lnTo>
                  <a:lnTo>
                    <a:pt x="3377107" y="3328519"/>
                  </a:lnTo>
                  <a:lnTo>
                    <a:pt x="3376752" y="3327761"/>
                  </a:lnTo>
                  <a:lnTo>
                    <a:pt x="3373248" y="3323252"/>
                  </a:lnTo>
                  <a:lnTo>
                    <a:pt x="3373524" y="3319949"/>
                  </a:lnTo>
                  <a:lnTo>
                    <a:pt x="3373669" y="3319291"/>
                  </a:lnTo>
                  <a:lnTo>
                    <a:pt x="3374486" y="3318611"/>
                  </a:lnTo>
                  <a:lnTo>
                    <a:pt x="3375253" y="3318731"/>
                  </a:lnTo>
                  <a:lnTo>
                    <a:pt x="3376108" y="3319094"/>
                  </a:lnTo>
                  <a:lnTo>
                    <a:pt x="3377183" y="3319123"/>
                  </a:lnTo>
                  <a:lnTo>
                    <a:pt x="3378804" y="3318218"/>
                  </a:lnTo>
                  <a:lnTo>
                    <a:pt x="3380068" y="3316673"/>
                  </a:lnTo>
                  <a:lnTo>
                    <a:pt x="3381037" y="3314790"/>
                  </a:lnTo>
                  <a:lnTo>
                    <a:pt x="3381794" y="3312850"/>
                  </a:lnTo>
                  <a:lnTo>
                    <a:pt x="3382375" y="3312203"/>
                  </a:lnTo>
                  <a:lnTo>
                    <a:pt x="3384194" y="3311773"/>
                  </a:lnTo>
                  <a:lnTo>
                    <a:pt x="3384923" y="3311269"/>
                  </a:lnTo>
                  <a:lnTo>
                    <a:pt x="3387613" y="3308557"/>
                  </a:lnTo>
                  <a:lnTo>
                    <a:pt x="3389016" y="3306585"/>
                  </a:lnTo>
                  <a:lnTo>
                    <a:pt x="3390045" y="3305494"/>
                  </a:lnTo>
                  <a:close/>
                  <a:moveTo>
                    <a:pt x="316830" y="3301745"/>
                  </a:moveTo>
                  <a:lnTo>
                    <a:pt x="317665" y="3302024"/>
                  </a:lnTo>
                  <a:lnTo>
                    <a:pt x="318443" y="3302451"/>
                  </a:lnTo>
                  <a:lnTo>
                    <a:pt x="319126" y="3303040"/>
                  </a:lnTo>
                  <a:lnTo>
                    <a:pt x="319659" y="3303837"/>
                  </a:lnTo>
                  <a:lnTo>
                    <a:pt x="320068" y="3305093"/>
                  </a:lnTo>
                  <a:lnTo>
                    <a:pt x="320436" y="3308082"/>
                  </a:lnTo>
                  <a:lnTo>
                    <a:pt x="321000" y="3309314"/>
                  </a:lnTo>
                  <a:lnTo>
                    <a:pt x="323357" y="3311184"/>
                  </a:lnTo>
                  <a:lnTo>
                    <a:pt x="324979" y="3313422"/>
                  </a:lnTo>
                  <a:lnTo>
                    <a:pt x="330628" y="3317626"/>
                  </a:lnTo>
                  <a:lnTo>
                    <a:pt x="332777" y="3320471"/>
                  </a:lnTo>
                  <a:lnTo>
                    <a:pt x="333059" y="3323269"/>
                  </a:lnTo>
                  <a:lnTo>
                    <a:pt x="333028" y="3324553"/>
                  </a:lnTo>
                  <a:lnTo>
                    <a:pt x="334022" y="3327482"/>
                  </a:lnTo>
                  <a:lnTo>
                    <a:pt x="334050" y="3328616"/>
                  </a:lnTo>
                  <a:lnTo>
                    <a:pt x="333868" y="3330036"/>
                  </a:lnTo>
                  <a:lnTo>
                    <a:pt x="334199" y="3331606"/>
                  </a:lnTo>
                  <a:lnTo>
                    <a:pt x="337933" y="3340592"/>
                  </a:lnTo>
                  <a:lnTo>
                    <a:pt x="338825" y="3343901"/>
                  </a:lnTo>
                  <a:lnTo>
                    <a:pt x="338965" y="3347500"/>
                  </a:lnTo>
                  <a:lnTo>
                    <a:pt x="337217" y="3347978"/>
                  </a:lnTo>
                  <a:lnTo>
                    <a:pt x="336265" y="3346766"/>
                  </a:lnTo>
                  <a:lnTo>
                    <a:pt x="334987" y="3343239"/>
                  </a:lnTo>
                  <a:lnTo>
                    <a:pt x="326621" y="3329793"/>
                  </a:lnTo>
                  <a:lnTo>
                    <a:pt x="323079" y="3327141"/>
                  </a:lnTo>
                  <a:lnTo>
                    <a:pt x="323115" y="3326517"/>
                  </a:lnTo>
                  <a:lnTo>
                    <a:pt x="323592" y="3325916"/>
                  </a:lnTo>
                  <a:lnTo>
                    <a:pt x="323846" y="3325230"/>
                  </a:lnTo>
                  <a:lnTo>
                    <a:pt x="323308" y="3322257"/>
                  </a:lnTo>
                  <a:lnTo>
                    <a:pt x="323334" y="3320393"/>
                  </a:lnTo>
                  <a:lnTo>
                    <a:pt x="323375" y="3320140"/>
                  </a:lnTo>
                  <a:lnTo>
                    <a:pt x="323033" y="3319823"/>
                  </a:lnTo>
                  <a:lnTo>
                    <a:pt x="322601" y="3319659"/>
                  </a:lnTo>
                  <a:lnTo>
                    <a:pt x="322049" y="3319549"/>
                  </a:lnTo>
                  <a:lnTo>
                    <a:pt x="320980" y="3317684"/>
                  </a:lnTo>
                  <a:lnTo>
                    <a:pt x="321049" y="3317472"/>
                  </a:lnTo>
                  <a:lnTo>
                    <a:pt x="320142" y="3316567"/>
                  </a:lnTo>
                  <a:lnTo>
                    <a:pt x="318463" y="3313575"/>
                  </a:lnTo>
                  <a:lnTo>
                    <a:pt x="316069" y="3311540"/>
                  </a:lnTo>
                  <a:lnTo>
                    <a:pt x="315241" y="3310067"/>
                  </a:lnTo>
                  <a:lnTo>
                    <a:pt x="314111" y="3307035"/>
                  </a:lnTo>
                  <a:lnTo>
                    <a:pt x="314933" y="3306531"/>
                  </a:lnTo>
                  <a:lnTo>
                    <a:pt x="315540" y="3305931"/>
                  </a:lnTo>
                  <a:lnTo>
                    <a:pt x="315823" y="3305257"/>
                  </a:lnTo>
                  <a:lnTo>
                    <a:pt x="315689" y="3304493"/>
                  </a:lnTo>
                  <a:lnTo>
                    <a:pt x="315974" y="3303806"/>
                  </a:lnTo>
                  <a:lnTo>
                    <a:pt x="316478" y="3303198"/>
                  </a:lnTo>
                  <a:lnTo>
                    <a:pt x="316632" y="3302753"/>
                  </a:lnTo>
                  <a:close/>
                  <a:moveTo>
                    <a:pt x="3411274" y="3298852"/>
                  </a:moveTo>
                  <a:lnTo>
                    <a:pt x="3412444" y="3299070"/>
                  </a:lnTo>
                  <a:lnTo>
                    <a:pt x="3412400" y="3300176"/>
                  </a:lnTo>
                  <a:lnTo>
                    <a:pt x="3410908" y="3301094"/>
                  </a:lnTo>
                  <a:lnTo>
                    <a:pt x="3407231" y="3301649"/>
                  </a:lnTo>
                  <a:lnTo>
                    <a:pt x="3407405" y="3300582"/>
                  </a:lnTo>
                  <a:lnTo>
                    <a:pt x="3409483" y="3299305"/>
                  </a:lnTo>
                  <a:lnTo>
                    <a:pt x="3410621" y="3298894"/>
                  </a:lnTo>
                  <a:close/>
                  <a:moveTo>
                    <a:pt x="197976" y="3296785"/>
                  </a:moveTo>
                  <a:lnTo>
                    <a:pt x="199350" y="3297296"/>
                  </a:lnTo>
                  <a:lnTo>
                    <a:pt x="203491" y="3297771"/>
                  </a:lnTo>
                  <a:lnTo>
                    <a:pt x="204706" y="3298282"/>
                  </a:lnTo>
                  <a:lnTo>
                    <a:pt x="205674" y="3300273"/>
                  </a:lnTo>
                  <a:lnTo>
                    <a:pt x="206158" y="3303033"/>
                  </a:lnTo>
                  <a:lnTo>
                    <a:pt x="205804" y="3305825"/>
                  </a:lnTo>
                  <a:lnTo>
                    <a:pt x="204244" y="3307930"/>
                  </a:lnTo>
                  <a:lnTo>
                    <a:pt x="204204" y="3309268"/>
                  </a:lnTo>
                  <a:lnTo>
                    <a:pt x="203948" y="3310729"/>
                  </a:lnTo>
                  <a:lnTo>
                    <a:pt x="203882" y="3312251"/>
                  </a:lnTo>
                  <a:lnTo>
                    <a:pt x="204405" y="3313769"/>
                  </a:lnTo>
                  <a:lnTo>
                    <a:pt x="202555" y="3314275"/>
                  </a:lnTo>
                  <a:lnTo>
                    <a:pt x="201201" y="3313773"/>
                  </a:lnTo>
                  <a:lnTo>
                    <a:pt x="198679" y="3311320"/>
                  </a:lnTo>
                  <a:lnTo>
                    <a:pt x="197611" y="3309742"/>
                  </a:lnTo>
                  <a:lnTo>
                    <a:pt x="195350" y="3308818"/>
                  </a:lnTo>
                  <a:lnTo>
                    <a:pt x="193563" y="3307384"/>
                  </a:lnTo>
                  <a:lnTo>
                    <a:pt x="193564" y="3304401"/>
                  </a:lnTo>
                  <a:lnTo>
                    <a:pt x="194659" y="3304204"/>
                  </a:lnTo>
                  <a:lnTo>
                    <a:pt x="195048" y="3302895"/>
                  </a:lnTo>
                  <a:lnTo>
                    <a:pt x="195280" y="3301617"/>
                  </a:lnTo>
                  <a:lnTo>
                    <a:pt x="195358" y="3300325"/>
                  </a:lnTo>
                  <a:lnTo>
                    <a:pt x="196577" y="3299152"/>
                  </a:lnTo>
                  <a:lnTo>
                    <a:pt x="196872" y="3298199"/>
                  </a:lnTo>
                  <a:lnTo>
                    <a:pt x="197502" y="3297029"/>
                  </a:lnTo>
                  <a:close/>
                  <a:moveTo>
                    <a:pt x="3382149" y="3290052"/>
                  </a:moveTo>
                  <a:lnTo>
                    <a:pt x="3383604" y="3290246"/>
                  </a:lnTo>
                  <a:lnTo>
                    <a:pt x="3384097" y="3290548"/>
                  </a:lnTo>
                  <a:lnTo>
                    <a:pt x="3384163" y="3291333"/>
                  </a:lnTo>
                  <a:lnTo>
                    <a:pt x="3383000" y="3292084"/>
                  </a:lnTo>
                  <a:lnTo>
                    <a:pt x="3378302" y="3293737"/>
                  </a:lnTo>
                  <a:lnTo>
                    <a:pt x="3376717" y="3294658"/>
                  </a:lnTo>
                  <a:lnTo>
                    <a:pt x="3376601" y="3294291"/>
                  </a:lnTo>
                  <a:lnTo>
                    <a:pt x="3376799" y="3293210"/>
                  </a:lnTo>
                  <a:lnTo>
                    <a:pt x="3377232" y="3292241"/>
                  </a:lnTo>
                  <a:lnTo>
                    <a:pt x="3379529" y="3290599"/>
                  </a:lnTo>
                  <a:close/>
                  <a:moveTo>
                    <a:pt x="4822714" y="3281247"/>
                  </a:moveTo>
                  <a:lnTo>
                    <a:pt x="4824026" y="3281656"/>
                  </a:lnTo>
                  <a:lnTo>
                    <a:pt x="4824183" y="3284268"/>
                  </a:lnTo>
                  <a:lnTo>
                    <a:pt x="4823539" y="3288652"/>
                  </a:lnTo>
                  <a:lnTo>
                    <a:pt x="4823553" y="3293389"/>
                  </a:lnTo>
                  <a:lnTo>
                    <a:pt x="4823060" y="3296478"/>
                  </a:lnTo>
                  <a:lnTo>
                    <a:pt x="4823228" y="3297619"/>
                  </a:lnTo>
                  <a:lnTo>
                    <a:pt x="4824535" y="3296596"/>
                  </a:lnTo>
                  <a:lnTo>
                    <a:pt x="4826159" y="3296186"/>
                  </a:lnTo>
                  <a:lnTo>
                    <a:pt x="4827233" y="3296557"/>
                  </a:lnTo>
                  <a:lnTo>
                    <a:pt x="4826887" y="3297900"/>
                  </a:lnTo>
                  <a:lnTo>
                    <a:pt x="4827277" y="3298609"/>
                  </a:lnTo>
                  <a:lnTo>
                    <a:pt x="4829035" y="3298023"/>
                  </a:lnTo>
                  <a:lnTo>
                    <a:pt x="4831452" y="3296686"/>
                  </a:lnTo>
                  <a:lnTo>
                    <a:pt x="4833533" y="3294995"/>
                  </a:lnTo>
                  <a:lnTo>
                    <a:pt x="4834287" y="3293329"/>
                  </a:lnTo>
                  <a:lnTo>
                    <a:pt x="4835004" y="3293384"/>
                  </a:lnTo>
                  <a:lnTo>
                    <a:pt x="4835723" y="3293546"/>
                  </a:lnTo>
                  <a:lnTo>
                    <a:pt x="4836447" y="3293830"/>
                  </a:lnTo>
                  <a:lnTo>
                    <a:pt x="4837180" y="3294234"/>
                  </a:lnTo>
                  <a:lnTo>
                    <a:pt x="4838594" y="3295980"/>
                  </a:lnTo>
                  <a:lnTo>
                    <a:pt x="4839977" y="3299018"/>
                  </a:lnTo>
                  <a:lnTo>
                    <a:pt x="4842045" y="3305162"/>
                  </a:lnTo>
                  <a:lnTo>
                    <a:pt x="4842826" y="3309361"/>
                  </a:lnTo>
                  <a:lnTo>
                    <a:pt x="4843424" y="3310838"/>
                  </a:lnTo>
                  <a:lnTo>
                    <a:pt x="4843355" y="3311841"/>
                  </a:lnTo>
                  <a:lnTo>
                    <a:pt x="4841177" y="3315273"/>
                  </a:lnTo>
                  <a:lnTo>
                    <a:pt x="4842160" y="3315802"/>
                  </a:lnTo>
                  <a:lnTo>
                    <a:pt x="4843071" y="3315903"/>
                  </a:lnTo>
                  <a:lnTo>
                    <a:pt x="4843891" y="3315615"/>
                  </a:lnTo>
                  <a:lnTo>
                    <a:pt x="4844586" y="3314987"/>
                  </a:lnTo>
                  <a:lnTo>
                    <a:pt x="4844912" y="3315580"/>
                  </a:lnTo>
                  <a:lnTo>
                    <a:pt x="4844527" y="3316010"/>
                  </a:lnTo>
                  <a:lnTo>
                    <a:pt x="4843957" y="3316953"/>
                  </a:lnTo>
                  <a:lnTo>
                    <a:pt x="4843514" y="3317393"/>
                  </a:lnTo>
                  <a:lnTo>
                    <a:pt x="4844932" y="3318115"/>
                  </a:lnTo>
                  <a:lnTo>
                    <a:pt x="4846165" y="3318183"/>
                  </a:lnTo>
                  <a:lnTo>
                    <a:pt x="4847160" y="3318491"/>
                  </a:lnTo>
                  <a:lnTo>
                    <a:pt x="4847842" y="3319932"/>
                  </a:lnTo>
                  <a:lnTo>
                    <a:pt x="4847853" y="3320771"/>
                  </a:lnTo>
                  <a:lnTo>
                    <a:pt x="4847125" y="3322990"/>
                  </a:lnTo>
                  <a:lnTo>
                    <a:pt x="4847397" y="3329952"/>
                  </a:lnTo>
                  <a:lnTo>
                    <a:pt x="4850100" y="3341242"/>
                  </a:lnTo>
                  <a:lnTo>
                    <a:pt x="4850230" y="3343219"/>
                  </a:lnTo>
                  <a:lnTo>
                    <a:pt x="4849864" y="3348338"/>
                  </a:lnTo>
                  <a:lnTo>
                    <a:pt x="4850057" y="3349788"/>
                  </a:lnTo>
                  <a:lnTo>
                    <a:pt x="4850842" y="3353442"/>
                  </a:lnTo>
                  <a:lnTo>
                    <a:pt x="4850865" y="3360993"/>
                  </a:lnTo>
                  <a:lnTo>
                    <a:pt x="4851799" y="3367135"/>
                  </a:lnTo>
                  <a:lnTo>
                    <a:pt x="4852680" y="3367888"/>
                  </a:lnTo>
                  <a:lnTo>
                    <a:pt x="4852989" y="3368205"/>
                  </a:lnTo>
                  <a:lnTo>
                    <a:pt x="4852613" y="3360160"/>
                  </a:lnTo>
                  <a:lnTo>
                    <a:pt x="4852864" y="3358733"/>
                  </a:lnTo>
                  <a:lnTo>
                    <a:pt x="4853583" y="3357515"/>
                  </a:lnTo>
                  <a:lnTo>
                    <a:pt x="4854592" y="3351599"/>
                  </a:lnTo>
                  <a:lnTo>
                    <a:pt x="4856050" y="3349117"/>
                  </a:lnTo>
                  <a:lnTo>
                    <a:pt x="4856522" y="3348671"/>
                  </a:lnTo>
                  <a:lnTo>
                    <a:pt x="4857723" y="3348428"/>
                  </a:lnTo>
                  <a:lnTo>
                    <a:pt x="4858234" y="3348859"/>
                  </a:lnTo>
                  <a:lnTo>
                    <a:pt x="4858520" y="3349797"/>
                  </a:lnTo>
                  <a:lnTo>
                    <a:pt x="4859022" y="3351079"/>
                  </a:lnTo>
                  <a:lnTo>
                    <a:pt x="4859591" y="3353106"/>
                  </a:lnTo>
                  <a:lnTo>
                    <a:pt x="4859319" y="3354983"/>
                  </a:lnTo>
                  <a:lnTo>
                    <a:pt x="4858147" y="3358097"/>
                  </a:lnTo>
                  <a:lnTo>
                    <a:pt x="4855678" y="3375319"/>
                  </a:lnTo>
                  <a:lnTo>
                    <a:pt x="4854922" y="3377083"/>
                  </a:lnTo>
                  <a:lnTo>
                    <a:pt x="4852964" y="3380356"/>
                  </a:lnTo>
                  <a:lnTo>
                    <a:pt x="4852500" y="3381987"/>
                  </a:lnTo>
                  <a:lnTo>
                    <a:pt x="4852014" y="3382661"/>
                  </a:lnTo>
                  <a:lnTo>
                    <a:pt x="4850099" y="3381375"/>
                  </a:lnTo>
                  <a:lnTo>
                    <a:pt x="4849556" y="3382048"/>
                  </a:lnTo>
                  <a:lnTo>
                    <a:pt x="4849102" y="3384786"/>
                  </a:lnTo>
                  <a:lnTo>
                    <a:pt x="4848826" y="3385563"/>
                  </a:lnTo>
                  <a:lnTo>
                    <a:pt x="4848073" y="3386919"/>
                  </a:lnTo>
                  <a:lnTo>
                    <a:pt x="4845842" y="3389731"/>
                  </a:lnTo>
                  <a:lnTo>
                    <a:pt x="4842593" y="3392810"/>
                  </a:lnTo>
                  <a:lnTo>
                    <a:pt x="4841737" y="3392240"/>
                  </a:lnTo>
                  <a:lnTo>
                    <a:pt x="4841748" y="3391399"/>
                  </a:lnTo>
                  <a:lnTo>
                    <a:pt x="4842268" y="3390563"/>
                  </a:lnTo>
                  <a:lnTo>
                    <a:pt x="4842916" y="3390021"/>
                  </a:lnTo>
                  <a:lnTo>
                    <a:pt x="4841192" y="3390364"/>
                  </a:lnTo>
                  <a:lnTo>
                    <a:pt x="4840097" y="3394491"/>
                  </a:lnTo>
                  <a:lnTo>
                    <a:pt x="4839069" y="3402727"/>
                  </a:lnTo>
                  <a:lnTo>
                    <a:pt x="4838405" y="3404338"/>
                  </a:lnTo>
                  <a:lnTo>
                    <a:pt x="4837377" y="3405900"/>
                  </a:lnTo>
                  <a:lnTo>
                    <a:pt x="4832526" y="3410909"/>
                  </a:lnTo>
                  <a:lnTo>
                    <a:pt x="4831876" y="3412405"/>
                  </a:lnTo>
                  <a:lnTo>
                    <a:pt x="4832380" y="3414601"/>
                  </a:lnTo>
                  <a:lnTo>
                    <a:pt x="4838107" y="3410293"/>
                  </a:lnTo>
                  <a:lnTo>
                    <a:pt x="4839402" y="3408890"/>
                  </a:lnTo>
                  <a:lnTo>
                    <a:pt x="4839717" y="3407114"/>
                  </a:lnTo>
                  <a:lnTo>
                    <a:pt x="4839676" y="3405146"/>
                  </a:lnTo>
                  <a:lnTo>
                    <a:pt x="4839867" y="3403100"/>
                  </a:lnTo>
                  <a:lnTo>
                    <a:pt x="4842874" y="3398083"/>
                  </a:lnTo>
                  <a:lnTo>
                    <a:pt x="4842843" y="3395005"/>
                  </a:lnTo>
                  <a:lnTo>
                    <a:pt x="4844046" y="3393821"/>
                  </a:lnTo>
                  <a:lnTo>
                    <a:pt x="4846937" y="3391996"/>
                  </a:lnTo>
                  <a:lnTo>
                    <a:pt x="4848770" y="3388286"/>
                  </a:lnTo>
                  <a:lnTo>
                    <a:pt x="4850107" y="3386590"/>
                  </a:lnTo>
                  <a:lnTo>
                    <a:pt x="4851355" y="3387054"/>
                  </a:lnTo>
                  <a:lnTo>
                    <a:pt x="4851881" y="3389180"/>
                  </a:lnTo>
                  <a:lnTo>
                    <a:pt x="4851543" y="3391291"/>
                  </a:lnTo>
                  <a:lnTo>
                    <a:pt x="4850945" y="3393450"/>
                  </a:lnTo>
                  <a:lnTo>
                    <a:pt x="4850697" y="3395686"/>
                  </a:lnTo>
                  <a:lnTo>
                    <a:pt x="4851206" y="3397517"/>
                  </a:lnTo>
                  <a:lnTo>
                    <a:pt x="4852034" y="3399629"/>
                  </a:lnTo>
                  <a:lnTo>
                    <a:pt x="4852365" y="3401609"/>
                  </a:lnTo>
                  <a:lnTo>
                    <a:pt x="4851421" y="3403110"/>
                  </a:lnTo>
                  <a:lnTo>
                    <a:pt x="4850740" y="3403678"/>
                  </a:lnTo>
                  <a:lnTo>
                    <a:pt x="4850197" y="3404456"/>
                  </a:lnTo>
                  <a:lnTo>
                    <a:pt x="4849810" y="3405355"/>
                  </a:lnTo>
                  <a:lnTo>
                    <a:pt x="4849606" y="3406340"/>
                  </a:lnTo>
                  <a:lnTo>
                    <a:pt x="4849165" y="3407174"/>
                  </a:lnTo>
                  <a:lnTo>
                    <a:pt x="4848309" y="3407496"/>
                  </a:lnTo>
                  <a:lnTo>
                    <a:pt x="4846569" y="3407781"/>
                  </a:lnTo>
                  <a:lnTo>
                    <a:pt x="4843902" y="3409490"/>
                  </a:lnTo>
                  <a:lnTo>
                    <a:pt x="4842889" y="3410730"/>
                  </a:lnTo>
                  <a:lnTo>
                    <a:pt x="4842933" y="3412140"/>
                  </a:lnTo>
                  <a:lnTo>
                    <a:pt x="4842255" y="3412791"/>
                  </a:lnTo>
                  <a:lnTo>
                    <a:pt x="4838641" y="3414880"/>
                  </a:lnTo>
                  <a:lnTo>
                    <a:pt x="4837742" y="3415694"/>
                  </a:lnTo>
                  <a:lnTo>
                    <a:pt x="4839320" y="3415583"/>
                  </a:lnTo>
                  <a:lnTo>
                    <a:pt x="4839883" y="3415270"/>
                  </a:lnTo>
                  <a:lnTo>
                    <a:pt x="4839464" y="3416669"/>
                  </a:lnTo>
                  <a:lnTo>
                    <a:pt x="4838652" y="3417775"/>
                  </a:lnTo>
                  <a:lnTo>
                    <a:pt x="4837990" y="3418990"/>
                  </a:lnTo>
                  <a:lnTo>
                    <a:pt x="4838047" y="3420695"/>
                  </a:lnTo>
                  <a:lnTo>
                    <a:pt x="4839036" y="3420182"/>
                  </a:lnTo>
                  <a:lnTo>
                    <a:pt x="4840377" y="3418959"/>
                  </a:lnTo>
                  <a:lnTo>
                    <a:pt x="4841451" y="3417511"/>
                  </a:lnTo>
                  <a:lnTo>
                    <a:pt x="4841645" y="3416359"/>
                  </a:lnTo>
                  <a:lnTo>
                    <a:pt x="4842141" y="3415546"/>
                  </a:lnTo>
                  <a:lnTo>
                    <a:pt x="4843568" y="3414768"/>
                  </a:lnTo>
                  <a:lnTo>
                    <a:pt x="4844490" y="3413980"/>
                  </a:lnTo>
                  <a:lnTo>
                    <a:pt x="4843456" y="3413117"/>
                  </a:lnTo>
                  <a:lnTo>
                    <a:pt x="4844934" y="3412534"/>
                  </a:lnTo>
                  <a:lnTo>
                    <a:pt x="4850126" y="3413413"/>
                  </a:lnTo>
                  <a:lnTo>
                    <a:pt x="4849673" y="3414542"/>
                  </a:lnTo>
                  <a:lnTo>
                    <a:pt x="4848797" y="3414685"/>
                  </a:lnTo>
                  <a:lnTo>
                    <a:pt x="4847678" y="3414558"/>
                  </a:lnTo>
                  <a:lnTo>
                    <a:pt x="4846477" y="3414825"/>
                  </a:lnTo>
                  <a:lnTo>
                    <a:pt x="4846582" y="3415297"/>
                  </a:lnTo>
                  <a:lnTo>
                    <a:pt x="4849278" y="3416357"/>
                  </a:lnTo>
                  <a:lnTo>
                    <a:pt x="4850218" y="3416886"/>
                  </a:lnTo>
                  <a:lnTo>
                    <a:pt x="4849001" y="3417591"/>
                  </a:lnTo>
                  <a:lnTo>
                    <a:pt x="4848374" y="3417686"/>
                  </a:lnTo>
                  <a:lnTo>
                    <a:pt x="4847602" y="3417523"/>
                  </a:lnTo>
                  <a:lnTo>
                    <a:pt x="4847414" y="3419320"/>
                  </a:lnTo>
                  <a:lnTo>
                    <a:pt x="4846605" y="3419906"/>
                  </a:lnTo>
                  <a:lnTo>
                    <a:pt x="4845714" y="3420001"/>
                  </a:lnTo>
                  <a:lnTo>
                    <a:pt x="4845246" y="3420319"/>
                  </a:lnTo>
                  <a:lnTo>
                    <a:pt x="4844991" y="3421677"/>
                  </a:lnTo>
                  <a:lnTo>
                    <a:pt x="4841618" y="3428102"/>
                  </a:lnTo>
                  <a:lnTo>
                    <a:pt x="4841065" y="3430367"/>
                  </a:lnTo>
                  <a:lnTo>
                    <a:pt x="4841334" y="3432601"/>
                  </a:lnTo>
                  <a:lnTo>
                    <a:pt x="4841534" y="3432203"/>
                  </a:lnTo>
                  <a:lnTo>
                    <a:pt x="4842409" y="3431082"/>
                  </a:lnTo>
                  <a:lnTo>
                    <a:pt x="4842816" y="3431712"/>
                  </a:lnTo>
                  <a:lnTo>
                    <a:pt x="4843265" y="3432588"/>
                  </a:lnTo>
                  <a:lnTo>
                    <a:pt x="4843582" y="3433401"/>
                  </a:lnTo>
                  <a:lnTo>
                    <a:pt x="4843555" y="3433848"/>
                  </a:lnTo>
                  <a:lnTo>
                    <a:pt x="4843013" y="3434461"/>
                  </a:lnTo>
                  <a:lnTo>
                    <a:pt x="4842734" y="3435245"/>
                  </a:lnTo>
                  <a:lnTo>
                    <a:pt x="4842598" y="3435944"/>
                  </a:lnTo>
                  <a:lnTo>
                    <a:pt x="4842293" y="3436660"/>
                  </a:lnTo>
                  <a:lnTo>
                    <a:pt x="4842830" y="3436904"/>
                  </a:lnTo>
                  <a:lnTo>
                    <a:pt x="4843691" y="3436963"/>
                  </a:lnTo>
                  <a:lnTo>
                    <a:pt x="4847490" y="3435721"/>
                  </a:lnTo>
                  <a:lnTo>
                    <a:pt x="4849235" y="3433684"/>
                  </a:lnTo>
                  <a:lnTo>
                    <a:pt x="4853210" y="3424579"/>
                  </a:lnTo>
                  <a:lnTo>
                    <a:pt x="4855254" y="3422756"/>
                  </a:lnTo>
                  <a:lnTo>
                    <a:pt x="4858048" y="3421545"/>
                  </a:lnTo>
                  <a:lnTo>
                    <a:pt x="4861121" y="3421194"/>
                  </a:lnTo>
                  <a:lnTo>
                    <a:pt x="4863990" y="3421948"/>
                  </a:lnTo>
                  <a:lnTo>
                    <a:pt x="4865420" y="3423291"/>
                  </a:lnTo>
                  <a:lnTo>
                    <a:pt x="4865516" y="3424836"/>
                  </a:lnTo>
                  <a:lnTo>
                    <a:pt x="4865092" y="3426629"/>
                  </a:lnTo>
                  <a:lnTo>
                    <a:pt x="4864888" y="3429690"/>
                  </a:lnTo>
                  <a:lnTo>
                    <a:pt x="4864753" y="3430297"/>
                  </a:lnTo>
                  <a:lnTo>
                    <a:pt x="4864980" y="3430608"/>
                  </a:lnTo>
                  <a:lnTo>
                    <a:pt x="4865986" y="3430679"/>
                  </a:lnTo>
                  <a:lnTo>
                    <a:pt x="4866693" y="3430466"/>
                  </a:lnTo>
                  <a:lnTo>
                    <a:pt x="4866696" y="3430001"/>
                  </a:lnTo>
                  <a:lnTo>
                    <a:pt x="4866273" y="3429499"/>
                  </a:lnTo>
                  <a:lnTo>
                    <a:pt x="4865729" y="3429191"/>
                  </a:lnTo>
                  <a:lnTo>
                    <a:pt x="4866771" y="3427611"/>
                  </a:lnTo>
                  <a:lnTo>
                    <a:pt x="4865965" y="3427316"/>
                  </a:lnTo>
                  <a:lnTo>
                    <a:pt x="4868185" y="3425969"/>
                  </a:lnTo>
                  <a:lnTo>
                    <a:pt x="4868376" y="3425239"/>
                  </a:lnTo>
                  <a:lnTo>
                    <a:pt x="4868151" y="3422947"/>
                  </a:lnTo>
                  <a:lnTo>
                    <a:pt x="4868516" y="3422618"/>
                  </a:lnTo>
                  <a:lnTo>
                    <a:pt x="4869999" y="3422845"/>
                  </a:lnTo>
                  <a:lnTo>
                    <a:pt x="4870771" y="3422437"/>
                  </a:lnTo>
                  <a:lnTo>
                    <a:pt x="4870587" y="3421714"/>
                  </a:lnTo>
                  <a:lnTo>
                    <a:pt x="4869139" y="3420975"/>
                  </a:lnTo>
                  <a:lnTo>
                    <a:pt x="4869410" y="3419520"/>
                  </a:lnTo>
                  <a:lnTo>
                    <a:pt x="4868637" y="3418645"/>
                  </a:lnTo>
                  <a:lnTo>
                    <a:pt x="4867477" y="3418025"/>
                  </a:lnTo>
                  <a:lnTo>
                    <a:pt x="4866588" y="3417348"/>
                  </a:lnTo>
                  <a:lnTo>
                    <a:pt x="4865958" y="3415761"/>
                  </a:lnTo>
                  <a:lnTo>
                    <a:pt x="4865860" y="3414097"/>
                  </a:lnTo>
                  <a:lnTo>
                    <a:pt x="4866064" y="3412580"/>
                  </a:lnTo>
                  <a:lnTo>
                    <a:pt x="4866362" y="3411423"/>
                  </a:lnTo>
                  <a:lnTo>
                    <a:pt x="4866945" y="3410124"/>
                  </a:lnTo>
                  <a:lnTo>
                    <a:pt x="4868403" y="3407914"/>
                  </a:lnTo>
                  <a:lnTo>
                    <a:pt x="4868967" y="3406367"/>
                  </a:lnTo>
                  <a:lnTo>
                    <a:pt x="4869045" y="3404950"/>
                  </a:lnTo>
                  <a:lnTo>
                    <a:pt x="4868950" y="3403278"/>
                  </a:lnTo>
                  <a:lnTo>
                    <a:pt x="4869068" y="3401734"/>
                  </a:lnTo>
                  <a:lnTo>
                    <a:pt x="4869749" y="3400688"/>
                  </a:lnTo>
                  <a:lnTo>
                    <a:pt x="4870105" y="3399782"/>
                  </a:lnTo>
                  <a:lnTo>
                    <a:pt x="4870845" y="3396291"/>
                  </a:lnTo>
                  <a:lnTo>
                    <a:pt x="4872103" y="3394151"/>
                  </a:lnTo>
                  <a:lnTo>
                    <a:pt x="4872200" y="3391118"/>
                  </a:lnTo>
                  <a:lnTo>
                    <a:pt x="4874373" y="3388216"/>
                  </a:lnTo>
                  <a:lnTo>
                    <a:pt x="4875594" y="3385262"/>
                  </a:lnTo>
                  <a:lnTo>
                    <a:pt x="4876307" y="3381986"/>
                  </a:lnTo>
                  <a:lnTo>
                    <a:pt x="4876271" y="3379243"/>
                  </a:lnTo>
                  <a:lnTo>
                    <a:pt x="4875173" y="3380531"/>
                  </a:lnTo>
                  <a:lnTo>
                    <a:pt x="4873184" y="3383762"/>
                  </a:lnTo>
                  <a:lnTo>
                    <a:pt x="4872068" y="3387087"/>
                  </a:lnTo>
                  <a:lnTo>
                    <a:pt x="4868377" y="3390964"/>
                  </a:lnTo>
                  <a:lnTo>
                    <a:pt x="4865883" y="3395544"/>
                  </a:lnTo>
                  <a:lnTo>
                    <a:pt x="4864647" y="3397198"/>
                  </a:lnTo>
                  <a:lnTo>
                    <a:pt x="4864142" y="3399298"/>
                  </a:lnTo>
                  <a:lnTo>
                    <a:pt x="4862307" y="3401398"/>
                  </a:lnTo>
                  <a:lnTo>
                    <a:pt x="4861648" y="3401877"/>
                  </a:lnTo>
                  <a:lnTo>
                    <a:pt x="4860560" y="3401884"/>
                  </a:lnTo>
                  <a:lnTo>
                    <a:pt x="4859488" y="3401381"/>
                  </a:lnTo>
                  <a:lnTo>
                    <a:pt x="4858003" y="3399993"/>
                  </a:lnTo>
                  <a:lnTo>
                    <a:pt x="4857054" y="3399688"/>
                  </a:lnTo>
                  <a:lnTo>
                    <a:pt x="4856135" y="3400077"/>
                  </a:lnTo>
                  <a:lnTo>
                    <a:pt x="4855338" y="3400809"/>
                  </a:lnTo>
                  <a:lnTo>
                    <a:pt x="4854569" y="3401143"/>
                  </a:lnTo>
                  <a:lnTo>
                    <a:pt x="4853759" y="3400355"/>
                  </a:lnTo>
                  <a:lnTo>
                    <a:pt x="4853653" y="3398629"/>
                  </a:lnTo>
                  <a:lnTo>
                    <a:pt x="4856430" y="3393054"/>
                  </a:lnTo>
                  <a:lnTo>
                    <a:pt x="4857282" y="3389757"/>
                  </a:lnTo>
                  <a:lnTo>
                    <a:pt x="4858067" y="3388225"/>
                  </a:lnTo>
                  <a:lnTo>
                    <a:pt x="4859408" y="3386992"/>
                  </a:lnTo>
                  <a:lnTo>
                    <a:pt x="4860401" y="3385625"/>
                  </a:lnTo>
                  <a:lnTo>
                    <a:pt x="4862006" y="3379252"/>
                  </a:lnTo>
                  <a:lnTo>
                    <a:pt x="4864410" y="3374736"/>
                  </a:lnTo>
                  <a:lnTo>
                    <a:pt x="4865035" y="3372975"/>
                  </a:lnTo>
                  <a:lnTo>
                    <a:pt x="4866303" y="3366112"/>
                  </a:lnTo>
                  <a:lnTo>
                    <a:pt x="4866902" y="3364873"/>
                  </a:lnTo>
                  <a:lnTo>
                    <a:pt x="4867253" y="3363694"/>
                  </a:lnTo>
                  <a:lnTo>
                    <a:pt x="4867491" y="3359314"/>
                  </a:lnTo>
                  <a:lnTo>
                    <a:pt x="4868393" y="3357793"/>
                  </a:lnTo>
                  <a:lnTo>
                    <a:pt x="4869721" y="3356900"/>
                  </a:lnTo>
                  <a:lnTo>
                    <a:pt x="4870774" y="3355783"/>
                  </a:lnTo>
                  <a:lnTo>
                    <a:pt x="4871135" y="3354299"/>
                  </a:lnTo>
                  <a:lnTo>
                    <a:pt x="4870372" y="3352297"/>
                  </a:lnTo>
                  <a:lnTo>
                    <a:pt x="4869439" y="3353881"/>
                  </a:lnTo>
                  <a:lnTo>
                    <a:pt x="4868333" y="3355098"/>
                  </a:lnTo>
                  <a:lnTo>
                    <a:pt x="4865582" y="3357077"/>
                  </a:lnTo>
                  <a:lnTo>
                    <a:pt x="4864719" y="3358329"/>
                  </a:lnTo>
                  <a:lnTo>
                    <a:pt x="4863865" y="3364139"/>
                  </a:lnTo>
                  <a:lnTo>
                    <a:pt x="4858709" y="3380040"/>
                  </a:lnTo>
                  <a:lnTo>
                    <a:pt x="4857635" y="3381766"/>
                  </a:lnTo>
                  <a:lnTo>
                    <a:pt x="4857129" y="3382236"/>
                  </a:lnTo>
                  <a:lnTo>
                    <a:pt x="4855963" y="3382261"/>
                  </a:lnTo>
                  <a:lnTo>
                    <a:pt x="4855316" y="3381452"/>
                  </a:lnTo>
                  <a:lnTo>
                    <a:pt x="4855150" y="3380407"/>
                  </a:lnTo>
                  <a:lnTo>
                    <a:pt x="4855456" y="3379713"/>
                  </a:lnTo>
                  <a:lnTo>
                    <a:pt x="4856509" y="3378268"/>
                  </a:lnTo>
                  <a:lnTo>
                    <a:pt x="4857030" y="3376058"/>
                  </a:lnTo>
                  <a:lnTo>
                    <a:pt x="4857241" y="3371678"/>
                  </a:lnTo>
                  <a:lnTo>
                    <a:pt x="4859029" y="3364031"/>
                  </a:lnTo>
                  <a:lnTo>
                    <a:pt x="4858661" y="3362082"/>
                  </a:lnTo>
                  <a:lnTo>
                    <a:pt x="4859089" y="3359847"/>
                  </a:lnTo>
                  <a:lnTo>
                    <a:pt x="4863027" y="3347410"/>
                  </a:lnTo>
                  <a:lnTo>
                    <a:pt x="4866568" y="3343250"/>
                  </a:lnTo>
                  <a:lnTo>
                    <a:pt x="4867357" y="3344068"/>
                  </a:lnTo>
                  <a:lnTo>
                    <a:pt x="4870646" y="3346898"/>
                  </a:lnTo>
                  <a:lnTo>
                    <a:pt x="4876142" y="3348243"/>
                  </a:lnTo>
                  <a:lnTo>
                    <a:pt x="4876608" y="3350238"/>
                  </a:lnTo>
                  <a:lnTo>
                    <a:pt x="4875097" y="3359814"/>
                  </a:lnTo>
                  <a:lnTo>
                    <a:pt x="4875725" y="3359057"/>
                  </a:lnTo>
                  <a:lnTo>
                    <a:pt x="4875991" y="3358015"/>
                  </a:lnTo>
                  <a:lnTo>
                    <a:pt x="4876092" y="3357045"/>
                  </a:lnTo>
                  <a:lnTo>
                    <a:pt x="4876231" y="3356503"/>
                  </a:lnTo>
                  <a:lnTo>
                    <a:pt x="4877052" y="3356035"/>
                  </a:lnTo>
                  <a:lnTo>
                    <a:pt x="4877779" y="3356036"/>
                  </a:lnTo>
                  <a:lnTo>
                    <a:pt x="4879222" y="3356464"/>
                  </a:lnTo>
                  <a:lnTo>
                    <a:pt x="4880723" y="3357728"/>
                  </a:lnTo>
                  <a:lnTo>
                    <a:pt x="4881340" y="3357720"/>
                  </a:lnTo>
                  <a:lnTo>
                    <a:pt x="4881316" y="3355960"/>
                  </a:lnTo>
                  <a:lnTo>
                    <a:pt x="4880924" y="3354931"/>
                  </a:lnTo>
                  <a:lnTo>
                    <a:pt x="4880278" y="3354221"/>
                  </a:lnTo>
                  <a:lnTo>
                    <a:pt x="4879533" y="3353552"/>
                  </a:lnTo>
                  <a:lnTo>
                    <a:pt x="4878863" y="3352691"/>
                  </a:lnTo>
                  <a:lnTo>
                    <a:pt x="4878459" y="3350647"/>
                  </a:lnTo>
                  <a:lnTo>
                    <a:pt x="4878709" y="3348072"/>
                  </a:lnTo>
                  <a:lnTo>
                    <a:pt x="4879332" y="3345773"/>
                  </a:lnTo>
                  <a:lnTo>
                    <a:pt x="4880043" y="3344552"/>
                  </a:lnTo>
                  <a:lnTo>
                    <a:pt x="4881824" y="3343599"/>
                  </a:lnTo>
                  <a:lnTo>
                    <a:pt x="4883745" y="3342953"/>
                  </a:lnTo>
                  <a:lnTo>
                    <a:pt x="4885777" y="3342788"/>
                  </a:lnTo>
                  <a:lnTo>
                    <a:pt x="4887892" y="3343230"/>
                  </a:lnTo>
                  <a:lnTo>
                    <a:pt x="4885098" y="3346632"/>
                  </a:lnTo>
                  <a:lnTo>
                    <a:pt x="4891728" y="3342992"/>
                  </a:lnTo>
                  <a:lnTo>
                    <a:pt x="4895333" y="3342104"/>
                  </a:lnTo>
                  <a:lnTo>
                    <a:pt x="4896891" y="3345452"/>
                  </a:lnTo>
                  <a:lnTo>
                    <a:pt x="4897988" y="3345265"/>
                  </a:lnTo>
                  <a:lnTo>
                    <a:pt x="4899346" y="3342633"/>
                  </a:lnTo>
                  <a:lnTo>
                    <a:pt x="4900356" y="3341458"/>
                  </a:lnTo>
                  <a:lnTo>
                    <a:pt x="4905328" y="3339203"/>
                  </a:lnTo>
                  <a:lnTo>
                    <a:pt x="4904393" y="3341578"/>
                  </a:lnTo>
                  <a:lnTo>
                    <a:pt x="4903696" y="3344511"/>
                  </a:lnTo>
                  <a:lnTo>
                    <a:pt x="4903794" y="3347667"/>
                  </a:lnTo>
                  <a:lnTo>
                    <a:pt x="4905216" y="3350717"/>
                  </a:lnTo>
                  <a:lnTo>
                    <a:pt x="4905407" y="3348847"/>
                  </a:lnTo>
                  <a:lnTo>
                    <a:pt x="4906178" y="3347046"/>
                  </a:lnTo>
                  <a:lnTo>
                    <a:pt x="4907216" y="3345492"/>
                  </a:lnTo>
                  <a:lnTo>
                    <a:pt x="4908220" y="3344382"/>
                  </a:lnTo>
                  <a:lnTo>
                    <a:pt x="4908612" y="3345084"/>
                  </a:lnTo>
                  <a:lnTo>
                    <a:pt x="4906458" y="3350811"/>
                  </a:lnTo>
                  <a:lnTo>
                    <a:pt x="4906148" y="3354005"/>
                  </a:lnTo>
                  <a:lnTo>
                    <a:pt x="4905720" y="3355325"/>
                  </a:lnTo>
                  <a:lnTo>
                    <a:pt x="4903141" y="3357731"/>
                  </a:lnTo>
                  <a:lnTo>
                    <a:pt x="4903339" y="3358668"/>
                  </a:lnTo>
                  <a:lnTo>
                    <a:pt x="4904499" y="3359466"/>
                  </a:lnTo>
                  <a:lnTo>
                    <a:pt x="4906044" y="3360278"/>
                  </a:lnTo>
                  <a:lnTo>
                    <a:pt x="4907478" y="3360285"/>
                  </a:lnTo>
                  <a:lnTo>
                    <a:pt x="4908807" y="3359156"/>
                  </a:lnTo>
                  <a:lnTo>
                    <a:pt x="4910943" y="3356733"/>
                  </a:lnTo>
                  <a:lnTo>
                    <a:pt x="4912156" y="3356007"/>
                  </a:lnTo>
                  <a:lnTo>
                    <a:pt x="4912753" y="3355881"/>
                  </a:lnTo>
                  <a:lnTo>
                    <a:pt x="4913542" y="3356048"/>
                  </a:lnTo>
                  <a:lnTo>
                    <a:pt x="4913070" y="3356167"/>
                  </a:lnTo>
                  <a:lnTo>
                    <a:pt x="4913353" y="3356926"/>
                  </a:lnTo>
                  <a:lnTo>
                    <a:pt x="4914190" y="3358192"/>
                  </a:lnTo>
                  <a:lnTo>
                    <a:pt x="4914986" y="3358588"/>
                  </a:lnTo>
                  <a:lnTo>
                    <a:pt x="4916633" y="3358906"/>
                  </a:lnTo>
                  <a:lnTo>
                    <a:pt x="4917068" y="3359080"/>
                  </a:lnTo>
                  <a:lnTo>
                    <a:pt x="4917742" y="3360156"/>
                  </a:lnTo>
                  <a:lnTo>
                    <a:pt x="4918057" y="3361198"/>
                  </a:lnTo>
                  <a:lnTo>
                    <a:pt x="4917851" y="3361958"/>
                  </a:lnTo>
                  <a:lnTo>
                    <a:pt x="4916988" y="3362188"/>
                  </a:lnTo>
                  <a:lnTo>
                    <a:pt x="4914376" y="3363489"/>
                  </a:lnTo>
                  <a:lnTo>
                    <a:pt x="4911027" y="3369595"/>
                  </a:lnTo>
                  <a:lnTo>
                    <a:pt x="4908873" y="3370257"/>
                  </a:lnTo>
                  <a:lnTo>
                    <a:pt x="4908662" y="3370940"/>
                  </a:lnTo>
                  <a:lnTo>
                    <a:pt x="4908554" y="3371590"/>
                  </a:lnTo>
                  <a:lnTo>
                    <a:pt x="4908544" y="3372271"/>
                  </a:lnTo>
                  <a:lnTo>
                    <a:pt x="4908654" y="3373086"/>
                  </a:lnTo>
                  <a:lnTo>
                    <a:pt x="4909086" y="3373180"/>
                  </a:lnTo>
                  <a:lnTo>
                    <a:pt x="4909671" y="3373595"/>
                  </a:lnTo>
                  <a:lnTo>
                    <a:pt x="4910210" y="3373850"/>
                  </a:lnTo>
                  <a:lnTo>
                    <a:pt x="4900659" y="3380521"/>
                  </a:lnTo>
                  <a:lnTo>
                    <a:pt x="4900155" y="3383690"/>
                  </a:lnTo>
                  <a:lnTo>
                    <a:pt x="4900473" y="3384654"/>
                  </a:lnTo>
                  <a:lnTo>
                    <a:pt x="4900593" y="3384684"/>
                  </a:lnTo>
                  <a:lnTo>
                    <a:pt x="4900990" y="3384318"/>
                  </a:lnTo>
                  <a:lnTo>
                    <a:pt x="4902167" y="3384100"/>
                  </a:lnTo>
                  <a:lnTo>
                    <a:pt x="4904056" y="3384202"/>
                  </a:lnTo>
                  <a:lnTo>
                    <a:pt x="4904900" y="3384072"/>
                  </a:lnTo>
                  <a:lnTo>
                    <a:pt x="4905843" y="3383635"/>
                  </a:lnTo>
                  <a:lnTo>
                    <a:pt x="4906860" y="3383547"/>
                  </a:lnTo>
                  <a:lnTo>
                    <a:pt x="4907583" y="3384297"/>
                  </a:lnTo>
                  <a:lnTo>
                    <a:pt x="4907897" y="3385291"/>
                  </a:lnTo>
                  <a:lnTo>
                    <a:pt x="4907715" y="3385960"/>
                  </a:lnTo>
                  <a:lnTo>
                    <a:pt x="4906993" y="3386611"/>
                  </a:lnTo>
                  <a:lnTo>
                    <a:pt x="4902766" y="3392336"/>
                  </a:lnTo>
                  <a:lnTo>
                    <a:pt x="4901959" y="3394222"/>
                  </a:lnTo>
                  <a:lnTo>
                    <a:pt x="4902149" y="3395986"/>
                  </a:lnTo>
                  <a:lnTo>
                    <a:pt x="4902755" y="3398348"/>
                  </a:lnTo>
                  <a:lnTo>
                    <a:pt x="4902151" y="3400324"/>
                  </a:lnTo>
                  <a:lnTo>
                    <a:pt x="4900887" y="3401956"/>
                  </a:lnTo>
                  <a:lnTo>
                    <a:pt x="4899504" y="3403236"/>
                  </a:lnTo>
                  <a:lnTo>
                    <a:pt x="4897622" y="3406077"/>
                  </a:lnTo>
                  <a:lnTo>
                    <a:pt x="4895019" y="3412915"/>
                  </a:lnTo>
                  <a:lnTo>
                    <a:pt x="4892390" y="3415432"/>
                  </a:lnTo>
                  <a:lnTo>
                    <a:pt x="4890969" y="3416269"/>
                  </a:lnTo>
                  <a:lnTo>
                    <a:pt x="4890287" y="3416211"/>
                  </a:lnTo>
                  <a:lnTo>
                    <a:pt x="4889449" y="3415501"/>
                  </a:lnTo>
                  <a:lnTo>
                    <a:pt x="4888704" y="3418083"/>
                  </a:lnTo>
                  <a:lnTo>
                    <a:pt x="4888229" y="3419133"/>
                  </a:lnTo>
                  <a:lnTo>
                    <a:pt x="4882119" y="3426865"/>
                  </a:lnTo>
                  <a:lnTo>
                    <a:pt x="4880877" y="3429826"/>
                  </a:lnTo>
                  <a:lnTo>
                    <a:pt x="4880458" y="3430576"/>
                  </a:lnTo>
                  <a:lnTo>
                    <a:pt x="4878343" y="3431911"/>
                  </a:lnTo>
                  <a:lnTo>
                    <a:pt x="4877953" y="3432365"/>
                  </a:lnTo>
                  <a:lnTo>
                    <a:pt x="4877647" y="3432984"/>
                  </a:lnTo>
                  <a:lnTo>
                    <a:pt x="4877252" y="3433550"/>
                  </a:lnTo>
                  <a:lnTo>
                    <a:pt x="4876607" y="3433823"/>
                  </a:lnTo>
                  <a:lnTo>
                    <a:pt x="4875921" y="3433457"/>
                  </a:lnTo>
                  <a:lnTo>
                    <a:pt x="4875386" y="3432617"/>
                  </a:lnTo>
                  <a:lnTo>
                    <a:pt x="4874842" y="3431890"/>
                  </a:lnTo>
                  <a:lnTo>
                    <a:pt x="4874118" y="3431872"/>
                  </a:lnTo>
                  <a:lnTo>
                    <a:pt x="4868775" y="3434259"/>
                  </a:lnTo>
                  <a:lnTo>
                    <a:pt x="4867528" y="3434520"/>
                  </a:lnTo>
                  <a:lnTo>
                    <a:pt x="4866738" y="3433762"/>
                  </a:lnTo>
                  <a:lnTo>
                    <a:pt x="4866035" y="3432612"/>
                  </a:lnTo>
                  <a:lnTo>
                    <a:pt x="4865040" y="3431689"/>
                  </a:lnTo>
                  <a:lnTo>
                    <a:pt x="4863662" y="3431658"/>
                  </a:lnTo>
                  <a:lnTo>
                    <a:pt x="4863241" y="3432959"/>
                  </a:lnTo>
                  <a:lnTo>
                    <a:pt x="4863176" y="3434728"/>
                  </a:lnTo>
                  <a:lnTo>
                    <a:pt x="4862887" y="3436092"/>
                  </a:lnTo>
                  <a:lnTo>
                    <a:pt x="4861974" y="3435764"/>
                  </a:lnTo>
                  <a:lnTo>
                    <a:pt x="4861108" y="3435716"/>
                  </a:lnTo>
                  <a:lnTo>
                    <a:pt x="4860297" y="3435928"/>
                  </a:lnTo>
                  <a:lnTo>
                    <a:pt x="4859534" y="3436388"/>
                  </a:lnTo>
                  <a:lnTo>
                    <a:pt x="4860436" y="3437835"/>
                  </a:lnTo>
                  <a:lnTo>
                    <a:pt x="4859081" y="3439178"/>
                  </a:lnTo>
                  <a:lnTo>
                    <a:pt x="4855211" y="3440723"/>
                  </a:lnTo>
                  <a:lnTo>
                    <a:pt x="4856467" y="3440754"/>
                  </a:lnTo>
                  <a:lnTo>
                    <a:pt x="4856690" y="3442240"/>
                  </a:lnTo>
                  <a:lnTo>
                    <a:pt x="4856302" y="3442947"/>
                  </a:lnTo>
                  <a:lnTo>
                    <a:pt x="4854717" y="3443602"/>
                  </a:lnTo>
                  <a:lnTo>
                    <a:pt x="4854156" y="3444242"/>
                  </a:lnTo>
                  <a:lnTo>
                    <a:pt x="4853248" y="3447085"/>
                  </a:lnTo>
                  <a:lnTo>
                    <a:pt x="4850898" y="3450191"/>
                  </a:lnTo>
                  <a:lnTo>
                    <a:pt x="4849395" y="3451508"/>
                  </a:lnTo>
                  <a:lnTo>
                    <a:pt x="4848077" y="3451985"/>
                  </a:lnTo>
                  <a:lnTo>
                    <a:pt x="4848928" y="3450709"/>
                  </a:lnTo>
                  <a:lnTo>
                    <a:pt x="4849008" y="3449860"/>
                  </a:lnTo>
                  <a:lnTo>
                    <a:pt x="4848391" y="3449336"/>
                  </a:lnTo>
                  <a:lnTo>
                    <a:pt x="4847149" y="3449017"/>
                  </a:lnTo>
                  <a:lnTo>
                    <a:pt x="4846009" y="3449279"/>
                  </a:lnTo>
                  <a:lnTo>
                    <a:pt x="4845136" y="3449899"/>
                  </a:lnTo>
                  <a:lnTo>
                    <a:pt x="4844330" y="3449981"/>
                  </a:lnTo>
                  <a:lnTo>
                    <a:pt x="4843371" y="3448613"/>
                  </a:lnTo>
                  <a:lnTo>
                    <a:pt x="4843295" y="3449644"/>
                  </a:lnTo>
                  <a:lnTo>
                    <a:pt x="4843523" y="3450868"/>
                  </a:lnTo>
                  <a:lnTo>
                    <a:pt x="4843602" y="3451776"/>
                  </a:lnTo>
                  <a:lnTo>
                    <a:pt x="4843041" y="3451860"/>
                  </a:lnTo>
                  <a:lnTo>
                    <a:pt x="4842354" y="3452086"/>
                  </a:lnTo>
                  <a:lnTo>
                    <a:pt x="4841831" y="3453142"/>
                  </a:lnTo>
                  <a:lnTo>
                    <a:pt x="4841391" y="3454415"/>
                  </a:lnTo>
                  <a:lnTo>
                    <a:pt x="4840931" y="3455311"/>
                  </a:lnTo>
                  <a:lnTo>
                    <a:pt x="4842320" y="3456780"/>
                  </a:lnTo>
                  <a:lnTo>
                    <a:pt x="4841401" y="3457410"/>
                  </a:lnTo>
                  <a:lnTo>
                    <a:pt x="4838357" y="3457789"/>
                  </a:lnTo>
                  <a:lnTo>
                    <a:pt x="4837136" y="3457613"/>
                  </a:lnTo>
                  <a:lnTo>
                    <a:pt x="4833008" y="3454399"/>
                  </a:lnTo>
                  <a:lnTo>
                    <a:pt x="4826972" y="3452235"/>
                  </a:lnTo>
                  <a:lnTo>
                    <a:pt x="4824209" y="3450739"/>
                  </a:lnTo>
                  <a:lnTo>
                    <a:pt x="4821912" y="3448561"/>
                  </a:lnTo>
                  <a:lnTo>
                    <a:pt x="4817914" y="3442576"/>
                  </a:lnTo>
                  <a:lnTo>
                    <a:pt x="4815460" y="3439615"/>
                  </a:lnTo>
                  <a:lnTo>
                    <a:pt x="4813560" y="3438819"/>
                  </a:lnTo>
                  <a:lnTo>
                    <a:pt x="4812815" y="3438185"/>
                  </a:lnTo>
                  <a:lnTo>
                    <a:pt x="4810665" y="3432722"/>
                  </a:lnTo>
                  <a:lnTo>
                    <a:pt x="4809046" y="3431488"/>
                  </a:lnTo>
                  <a:lnTo>
                    <a:pt x="4807434" y="3430768"/>
                  </a:lnTo>
                  <a:lnTo>
                    <a:pt x="4806214" y="3429799"/>
                  </a:lnTo>
                  <a:lnTo>
                    <a:pt x="4805730" y="3427827"/>
                  </a:lnTo>
                  <a:lnTo>
                    <a:pt x="4804880" y="3427039"/>
                  </a:lnTo>
                  <a:lnTo>
                    <a:pt x="4803880" y="3425141"/>
                  </a:lnTo>
                  <a:lnTo>
                    <a:pt x="4803174" y="3424186"/>
                  </a:lnTo>
                  <a:lnTo>
                    <a:pt x="4802579" y="3423929"/>
                  </a:lnTo>
                  <a:lnTo>
                    <a:pt x="4801620" y="3423666"/>
                  </a:lnTo>
                  <a:lnTo>
                    <a:pt x="4800595" y="3423202"/>
                  </a:lnTo>
                  <a:lnTo>
                    <a:pt x="4799819" y="3422381"/>
                  </a:lnTo>
                  <a:lnTo>
                    <a:pt x="4799556" y="3420185"/>
                  </a:lnTo>
                  <a:lnTo>
                    <a:pt x="4800478" y="3418047"/>
                  </a:lnTo>
                  <a:lnTo>
                    <a:pt x="4801661" y="3416095"/>
                  </a:lnTo>
                  <a:lnTo>
                    <a:pt x="4802200" y="3414442"/>
                  </a:lnTo>
                  <a:lnTo>
                    <a:pt x="4801575" y="3412424"/>
                  </a:lnTo>
                  <a:lnTo>
                    <a:pt x="4800435" y="3409609"/>
                  </a:lnTo>
                  <a:lnTo>
                    <a:pt x="4799629" y="3406934"/>
                  </a:lnTo>
                  <a:lnTo>
                    <a:pt x="4800009" y="3405339"/>
                  </a:lnTo>
                  <a:lnTo>
                    <a:pt x="4800555" y="3404183"/>
                  </a:lnTo>
                  <a:lnTo>
                    <a:pt x="4802019" y="3399341"/>
                  </a:lnTo>
                  <a:lnTo>
                    <a:pt x="4805795" y="3390990"/>
                  </a:lnTo>
                  <a:lnTo>
                    <a:pt x="4806178" y="3390390"/>
                  </a:lnTo>
                  <a:lnTo>
                    <a:pt x="4805861" y="3389362"/>
                  </a:lnTo>
                  <a:lnTo>
                    <a:pt x="4806250" y="3379554"/>
                  </a:lnTo>
                  <a:lnTo>
                    <a:pt x="4805770" y="3375290"/>
                  </a:lnTo>
                  <a:lnTo>
                    <a:pt x="4805708" y="3372981"/>
                  </a:lnTo>
                  <a:lnTo>
                    <a:pt x="4807590" y="3363203"/>
                  </a:lnTo>
                  <a:lnTo>
                    <a:pt x="4807505" y="3361663"/>
                  </a:lnTo>
                  <a:lnTo>
                    <a:pt x="4807148" y="3360101"/>
                  </a:lnTo>
                  <a:lnTo>
                    <a:pt x="4805809" y="3356767"/>
                  </a:lnTo>
                  <a:lnTo>
                    <a:pt x="4805677" y="3355126"/>
                  </a:lnTo>
                  <a:lnTo>
                    <a:pt x="4806156" y="3351859"/>
                  </a:lnTo>
                  <a:lnTo>
                    <a:pt x="4805895" y="3349780"/>
                  </a:lnTo>
                  <a:lnTo>
                    <a:pt x="4804753" y="3348747"/>
                  </a:lnTo>
                  <a:lnTo>
                    <a:pt x="4803385" y="3348223"/>
                  </a:lnTo>
                  <a:lnTo>
                    <a:pt x="4802434" y="3347657"/>
                  </a:lnTo>
                  <a:lnTo>
                    <a:pt x="4802104" y="3346464"/>
                  </a:lnTo>
                  <a:lnTo>
                    <a:pt x="4802126" y="3344798"/>
                  </a:lnTo>
                  <a:lnTo>
                    <a:pt x="4802437" y="3343187"/>
                  </a:lnTo>
                  <a:lnTo>
                    <a:pt x="4802975" y="3342151"/>
                  </a:lnTo>
                  <a:lnTo>
                    <a:pt x="4803666" y="3345610"/>
                  </a:lnTo>
                  <a:lnTo>
                    <a:pt x="4804196" y="3346594"/>
                  </a:lnTo>
                  <a:lnTo>
                    <a:pt x="4805023" y="3347116"/>
                  </a:lnTo>
                  <a:lnTo>
                    <a:pt x="4805085" y="3346165"/>
                  </a:lnTo>
                  <a:lnTo>
                    <a:pt x="4804720" y="3344654"/>
                  </a:lnTo>
                  <a:lnTo>
                    <a:pt x="4804275" y="3343485"/>
                  </a:lnTo>
                  <a:lnTo>
                    <a:pt x="4804185" y="3342544"/>
                  </a:lnTo>
                  <a:lnTo>
                    <a:pt x="4805291" y="3339410"/>
                  </a:lnTo>
                  <a:lnTo>
                    <a:pt x="4805268" y="3338248"/>
                  </a:lnTo>
                  <a:lnTo>
                    <a:pt x="4804560" y="3334188"/>
                  </a:lnTo>
                  <a:lnTo>
                    <a:pt x="4803982" y="3325486"/>
                  </a:lnTo>
                  <a:lnTo>
                    <a:pt x="4804293" y="3321332"/>
                  </a:lnTo>
                  <a:lnTo>
                    <a:pt x="4805588" y="3317890"/>
                  </a:lnTo>
                  <a:lnTo>
                    <a:pt x="4807680" y="3314874"/>
                  </a:lnTo>
                  <a:lnTo>
                    <a:pt x="4808414" y="3313275"/>
                  </a:lnTo>
                  <a:lnTo>
                    <a:pt x="4809614" y="3304794"/>
                  </a:lnTo>
                  <a:lnTo>
                    <a:pt x="4808788" y="3295511"/>
                  </a:lnTo>
                  <a:lnTo>
                    <a:pt x="4808236" y="3293038"/>
                  </a:lnTo>
                  <a:lnTo>
                    <a:pt x="4808440" y="3292027"/>
                  </a:lnTo>
                  <a:lnTo>
                    <a:pt x="4808766" y="3291046"/>
                  </a:lnTo>
                  <a:lnTo>
                    <a:pt x="4809148" y="3288672"/>
                  </a:lnTo>
                  <a:lnTo>
                    <a:pt x="4809701" y="3288182"/>
                  </a:lnTo>
                  <a:lnTo>
                    <a:pt x="4811556" y="3288122"/>
                  </a:lnTo>
                  <a:lnTo>
                    <a:pt x="4814159" y="3287081"/>
                  </a:lnTo>
                  <a:lnTo>
                    <a:pt x="4815024" y="3286932"/>
                  </a:lnTo>
                  <a:lnTo>
                    <a:pt x="4815897" y="3287152"/>
                  </a:lnTo>
                  <a:lnTo>
                    <a:pt x="4816589" y="3287566"/>
                  </a:lnTo>
                  <a:lnTo>
                    <a:pt x="4817350" y="3287762"/>
                  </a:lnTo>
                  <a:lnTo>
                    <a:pt x="4818435" y="3287363"/>
                  </a:lnTo>
                  <a:lnTo>
                    <a:pt x="4819754" y="3286005"/>
                  </a:lnTo>
                  <a:lnTo>
                    <a:pt x="4821394" y="3282597"/>
                  </a:lnTo>
                  <a:close/>
                  <a:moveTo>
                    <a:pt x="4727745" y="3260501"/>
                  </a:moveTo>
                  <a:lnTo>
                    <a:pt x="4728385" y="3261046"/>
                  </a:lnTo>
                  <a:lnTo>
                    <a:pt x="4728538" y="3262339"/>
                  </a:lnTo>
                  <a:lnTo>
                    <a:pt x="4728314" y="3263698"/>
                  </a:lnTo>
                  <a:lnTo>
                    <a:pt x="4726662" y="3265688"/>
                  </a:lnTo>
                  <a:lnTo>
                    <a:pt x="4726039" y="3267017"/>
                  </a:lnTo>
                  <a:lnTo>
                    <a:pt x="4726420" y="3268796"/>
                  </a:lnTo>
                  <a:lnTo>
                    <a:pt x="4726300" y="3270787"/>
                  </a:lnTo>
                  <a:lnTo>
                    <a:pt x="4724942" y="3273200"/>
                  </a:lnTo>
                  <a:lnTo>
                    <a:pt x="4723102" y="3274891"/>
                  </a:lnTo>
                  <a:lnTo>
                    <a:pt x="4721534" y="3274723"/>
                  </a:lnTo>
                  <a:lnTo>
                    <a:pt x="4722654" y="3273045"/>
                  </a:lnTo>
                  <a:lnTo>
                    <a:pt x="4723538" y="3270765"/>
                  </a:lnTo>
                  <a:lnTo>
                    <a:pt x="4723932" y="3268216"/>
                  </a:lnTo>
                  <a:lnTo>
                    <a:pt x="4723622" y="3265710"/>
                  </a:lnTo>
                  <a:lnTo>
                    <a:pt x="4721724" y="3266579"/>
                  </a:lnTo>
                  <a:lnTo>
                    <a:pt x="4719972" y="3267899"/>
                  </a:lnTo>
                  <a:lnTo>
                    <a:pt x="4718561" y="3269642"/>
                  </a:lnTo>
                  <a:lnTo>
                    <a:pt x="4717698" y="3271825"/>
                  </a:lnTo>
                  <a:lnTo>
                    <a:pt x="4716753" y="3276624"/>
                  </a:lnTo>
                  <a:lnTo>
                    <a:pt x="4715925" y="3279041"/>
                  </a:lnTo>
                  <a:lnTo>
                    <a:pt x="4714658" y="3280597"/>
                  </a:lnTo>
                  <a:lnTo>
                    <a:pt x="4714041" y="3282537"/>
                  </a:lnTo>
                  <a:lnTo>
                    <a:pt x="4713838" y="3283483"/>
                  </a:lnTo>
                  <a:lnTo>
                    <a:pt x="4713268" y="3289413"/>
                  </a:lnTo>
                  <a:lnTo>
                    <a:pt x="4712373" y="3291423"/>
                  </a:lnTo>
                  <a:lnTo>
                    <a:pt x="4711199" y="3292976"/>
                  </a:lnTo>
                  <a:lnTo>
                    <a:pt x="4709941" y="3297714"/>
                  </a:lnTo>
                  <a:lnTo>
                    <a:pt x="4708891" y="3299484"/>
                  </a:lnTo>
                  <a:lnTo>
                    <a:pt x="4711690" y="3298884"/>
                  </a:lnTo>
                  <a:lnTo>
                    <a:pt x="4713103" y="3295726"/>
                  </a:lnTo>
                  <a:lnTo>
                    <a:pt x="4715060" y="3281437"/>
                  </a:lnTo>
                  <a:lnTo>
                    <a:pt x="4716334" y="3278274"/>
                  </a:lnTo>
                  <a:lnTo>
                    <a:pt x="4718926" y="3276271"/>
                  </a:lnTo>
                  <a:lnTo>
                    <a:pt x="4717427" y="3278613"/>
                  </a:lnTo>
                  <a:lnTo>
                    <a:pt x="4716401" y="3281568"/>
                  </a:lnTo>
                  <a:lnTo>
                    <a:pt x="4715362" y="3287849"/>
                  </a:lnTo>
                  <a:lnTo>
                    <a:pt x="4715560" y="3297145"/>
                  </a:lnTo>
                  <a:lnTo>
                    <a:pt x="4714984" y="3298145"/>
                  </a:lnTo>
                  <a:lnTo>
                    <a:pt x="4712005" y="3299375"/>
                  </a:lnTo>
                  <a:lnTo>
                    <a:pt x="4711481" y="3300760"/>
                  </a:lnTo>
                  <a:lnTo>
                    <a:pt x="4711700" y="3302998"/>
                  </a:lnTo>
                  <a:lnTo>
                    <a:pt x="4712103" y="3305119"/>
                  </a:lnTo>
                  <a:lnTo>
                    <a:pt x="4712134" y="3306175"/>
                  </a:lnTo>
                  <a:lnTo>
                    <a:pt x="4709711" y="3307807"/>
                  </a:lnTo>
                  <a:lnTo>
                    <a:pt x="4709006" y="3308850"/>
                  </a:lnTo>
                  <a:lnTo>
                    <a:pt x="4708602" y="3310392"/>
                  </a:lnTo>
                  <a:lnTo>
                    <a:pt x="4708611" y="3311862"/>
                  </a:lnTo>
                  <a:lnTo>
                    <a:pt x="4709131" y="3315370"/>
                  </a:lnTo>
                  <a:lnTo>
                    <a:pt x="4709205" y="3316995"/>
                  </a:lnTo>
                  <a:lnTo>
                    <a:pt x="4710057" y="3317622"/>
                  </a:lnTo>
                  <a:lnTo>
                    <a:pt x="4711831" y="3318067"/>
                  </a:lnTo>
                  <a:lnTo>
                    <a:pt x="4713273" y="3317500"/>
                  </a:lnTo>
                  <a:lnTo>
                    <a:pt x="4713119" y="3315123"/>
                  </a:lnTo>
                  <a:lnTo>
                    <a:pt x="4714534" y="3316116"/>
                  </a:lnTo>
                  <a:lnTo>
                    <a:pt x="4715850" y="3316512"/>
                  </a:lnTo>
                  <a:lnTo>
                    <a:pt x="4717218" y="3316462"/>
                  </a:lnTo>
                  <a:lnTo>
                    <a:pt x="4720268" y="3315592"/>
                  </a:lnTo>
                  <a:lnTo>
                    <a:pt x="4721106" y="3314885"/>
                  </a:lnTo>
                  <a:lnTo>
                    <a:pt x="4721518" y="3313720"/>
                  </a:lnTo>
                  <a:lnTo>
                    <a:pt x="4721697" y="3311806"/>
                  </a:lnTo>
                  <a:lnTo>
                    <a:pt x="4722441" y="3314607"/>
                  </a:lnTo>
                  <a:lnTo>
                    <a:pt x="4721572" y="3316624"/>
                  </a:lnTo>
                  <a:lnTo>
                    <a:pt x="4719858" y="3318051"/>
                  </a:lnTo>
                  <a:lnTo>
                    <a:pt x="4718079" y="3319091"/>
                  </a:lnTo>
                  <a:lnTo>
                    <a:pt x="4717325" y="3317951"/>
                  </a:lnTo>
                  <a:lnTo>
                    <a:pt x="4716223" y="3319088"/>
                  </a:lnTo>
                  <a:lnTo>
                    <a:pt x="4714237" y="3322202"/>
                  </a:lnTo>
                  <a:lnTo>
                    <a:pt x="4711031" y="3324199"/>
                  </a:lnTo>
                  <a:lnTo>
                    <a:pt x="4709252" y="3324287"/>
                  </a:lnTo>
                  <a:lnTo>
                    <a:pt x="4707790" y="3322538"/>
                  </a:lnTo>
                  <a:lnTo>
                    <a:pt x="4708139" y="3318826"/>
                  </a:lnTo>
                  <a:lnTo>
                    <a:pt x="4707825" y="3314716"/>
                  </a:lnTo>
                  <a:lnTo>
                    <a:pt x="4707880" y="3313431"/>
                  </a:lnTo>
                  <a:lnTo>
                    <a:pt x="4707553" y="3311278"/>
                  </a:lnTo>
                  <a:lnTo>
                    <a:pt x="4705254" y="3306763"/>
                  </a:lnTo>
                  <a:lnTo>
                    <a:pt x="4704718" y="3304589"/>
                  </a:lnTo>
                  <a:lnTo>
                    <a:pt x="4705191" y="3302976"/>
                  </a:lnTo>
                  <a:lnTo>
                    <a:pt x="4706294" y="3301208"/>
                  </a:lnTo>
                  <a:lnTo>
                    <a:pt x="4707624" y="3299659"/>
                  </a:lnTo>
                  <a:lnTo>
                    <a:pt x="4708758" y="3298701"/>
                  </a:lnTo>
                  <a:lnTo>
                    <a:pt x="4709516" y="3297478"/>
                  </a:lnTo>
                  <a:lnTo>
                    <a:pt x="4713513" y="3283121"/>
                  </a:lnTo>
                  <a:lnTo>
                    <a:pt x="4713721" y="3282377"/>
                  </a:lnTo>
                  <a:lnTo>
                    <a:pt x="4717461" y="3268759"/>
                  </a:lnTo>
                  <a:lnTo>
                    <a:pt x="4718557" y="3266920"/>
                  </a:lnTo>
                  <a:lnTo>
                    <a:pt x="4720294" y="3265269"/>
                  </a:lnTo>
                  <a:close/>
                  <a:moveTo>
                    <a:pt x="3361704" y="3259960"/>
                  </a:moveTo>
                  <a:lnTo>
                    <a:pt x="3362049" y="3260473"/>
                  </a:lnTo>
                  <a:lnTo>
                    <a:pt x="3362218" y="3261263"/>
                  </a:lnTo>
                  <a:lnTo>
                    <a:pt x="3362718" y="3262120"/>
                  </a:lnTo>
                  <a:lnTo>
                    <a:pt x="3363717" y="3262696"/>
                  </a:lnTo>
                  <a:lnTo>
                    <a:pt x="3364221" y="3262822"/>
                  </a:lnTo>
                  <a:lnTo>
                    <a:pt x="3363857" y="3263245"/>
                  </a:lnTo>
                  <a:lnTo>
                    <a:pt x="3363336" y="3263678"/>
                  </a:lnTo>
                  <a:lnTo>
                    <a:pt x="3361660" y="3264663"/>
                  </a:lnTo>
                  <a:lnTo>
                    <a:pt x="3359802" y="3265439"/>
                  </a:lnTo>
                  <a:lnTo>
                    <a:pt x="3359741" y="3264868"/>
                  </a:lnTo>
                  <a:lnTo>
                    <a:pt x="3360334" y="3262678"/>
                  </a:lnTo>
                  <a:lnTo>
                    <a:pt x="3360224" y="3260842"/>
                  </a:lnTo>
                  <a:lnTo>
                    <a:pt x="3360340" y="3260256"/>
                  </a:lnTo>
                  <a:lnTo>
                    <a:pt x="3361024" y="3260019"/>
                  </a:lnTo>
                  <a:close/>
                  <a:moveTo>
                    <a:pt x="3421957" y="3257984"/>
                  </a:moveTo>
                  <a:lnTo>
                    <a:pt x="3421992" y="3258380"/>
                  </a:lnTo>
                  <a:lnTo>
                    <a:pt x="3421283" y="3259624"/>
                  </a:lnTo>
                  <a:lnTo>
                    <a:pt x="3420440" y="3260704"/>
                  </a:lnTo>
                  <a:lnTo>
                    <a:pt x="3419603" y="3261533"/>
                  </a:lnTo>
                  <a:lnTo>
                    <a:pt x="3419960" y="3261787"/>
                  </a:lnTo>
                  <a:lnTo>
                    <a:pt x="3421481" y="3261534"/>
                  </a:lnTo>
                  <a:lnTo>
                    <a:pt x="3421690" y="3262045"/>
                  </a:lnTo>
                  <a:lnTo>
                    <a:pt x="3420395" y="3263104"/>
                  </a:lnTo>
                  <a:lnTo>
                    <a:pt x="3419677" y="3263279"/>
                  </a:lnTo>
                  <a:lnTo>
                    <a:pt x="3419527" y="3262769"/>
                  </a:lnTo>
                  <a:lnTo>
                    <a:pt x="3419365" y="3262538"/>
                  </a:lnTo>
                  <a:lnTo>
                    <a:pt x="3419142" y="3262744"/>
                  </a:lnTo>
                  <a:lnTo>
                    <a:pt x="3418660" y="3262958"/>
                  </a:lnTo>
                  <a:lnTo>
                    <a:pt x="3418101" y="3262852"/>
                  </a:lnTo>
                  <a:lnTo>
                    <a:pt x="3418016" y="3262913"/>
                  </a:lnTo>
                  <a:lnTo>
                    <a:pt x="3417839" y="3263082"/>
                  </a:lnTo>
                  <a:lnTo>
                    <a:pt x="3417500" y="3263325"/>
                  </a:lnTo>
                  <a:lnTo>
                    <a:pt x="3417366" y="3263307"/>
                  </a:lnTo>
                  <a:lnTo>
                    <a:pt x="3417398" y="3263123"/>
                  </a:lnTo>
                  <a:lnTo>
                    <a:pt x="3417285" y="3263109"/>
                  </a:lnTo>
                  <a:lnTo>
                    <a:pt x="3417162" y="3263185"/>
                  </a:lnTo>
                  <a:lnTo>
                    <a:pt x="3416986" y="3263317"/>
                  </a:lnTo>
                  <a:lnTo>
                    <a:pt x="3416756" y="3262829"/>
                  </a:lnTo>
                  <a:lnTo>
                    <a:pt x="3416576" y="3261560"/>
                  </a:lnTo>
                  <a:lnTo>
                    <a:pt x="3416292" y="3261124"/>
                  </a:lnTo>
                  <a:lnTo>
                    <a:pt x="3416033" y="3261734"/>
                  </a:lnTo>
                  <a:lnTo>
                    <a:pt x="3415346" y="3262530"/>
                  </a:lnTo>
                  <a:lnTo>
                    <a:pt x="3414824" y="3262244"/>
                  </a:lnTo>
                  <a:lnTo>
                    <a:pt x="3415430" y="3261213"/>
                  </a:lnTo>
                  <a:lnTo>
                    <a:pt x="3416493" y="3260506"/>
                  </a:lnTo>
                  <a:lnTo>
                    <a:pt x="3418031" y="3259076"/>
                  </a:lnTo>
                  <a:lnTo>
                    <a:pt x="3419058" y="3258759"/>
                  </a:lnTo>
                  <a:lnTo>
                    <a:pt x="3420303" y="3258726"/>
                  </a:lnTo>
                  <a:lnTo>
                    <a:pt x="3421239" y="3258417"/>
                  </a:lnTo>
                  <a:close/>
                  <a:moveTo>
                    <a:pt x="332052" y="3248635"/>
                  </a:moveTo>
                  <a:lnTo>
                    <a:pt x="333567" y="3249252"/>
                  </a:lnTo>
                  <a:lnTo>
                    <a:pt x="335232" y="3251656"/>
                  </a:lnTo>
                  <a:lnTo>
                    <a:pt x="335873" y="3255268"/>
                  </a:lnTo>
                  <a:lnTo>
                    <a:pt x="334946" y="3259435"/>
                  </a:lnTo>
                  <a:lnTo>
                    <a:pt x="332675" y="3262376"/>
                  </a:lnTo>
                  <a:lnTo>
                    <a:pt x="329960" y="3263561"/>
                  </a:lnTo>
                  <a:lnTo>
                    <a:pt x="328201" y="3263826"/>
                  </a:lnTo>
                  <a:lnTo>
                    <a:pt x="327590" y="3263424"/>
                  </a:lnTo>
                  <a:lnTo>
                    <a:pt x="327477" y="3262809"/>
                  </a:lnTo>
                  <a:lnTo>
                    <a:pt x="327759" y="3262154"/>
                  </a:lnTo>
                  <a:lnTo>
                    <a:pt x="327888" y="3260783"/>
                  </a:lnTo>
                  <a:lnTo>
                    <a:pt x="328223" y="3258821"/>
                  </a:lnTo>
                  <a:lnTo>
                    <a:pt x="329118" y="3257345"/>
                  </a:lnTo>
                  <a:lnTo>
                    <a:pt x="330877" y="3255365"/>
                  </a:lnTo>
                  <a:lnTo>
                    <a:pt x="332767" y="3254153"/>
                  </a:lnTo>
                  <a:lnTo>
                    <a:pt x="333545" y="3252872"/>
                  </a:lnTo>
                  <a:lnTo>
                    <a:pt x="333576" y="3251501"/>
                  </a:lnTo>
                  <a:lnTo>
                    <a:pt x="333193" y="3250473"/>
                  </a:lnTo>
                  <a:lnTo>
                    <a:pt x="332875" y="3250533"/>
                  </a:lnTo>
                  <a:lnTo>
                    <a:pt x="332605" y="3251568"/>
                  </a:lnTo>
                  <a:lnTo>
                    <a:pt x="332250" y="3252389"/>
                  </a:lnTo>
                  <a:lnTo>
                    <a:pt x="331854" y="3253041"/>
                  </a:lnTo>
                  <a:lnTo>
                    <a:pt x="330914" y="3254118"/>
                  </a:lnTo>
                  <a:lnTo>
                    <a:pt x="327980" y="3256894"/>
                  </a:lnTo>
                  <a:lnTo>
                    <a:pt x="327044" y="3257082"/>
                  </a:lnTo>
                  <a:lnTo>
                    <a:pt x="326327" y="3256170"/>
                  </a:lnTo>
                  <a:lnTo>
                    <a:pt x="325437" y="3254643"/>
                  </a:lnTo>
                  <a:lnTo>
                    <a:pt x="325218" y="3254150"/>
                  </a:lnTo>
                  <a:lnTo>
                    <a:pt x="325298" y="3253238"/>
                  </a:lnTo>
                  <a:lnTo>
                    <a:pt x="327356" y="3251507"/>
                  </a:lnTo>
                  <a:lnTo>
                    <a:pt x="328515" y="3250218"/>
                  </a:lnTo>
                  <a:lnTo>
                    <a:pt x="329860" y="3249369"/>
                  </a:lnTo>
                  <a:lnTo>
                    <a:pt x="331078" y="3249079"/>
                  </a:lnTo>
                  <a:close/>
                  <a:moveTo>
                    <a:pt x="312608" y="3248293"/>
                  </a:moveTo>
                  <a:lnTo>
                    <a:pt x="313048" y="3248421"/>
                  </a:lnTo>
                  <a:lnTo>
                    <a:pt x="313295" y="3248700"/>
                  </a:lnTo>
                  <a:lnTo>
                    <a:pt x="313623" y="3249575"/>
                  </a:lnTo>
                  <a:lnTo>
                    <a:pt x="314881" y="3256924"/>
                  </a:lnTo>
                  <a:lnTo>
                    <a:pt x="314793" y="3259088"/>
                  </a:lnTo>
                  <a:lnTo>
                    <a:pt x="314614" y="3259659"/>
                  </a:lnTo>
                  <a:lnTo>
                    <a:pt x="314321" y="3260333"/>
                  </a:lnTo>
                  <a:lnTo>
                    <a:pt x="313999" y="3260878"/>
                  </a:lnTo>
                  <a:lnTo>
                    <a:pt x="313709" y="3261047"/>
                  </a:lnTo>
                  <a:lnTo>
                    <a:pt x="313337" y="3261209"/>
                  </a:lnTo>
                  <a:lnTo>
                    <a:pt x="313367" y="3261933"/>
                  </a:lnTo>
                  <a:lnTo>
                    <a:pt x="313562" y="3262713"/>
                  </a:lnTo>
                  <a:lnTo>
                    <a:pt x="313699" y="3263042"/>
                  </a:lnTo>
                  <a:lnTo>
                    <a:pt x="313134" y="3264590"/>
                  </a:lnTo>
                  <a:lnTo>
                    <a:pt x="312904" y="3265779"/>
                  </a:lnTo>
                  <a:lnTo>
                    <a:pt x="312917" y="3266860"/>
                  </a:lnTo>
                  <a:lnTo>
                    <a:pt x="313080" y="3268102"/>
                  </a:lnTo>
                  <a:lnTo>
                    <a:pt x="310855" y="3268213"/>
                  </a:lnTo>
                  <a:lnTo>
                    <a:pt x="308793" y="3267858"/>
                  </a:lnTo>
                  <a:lnTo>
                    <a:pt x="307620" y="3268038"/>
                  </a:lnTo>
                  <a:lnTo>
                    <a:pt x="305627" y="3270370"/>
                  </a:lnTo>
                  <a:lnTo>
                    <a:pt x="304668" y="3270804"/>
                  </a:lnTo>
                  <a:lnTo>
                    <a:pt x="303591" y="3269923"/>
                  </a:lnTo>
                  <a:lnTo>
                    <a:pt x="303762" y="3268570"/>
                  </a:lnTo>
                  <a:lnTo>
                    <a:pt x="304445" y="3267246"/>
                  </a:lnTo>
                  <a:lnTo>
                    <a:pt x="304935" y="3266467"/>
                  </a:lnTo>
                  <a:lnTo>
                    <a:pt x="305475" y="3265274"/>
                  </a:lnTo>
                  <a:lnTo>
                    <a:pt x="305777" y="3264389"/>
                  </a:lnTo>
                  <a:lnTo>
                    <a:pt x="305732" y="3263439"/>
                  </a:lnTo>
                  <a:lnTo>
                    <a:pt x="304272" y="3259761"/>
                  </a:lnTo>
                  <a:lnTo>
                    <a:pt x="304267" y="3258527"/>
                  </a:lnTo>
                  <a:lnTo>
                    <a:pt x="305318" y="3257698"/>
                  </a:lnTo>
                  <a:lnTo>
                    <a:pt x="307541" y="3256597"/>
                  </a:lnTo>
                  <a:lnTo>
                    <a:pt x="311671" y="3254317"/>
                  </a:lnTo>
                  <a:lnTo>
                    <a:pt x="312477" y="3253506"/>
                  </a:lnTo>
                  <a:lnTo>
                    <a:pt x="312719" y="3252288"/>
                  </a:lnTo>
                  <a:lnTo>
                    <a:pt x="312558" y="3249552"/>
                  </a:lnTo>
                  <a:close/>
                  <a:moveTo>
                    <a:pt x="321314" y="3243820"/>
                  </a:moveTo>
                  <a:lnTo>
                    <a:pt x="322915" y="3246203"/>
                  </a:lnTo>
                  <a:lnTo>
                    <a:pt x="325551" y="3248403"/>
                  </a:lnTo>
                  <a:lnTo>
                    <a:pt x="326508" y="3249722"/>
                  </a:lnTo>
                  <a:lnTo>
                    <a:pt x="326567" y="3250269"/>
                  </a:lnTo>
                  <a:lnTo>
                    <a:pt x="325974" y="3250846"/>
                  </a:lnTo>
                  <a:lnTo>
                    <a:pt x="324958" y="3252282"/>
                  </a:lnTo>
                  <a:lnTo>
                    <a:pt x="323891" y="3255975"/>
                  </a:lnTo>
                  <a:lnTo>
                    <a:pt x="324844" y="3258031"/>
                  </a:lnTo>
                  <a:lnTo>
                    <a:pt x="326124" y="3259665"/>
                  </a:lnTo>
                  <a:lnTo>
                    <a:pt x="326018" y="3262110"/>
                  </a:lnTo>
                  <a:lnTo>
                    <a:pt x="324889" y="3263039"/>
                  </a:lnTo>
                  <a:lnTo>
                    <a:pt x="322724" y="3264090"/>
                  </a:lnTo>
                  <a:lnTo>
                    <a:pt x="320416" y="3264863"/>
                  </a:lnTo>
                  <a:lnTo>
                    <a:pt x="318862" y="3264950"/>
                  </a:lnTo>
                  <a:lnTo>
                    <a:pt x="318416" y="3264169"/>
                  </a:lnTo>
                  <a:lnTo>
                    <a:pt x="318258" y="3262775"/>
                  </a:lnTo>
                  <a:lnTo>
                    <a:pt x="318236" y="3260207"/>
                  </a:lnTo>
                  <a:lnTo>
                    <a:pt x="318561" y="3258963"/>
                  </a:lnTo>
                  <a:lnTo>
                    <a:pt x="319571" y="3258566"/>
                  </a:lnTo>
                  <a:lnTo>
                    <a:pt x="320837" y="3258509"/>
                  </a:lnTo>
                  <a:lnTo>
                    <a:pt x="321928" y="3258255"/>
                  </a:lnTo>
                  <a:lnTo>
                    <a:pt x="321753" y="3256590"/>
                  </a:lnTo>
                  <a:lnTo>
                    <a:pt x="320806" y="3256015"/>
                  </a:lnTo>
                  <a:lnTo>
                    <a:pt x="318289" y="3255707"/>
                  </a:lnTo>
                  <a:lnTo>
                    <a:pt x="316977" y="3254896"/>
                  </a:lnTo>
                  <a:lnTo>
                    <a:pt x="316371" y="3253958"/>
                  </a:lnTo>
                  <a:lnTo>
                    <a:pt x="315797" y="3249575"/>
                  </a:lnTo>
                  <a:lnTo>
                    <a:pt x="315962" y="3247868"/>
                  </a:lnTo>
                  <a:lnTo>
                    <a:pt x="316564" y="3246600"/>
                  </a:lnTo>
                  <a:lnTo>
                    <a:pt x="317792" y="3246498"/>
                  </a:lnTo>
                  <a:lnTo>
                    <a:pt x="318904" y="3245983"/>
                  </a:lnTo>
                  <a:lnTo>
                    <a:pt x="320141" y="3244575"/>
                  </a:lnTo>
                  <a:close/>
                  <a:moveTo>
                    <a:pt x="295015" y="3234131"/>
                  </a:moveTo>
                  <a:lnTo>
                    <a:pt x="297108" y="3234162"/>
                  </a:lnTo>
                  <a:lnTo>
                    <a:pt x="298941" y="3234688"/>
                  </a:lnTo>
                  <a:lnTo>
                    <a:pt x="299675" y="3235807"/>
                  </a:lnTo>
                  <a:lnTo>
                    <a:pt x="299482" y="3238372"/>
                  </a:lnTo>
                  <a:lnTo>
                    <a:pt x="299619" y="3238981"/>
                  </a:lnTo>
                  <a:lnTo>
                    <a:pt x="300367" y="3239843"/>
                  </a:lnTo>
                  <a:lnTo>
                    <a:pt x="300618" y="3242265"/>
                  </a:lnTo>
                  <a:lnTo>
                    <a:pt x="301458" y="3243647"/>
                  </a:lnTo>
                  <a:lnTo>
                    <a:pt x="301561" y="3244889"/>
                  </a:lnTo>
                  <a:lnTo>
                    <a:pt x="301373" y="3246362"/>
                  </a:lnTo>
                  <a:lnTo>
                    <a:pt x="300866" y="3247738"/>
                  </a:lnTo>
                  <a:lnTo>
                    <a:pt x="299773" y="3248932"/>
                  </a:lnTo>
                  <a:lnTo>
                    <a:pt x="298593" y="3249597"/>
                  </a:lnTo>
                  <a:lnTo>
                    <a:pt x="297710" y="3250400"/>
                  </a:lnTo>
                  <a:lnTo>
                    <a:pt x="297498" y="3251989"/>
                  </a:lnTo>
                  <a:lnTo>
                    <a:pt x="295708" y="3251828"/>
                  </a:lnTo>
                  <a:lnTo>
                    <a:pt x="294419" y="3252062"/>
                  </a:lnTo>
                  <a:lnTo>
                    <a:pt x="293800" y="3253079"/>
                  </a:lnTo>
                  <a:lnTo>
                    <a:pt x="294015" y="3255290"/>
                  </a:lnTo>
                  <a:lnTo>
                    <a:pt x="294389" y="3256173"/>
                  </a:lnTo>
                  <a:lnTo>
                    <a:pt x="294840" y="3256659"/>
                  </a:lnTo>
                  <a:lnTo>
                    <a:pt x="295197" y="3257228"/>
                  </a:lnTo>
                  <a:lnTo>
                    <a:pt x="295319" y="3258342"/>
                  </a:lnTo>
                  <a:lnTo>
                    <a:pt x="295125" y="3259331"/>
                  </a:lnTo>
                  <a:lnTo>
                    <a:pt x="293983" y="3262713"/>
                  </a:lnTo>
                  <a:lnTo>
                    <a:pt x="293065" y="3266843"/>
                  </a:lnTo>
                  <a:lnTo>
                    <a:pt x="292482" y="3267764"/>
                  </a:lnTo>
                  <a:lnTo>
                    <a:pt x="291801" y="3266623"/>
                  </a:lnTo>
                  <a:lnTo>
                    <a:pt x="291671" y="3265393"/>
                  </a:lnTo>
                  <a:lnTo>
                    <a:pt x="292132" y="3263080"/>
                  </a:lnTo>
                  <a:lnTo>
                    <a:pt x="292238" y="3261911"/>
                  </a:lnTo>
                  <a:lnTo>
                    <a:pt x="291704" y="3259422"/>
                  </a:lnTo>
                  <a:lnTo>
                    <a:pt x="291652" y="3258291"/>
                  </a:lnTo>
                  <a:lnTo>
                    <a:pt x="291965" y="3258285"/>
                  </a:lnTo>
                  <a:lnTo>
                    <a:pt x="292822" y="3258095"/>
                  </a:lnTo>
                  <a:lnTo>
                    <a:pt x="292304" y="3256120"/>
                  </a:lnTo>
                  <a:lnTo>
                    <a:pt x="290087" y="3251848"/>
                  </a:lnTo>
                  <a:lnTo>
                    <a:pt x="289821" y="3250496"/>
                  </a:lnTo>
                  <a:lnTo>
                    <a:pt x="289641" y="3249930"/>
                  </a:lnTo>
                  <a:lnTo>
                    <a:pt x="289092" y="3249095"/>
                  </a:lnTo>
                  <a:lnTo>
                    <a:pt x="288647" y="3248005"/>
                  </a:lnTo>
                  <a:lnTo>
                    <a:pt x="288790" y="3246700"/>
                  </a:lnTo>
                  <a:lnTo>
                    <a:pt x="289216" y="3245600"/>
                  </a:lnTo>
                  <a:lnTo>
                    <a:pt x="290103" y="3242624"/>
                  </a:lnTo>
                  <a:lnTo>
                    <a:pt x="290333" y="3239577"/>
                  </a:lnTo>
                  <a:lnTo>
                    <a:pt x="291230" y="3237396"/>
                  </a:lnTo>
                  <a:lnTo>
                    <a:pt x="292427" y="3235553"/>
                  </a:lnTo>
                  <a:lnTo>
                    <a:pt x="293488" y="3234507"/>
                  </a:lnTo>
                  <a:close/>
                  <a:moveTo>
                    <a:pt x="4450192" y="3232724"/>
                  </a:moveTo>
                  <a:lnTo>
                    <a:pt x="4451068" y="3232773"/>
                  </a:lnTo>
                  <a:lnTo>
                    <a:pt x="4453174" y="3233300"/>
                  </a:lnTo>
                  <a:lnTo>
                    <a:pt x="4455259" y="3233184"/>
                  </a:lnTo>
                  <a:lnTo>
                    <a:pt x="4460418" y="3234831"/>
                  </a:lnTo>
                  <a:lnTo>
                    <a:pt x="4461351" y="3234848"/>
                  </a:lnTo>
                  <a:lnTo>
                    <a:pt x="4461930" y="3234719"/>
                  </a:lnTo>
                  <a:lnTo>
                    <a:pt x="4462558" y="3234755"/>
                  </a:lnTo>
                  <a:lnTo>
                    <a:pt x="4464814" y="3235809"/>
                  </a:lnTo>
                  <a:lnTo>
                    <a:pt x="4465706" y="3236008"/>
                  </a:lnTo>
                  <a:lnTo>
                    <a:pt x="4469212" y="3236261"/>
                  </a:lnTo>
                  <a:lnTo>
                    <a:pt x="4470732" y="3236710"/>
                  </a:lnTo>
                  <a:lnTo>
                    <a:pt x="4473852" y="3238232"/>
                  </a:lnTo>
                  <a:lnTo>
                    <a:pt x="4474773" y="3238410"/>
                  </a:lnTo>
                  <a:lnTo>
                    <a:pt x="4476894" y="3237980"/>
                  </a:lnTo>
                  <a:lnTo>
                    <a:pt x="4477914" y="3238074"/>
                  </a:lnTo>
                  <a:lnTo>
                    <a:pt x="4478351" y="3238382"/>
                  </a:lnTo>
                  <a:lnTo>
                    <a:pt x="4479579" y="3239488"/>
                  </a:lnTo>
                  <a:lnTo>
                    <a:pt x="4480186" y="3239915"/>
                  </a:lnTo>
                  <a:lnTo>
                    <a:pt x="4485936" y="3241758"/>
                  </a:lnTo>
                  <a:lnTo>
                    <a:pt x="4488060" y="3243673"/>
                  </a:lnTo>
                  <a:lnTo>
                    <a:pt x="4489393" y="3248063"/>
                  </a:lnTo>
                  <a:lnTo>
                    <a:pt x="4492342" y="3250004"/>
                  </a:lnTo>
                  <a:lnTo>
                    <a:pt x="4494154" y="3250895"/>
                  </a:lnTo>
                  <a:lnTo>
                    <a:pt x="4495886" y="3251225"/>
                  </a:lnTo>
                  <a:lnTo>
                    <a:pt x="4495628" y="3252899"/>
                  </a:lnTo>
                  <a:lnTo>
                    <a:pt x="4493750" y="3252557"/>
                  </a:lnTo>
                  <a:lnTo>
                    <a:pt x="4491475" y="3251514"/>
                  </a:lnTo>
                  <a:lnTo>
                    <a:pt x="4490033" y="3251087"/>
                  </a:lnTo>
                  <a:lnTo>
                    <a:pt x="4488144" y="3251444"/>
                  </a:lnTo>
                  <a:lnTo>
                    <a:pt x="4483809" y="3250827"/>
                  </a:lnTo>
                  <a:lnTo>
                    <a:pt x="4466959" y="3253440"/>
                  </a:lnTo>
                  <a:lnTo>
                    <a:pt x="4465048" y="3254400"/>
                  </a:lnTo>
                  <a:lnTo>
                    <a:pt x="4466744" y="3254302"/>
                  </a:lnTo>
                  <a:lnTo>
                    <a:pt x="4472204" y="3255626"/>
                  </a:lnTo>
                  <a:lnTo>
                    <a:pt x="4472501" y="3256235"/>
                  </a:lnTo>
                  <a:lnTo>
                    <a:pt x="4468847" y="3258887"/>
                  </a:lnTo>
                  <a:lnTo>
                    <a:pt x="4469276" y="3259722"/>
                  </a:lnTo>
                  <a:lnTo>
                    <a:pt x="4470586" y="3259563"/>
                  </a:lnTo>
                  <a:lnTo>
                    <a:pt x="4473959" y="3256372"/>
                  </a:lnTo>
                  <a:lnTo>
                    <a:pt x="4476690" y="3255134"/>
                  </a:lnTo>
                  <a:lnTo>
                    <a:pt x="4478279" y="3254903"/>
                  </a:lnTo>
                  <a:lnTo>
                    <a:pt x="4479349" y="3255589"/>
                  </a:lnTo>
                  <a:lnTo>
                    <a:pt x="4479761" y="3255749"/>
                  </a:lnTo>
                  <a:lnTo>
                    <a:pt x="4480611" y="3256287"/>
                  </a:lnTo>
                  <a:lnTo>
                    <a:pt x="4481166" y="3257013"/>
                  </a:lnTo>
                  <a:lnTo>
                    <a:pt x="4480693" y="3257735"/>
                  </a:lnTo>
                  <a:lnTo>
                    <a:pt x="4478974" y="3258070"/>
                  </a:lnTo>
                  <a:lnTo>
                    <a:pt x="4478379" y="3258570"/>
                  </a:lnTo>
                  <a:lnTo>
                    <a:pt x="4478210" y="3259987"/>
                  </a:lnTo>
                  <a:lnTo>
                    <a:pt x="4479232" y="3260161"/>
                  </a:lnTo>
                  <a:lnTo>
                    <a:pt x="4479773" y="3259720"/>
                  </a:lnTo>
                  <a:lnTo>
                    <a:pt x="4480184" y="3259063"/>
                  </a:lnTo>
                  <a:lnTo>
                    <a:pt x="4480816" y="3258588"/>
                  </a:lnTo>
                  <a:lnTo>
                    <a:pt x="4481763" y="3258601"/>
                  </a:lnTo>
                  <a:lnTo>
                    <a:pt x="4483842" y="3259131"/>
                  </a:lnTo>
                  <a:lnTo>
                    <a:pt x="4485813" y="3258940"/>
                  </a:lnTo>
                  <a:lnTo>
                    <a:pt x="4490413" y="3260169"/>
                  </a:lnTo>
                  <a:lnTo>
                    <a:pt x="4495421" y="3263363"/>
                  </a:lnTo>
                  <a:lnTo>
                    <a:pt x="4496727" y="3263582"/>
                  </a:lnTo>
                  <a:lnTo>
                    <a:pt x="4497877" y="3263408"/>
                  </a:lnTo>
                  <a:lnTo>
                    <a:pt x="4499314" y="3263792"/>
                  </a:lnTo>
                  <a:lnTo>
                    <a:pt x="4500875" y="3264567"/>
                  </a:lnTo>
                  <a:lnTo>
                    <a:pt x="4502407" y="3265574"/>
                  </a:lnTo>
                  <a:lnTo>
                    <a:pt x="4500757" y="3267286"/>
                  </a:lnTo>
                  <a:lnTo>
                    <a:pt x="4498490" y="3268256"/>
                  </a:lnTo>
                  <a:lnTo>
                    <a:pt x="4496828" y="3269877"/>
                  </a:lnTo>
                  <a:lnTo>
                    <a:pt x="4496983" y="3273563"/>
                  </a:lnTo>
                  <a:lnTo>
                    <a:pt x="4497673" y="3275618"/>
                  </a:lnTo>
                  <a:lnTo>
                    <a:pt x="4498253" y="3276266"/>
                  </a:lnTo>
                  <a:lnTo>
                    <a:pt x="4500541" y="3276328"/>
                  </a:lnTo>
                  <a:lnTo>
                    <a:pt x="4503231" y="3276987"/>
                  </a:lnTo>
                  <a:lnTo>
                    <a:pt x="4504465" y="3277018"/>
                  </a:lnTo>
                  <a:lnTo>
                    <a:pt x="4505657" y="3276550"/>
                  </a:lnTo>
                  <a:lnTo>
                    <a:pt x="4505258" y="3277494"/>
                  </a:lnTo>
                  <a:lnTo>
                    <a:pt x="4505173" y="3278460"/>
                  </a:lnTo>
                  <a:lnTo>
                    <a:pt x="4505190" y="3279492"/>
                  </a:lnTo>
                  <a:lnTo>
                    <a:pt x="4505110" y="3280646"/>
                  </a:lnTo>
                  <a:lnTo>
                    <a:pt x="4504755" y="3281296"/>
                  </a:lnTo>
                  <a:lnTo>
                    <a:pt x="4502757" y="3283097"/>
                  </a:lnTo>
                  <a:lnTo>
                    <a:pt x="4501724" y="3284524"/>
                  </a:lnTo>
                  <a:lnTo>
                    <a:pt x="4500944" y="3286154"/>
                  </a:lnTo>
                  <a:lnTo>
                    <a:pt x="4500671" y="3287974"/>
                  </a:lnTo>
                  <a:lnTo>
                    <a:pt x="4501143" y="3289949"/>
                  </a:lnTo>
                  <a:lnTo>
                    <a:pt x="4502316" y="3290087"/>
                  </a:lnTo>
                  <a:lnTo>
                    <a:pt x="4501817" y="3291832"/>
                  </a:lnTo>
                  <a:lnTo>
                    <a:pt x="4500178" y="3293526"/>
                  </a:lnTo>
                  <a:lnTo>
                    <a:pt x="4495036" y="3297048"/>
                  </a:lnTo>
                  <a:lnTo>
                    <a:pt x="4492345" y="3300113"/>
                  </a:lnTo>
                  <a:lnTo>
                    <a:pt x="4489499" y="3302389"/>
                  </a:lnTo>
                  <a:lnTo>
                    <a:pt x="4483727" y="3310061"/>
                  </a:lnTo>
                  <a:lnTo>
                    <a:pt x="4482866" y="3311730"/>
                  </a:lnTo>
                  <a:lnTo>
                    <a:pt x="4481123" y="3312779"/>
                  </a:lnTo>
                  <a:lnTo>
                    <a:pt x="4480523" y="3313578"/>
                  </a:lnTo>
                  <a:lnTo>
                    <a:pt x="4481537" y="3313801"/>
                  </a:lnTo>
                  <a:lnTo>
                    <a:pt x="4482268" y="3314089"/>
                  </a:lnTo>
                  <a:lnTo>
                    <a:pt x="4482766" y="3314640"/>
                  </a:lnTo>
                  <a:lnTo>
                    <a:pt x="4483078" y="3315656"/>
                  </a:lnTo>
                  <a:lnTo>
                    <a:pt x="4483103" y="3316348"/>
                  </a:lnTo>
                  <a:lnTo>
                    <a:pt x="4483017" y="3317235"/>
                  </a:lnTo>
                  <a:lnTo>
                    <a:pt x="4482827" y="3318016"/>
                  </a:lnTo>
                  <a:lnTo>
                    <a:pt x="4482564" y="3318440"/>
                  </a:lnTo>
                  <a:lnTo>
                    <a:pt x="4482428" y="3318888"/>
                  </a:lnTo>
                  <a:lnTo>
                    <a:pt x="4482728" y="3320600"/>
                  </a:lnTo>
                  <a:lnTo>
                    <a:pt x="4482862" y="3324101"/>
                  </a:lnTo>
                  <a:lnTo>
                    <a:pt x="4483271" y="3326435"/>
                  </a:lnTo>
                  <a:lnTo>
                    <a:pt x="4483095" y="3328363"/>
                  </a:lnTo>
                  <a:lnTo>
                    <a:pt x="4475992" y="3335407"/>
                  </a:lnTo>
                  <a:lnTo>
                    <a:pt x="4475025" y="3336030"/>
                  </a:lnTo>
                  <a:lnTo>
                    <a:pt x="4474070" y="3336402"/>
                  </a:lnTo>
                  <a:lnTo>
                    <a:pt x="4473126" y="3336464"/>
                  </a:lnTo>
                  <a:lnTo>
                    <a:pt x="4472169" y="3336127"/>
                  </a:lnTo>
                  <a:lnTo>
                    <a:pt x="4472039" y="3336420"/>
                  </a:lnTo>
                  <a:lnTo>
                    <a:pt x="4472558" y="3337481"/>
                  </a:lnTo>
                  <a:lnTo>
                    <a:pt x="4473499" y="3338709"/>
                  </a:lnTo>
                  <a:lnTo>
                    <a:pt x="4474621" y="3339483"/>
                  </a:lnTo>
                  <a:lnTo>
                    <a:pt x="4473276" y="3343119"/>
                  </a:lnTo>
                  <a:lnTo>
                    <a:pt x="4470279" y="3347672"/>
                  </a:lnTo>
                  <a:lnTo>
                    <a:pt x="4464616" y="3357830"/>
                  </a:lnTo>
                  <a:lnTo>
                    <a:pt x="4459217" y="3364328"/>
                  </a:lnTo>
                  <a:lnTo>
                    <a:pt x="4452904" y="3368008"/>
                  </a:lnTo>
                  <a:lnTo>
                    <a:pt x="4451991" y="3369433"/>
                  </a:lnTo>
                  <a:lnTo>
                    <a:pt x="4450099" y="3370185"/>
                  </a:lnTo>
                  <a:lnTo>
                    <a:pt x="4447981" y="3370357"/>
                  </a:lnTo>
                  <a:lnTo>
                    <a:pt x="4446379" y="3370048"/>
                  </a:lnTo>
                  <a:lnTo>
                    <a:pt x="4445836" y="3369597"/>
                  </a:lnTo>
                  <a:lnTo>
                    <a:pt x="4444766" y="3368284"/>
                  </a:lnTo>
                  <a:lnTo>
                    <a:pt x="4444218" y="3367894"/>
                  </a:lnTo>
                  <a:lnTo>
                    <a:pt x="4443214" y="3367770"/>
                  </a:lnTo>
                  <a:lnTo>
                    <a:pt x="4440731" y="3368091"/>
                  </a:lnTo>
                  <a:lnTo>
                    <a:pt x="4437855" y="3369060"/>
                  </a:lnTo>
                  <a:lnTo>
                    <a:pt x="4430507" y="3368944"/>
                  </a:lnTo>
                  <a:lnTo>
                    <a:pt x="4422028" y="3370855"/>
                  </a:lnTo>
                  <a:lnTo>
                    <a:pt x="4419017" y="3370635"/>
                  </a:lnTo>
                  <a:lnTo>
                    <a:pt x="4415152" y="3369013"/>
                  </a:lnTo>
                  <a:lnTo>
                    <a:pt x="4412572" y="3368954"/>
                  </a:lnTo>
                  <a:lnTo>
                    <a:pt x="4411630" y="3367350"/>
                  </a:lnTo>
                  <a:lnTo>
                    <a:pt x="4410827" y="3365260"/>
                  </a:lnTo>
                  <a:lnTo>
                    <a:pt x="4409728" y="3363706"/>
                  </a:lnTo>
                  <a:lnTo>
                    <a:pt x="4409925" y="3365642"/>
                  </a:lnTo>
                  <a:lnTo>
                    <a:pt x="4409732" y="3366716"/>
                  </a:lnTo>
                  <a:lnTo>
                    <a:pt x="4409120" y="3367323"/>
                  </a:lnTo>
                  <a:lnTo>
                    <a:pt x="4408060" y="3367875"/>
                  </a:lnTo>
                  <a:lnTo>
                    <a:pt x="4407367" y="3368571"/>
                  </a:lnTo>
                  <a:lnTo>
                    <a:pt x="4406972" y="3369632"/>
                  </a:lnTo>
                  <a:lnTo>
                    <a:pt x="4404932" y="3379551"/>
                  </a:lnTo>
                  <a:lnTo>
                    <a:pt x="4404156" y="3381549"/>
                  </a:lnTo>
                  <a:lnTo>
                    <a:pt x="4402510" y="3382966"/>
                  </a:lnTo>
                  <a:lnTo>
                    <a:pt x="4395948" y="3384003"/>
                  </a:lnTo>
                  <a:lnTo>
                    <a:pt x="4390185" y="3386786"/>
                  </a:lnTo>
                  <a:lnTo>
                    <a:pt x="4389213" y="3387518"/>
                  </a:lnTo>
                  <a:lnTo>
                    <a:pt x="4388647" y="3388560"/>
                  </a:lnTo>
                  <a:lnTo>
                    <a:pt x="4389280" y="3388585"/>
                  </a:lnTo>
                  <a:lnTo>
                    <a:pt x="4389880" y="3388533"/>
                  </a:lnTo>
                  <a:lnTo>
                    <a:pt x="4391203" y="3388041"/>
                  </a:lnTo>
                  <a:lnTo>
                    <a:pt x="4391866" y="3391216"/>
                  </a:lnTo>
                  <a:lnTo>
                    <a:pt x="4391822" y="3391940"/>
                  </a:lnTo>
                  <a:lnTo>
                    <a:pt x="4391220" y="3392502"/>
                  </a:lnTo>
                  <a:lnTo>
                    <a:pt x="4390630" y="3392282"/>
                  </a:lnTo>
                  <a:lnTo>
                    <a:pt x="4390032" y="3391765"/>
                  </a:lnTo>
                  <a:lnTo>
                    <a:pt x="4389398" y="3391425"/>
                  </a:lnTo>
                  <a:lnTo>
                    <a:pt x="4388987" y="3391571"/>
                  </a:lnTo>
                  <a:lnTo>
                    <a:pt x="4388574" y="3391900"/>
                  </a:lnTo>
                  <a:lnTo>
                    <a:pt x="4388190" y="3392071"/>
                  </a:lnTo>
                  <a:lnTo>
                    <a:pt x="4387846" y="3391744"/>
                  </a:lnTo>
                  <a:lnTo>
                    <a:pt x="4387550" y="3391328"/>
                  </a:lnTo>
                  <a:lnTo>
                    <a:pt x="4387097" y="3390957"/>
                  </a:lnTo>
                  <a:lnTo>
                    <a:pt x="4386611" y="3390670"/>
                  </a:lnTo>
                  <a:lnTo>
                    <a:pt x="4386200" y="3390534"/>
                  </a:lnTo>
                  <a:lnTo>
                    <a:pt x="4383379" y="3390457"/>
                  </a:lnTo>
                  <a:lnTo>
                    <a:pt x="4376748" y="3393032"/>
                  </a:lnTo>
                  <a:lnTo>
                    <a:pt x="4374524" y="3395586"/>
                  </a:lnTo>
                  <a:lnTo>
                    <a:pt x="4375009" y="3399842"/>
                  </a:lnTo>
                  <a:lnTo>
                    <a:pt x="4374928" y="3401375"/>
                  </a:lnTo>
                  <a:lnTo>
                    <a:pt x="4372034" y="3402488"/>
                  </a:lnTo>
                  <a:lnTo>
                    <a:pt x="4371791" y="3404608"/>
                  </a:lnTo>
                  <a:lnTo>
                    <a:pt x="4370909" y="3404805"/>
                  </a:lnTo>
                  <a:lnTo>
                    <a:pt x="4369249" y="3404706"/>
                  </a:lnTo>
                  <a:lnTo>
                    <a:pt x="4368585" y="3405324"/>
                  </a:lnTo>
                  <a:lnTo>
                    <a:pt x="4368409" y="3406090"/>
                  </a:lnTo>
                  <a:lnTo>
                    <a:pt x="4368367" y="3406927"/>
                  </a:lnTo>
                  <a:lnTo>
                    <a:pt x="4368102" y="3407752"/>
                  </a:lnTo>
                  <a:lnTo>
                    <a:pt x="4366210" y="3409858"/>
                  </a:lnTo>
                  <a:lnTo>
                    <a:pt x="4363212" y="3412080"/>
                  </a:lnTo>
                  <a:lnTo>
                    <a:pt x="4362031" y="3413839"/>
                  </a:lnTo>
                  <a:lnTo>
                    <a:pt x="4361287" y="3414469"/>
                  </a:lnTo>
                  <a:lnTo>
                    <a:pt x="4359160" y="3415449"/>
                  </a:lnTo>
                  <a:lnTo>
                    <a:pt x="4358225" y="3416127"/>
                  </a:lnTo>
                  <a:lnTo>
                    <a:pt x="4357498" y="3417150"/>
                  </a:lnTo>
                  <a:lnTo>
                    <a:pt x="4357915" y="3417207"/>
                  </a:lnTo>
                  <a:lnTo>
                    <a:pt x="4358675" y="3417309"/>
                  </a:lnTo>
                  <a:lnTo>
                    <a:pt x="4359827" y="3416912"/>
                  </a:lnTo>
                  <a:lnTo>
                    <a:pt x="4361848" y="3415847"/>
                  </a:lnTo>
                  <a:lnTo>
                    <a:pt x="4364537" y="3415302"/>
                  </a:lnTo>
                  <a:lnTo>
                    <a:pt x="4365716" y="3414636"/>
                  </a:lnTo>
                  <a:lnTo>
                    <a:pt x="4367793" y="3411064"/>
                  </a:lnTo>
                  <a:lnTo>
                    <a:pt x="4372406" y="3408408"/>
                  </a:lnTo>
                  <a:lnTo>
                    <a:pt x="4373774" y="3406241"/>
                  </a:lnTo>
                  <a:lnTo>
                    <a:pt x="4374866" y="3403885"/>
                  </a:lnTo>
                  <a:lnTo>
                    <a:pt x="4384489" y="3394643"/>
                  </a:lnTo>
                  <a:lnTo>
                    <a:pt x="4386757" y="3394225"/>
                  </a:lnTo>
                  <a:lnTo>
                    <a:pt x="4387607" y="3397282"/>
                  </a:lnTo>
                  <a:lnTo>
                    <a:pt x="4389568" y="3398631"/>
                  </a:lnTo>
                  <a:lnTo>
                    <a:pt x="4391747" y="3398805"/>
                  </a:lnTo>
                  <a:lnTo>
                    <a:pt x="4393889" y="3398271"/>
                  </a:lnTo>
                  <a:lnTo>
                    <a:pt x="4395724" y="3397454"/>
                  </a:lnTo>
                  <a:lnTo>
                    <a:pt x="4396446" y="3397672"/>
                  </a:lnTo>
                  <a:lnTo>
                    <a:pt x="4397355" y="3398348"/>
                  </a:lnTo>
                  <a:lnTo>
                    <a:pt x="4398202" y="3398726"/>
                  </a:lnTo>
                  <a:lnTo>
                    <a:pt x="4399310" y="3397194"/>
                  </a:lnTo>
                  <a:lnTo>
                    <a:pt x="4400344" y="3397047"/>
                  </a:lnTo>
                  <a:lnTo>
                    <a:pt x="4402505" y="3397309"/>
                  </a:lnTo>
                  <a:lnTo>
                    <a:pt x="4418512" y="3395973"/>
                  </a:lnTo>
                  <a:lnTo>
                    <a:pt x="4425693" y="3393188"/>
                  </a:lnTo>
                  <a:lnTo>
                    <a:pt x="4429287" y="3392524"/>
                  </a:lnTo>
                  <a:lnTo>
                    <a:pt x="4433393" y="3393421"/>
                  </a:lnTo>
                  <a:lnTo>
                    <a:pt x="4436990" y="3395775"/>
                  </a:lnTo>
                  <a:lnTo>
                    <a:pt x="4446018" y="3406271"/>
                  </a:lnTo>
                  <a:lnTo>
                    <a:pt x="4447525" y="3407451"/>
                  </a:lnTo>
                  <a:lnTo>
                    <a:pt x="4449060" y="3408275"/>
                  </a:lnTo>
                  <a:lnTo>
                    <a:pt x="4452484" y="3409557"/>
                  </a:lnTo>
                  <a:lnTo>
                    <a:pt x="4450795" y="3412026"/>
                  </a:lnTo>
                  <a:lnTo>
                    <a:pt x="4450481" y="3412320"/>
                  </a:lnTo>
                  <a:lnTo>
                    <a:pt x="4451120" y="3413338"/>
                  </a:lnTo>
                  <a:lnTo>
                    <a:pt x="4452063" y="3413794"/>
                  </a:lnTo>
                  <a:lnTo>
                    <a:pt x="4453151" y="3414071"/>
                  </a:lnTo>
                  <a:lnTo>
                    <a:pt x="4454237" y="3414558"/>
                  </a:lnTo>
                  <a:lnTo>
                    <a:pt x="4454628" y="3410192"/>
                  </a:lnTo>
                  <a:lnTo>
                    <a:pt x="4455033" y="3408432"/>
                  </a:lnTo>
                  <a:lnTo>
                    <a:pt x="4456249" y="3406797"/>
                  </a:lnTo>
                  <a:lnTo>
                    <a:pt x="4460617" y="3404338"/>
                  </a:lnTo>
                  <a:lnTo>
                    <a:pt x="4461832" y="3403172"/>
                  </a:lnTo>
                  <a:lnTo>
                    <a:pt x="4463424" y="3399601"/>
                  </a:lnTo>
                  <a:lnTo>
                    <a:pt x="4465689" y="3391619"/>
                  </a:lnTo>
                  <a:lnTo>
                    <a:pt x="4469930" y="3387024"/>
                  </a:lnTo>
                  <a:lnTo>
                    <a:pt x="4473117" y="3380722"/>
                  </a:lnTo>
                  <a:lnTo>
                    <a:pt x="4483705" y="3371540"/>
                  </a:lnTo>
                  <a:lnTo>
                    <a:pt x="4487185" y="3370650"/>
                  </a:lnTo>
                  <a:lnTo>
                    <a:pt x="4483993" y="3377093"/>
                  </a:lnTo>
                  <a:lnTo>
                    <a:pt x="4483842" y="3380008"/>
                  </a:lnTo>
                  <a:lnTo>
                    <a:pt x="4484605" y="3379435"/>
                  </a:lnTo>
                  <a:lnTo>
                    <a:pt x="4485746" y="3378236"/>
                  </a:lnTo>
                  <a:lnTo>
                    <a:pt x="4488767" y="3376116"/>
                  </a:lnTo>
                  <a:lnTo>
                    <a:pt x="4493312" y="3371266"/>
                  </a:lnTo>
                  <a:lnTo>
                    <a:pt x="4496320" y="3369055"/>
                  </a:lnTo>
                  <a:lnTo>
                    <a:pt x="4498289" y="3368063"/>
                  </a:lnTo>
                  <a:lnTo>
                    <a:pt x="4500290" y="3367772"/>
                  </a:lnTo>
                  <a:lnTo>
                    <a:pt x="4501943" y="3368828"/>
                  </a:lnTo>
                  <a:lnTo>
                    <a:pt x="4502742" y="3371139"/>
                  </a:lnTo>
                  <a:lnTo>
                    <a:pt x="4501919" y="3372787"/>
                  </a:lnTo>
                  <a:lnTo>
                    <a:pt x="4498688" y="3374739"/>
                  </a:lnTo>
                  <a:lnTo>
                    <a:pt x="4499008" y="3375410"/>
                  </a:lnTo>
                  <a:lnTo>
                    <a:pt x="4500417" y="3375212"/>
                  </a:lnTo>
                  <a:lnTo>
                    <a:pt x="4503086" y="3374069"/>
                  </a:lnTo>
                  <a:lnTo>
                    <a:pt x="4504502" y="3374181"/>
                  </a:lnTo>
                  <a:lnTo>
                    <a:pt x="4504940" y="3374654"/>
                  </a:lnTo>
                  <a:lnTo>
                    <a:pt x="4505784" y="3376247"/>
                  </a:lnTo>
                  <a:lnTo>
                    <a:pt x="4506299" y="3376665"/>
                  </a:lnTo>
                  <a:lnTo>
                    <a:pt x="4507387" y="3376450"/>
                  </a:lnTo>
                  <a:lnTo>
                    <a:pt x="4507472" y="3375565"/>
                  </a:lnTo>
                  <a:lnTo>
                    <a:pt x="4507139" y="3374737"/>
                  </a:lnTo>
                  <a:lnTo>
                    <a:pt x="4506951" y="3374642"/>
                  </a:lnTo>
                  <a:lnTo>
                    <a:pt x="4506675" y="3373858"/>
                  </a:lnTo>
                  <a:lnTo>
                    <a:pt x="4505836" y="3372678"/>
                  </a:lnTo>
                  <a:lnTo>
                    <a:pt x="4505644" y="3371910"/>
                  </a:lnTo>
                  <a:lnTo>
                    <a:pt x="4505791" y="3371252"/>
                  </a:lnTo>
                  <a:lnTo>
                    <a:pt x="4506580" y="3369951"/>
                  </a:lnTo>
                  <a:lnTo>
                    <a:pt x="4506847" y="3369670"/>
                  </a:lnTo>
                  <a:lnTo>
                    <a:pt x="4507852" y="3369633"/>
                  </a:lnTo>
                  <a:lnTo>
                    <a:pt x="4511284" y="3370305"/>
                  </a:lnTo>
                  <a:lnTo>
                    <a:pt x="4512469" y="3370806"/>
                  </a:lnTo>
                  <a:lnTo>
                    <a:pt x="4511851" y="3372289"/>
                  </a:lnTo>
                  <a:lnTo>
                    <a:pt x="4509300" y="3376259"/>
                  </a:lnTo>
                  <a:lnTo>
                    <a:pt x="4508558" y="3376730"/>
                  </a:lnTo>
                  <a:lnTo>
                    <a:pt x="4508812" y="3378360"/>
                  </a:lnTo>
                  <a:lnTo>
                    <a:pt x="4507932" y="3379204"/>
                  </a:lnTo>
                  <a:lnTo>
                    <a:pt x="4506637" y="3379918"/>
                  </a:lnTo>
                  <a:lnTo>
                    <a:pt x="4505641" y="3381127"/>
                  </a:lnTo>
                  <a:lnTo>
                    <a:pt x="4506005" y="3381296"/>
                  </a:lnTo>
                  <a:lnTo>
                    <a:pt x="4507129" y="3382021"/>
                  </a:lnTo>
                  <a:lnTo>
                    <a:pt x="4506778" y="3382840"/>
                  </a:lnTo>
                  <a:lnTo>
                    <a:pt x="4506830" y="3383472"/>
                  </a:lnTo>
                  <a:lnTo>
                    <a:pt x="4507279" y="3383890"/>
                  </a:lnTo>
                  <a:lnTo>
                    <a:pt x="4508117" y="3384092"/>
                  </a:lnTo>
                  <a:lnTo>
                    <a:pt x="4508164" y="3386659"/>
                  </a:lnTo>
                  <a:lnTo>
                    <a:pt x="4507926" y="3388701"/>
                  </a:lnTo>
                  <a:lnTo>
                    <a:pt x="4506846" y="3393133"/>
                  </a:lnTo>
                  <a:lnTo>
                    <a:pt x="4506506" y="3393796"/>
                  </a:lnTo>
                  <a:lnTo>
                    <a:pt x="4506071" y="3394429"/>
                  </a:lnTo>
                  <a:lnTo>
                    <a:pt x="4505857" y="3395240"/>
                  </a:lnTo>
                  <a:lnTo>
                    <a:pt x="4506185" y="3396449"/>
                  </a:lnTo>
                  <a:lnTo>
                    <a:pt x="4506520" y="3397211"/>
                  </a:lnTo>
                  <a:lnTo>
                    <a:pt x="4506672" y="3397810"/>
                  </a:lnTo>
                  <a:lnTo>
                    <a:pt x="4506706" y="3399902"/>
                  </a:lnTo>
                  <a:lnTo>
                    <a:pt x="4508984" y="3398705"/>
                  </a:lnTo>
                  <a:lnTo>
                    <a:pt x="4508909" y="3401214"/>
                  </a:lnTo>
                  <a:lnTo>
                    <a:pt x="4508120" y="3405579"/>
                  </a:lnTo>
                  <a:lnTo>
                    <a:pt x="4508573" y="3407371"/>
                  </a:lnTo>
                  <a:lnTo>
                    <a:pt x="4508857" y="3405522"/>
                  </a:lnTo>
                  <a:lnTo>
                    <a:pt x="4509407" y="3404410"/>
                  </a:lnTo>
                  <a:lnTo>
                    <a:pt x="4510149" y="3403402"/>
                  </a:lnTo>
                  <a:lnTo>
                    <a:pt x="4510987" y="3401839"/>
                  </a:lnTo>
                  <a:lnTo>
                    <a:pt x="4512296" y="3408978"/>
                  </a:lnTo>
                  <a:lnTo>
                    <a:pt x="4514366" y="3416045"/>
                  </a:lnTo>
                  <a:lnTo>
                    <a:pt x="4513655" y="3415137"/>
                  </a:lnTo>
                  <a:lnTo>
                    <a:pt x="4513221" y="3414123"/>
                  </a:lnTo>
                  <a:lnTo>
                    <a:pt x="4512999" y="3413008"/>
                  </a:lnTo>
                  <a:lnTo>
                    <a:pt x="4512739" y="3412102"/>
                  </a:lnTo>
                  <a:lnTo>
                    <a:pt x="4512170" y="3411413"/>
                  </a:lnTo>
                  <a:lnTo>
                    <a:pt x="4511344" y="3412969"/>
                  </a:lnTo>
                  <a:lnTo>
                    <a:pt x="4511285" y="3414790"/>
                  </a:lnTo>
                  <a:lnTo>
                    <a:pt x="4511487" y="3416782"/>
                  </a:lnTo>
                  <a:lnTo>
                    <a:pt x="4511466" y="3418857"/>
                  </a:lnTo>
                  <a:lnTo>
                    <a:pt x="4511973" y="3420167"/>
                  </a:lnTo>
                  <a:lnTo>
                    <a:pt x="4513103" y="3421977"/>
                  </a:lnTo>
                  <a:lnTo>
                    <a:pt x="4513860" y="3423788"/>
                  </a:lnTo>
                  <a:lnTo>
                    <a:pt x="4513278" y="3425055"/>
                  </a:lnTo>
                  <a:lnTo>
                    <a:pt x="4510437" y="3427039"/>
                  </a:lnTo>
                  <a:lnTo>
                    <a:pt x="4509250" y="3428535"/>
                  </a:lnTo>
                  <a:lnTo>
                    <a:pt x="4509119" y="3431452"/>
                  </a:lnTo>
                  <a:lnTo>
                    <a:pt x="4507381" y="3434255"/>
                  </a:lnTo>
                  <a:lnTo>
                    <a:pt x="4507514" y="3436003"/>
                  </a:lnTo>
                  <a:lnTo>
                    <a:pt x="4507346" y="3438395"/>
                  </a:lnTo>
                  <a:lnTo>
                    <a:pt x="4498209" y="3455612"/>
                  </a:lnTo>
                  <a:lnTo>
                    <a:pt x="4496085" y="3457432"/>
                  </a:lnTo>
                  <a:lnTo>
                    <a:pt x="4496398" y="3458105"/>
                  </a:lnTo>
                  <a:lnTo>
                    <a:pt x="4502240" y="3455935"/>
                  </a:lnTo>
                  <a:lnTo>
                    <a:pt x="4504818" y="3454477"/>
                  </a:lnTo>
                  <a:lnTo>
                    <a:pt x="4507001" y="3451789"/>
                  </a:lnTo>
                  <a:lnTo>
                    <a:pt x="4507550" y="3453235"/>
                  </a:lnTo>
                  <a:lnTo>
                    <a:pt x="4507895" y="3454975"/>
                  </a:lnTo>
                  <a:lnTo>
                    <a:pt x="4508285" y="3456324"/>
                  </a:lnTo>
                  <a:lnTo>
                    <a:pt x="4508976" y="3456612"/>
                  </a:lnTo>
                  <a:lnTo>
                    <a:pt x="4512467" y="3453955"/>
                  </a:lnTo>
                  <a:lnTo>
                    <a:pt x="4516462" y="3447368"/>
                  </a:lnTo>
                  <a:lnTo>
                    <a:pt x="4518311" y="3445905"/>
                  </a:lnTo>
                  <a:lnTo>
                    <a:pt x="4519741" y="3445905"/>
                  </a:lnTo>
                  <a:lnTo>
                    <a:pt x="4521935" y="3447632"/>
                  </a:lnTo>
                  <a:lnTo>
                    <a:pt x="4523086" y="3447663"/>
                  </a:lnTo>
                  <a:lnTo>
                    <a:pt x="4524214" y="3446680"/>
                  </a:lnTo>
                  <a:lnTo>
                    <a:pt x="4524558" y="3445558"/>
                  </a:lnTo>
                  <a:lnTo>
                    <a:pt x="4524629" y="3444385"/>
                  </a:lnTo>
                  <a:lnTo>
                    <a:pt x="4524954" y="3443268"/>
                  </a:lnTo>
                  <a:lnTo>
                    <a:pt x="4526589" y="3441803"/>
                  </a:lnTo>
                  <a:lnTo>
                    <a:pt x="4532257" y="3439275"/>
                  </a:lnTo>
                  <a:lnTo>
                    <a:pt x="4534311" y="3439111"/>
                  </a:lnTo>
                  <a:lnTo>
                    <a:pt x="4533441" y="3441783"/>
                  </a:lnTo>
                  <a:lnTo>
                    <a:pt x="4534763" y="3443806"/>
                  </a:lnTo>
                  <a:lnTo>
                    <a:pt x="4536873" y="3445898"/>
                  </a:lnTo>
                  <a:lnTo>
                    <a:pt x="4538336" y="3448783"/>
                  </a:lnTo>
                  <a:lnTo>
                    <a:pt x="4538032" y="3449960"/>
                  </a:lnTo>
                  <a:lnTo>
                    <a:pt x="4536331" y="3452620"/>
                  </a:lnTo>
                  <a:lnTo>
                    <a:pt x="4535656" y="3458636"/>
                  </a:lnTo>
                  <a:lnTo>
                    <a:pt x="4536322" y="3461914"/>
                  </a:lnTo>
                  <a:lnTo>
                    <a:pt x="4537722" y="3464622"/>
                  </a:lnTo>
                  <a:lnTo>
                    <a:pt x="4539587" y="3466907"/>
                  </a:lnTo>
                  <a:lnTo>
                    <a:pt x="4541658" y="3468940"/>
                  </a:lnTo>
                  <a:lnTo>
                    <a:pt x="4543849" y="3470661"/>
                  </a:lnTo>
                  <a:lnTo>
                    <a:pt x="4546148" y="3471905"/>
                  </a:lnTo>
                  <a:lnTo>
                    <a:pt x="4551406" y="3473851"/>
                  </a:lnTo>
                  <a:lnTo>
                    <a:pt x="4549621" y="3474785"/>
                  </a:lnTo>
                  <a:lnTo>
                    <a:pt x="4548621" y="3476277"/>
                  </a:lnTo>
                  <a:lnTo>
                    <a:pt x="4548532" y="3478287"/>
                  </a:lnTo>
                  <a:lnTo>
                    <a:pt x="4549512" y="3480772"/>
                  </a:lnTo>
                  <a:lnTo>
                    <a:pt x="4549968" y="3480532"/>
                  </a:lnTo>
                  <a:lnTo>
                    <a:pt x="4549882" y="3477757"/>
                  </a:lnTo>
                  <a:lnTo>
                    <a:pt x="4552106" y="3477047"/>
                  </a:lnTo>
                  <a:lnTo>
                    <a:pt x="4556671" y="3477774"/>
                  </a:lnTo>
                  <a:lnTo>
                    <a:pt x="4555284" y="3476027"/>
                  </a:lnTo>
                  <a:lnTo>
                    <a:pt x="4555424" y="3474786"/>
                  </a:lnTo>
                  <a:lnTo>
                    <a:pt x="4556604" y="3474289"/>
                  </a:lnTo>
                  <a:lnTo>
                    <a:pt x="4558381" y="3474778"/>
                  </a:lnTo>
                  <a:lnTo>
                    <a:pt x="4559529" y="3475997"/>
                  </a:lnTo>
                  <a:lnTo>
                    <a:pt x="4560576" y="3477959"/>
                  </a:lnTo>
                  <a:lnTo>
                    <a:pt x="4561968" y="3481748"/>
                  </a:lnTo>
                  <a:lnTo>
                    <a:pt x="4563121" y="3485863"/>
                  </a:lnTo>
                  <a:lnTo>
                    <a:pt x="4564230" y="3487771"/>
                  </a:lnTo>
                  <a:lnTo>
                    <a:pt x="4565778" y="3488027"/>
                  </a:lnTo>
                  <a:lnTo>
                    <a:pt x="4566848" y="3488514"/>
                  </a:lnTo>
                  <a:lnTo>
                    <a:pt x="4568435" y="3490010"/>
                  </a:lnTo>
                  <a:lnTo>
                    <a:pt x="4569457" y="3491804"/>
                  </a:lnTo>
                  <a:lnTo>
                    <a:pt x="4568821" y="3493187"/>
                  </a:lnTo>
                  <a:lnTo>
                    <a:pt x="4568324" y="3493719"/>
                  </a:lnTo>
                  <a:lnTo>
                    <a:pt x="4568103" y="3494414"/>
                  </a:lnTo>
                  <a:lnTo>
                    <a:pt x="4568161" y="3494952"/>
                  </a:lnTo>
                  <a:lnTo>
                    <a:pt x="4568523" y="3495020"/>
                  </a:lnTo>
                  <a:lnTo>
                    <a:pt x="4568961" y="3495019"/>
                  </a:lnTo>
                  <a:lnTo>
                    <a:pt x="4569895" y="3495633"/>
                  </a:lnTo>
                  <a:lnTo>
                    <a:pt x="4570351" y="3495811"/>
                  </a:lnTo>
                  <a:lnTo>
                    <a:pt x="4570887" y="3495608"/>
                  </a:lnTo>
                  <a:lnTo>
                    <a:pt x="4571100" y="3495116"/>
                  </a:lnTo>
                  <a:lnTo>
                    <a:pt x="4571208" y="3494620"/>
                  </a:lnTo>
                  <a:lnTo>
                    <a:pt x="4571448" y="3494394"/>
                  </a:lnTo>
                  <a:lnTo>
                    <a:pt x="4572714" y="3494602"/>
                  </a:lnTo>
                  <a:lnTo>
                    <a:pt x="4574547" y="3495215"/>
                  </a:lnTo>
                  <a:lnTo>
                    <a:pt x="4576345" y="3496184"/>
                  </a:lnTo>
                  <a:lnTo>
                    <a:pt x="4577540" y="3497493"/>
                  </a:lnTo>
                  <a:lnTo>
                    <a:pt x="4579184" y="3501167"/>
                  </a:lnTo>
                  <a:lnTo>
                    <a:pt x="4579567" y="3502711"/>
                  </a:lnTo>
                  <a:lnTo>
                    <a:pt x="4579615" y="3504381"/>
                  </a:lnTo>
                  <a:lnTo>
                    <a:pt x="4579061" y="3506360"/>
                  </a:lnTo>
                  <a:lnTo>
                    <a:pt x="4578020" y="3507359"/>
                  </a:lnTo>
                  <a:lnTo>
                    <a:pt x="4576802" y="3508201"/>
                  </a:lnTo>
                  <a:lnTo>
                    <a:pt x="4575737" y="3509696"/>
                  </a:lnTo>
                  <a:lnTo>
                    <a:pt x="4577071" y="3508868"/>
                  </a:lnTo>
                  <a:lnTo>
                    <a:pt x="4577849" y="3508596"/>
                  </a:lnTo>
                  <a:lnTo>
                    <a:pt x="4578512" y="3508685"/>
                  </a:lnTo>
                  <a:lnTo>
                    <a:pt x="4579175" y="3508674"/>
                  </a:lnTo>
                  <a:lnTo>
                    <a:pt x="4579691" y="3507992"/>
                  </a:lnTo>
                  <a:lnTo>
                    <a:pt x="4580570" y="3506391"/>
                  </a:lnTo>
                  <a:lnTo>
                    <a:pt x="4583087" y="3504849"/>
                  </a:lnTo>
                  <a:lnTo>
                    <a:pt x="4583869" y="3504025"/>
                  </a:lnTo>
                  <a:lnTo>
                    <a:pt x="4583104" y="3503292"/>
                  </a:lnTo>
                  <a:lnTo>
                    <a:pt x="4583552" y="3500461"/>
                  </a:lnTo>
                  <a:lnTo>
                    <a:pt x="4585846" y="3501410"/>
                  </a:lnTo>
                  <a:lnTo>
                    <a:pt x="4588116" y="3503868"/>
                  </a:lnTo>
                  <a:lnTo>
                    <a:pt x="4588524" y="3505599"/>
                  </a:lnTo>
                  <a:lnTo>
                    <a:pt x="4587052" y="3507258"/>
                  </a:lnTo>
                  <a:lnTo>
                    <a:pt x="4587378" y="3509401"/>
                  </a:lnTo>
                  <a:lnTo>
                    <a:pt x="4590263" y="3514727"/>
                  </a:lnTo>
                  <a:lnTo>
                    <a:pt x="4591378" y="3512764"/>
                  </a:lnTo>
                  <a:lnTo>
                    <a:pt x="4592580" y="3511582"/>
                  </a:lnTo>
                  <a:lnTo>
                    <a:pt x="4599924" y="3507833"/>
                  </a:lnTo>
                  <a:lnTo>
                    <a:pt x="4600440" y="3507809"/>
                  </a:lnTo>
                  <a:lnTo>
                    <a:pt x="4601660" y="3508312"/>
                  </a:lnTo>
                  <a:lnTo>
                    <a:pt x="4602258" y="3508347"/>
                  </a:lnTo>
                  <a:lnTo>
                    <a:pt x="4602948" y="3507984"/>
                  </a:lnTo>
                  <a:lnTo>
                    <a:pt x="4603354" y="3507472"/>
                  </a:lnTo>
                  <a:lnTo>
                    <a:pt x="4603688" y="3506924"/>
                  </a:lnTo>
                  <a:lnTo>
                    <a:pt x="4604150" y="3506417"/>
                  </a:lnTo>
                  <a:lnTo>
                    <a:pt x="4610289" y="3502741"/>
                  </a:lnTo>
                  <a:lnTo>
                    <a:pt x="4611509" y="3502477"/>
                  </a:lnTo>
                  <a:lnTo>
                    <a:pt x="4615998" y="3502659"/>
                  </a:lnTo>
                  <a:lnTo>
                    <a:pt x="4618200" y="3503327"/>
                  </a:lnTo>
                  <a:lnTo>
                    <a:pt x="4618327" y="3504695"/>
                  </a:lnTo>
                  <a:lnTo>
                    <a:pt x="4619480" y="3505726"/>
                  </a:lnTo>
                  <a:lnTo>
                    <a:pt x="4620325" y="3505727"/>
                  </a:lnTo>
                  <a:lnTo>
                    <a:pt x="4621757" y="3504526"/>
                  </a:lnTo>
                  <a:lnTo>
                    <a:pt x="4621603" y="3504078"/>
                  </a:lnTo>
                  <a:lnTo>
                    <a:pt x="4621715" y="3503016"/>
                  </a:lnTo>
                  <a:lnTo>
                    <a:pt x="4622062" y="3502268"/>
                  </a:lnTo>
                  <a:lnTo>
                    <a:pt x="4623124" y="3503283"/>
                  </a:lnTo>
                  <a:lnTo>
                    <a:pt x="4623834" y="3503566"/>
                  </a:lnTo>
                  <a:lnTo>
                    <a:pt x="4625251" y="3503939"/>
                  </a:lnTo>
                  <a:lnTo>
                    <a:pt x="4625364" y="3503362"/>
                  </a:lnTo>
                  <a:lnTo>
                    <a:pt x="4626532" y="3500828"/>
                  </a:lnTo>
                  <a:lnTo>
                    <a:pt x="4627100" y="3499964"/>
                  </a:lnTo>
                  <a:lnTo>
                    <a:pt x="4628045" y="3499228"/>
                  </a:lnTo>
                  <a:lnTo>
                    <a:pt x="4631433" y="3497620"/>
                  </a:lnTo>
                  <a:lnTo>
                    <a:pt x="4633456" y="3497100"/>
                  </a:lnTo>
                  <a:lnTo>
                    <a:pt x="4637982" y="3497372"/>
                  </a:lnTo>
                  <a:lnTo>
                    <a:pt x="4644187" y="3496013"/>
                  </a:lnTo>
                  <a:lnTo>
                    <a:pt x="4646154" y="3496091"/>
                  </a:lnTo>
                  <a:lnTo>
                    <a:pt x="4648183" y="3496927"/>
                  </a:lnTo>
                  <a:lnTo>
                    <a:pt x="4647546" y="3499212"/>
                  </a:lnTo>
                  <a:lnTo>
                    <a:pt x="4646400" y="3500535"/>
                  </a:lnTo>
                  <a:lnTo>
                    <a:pt x="4643536" y="3502908"/>
                  </a:lnTo>
                  <a:lnTo>
                    <a:pt x="4643336" y="3503553"/>
                  </a:lnTo>
                  <a:lnTo>
                    <a:pt x="4642889" y="3505913"/>
                  </a:lnTo>
                  <a:lnTo>
                    <a:pt x="4642542" y="3506814"/>
                  </a:lnTo>
                  <a:lnTo>
                    <a:pt x="4641901" y="3507403"/>
                  </a:lnTo>
                  <a:lnTo>
                    <a:pt x="4631119" y="3512779"/>
                  </a:lnTo>
                  <a:lnTo>
                    <a:pt x="4630601" y="3513278"/>
                  </a:lnTo>
                  <a:lnTo>
                    <a:pt x="4630654" y="3514041"/>
                  </a:lnTo>
                  <a:lnTo>
                    <a:pt x="4631076" y="3514915"/>
                  </a:lnTo>
                  <a:lnTo>
                    <a:pt x="4631240" y="3515818"/>
                  </a:lnTo>
                  <a:lnTo>
                    <a:pt x="4630515" y="3516691"/>
                  </a:lnTo>
                  <a:lnTo>
                    <a:pt x="4631629" y="3517352"/>
                  </a:lnTo>
                  <a:lnTo>
                    <a:pt x="4634736" y="3518259"/>
                  </a:lnTo>
                  <a:lnTo>
                    <a:pt x="4635824" y="3518828"/>
                  </a:lnTo>
                  <a:lnTo>
                    <a:pt x="4635922" y="3518881"/>
                  </a:lnTo>
                  <a:lnTo>
                    <a:pt x="4636283" y="3518175"/>
                  </a:lnTo>
                  <a:lnTo>
                    <a:pt x="4636600" y="3517197"/>
                  </a:lnTo>
                  <a:lnTo>
                    <a:pt x="4636881" y="3516609"/>
                  </a:lnTo>
                  <a:lnTo>
                    <a:pt x="4637558" y="3516284"/>
                  </a:lnTo>
                  <a:lnTo>
                    <a:pt x="4645629" y="3514953"/>
                  </a:lnTo>
                  <a:lnTo>
                    <a:pt x="4648796" y="3515434"/>
                  </a:lnTo>
                  <a:lnTo>
                    <a:pt x="4650271" y="3517843"/>
                  </a:lnTo>
                  <a:lnTo>
                    <a:pt x="4651858" y="3517251"/>
                  </a:lnTo>
                  <a:lnTo>
                    <a:pt x="4653612" y="3517410"/>
                  </a:lnTo>
                  <a:lnTo>
                    <a:pt x="4655281" y="3518403"/>
                  </a:lnTo>
                  <a:lnTo>
                    <a:pt x="4656618" y="3520279"/>
                  </a:lnTo>
                  <a:lnTo>
                    <a:pt x="4657826" y="3519365"/>
                  </a:lnTo>
                  <a:lnTo>
                    <a:pt x="4659926" y="3518877"/>
                  </a:lnTo>
                  <a:lnTo>
                    <a:pt x="4662120" y="3518764"/>
                  </a:lnTo>
                  <a:lnTo>
                    <a:pt x="4663637" y="3518980"/>
                  </a:lnTo>
                  <a:lnTo>
                    <a:pt x="4663189" y="3520018"/>
                  </a:lnTo>
                  <a:lnTo>
                    <a:pt x="4662271" y="3521513"/>
                  </a:lnTo>
                  <a:lnTo>
                    <a:pt x="4661848" y="3522562"/>
                  </a:lnTo>
                  <a:lnTo>
                    <a:pt x="4663526" y="3522284"/>
                  </a:lnTo>
                  <a:lnTo>
                    <a:pt x="4666072" y="3519506"/>
                  </a:lnTo>
                  <a:lnTo>
                    <a:pt x="4667812" y="3519303"/>
                  </a:lnTo>
                  <a:lnTo>
                    <a:pt x="4667948" y="3520539"/>
                  </a:lnTo>
                  <a:lnTo>
                    <a:pt x="4668367" y="3521395"/>
                  </a:lnTo>
                  <a:lnTo>
                    <a:pt x="4668866" y="3521644"/>
                  </a:lnTo>
                  <a:lnTo>
                    <a:pt x="4669245" y="3521045"/>
                  </a:lnTo>
                  <a:lnTo>
                    <a:pt x="4669401" y="3519693"/>
                  </a:lnTo>
                  <a:lnTo>
                    <a:pt x="4669043" y="3519157"/>
                  </a:lnTo>
                  <a:lnTo>
                    <a:pt x="4668338" y="3518638"/>
                  </a:lnTo>
                  <a:lnTo>
                    <a:pt x="4667443" y="3517359"/>
                  </a:lnTo>
                  <a:lnTo>
                    <a:pt x="4667178" y="3516338"/>
                  </a:lnTo>
                  <a:lnTo>
                    <a:pt x="4667581" y="3516028"/>
                  </a:lnTo>
                  <a:lnTo>
                    <a:pt x="4668318" y="3516147"/>
                  </a:lnTo>
                  <a:lnTo>
                    <a:pt x="4669065" y="3516471"/>
                  </a:lnTo>
                  <a:lnTo>
                    <a:pt x="4669764" y="3516349"/>
                  </a:lnTo>
                  <a:lnTo>
                    <a:pt x="4671553" y="3513789"/>
                  </a:lnTo>
                  <a:lnTo>
                    <a:pt x="4677967" y="3509326"/>
                  </a:lnTo>
                  <a:lnTo>
                    <a:pt x="4681842" y="3508059"/>
                  </a:lnTo>
                  <a:lnTo>
                    <a:pt x="4684899" y="3508984"/>
                  </a:lnTo>
                  <a:lnTo>
                    <a:pt x="4683649" y="3509775"/>
                  </a:lnTo>
                  <a:lnTo>
                    <a:pt x="4680917" y="3510447"/>
                  </a:lnTo>
                  <a:lnTo>
                    <a:pt x="4679605" y="3511135"/>
                  </a:lnTo>
                  <a:lnTo>
                    <a:pt x="4680867" y="3511471"/>
                  </a:lnTo>
                  <a:lnTo>
                    <a:pt x="4683693" y="3511633"/>
                  </a:lnTo>
                  <a:lnTo>
                    <a:pt x="4684901" y="3512436"/>
                  </a:lnTo>
                  <a:lnTo>
                    <a:pt x="4683873" y="3513647"/>
                  </a:lnTo>
                  <a:lnTo>
                    <a:pt x="4681202" y="3514527"/>
                  </a:lnTo>
                  <a:lnTo>
                    <a:pt x="4679823" y="3515236"/>
                  </a:lnTo>
                  <a:lnTo>
                    <a:pt x="4678919" y="3516614"/>
                  </a:lnTo>
                  <a:lnTo>
                    <a:pt x="4679789" y="3517192"/>
                  </a:lnTo>
                  <a:lnTo>
                    <a:pt x="4681294" y="3516851"/>
                  </a:lnTo>
                  <a:lnTo>
                    <a:pt x="4682280" y="3515492"/>
                  </a:lnTo>
                  <a:lnTo>
                    <a:pt x="4683058" y="3515697"/>
                  </a:lnTo>
                  <a:lnTo>
                    <a:pt x="4683705" y="3515637"/>
                  </a:lnTo>
                  <a:lnTo>
                    <a:pt x="4684312" y="3515368"/>
                  </a:lnTo>
                  <a:lnTo>
                    <a:pt x="4684967" y="3514936"/>
                  </a:lnTo>
                  <a:lnTo>
                    <a:pt x="4685283" y="3514858"/>
                  </a:lnTo>
                  <a:lnTo>
                    <a:pt x="4685955" y="3515045"/>
                  </a:lnTo>
                  <a:lnTo>
                    <a:pt x="4686180" y="3515031"/>
                  </a:lnTo>
                  <a:lnTo>
                    <a:pt x="4686307" y="3514669"/>
                  </a:lnTo>
                  <a:lnTo>
                    <a:pt x="4686298" y="3513537"/>
                  </a:lnTo>
                  <a:lnTo>
                    <a:pt x="4686404" y="3513216"/>
                  </a:lnTo>
                  <a:lnTo>
                    <a:pt x="4687581" y="3512788"/>
                  </a:lnTo>
                  <a:lnTo>
                    <a:pt x="4690008" y="3512583"/>
                  </a:lnTo>
                  <a:lnTo>
                    <a:pt x="4691178" y="3512267"/>
                  </a:lnTo>
                  <a:lnTo>
                    <a:pt x="4693007" y="3510781"/>
                  </a:lnTo>
                  <a:lnTo>
                    <a:pt x="4694787" y="3508755"/>
                  </a:lnTo>
                  <a:lnTo>
                    <a:pt x="4696764" y="3507184"/>
                  </a:lnTo>
                  <a:lnTo>
                    <a:pt x="4699197" y="3507051"/>
                  </a:lnTo>
                  <a:lnTo>
                    <a:pt x="4698021" y="3509525"/>
                  </a:lnTo>
                  <a:lnTo>
                    <a:pt x="4695855" y="3512688"/>
                  </a:lnTo>
                  <a:lnTo>
                    <a:pt x="4693233" y="3515260"/>
                  </a:lnTo>
                  <a:lnTo>
                    <a:pt x="4690726" y="3515973"/>
                  </a:lnTo>
                  <a:lnTo>
                    <a:pt x="4691967" y="3517114"/>
                  </a:lnTo>
                  <a:lnTo>
                    <a:pt x="4693533" y="3517370"/>
                  </a:lnTo>
                  <a:lnTo>
                    <a:pt x="4696979" y="3516816"/>
                  </a:lnTo>
                  <a:lnTo>
                    <a:pt x="4697794" y="3516973"/>
                  </a:lnTo>
                  <a:lnTo>
                    <a:pt x="4698714" y="3517279"/>
                  </a:lnTo>
                  <a:lnTo>
                    <a:pt x="4699244" y="3517166"/>
                  </a:lnTo>
                  <a:lnTo>
                    <a:pt x="4698939" y="3516066"/>
                  </a:lnTo>
                  <a:lnTo>
                    <a:pt x="4698852" y="3515287"/>
                  </a:lnTo>
                  <a:lnTo>
                    <a:pt x="4699068" y="3514331"/>
                  </a:lnTo>
                  <a:lnTo>
                    <a:pt x="4699637" y="3512650"/>
                  </a:lnTo>
                  <a:lnTo>
                    <a:pt x="4699879" y="3513180"/>
                  </a:lnTo>
                  <a:lnTo>
                    <a:pt x="4700458" y="3514224"/>
                  </a:lnTo>
                  <a:lnTo>
                    <a:pt x="4700682" y="3514760"/>
                  </a:lnTo>
                  <a:lnTo>
                    <a:pt x="4702631" y="3510838"/>
                  </a:lnTo>
                  <a:lnTo>
                    <a:pt x="4703456" y="3509753"/>
                  </a:lnTo>
                  <a:lnTo>
                    <a:pt x="4703347" y="3509521"/>
                  </a:lnTo>
                  <a:lnTo>
                    <a:pt x="4703181" y="3508989"/>
                  </a:lnTo>
                  <a:lnTo>
                    <a:pt x="4703095" y="3508451"/>
                  </a:lnTo>
                  <a:lnTo>
                    <a:pt x="4703254" y="3508171"/>
                  </a:lnTo>
                  <a:lnTo>
                    <a:pt x="4703726" y="3508272"/>
                  </a:lnTo>
                  <a:lnTo>
                    <a:pt x="4704095" y="3508631"/>
                  </a:lnTo>
                  <a:lnTo>
                    <a:pt x="4704306" y="3509139"/>
                  </a:lnTo>
                  <a:lnTo>
                    <a:pt x="4704311" y="3509660"/>
                  </a:lnTo>
                  <a:lnTo>
                    <a:pt x="4703774" y="3511079"/>
                  </a:lnTo>
                  <a:lnTo>
                    <a:pt x="4703744" y="3511973"/>
                  </a:lnTo>
                  <a:lnTo>
                    <a:pt x="4704346" y="3512723"/>
                  </a:lnTo>
                  <a:lnTo>
                    <a:pt x="4705236" y="3512322"/>
                  </a:lnTo>
                  <a:lnTo>
                    <a:pt x="4707866" y="3508067"/>
                  </a:lnTo>
                  <a:lnTo>
                    <a:pt x="4708808" y="3507031"/>
                  </a:lnTo>
                  <a:lnTo>
                    <a:pt x="4709858" y="3506243"/>
                  </a:lnTo>
                  <a:lnTo>
                    <a:pt x="4711056" y="3505714"/>
                  </a:lnTo>
                  <a:lnTo>
                    <a:pt x="4712479" y="3505488"/>
                  </a:lnTo>
                  <a:lnTo>
                    <a:pt x="4711197" y="3503783"/>
                  </a:lnTo>
                  <a:lnTo>
                    <a:pt x="4709714" y="3503142"/>
                  </a:lnTo>
                  <a:lnTo>
                    <a:pt x="4706501" y="3502979"/>
                  </a:lnTo>
                  <a:lnTo>
                    <a:pt x="4707584" y="3501718"/>
                  </a:lnTo>
                  <a:lnTo>
                    <a:pt x="4716396" y="3498691"/>
                  </a:lnTo>
                  <a:lnTo>
                    <a:pt x="4720739" y="3497909"/>
                  </a:lnTo>
                  <a:lnTo>
                    <a:pt x="4731422" y="3494059"/>
                  </a:lnTo>
                  <a:lnTo>
                    <a:pt x="4733175" y="3493017"/>
                  </a:lnTo>
                  <a:lnTo>
                    <a:pt x="4736256" y="3490410"/>
                  </a:lnTo>
                  <a:lnTo>
                    <a:pt x="4737921" y="3489526"/>
                  </a:lnTo>
                  <a:lnTo>
                    <a:pt x="4737067" y="3491399"/>
                  </a:lnTo>
                  <a:lnTo>
                    <a:pt x="4735638" y="3492260"/>
                  </a:lnTo>
                  <a:lnTo>
                    <a:pt x="4734139" y="3492845"/>
                  </a:lnTo>
                  <a:lnTo>
                    <a:pt x="4733091" y="3493890"/>
                  </a:lnTo>
                  <a:lnTo>
                    <a:pt x="4734804" y="3494231"/>
                  </a:lnTo>
                  <a:lnTo>
                    <a:pt x="4735677" y="3494233"/>
                  </a:lnTo>
                  <a:lnTo>
                    <a:pt x="4737663" y="3493077"/>
                  </a:lnTo>
                  <a:lnTo>
                    <a:pt x="4738889" y="3492696"/>
                  </a:lnTo>
                  <a:lnTo>
                    <a:pt x="4740396" y="3492651"/>
                  </a:lnTo>
                  <a:lnTo>
                    <a:pt x="4741964" y="3492865"/>
                  </a:lnTo>
                  <a:lnTo>
                    <a:pt x="4743364" y="3493235"/>
                  </a:lnTo>
                  <a:lnTo>
                    <a:pt x="4740209" y="3498816"/>
                  </a:lnTo>
                  <a:lnTo>
                    <a:pt x="4737281" y="3501183"/>
                  </a:lnTo>
                  <a:lnTo>
                    <a:pt x="4736302" y="3502582"/>
                  </a:lnTo>
                  <a:lnTo>
                    <a:pt x="4736002" y="3504326"/>
                  </a:lnTo>
                  <a:lnTo>
                    <a:pt x="4736461" y="3506495"/>
                  </a:lnTo>
                  <a:lnTo>
                    <a:pt x="4736674" y="3505044"/>
                  </a:lnTo>
                  <a:lnTo>
                    <a:pt x="4737293" y="3503601"/>
                  </a:lnTo>
                  <a:lnTo>
                    <a:pt x="4738266" y="3502762"/>
                  </a:lnTo>
                  <a:lnTo>
                    <a:pt x="4739519" y="3503146"/>
                  </a:lnTo>
                  <a:lnTo>
                    <a:pt x="4740150" y="3506292"/>
                  </a:lnTo>
                  <a:lnTo>
                    <a:pt x="4740697" y="3507754"/>
                  </a:lnTo>
                  <a:lnTo>
                    <a:pt x="4741106" y="3506879"/>
                  </a:lnTo>
                  <a:lnTo>
                    <a:pt x="4741106" y="3503472"/>
                  </a:lnTo>
                  <a:lnTo>
                    <a:pt x="4741496" y="3501985"/>
                  </a:lnTo>
                  <a:lnTo>
                    <a:pt x="4742657" y="3501753"/>
                  </a:lnTo>
                  <a:lnTo>
                    <a:pt x="4745221" y="3502973"/>
                  </a:lnTo>
                  <a:lnTo>
                    <a:pt x="4746186" y="3502790"/>
                  </a:lnTo>
                  <a:lnTo>
                    <a:pt x="4746130" y="3501018"/>
                  </a:lnTo>
                  <a:lnTo>
                    <a:pt x="4744759" y="3501199"/>
                  </a:lnTo>
                  <a:lnTo>
                    <a:pt x="4743754" y="3500624"/>
                  </a:lnTo>
                  <a:lnTo>
                    <a:pt x="4743182" y="3499505"/>
                  </a:lnTo>
                  <a:lnTo>
                    <a:pt x="4743114" y="3498054"/>
                  </a:lnTo>
                  <a:lnTo>
                    <a:pt x="4743639" y="3497488"/>
                  </a:lnTo>
                  <a:lnTo>
                    <a:pt x="4744673" y="3497002"/>
                  </a:lnTo>
                  <a:lnTo>
                    <a:pt x="4745660" y="3496299"/>
                  </a:lnTo>
                  <a:lnTo>
                    <a:pt x="4746040" y="3495039"/>
                  </a:lnTo>
                  <a:lnTo>
                    <a:pt x="4747087" y="3495000"/>
                  </a:lnTo>
                  <a:lnTo>
                    <a:pt x="4748640" y="3494157"/>
                  </a:lnTo>
                  <a:lnTo>
                    <a:pt x="4749553" y="3493971"/>
                  </a:lnTo>
                  <a:lnTo>
                    <a:pt x="4750362" y="3494170"/>
                  </a:lnTo>
                  <a:lnTo>
                    <a:pt x="4751386" y="3494961"/>
                  </a:lnTo>
                  <a:lnTo>
                    <a:pt x="4751964" y="3495148"/>
                  </a:lnTo>
                  <a:lnTo>
                    <a:pt x="4753403" y="3494880"/>
                  </a:lnTo>
                  <a:lnTo>
                    <a:pt x="4754413" y="3494193"/>
                  </a:lnTo>
                  <a:lnTo>
                    <a:pt x="4755340" y="3493329"/>
                  </a:lnTo>
                  <a:lnTo>
                    <a:pt x="4756562" y="3492524"/>
                  </a:lnTo>
                  <a:lnTo>
                    <a:pt x="4756327" y="3496610"/>
                  </a:lnTo>
                  <a:lnTo>
                    <a:pt x="4756677" y="3498409"/>
                  </a:lnTo>
                  <a:lnTo>
                    <a:pt x="4758068" y="3498478"/>
                  </a:lnTo>
                  <a:lnTo>
                    <a:pt x="4759284" y="3496981"/>
                  </a:lnTo>
                  <a:lnTo>
                    <a:pt x="4760249" y="3492912"/>
                  </a:lnTo>
                  <a:lnTo>
                    <a:pt x="4761080" y="3491639"/>
                  </a:lnTo>
                  <a:lnTo>
                    <a:pt x="4762107" y="3490573"/>
                  </a:lnTo>
                  <a:lnTo>
                    <a:pt x="4763174" y="3488804"/>
                  </a:lnTo>
                  <a:lnTo>
                    <a:pt x="4763641" y="3487144"/>
                  </a:lnTo>
                  <a:lnTo>
                    <a:pt x="4762569" y="3486611"/>
                  </a:lnTo>
                  <a:lnTo>
                    <a:pt x="4761863" y="3487321"/>
                  </a:lnTo>
                  <a:lnTo>
                    <a:pt x="4760687" y="3488614"/>
                  </a:lnTo>
                  <a:lnTo>
                    <a:pt x="4759202" y="3491943"/>
                  </a:lnTo>
                  <a:lnTo>
                    <a:pt x="4759729" y="3488666"/>
                  </a:lnTo>
                  <a:lnTo>
                    <a:pt x="4768220" y="3480715"/>
                  </a:lnTo>
                  <a:lnTo>
                    <a:pt x="4777007" y="3462594"/>
                  </a:lnTo>
                  <a:lnTo>
                    <a:pt x="4778977" y="3454552"/>
                  </a:lnTo>
                  <a:lnTo>
                    <a:pt x="4780685" y="3451201"/>
                  </a:lnTo>
                  <a:lnTo>
                    <a:pt x="4781938" y="3449552"/>
                  </a:lnTo>
                  <a:lnTo>
                    <a:pt x="4782792" y="3449073"/>
                  </a:lnTo>
                  <a:lnTo>
                    <a:pt x="4783884" y="3449335"/>
                  </a:lnTo>
                  <a:lnTo>
                    <a:pt x="4784591" y="3450197"/>
                  </a:lnTo>
                  <a:lnTo>
                    <a:pt x="4784370" y="3451092"/>
                  </a:lnTo>
                  <a:lnTo>
                    <a:pt x="4783945" y="3452055"/>
                  </a:lnTo>
                  <a:lnTo>
                    <a:pt x="4784046" y="3453139"/>
                  </a:lnTo>
                  <a:lnTo>
                    <a:pt x="4785181" y="3455084"/>
                  </a:lnTo>
                  <a:lnTo>
                    <a:pt x="4788056" y="3458799"/>
                  </a:lnTo>
                  <a:lnTo>
                    <a:pt x="4791917" y="3462720"/>
                  </a:lnTo>
                  <a:lnTo>
                    <a:pt x="4792849" y="3464263"/>
                  </a:lnTo>
                  <a:lnTo>
                    <a:pt x="4793197" y="3466233"/>
                  </a:lnTo>
                  <a:lnTo>
                    <a:pt x="4794932" y="3466603"/>
                  </a:lnTo>
                  <a:lnTo>
                    <a:pt x="4798143" y="3466165"/>
                  </a:lnTo>
                  <a:lnTo>
                    <a:pt x="4799562" y="3466406"/>
                  </a:lnTo>
                  <a:lnTo>
                    <a:pt x="4801210" y="3467097"/>
                  </a:lnTo>
                  <a:lnTo>
                    <a:pt x="4802316" y="3467276"/>
                  </a:lnTo>
                  <a:lnTo>
                    <a:pt x="4808160" y="3467031"/>
                  </a:lnTo>
                  <a:lnTo>
                    <a:pt x="4809572" y="3466739"/>
                  </a:lnTo>
                  <a:lnTo>
                    <a:pt x="4811203" y="3465974"/>
                  </a:lnTo>
                  <a:lnTo>
                    <a:pt x="4812031" y="3464874"/>
                  </a:lnTo>
                  <a:lnTo>
                    <a:pt x="4812430" y="3463473"/>
                  </a:lnTo>
                  <a:lnTo>
                    <a:pt x="4813007" y="3462428"/>
                  </a:lnTo>
                  <a:lnTo>
                    <a:pt x="4814381" y="3462386"/>
                  </a:lnTo>
                  <a:lnTo>
                    <a:pt x="4813893" y="3462591"/>
                  </a:lnTo>
                  <a:lnTo>
                    <a:pt x="4812955" y="3463379"/>
                  </a:lnTo>
                  <a:lnTo>
                    <a:pt x="4813355" y="3464069"/>
                  </a:lnTo>
                  <a:lnTo>
                    <a:pt x="4814140" y="3464297"/>
                  </a:lnTo>
                  <a:lnTo>
                    <a:pt x="4815855" y="3464165"/>
                  </a:lnTo>
                  <a:lnTo>
                    <a:pt x="4815511" y="3463346"/>
                  </a:lnTo>
                  <a:lnTo>
                    <a:pt x="4815269" y="3462332"/>
                  </a:lnTo>
                  <a:lnTo>
                    <a:pt x="4815259" y="3461397"/>
                  </a:lnTo>
                  <a:lnTo>
                    <a:pt x="4815620" y="3460795"/>
                  </a:lnTo>
                  <a:lnTo>
                    <a:pt x="4816328" y="3459979"/>
                  </a:lnTo>
                  <a:lnTo>
                    <a:pt x="4816301" y="3459013"/>
                  </a:lnTo>
                  <a:lnTo>
                    <a:pt x="4815993" y="3457941"/>
                  </a:lnTo>
                  <a:lnTo>
                    <a:pt x="4815876" y="3456817"/>
                  </a:lnTo>
                  <a:lnTo>
                    <a:pt x="4816453" y="3455095"/>
                  </a:lnTo>
                  <a:lnTo>
                    <a:pt x="4817573" y="3453778"/>
                  </a:lnTo>
                  <a:lnTo>
                    <a:pt x="4820426" y="3451865"/>
                  </a:lnTo>
                  <a:lnTo>
                    <a:pt x="4822262" y="3451730"/>
                  </a:lnTo>
                  <a:lnTo>
                    <a:pt x="4826142" y="3453619"/>
                  </a:lnTo>
                  <a:lnTo>
                    <a:pt x="4827831" y="3453570"/>
                  </a:lnTo>
                  <a:lnTo>
                    <a:pt x="4829473" y="3453804"/>
                  </a:lnTo>
                  <a:lnTo>
                    <a:pt x="4831570" y="3455223"/>
                  </a:lnTo>
                  <a:lnTo>
                    <a:pt x="4834094" y="3457588"/>
                  </a:lnTo>
                  <a:lnTo>
                    <a:pt x="4834968" y="3457457"/>
                  </a:lnTo>
                  <a:lnTo>
                    <a:pt x="4835850" y="3457896"/>
                  </a:lnTo>
                  <a:lnTo>
                    <a:pt x="4837561" y="3459047"/>
                  </a:lnTo>
                  <a:lnTo>
                    <a:pt x="4839097" y="3459491"/>
                  </a:lnTo>
                  <a:lnTo>
                    <a:pt x="4844648" y="3459987"/>
                  </a:lnTo>
                  <a:lnTo>
                    <a:pt x="4845939" y="3459791"/>
                  </a:lnTo>
                  <a:lnTo>
                    <a:pt x="4846354" y="3459410"/>
                  </a:lnTo>
                  <a:lnTo>
                    <a:pt x="4846659" y="3459557"/>
                  </a:lnTo>
                  <a:lnTo>
                    <a:pt x="4847567" y="3460903"/>
                  </a:lnTo>
                  <a:lnTo>
                    <a:pt x="4848601" y="3463158"/>
                  </a:lnTo>
                  <a:lnTo>
                    <a:pt x="4848580" y="3465048"/>
                  </a:lnTo>
                  <a:lnTo>
                    <a:pt x="4847826" y="3466719"/>
                  </a:lnTo>
                  <a:lnTo>
                    <a:pt x="4843674" y="3472976"/>
                  </a:lnTo>
                  <a:lnTo>
                    <a:pt x="4842583" y="3474198"/>
                  </a:lnTo>
                  <a:lnTo>
                    <a:pt x="4841870" y="3473059"/>
                  </a:lnTo>
                  <a:lnTo>
                    <a:pt x="4841104" y="3473919"/>
                  </a:lnTo>
                  <a:lnTo>
                    <a:pt x="4840467" y="3475618"/>
                  </a:lnTo>
                  <a:lnTo>
                    <a:pt x="4840136" y="3476942"/>
                  </a:lnTo>
                  <a:lnTo>
                    <a:pt x="4839647" y="3478061"/>
                  </a:lnTo>
                  <a:lnTo>
                    <a:pt x="4837007" y="3481796"/>
                  </a:lnTo>
                  <a:lnTo>
                    <a:pt x="4839413" y="3482874"/>
                  </a:lnTo>
                  <a:lnTo>
                    <a:pt x="4840407" y="3482977"/>
                  </a:lnTo>
                  <a:lnTo>
                    <a:pt x="4860995" y="3470095"/>
                  </a:lnTo>
                  <a:lnTo>
                    <a:pt x="4862245" y="3469612"/>
                  </a:lnTo>
                  <a:lnTo>
                    <a:pt x="4865234" y="3469012"/>
                  </a:lnTo>
                  <a:lnTo>
                    <a:pt x="4871225" y="3466613"/>
                  </a:lnTo>
                  <a:lnTo>
                    <a:pt x="4872653" y="3466616"/>
                  </a:lnTo>
                  <a:lnTo>
                    <a:pt x="4874027" y="3467361"/>
                  </a:lnTo>
                  <a:lnTo>
                    <a:pt x="4874683" y="3468498"/>
                  </a:lnTo>
                  <a:lnTo>
                    <a:pt x="4875242" y="3469868"/>
                  </a:lnTo>
                  <a:lnTo>
                    <a:pt x="4876348" y="3471300"/>
                  </a:lnTo>
                  <a:lnTo>
                    <a:pt x="4875410" y="3471906"/>
                  </a:lnTo>
                  <a:lnTo>
                    <a:pt x="4874849" y="3471524"/>
                  </a:lnTo>
                  <a:lnTo>
                    <a:pt x="4874318" y="3470795"/>
                  </a:lnTo>
                  <a:lnTo>
                    <a:pt x="4873490" y="3470430"/>
                  </a:lnTo>
                  <a:lnTo>
                    <a:pt x="4872657" y="3470664"/>
                  </a:lnTo>
                  <a:lnTo>
                    <a:pt x="4872015" y="3471123"/>
                  </a:lnTo>
                  <a:lnTo>
                    <a:pt x="4871326" y="3471455"/>
                  </a:lnTo>
                  <a:lnTo>
                    <a:pt x="4870393" y="3471348"/>
                  </a:lnTo>
                  <a:lnTo>
                    <a:pt x="4871681" y="3472382"/>
                  </a:lnTo>
                  <a:lnTo>
                    <a:pt x="4872374" y="3472828"/>
                  </a:lnTo>
                  <a:lnTo>
                    <a:pt x="4873178" y="3473208"/>
                  </a:lnTo>
                  <a:lnTo>
                    <a:pt x="4873112" y="3474337"/>
                  </a:lnTo>
                  <a:lnTo>
                    <a:pt x="4872742" y="3474832"/>
                  </a:lnTo>
                  <a:lnTo>
                    <a:pt x="4872297" y="3475228"/>
                  </a:lnTo>
                  <a:lnTo>
                    <a:pt x="4872004" y="3476062"/>
                  </a:lnTo>
                  <a:lnTo>
                    <a:pt x="4872104" y="3477276"/>
                  </a:lnTo>
                  <a:lnTo>
                    <a:pt x="4872327" y="3478220"/>
                  </a:lnTo>
                  <a:lnTo>
                    <a:pt x="4872082" y="3478804"/>
                  </a:lnTo>
                  <a:lnTo>
                    <a:pt x="4870795" y="3478945"/>
                  </a:lnTo>
                  <a:lnTo>
                    <a:pt x="4871975" y="3479952"/>
                  </a:lnTo>
                  <a:lnTo>
                    <a:pt x="4869281" y="3482893"/>
                  </a:lnTo>
                  <a:lnTo>
                    <a:pt x="4867744" y="3483239"/>
                  </a:lnTo>
                  <a:lnTo>
                    <a:pt x="4865844" y="3481913"/>
                  </a:lnTo>
                  <a:lnTo>
                    <a:pt x="4866186" y="3480764"/>
                  </a:lnTo>
                  <a:lnTo>
                    <a:pt x="4866371" y="3479668"/>
                  </a:lnTo>
                  <a:lnTo>
                    <a:pt x="4866411" y="3478535"/>
                  </a:lnTo>
                  <a:lnTo>
                    <a:pt x="4866340" y="3477314"/>
                  </a:lnTo>
                  <a:lnTo>
                    <a:pt x="4863746" y="3479874"/>
                  </a:lnTo>
                  <a:lnTo>
                    <a:pt x="4863361" y="3480812"/>
                  </a:lnTo>
                  <a:lnTo>
                    <a:pt x="4863816" y="3482500"/>
                  </a:lnTo>
                  <a:lnTo>
                    <a:pt x="4865776" y="3484704"/>
                  </a:lnTo>
                  <a:lnTo>
                    <a:pt x="4866162" y="3486105"/>
                  </a:lnTo>
                  <a:lnTo>
                    <a:pt x="4865245" y="3485935"/>
                  </a:lnTo>
                  <a:lnTo>
                    <a:pt x="4864638" y="3485420"/>
                  </a:lnTo>
                  <a:lnTo>
                    <a:pt x="4864128" y="3484766"/>
                  </a:lnTo>
                  <a:lnTo>
                    <a:pt x="4863061" y="3483865"/>
                  </a:lnTo>
                  <a:lnTo>
                    <a:pt x="4862026" y="3483160"/>
                  </a:lnTo>
                  <a:lnTo>
                    <a:pt x="4861139" y="3482776"/>
                  </a:lnTo>
                  <a:lnTo>
                    <a:pt x="4861164" y="3483428"/>
                  </a:lnTo>
                  <a:lnTo>
                    <a:pt x="4859568" y="3485418"/>
                  </a:lnTo>
                  <a:lnTo>
                    <a:pt x="4858450" y="3486125"/>
                  </a:lnTo>
                  <a:lnTo>
                    <a:pt x="4857854" y="3484973"/>
                  </a:lnTo>
                  <a:lnTo>
                    <a:pt x="4856668" y="3485316"/>
                  </a:lnTo>
                  <a:lnTo>
                    <a:pt x="4855634" y="3486701"/>
                  </a:lnTo>
                  <a:lnTo>
                    <a:pt x="4854306" y="3489660"/>
                  </a:lnTo>
                  <a:lnTo>
                    <a:pt x="4853727" y="3491683"/>
                  </a:lnTo>
                  <a:lnTo>
                    <a:pt x="4853575" y="3493802"/>
                  </a:lnTo>
                  <a:lnTo>
                    <a:pt x="4854192" y="3494900"/>
                  </a:lnTo>
                  <a:lnTo>
                    <a:pt x="4855910" y="3493858"/>
                  </a:lnTo>
                  <a:lnTo>
                    <a:pt x="4855460" y="3495653"/>
                  </a:lnTo>
                  <a:lnTo>
                    <a:pt x="4854813" y="3497143"/>
                  </a:lnTo>
                  <a:lnTo>
                    <a:pt x="4853869" y="3498369"/>
                  </a:lnTo>
                  <a:lnTo>
                    <a:pt x="4842765" y="3507004"/>
                  </a:lnTo>
                  <a:lnTo>
                    <a:pt x="4839734" y="3508351"/>
                  </a:lnTo>
                  <a:lnTo>
                    <a:pt x="4836550" y="3507109"/>
                  </a:lnTo>
                  <a:lnTo>
                    <a:pt x="4836969" y="3509196"/>
                  </a:lnTo>
                  <a:lnTo>
                    <a:pt x="4835370" y="3509243"/>
                  </a:lnTo>
                  <a:lnTo>
                    <a:pt x="4833380" y="3508982"/>
                  </a:lnTo>
                  <a:lnTo>
                    <a:pt x="4832664" y="3510167"/>
                  </a:lnTo>
                  <a:lnTo>
                    <a:pt x="4834149" y="3510215"/>
                  </a:lnTo>
                  <a:lnTo>
                    <a:pt x="4836083" y="3510661"/>
                  </a:lnTo>
                  <a:lnTo>
                    <a:pt x="4837955" y="3511405"/>
                  </a:lnTo>
                  <a:lnTo>
                    <a:pt x="4839283" y="3512356"/>
                  </a:lnTo>
                  <a:lnTo>
                    <a:pt x="4838584" y="3512674"/>
                  </a:lnTo>
                  <a:lnTo>
                    <a:pt x="4838066" y="3513133"/>
                  </a:lnTo>
                  <a:lnTo>
                    <a:pt x="4837263" y="3514318"/>
                  </a:lnTo>
                  <a:lnTo>
                    <a:pt x="4840646" y="3514975"/>
                  </a:lnTo>
                  <a:lnTo>
                    <a:pt x="4840959" y="3515577"/>
                  </a:lnTo>
                  <a:lnTo>
                    <a:pt x="4838383" y="3516944"/>
                  </a:lnTo>
                  <a:lnTo>
                    <a:pt x="4837052" y="3517358"/>
                  </a:lnTo>
                  <a:lnTo>
                    <a:pt x="4836260" y="3517087"/>
                  </a:lnTo>
                  <a:lnTo>
                    <a:pt x="4835642" y="3516225"/>
                  </a:lnTo>
                  <a:lnTo>
                    <a:pt x="4835342" y="3516375"/>
                  </a:lnTo>
                  <a:lnTo>
                    <a:pt x="4835201" y="3517244"/>
                  </a:lnTo>
                  <a:lnTo>
                    <a:pt x="4832456" y="3518853"/>
                  </a:lnTo>
                  <a:lnTo>
                    <a:pt x="4832922" y="3519437"/>
                  </a:lnTo>
                  <a:lnTo>
                    <a:pt x="4833157" y="3519973"/>
                  </a:lnTo>
                  <a:lnTo>
                    <a:pt x="4833304" y="3520448"/>
                  </a:lnTo>
                  <a:lnTo>
                    <a:pt x="4833506" y="3520880"/>
                  </a:lnTo>
                  <a:lnTo>
                    <a:pt x="4831214" y="3520661"/>
                  </a:lnTo>
                  <a:lnTo>
                    <a:pt x="4828886" y="3520947"/>
                  </a:lnTo>
                  <a:lnTo>
                    <a:pt x="4827938" y="3521740"/>
                  </a:lnTo>
                  <a:lnTo>
                    <a:pt x="4829804" y="3523046"/>
                  </a:lnTo>
                  <a:lnTo>
                    <a:pt x="4829200" y="3523644"/>
                  </a:lnTo>
                  <a:lnTo>
                    <a:pt x="4827482" y="3524361"/>
                  </a:lnTo>
                  <a:lnTo>
                    <a:pt x="4826603" y="3524915"/>
                  </a:lnTo>
                  <a:lnTo>
                    <a:pt x="4826943" y="3525573"/>
                  </a:lnTo>
                  <a:lnTo>
                    <a:pt x="4827645" y="3525489"/>
                  </a:lnTo>
                  <a:lnTo>
                    <a:pt x="4828558" y="3525701"/>
                  </a:lnTo>
                  <a:lnTo>
                    <a:pt x="4829341" y="3526294"/>
                  </a:lnTo>
                  <a:lnTo>
                    <a:pt x="4829640" y="3527342"/>
                  </a:lnTo>
                  <a:lnTo>
                    <a:pt x="4829135" y="3527836"/>
                  </a:lnTo>
                  <a:lnTo>
                    <a:pt x="4826512" y="3528311"/>
                  </a:lnTo>
                  <a:lnTo>
                    <a:pt x="4826434" y="3529213"/>
                  </a:lnTo>
                  <a:lnTo>
                    <a:pt x="4827330" y="3530219"/>
                  </a:lnTo>
                  <a:lnTo>
                    <a:pt x="4826531" y="3531123"/>
                  </a:lnTo>
                  <a:lnTo>
                    <a:pt x="4824779" y="3531379"/>
                  </a:lnTo>
                  <a:lnTo>
                    <a:pt x="4822839" y="3530450"/>
                  </a:lnTo>
                  <a:lnTo>
                    <a:pt x="4823410" y="3532634"/>
                  </a:lnTo>
                  <a:lnTo>
                    <a:pt x="4823843" y="3533441"/>
                  </a:lnTo>
                  <a:lnTo>
                    <a:pt x="4822036" y="3533010"/>
                  </a:lnTo>
                  <a:lnTo>
                    <a:pt x="4820964" y="3533688"/>
                  </a:lnTo>
                  <a:lnTo>
                    <a:pt x="4820440" y="3535184"/>
                  </a:lnTo>
                  <a:lnTo>
                    <a:pt x="4820305" y="3537207"/>
                  </a:lnTo>
                  <a:lnTo>
                    <a:pt x="4819923" y="3536756"/>
                  </a:lnTo>
                  <a:lnTo>
                    <a:pt x="4819558" y="3536419"/>
                  </a:lnTo>
                  <a:lnTo>
                    <a:pt x="4819197" y="3536028"/>
                  </a:lnTo>
                  <a:lnTo>
                    <a:pt x="4818838" y="3535411"/>
                  </a:lnTo>
                  <a:lnTo>
                    <a:pt x="4818463" y="3536382"/>
                  </a:lnTo>
                  <a:lnTo>
                    <a:pt x="4818182" y="3537390"/>
                  </a:lnTo>
                  <a:lnTo>
                    <a:pt x="4817823" y="3538320"/>
                  </a:lnTo>
                  <a:lnTo>
                    <a:pt x="4817169" y="3539025"/>
                  </a:lnTo>
                  <a:lnTo>
                    <a:pt x="4818585" y="3539069"/>
                  </a:lnTo>
                  <a:lnTo>
                    <a:pt x="4823168" y="3538028"/>
                  </a:lnTo>
                  <a:lnTo>
                    <a:pt x="4822615" y="3539123"/>
                  </a:lnTo>
                  <a:lnTo>
                    <a:pt x="4821733" y="3539899"/>
                  </a:lnTo>
                  <a:lnTo>
                    <a:pt x="4820641" y="3540279"/>
                  </a:lnTo>
                  <a:lnTo>
                    <a:pt x="4819449" y="3540186"/>
                  </a:lnTo>
                  <a:lnTo>
                    <a:pt x="4819151" y="3541448"/>
                  </a:lnTo>
                  <a:lnTo>
                    <a:pt x="4818457" y="3542714"/>
                  </a:lnTo>
                  <a:lnTo>
                    <a:pt x="4817513" y="3543576"/>
                  </a:lnTo>
                  <a:lnTo>
                    <a:pt x="4816448" y="3543633"/>
                  </a:lnTo>
                  <a:lnTo>
                    <a:pt x="4815844" y="3544481"/>
                  </a:lnTo>
                  <a:lnTo>
                    <a:pt x="4814619" y="3545657"/>
                  </a:lnTo>
                  <a:lnTo>
                    <a:pt x="4813328" y="3546514"/>
                  </a:lnTo>
                  <a:lnTo>
                    <a:pt x="4812487" y="3546379"/>
                  </a:lnTo>
                  <a:lnTo>
                    <a:pt x="4812140" y="3546407"/>
                  </a:lnTo>
                  <a:lnTo>
                    <a:pt x="4811351" y="3548702"/>
                  </a:lnTo>
                  <a:lnTo>
                    <a:pt x="4810813" y="3549520"/>
                  </a:lnTo>
                  <a:lnTo>
                    <a:pt x="4807374" y="3551134"/>
                  </a:lnTo>
                  <a:lnTo>
                    <a:pt x="4806329" y="3552645"/>
                  </a:lnTo>
                  <a:lnTo>
                    <a:pt x="4806390" y="3555472"/>
                  </a:lnTo>
                  <a:lnTo>
                    <a:pt x="4805524" y="3555041"/>
                  </a:lnTo>
                  <a:lnTo>
                    <a:pt x="4805150" y="3556413"/>
                  </a:lnTo>
                  <a:lnTo>
                    <a:pt x="4804413" y="3557729"/>
                  </a:lnTo>
                  <a:lnTo>
                    <a:pt x="4803491" y="3558572"/>
                  </a:lnTo>
                  <a:lnTo>
                    <a:pt x="4802572" y="3558511"/>
                  </a:lnTo>
                  <a:lnTo>
                    <a:pt x="4802072" y="3558798"/>
                  </a:lnTo>
                  <a:lnTo>
                    <a:pt x="4802219" y="3559271"/>
                  </a:lnTo>
                  <a:lnTo>
                    <a:pt x="4802248" y="3559610"/>
                  </a:lnTo>
                  <a:lnTo>
                    <a:pt x="4802238" y="3559930"/>
                  </a:lnTo>
                  <a:lnTo>
                    <a:pt x="4802279" y="3560383"/>
                  </a:lnTo>
                  <a:lnTo>
                    <a:pt x="4802647" y="3560589"/>
                  </a:lnTo>
                  <a:lnTo>
                    <a:pt x="4802808" y="3560739"/>
                  </a:lnTo>
                  <a:lnTo>
                    <a:pt x="4803411" y="3561439"/>
                  </a:lnTo>
                  <a:lnTo>
                    <a:pt x="4801570" y="3561590"/>
                  </a:lnTo>
                  <a:lnTo>
                    <a:pt x="4800093" y="3561463"/>
                  </a:lnTo>
                  <a:lnTo>
                    <a:pt x="4798992" y="3562057"/>
                  </a:lnTo>
                  <a:lnTo>
                    <a:pt x="4798288" y="3564371"/>
                  </a:lnTo>
                  <a:lnTo>
                    <a:pt x="4798741" y="3564487"/>
                  </a:lnTo>
                  <a:lnTo>
                    <a:pt x="4799359" y="3564894"/>
                  </a:lnTo>
                  <a:lnTo>
                    <a:pt x="4799924" y="3565139"/>
                  </a:lnTo>
                  <a:lnTo>
                    <a:pt x="4798732" y="3566195"/>
                  </a:lnTo>
                  <a:lnTo>
                    <a:pt x="4798072" y="3567784"/>
                  </a:lnTo>
                  <a:lnTo>
                    <a:pt x="4798110" y="3569672"/>
                  </a:lnTo>
                  <a:lnTo>
                    <a:pt x="4799022" y="3571603"/>
                  </a:lnTo>
                  <a:lnTo>
                    <a:pt x="4797366" y="3571565"/>
                  </a:lnTo>
                  <a:lnTo>
                    <a:pt x="4796125" y="3570080"/>
                  </a:lnTo>
                  <a:lnTo>
                    <a:pt x="4795038" y="3567990"/>
                  </a:lnTo>
                  <a:lnTo>
                    <a:pt x="4793868" y="3566124"/>
                  </a:lnTo>
                  <a:lnTo>
                    <a:pt x="4793832" y="3568596"/>
                  </a:lnTo>
                  <a:lnTo>
                    <a:pt x="4793581" y="3570983"/>
                  </a:lnTo>
                  <a:lnTo>
                    <a:pt x="4792596" y="3572481"/>
                  </a:lnTo>
                  <a:lnTo>
                    <a:pt x="4790370" y="3572289"/>
                  </a:lnTo>
                  <a:lnTo>
                    <a:pt x="4790735" y="3575483"/>
                  </a:lnTo>
                  <a:lnTo>
                    <a:pt x="4791809" y="3575804"/>
                  </a:lnTo>
                  <a:lnTo>
                    <a:pt x="4792774" y="3576217"/>
                  </a:lnTo>
                  <a:lnTo>
                    <a:pt x="4794750" y="3577431"/>
                  </a:lnTo>
                  <a:lnTo>
                    <a:pt x="4793572" y="3578860"/>
                  </a:lnTo>
                  <a:lnTo>
                    <a:pt x="4790251" y="3576608"/>
                  </a:lnTo>
                  <a:lnTo>
                    <a:pt x="4789124" y="3578088"/>
                  </a:lnTo>
                  <a:lnTo>
                    <a:pt x="4788103" y="3577363"/>
                  </a:lnTo>
                  <a:lnTo>
                    <a:pt x="4787319" y="3578657"/>
                  </a:lnTo>
                  <a:lnTo>
                    <a:pt x="4785897" y="3582457"/>
                  </a:lnTo>
                  <a:lnTo>
                    <a:pt x="4787066" y="3583493"/>
                  </a:lnTo>
                  <a:lnTo>
                    <a:pt x="4784337" y="3583851"/>
                  </a:lnTo>
                  <a:lnTo>
                    <a:pt x="4777131" y="3590036"/>
                  </a:lnTo>
                  <a:lnTo>
                    <a:pt x="4778213" y="3591067"/>
                  </a:lnTo>
                  <a:lnTo>
                    <a:pt x="4778475" y="3592253"/>
                  </a:lnTo>
                  <a:lnTo>
                    <a:pt x="4778118" y="3593337"/>
                  </a:lnTo>
                  <a:lnTo>
                    <a:pt x="4777352" y="3594066"/>
                  </a:lnTo>
                  <a:lnTo>
                    <a:pt x="4778041" y="3594664"/>
                  </a:lnTo>
                  <a:lnTo>
                    <a:pt x="4778753" y="3595009"/>
                  </a:lnTo>
                  <a:lnTo>
                    <a:pt x="4779507" y="3595155"/>
                  </a:lnTo>
                  <a:lnTo>
                    <a:pt x="4780306" y="3595104"/>
                  </a:lnTo>
                  <a:lnTo>
                    <a:pt x="4779297" y="3596814"/>
                  </a:lnTo>
                  <a:lnTo>
                    <a:pt x="4778672" y="3597519"/>
                  </a:lnTo>
                  <a:lnTo>
                    <a:pt x="4777889" y="3598080"/>
                  </a:lnTo>
                  <a:lnTo>
                    <a:pt x="4776986" y="3597821"/>
                  </a:lnTo>
                  <a:lnTo>
                    <a:pt x="4776050" y="3597010"/>
                  </a:lnTo>
                  <a:lnTo>
                    <a:pt x="4775424" y="3596851"/>
                  </a:lnTo>
                  <a:lnTo>
                    <a:pt x="4775445" y="3598606"/>
                  </a:lnTo>
                  <a:lnTo>
                    <a:pt x="4774131" y="3598391"/>
                  </a:lnTo>
                  <a:lnTo>
                    <a:pt x="4772368" y="3598548"/>
                  </a:lnTo>
                  <a:lnTo>
                    <a:pt x="4770791" y="3599180"/>
                  </a:lnTo>
                  <a:lnTo>
                    <a:pt x="4770057" y="3600404"/>
                  </a:lnTo>
                  <a:lnTo>
                    <a:pt x="4768992" y="3602992"/>
                  </a:lnTo>
                  <a:lnTo>
                    <a:pt x="4768146" y="3604262"/>
                  </a:lnTo>
                  <a:lnTo>
                    <a:pt x="4767495" y="3604294"/>
                  </a:lnTo>
                  <a:lnTo>
                    <a:pt x="4767030" y="3603485"/>
                  </a:lnTo>
                  <a:lnTo>
                    <a:pt x="4766676" y="3603078"/>
                  </a:lnTo>
                  <a:lnTo>
                    <a:pt x="4766328" y="3602769"/>
                  </a:lnTo>
                  <a:lnTo>
                    <a:pt x="4765894" y="3602266"/>
                  </a:lnTo>
                  <a:lnTo>
                    <a:pt x="4764621" y="3599509"/>
                  </a:lnTo>
                  <a:lnTo>
                    <a:pt x="4764255" y="3598958"/>
                  </a:lnTo>
                  <a:lnTo>
                    <a:pt x="4762945" y="3598874"/>
                  </a:lnTo>
                  <a:lnTo>
                    <a:pt x="4761567" y="3601100"/>
                  </a:lnTo>
                  <a:lnTo>
                    <a:pt x="4760202" y="3600376"/>
                  </a:lnTo>
                  <a:lnTo>
                    <a:pt x="4760871" y="3601857"/>
                  </a:lnTo>
                  <a:lnTo>
                    <a:pt x="4762100" y="3602752"/>
                  </a:lnTo>
                  <a:lnTo>
                    <a:pt x="4765241" y="3603941"/>
                  </a:lnTo>
                  <a:lnTo>
                    <a:pt x="4766490" y="3605238"/>
                  </a:lnTo>
                  <a:lnTo>
                    <a:pt x="4766447" y="3606965"/>
                  </a:lnTo>
                  <a:lnTo>
                    <a:pt x="4765144" y="3610373"/>
                  </a:lnTo>
                  <a:lnTo>
                    <a:pt x="4764209" y="3609233"/>
                  </a:lnTo>
                  <a:lnTo>
                    <a:pt x="4763538" y="3607623"/>
                  </a:lnTo>
                  <a:lnTo>
                    <a:pt x="4762786" y="3606390"/>
                  </a:lnTo>
                  <a:lnTo>
                    <a:pt x="4761638" y="3606335"/>
                  </a:lnTo>
                  <a:lnTo>
                    <a:pt x="4760028" y="3606548"/>
                  </a:lnTo>
                  <a:lnTo>
                    <a:pt x="4758947" y="3605478"/>
                  </a:lnTo>
                  <a:lnTo>
                    <a:pt x="4757573" y="3602266"/>
                  </a:lnTo>
                  <a:lnTo>
                    <a:pt x="4756919" y="3601492"/>
                  </a:lnTo>
                  <a:lnTo>
                    <a:pt x="4756121" y="3601211"/>
                  </a:lnTo>
                  <a:lnTo>
                    <a:pt x="4755457" y="3601480"/>
                  </a:lnTo>
                  <a:lnTo>
                    <a:pt x="4755177" y="3602331"/>
                  </a:lnTo>
                  <a:lnTo>
                    <a:pt x="4755478" y="3602526"/>
                  </a:lnTo>
                  <a:lnTo>
                    <a:pt x="4757242" y="3605326"/>
                  </a:lnTo>
                  <a:lnTo>
                    <a:pt x="4757823" y="3607071"/>
                  </a:lnTo>
                  <a:lnTo>
                    <a:pt x="4758285" y="3610288"/>
                  </a:lnTo>
                  <a:lnTo>
                    <a:pt x="4758889" y="3612166"/>
                  </a:lnTo>
                  <a:lnTo>
                    <a:pt x="4757652" y="3612030"/>
                  </a:lnTo>
                  <a:lnTo>
                    <a:pt x="4756719" y="3611295"/>
                  </a:lnTo>
                  <a:lnTo>
                    <a:pt x="4756140" y="3610132"/>
                  </a:lnTo>
                  <a:lnTo>
                    <a:pt x="4755954" y="3608735"/>
                  </a:lnTo>
                  <a:lnTo>
                    <a:pt x="4755110" y="3610287"/>
                  </a:lnTo>
                  <a:lnTo>
                    <a:pt x="4755837" y="3613521"/>
                  </a:lnTo>
                  <a:lnTo>
                    <a:pt x="4754939" y="3615126"/>
                  </a:lnTo>
                  <a:lnTo>
                    <a:pt x="4754230" y="3615702"/>
                  </a:lnTo>
                  <a:lnTo>
                    <a:pt x="4754133" y="3615534"/>
                  </a:lnTo>
                  <a:lnTo>
                    <a:pt x="4753964" y="3614787"/>
                  </a:lnTo>
                  <a:lnTo>
                    <a:pt x="4753024" y="3613654"/>
                  </a:lnTo>
                  <a:lnTo>
                    <a:pt x="4750801" y="3611984"/>
                  </a:lnTo>
                  <a:lnTo>
                    <a:pt x="4749997" y="3611118"/>
                  </a:lnTo>
                  <a:lnTo>
                    <a:pt x="4749639" y="3612719"/>
                  </a:lnTo>
                  <a:lnTo>
                    <a:pt x="4750094" y="3614252"/>
                  </a:lnTo>
                  <a:lnTo>
                    <a:pt x="4751086" y="3615412"/>
                  </a:lnTo>
                  <a:lnTo>
                    <a:pt x="4752307" y="3615822"/>
                  </a:lnTo>
                  <a:lnTo>
                    <a:pt x="4752186" y="3617891"/>
                  </a:lnTo>
                  <a:lnTo>
                    <a:pt x="4751415" y="3621927"/>
                  </a:lnTo>
                  <a:lnTo>
                    <a:pt x="4751917" y="3623631"/>
                  </a:lnTo>
                  <a:lnTo>
                    <a:pt x="4749309" y="3623997"/>
                  </a:lnTo>
                  <a:lnTo>
                    <a:pt x="4744043" y="3626040"/>
                  </a:lnTo>
                  <a:lnTo>
                    <a:pt x="4741654" y="3625849"/>
                  </a:lnTo>
                  <a:lnTo>
                    <a:pt x="4742095" y="3624461"/>
                  </a:lnTo>
                  <a:lnTo>
                    <a:pt x="4742392" y="3623996"/>
                  </a:lnTo>
                  <a:lnTo>
                    <a:pt x="4742947" y="3623530"/>
                  </a:lnTo>
                  <a:lnTo>
                    <a:pt x="4741511" y="3622634"/>
                  </a:lnTo>
                  <a:lnTo>
                    <a:pt x="4740244" y="3623221"/>
                  </a:lnTo>
                  <a:lnTo>
                    <a:pt x="4738267" y="3626106"/>
                  </a:lnTo>
                  <a:lnTo>
                    <a:pt x="4740132" y="3626200"/>
                  </a:lnTo>
                  <a:lnTo>
                    <a:pt x="4741633" y="3626735"/>
                  </a:lnTo>
                  <a:lnTo>
                    <a:pt x="4742685" y="3627962"/>
                  </a:lnTo>
                  <a:lnTo>
                    <a:pt x="4743197" y="3630131"/>
                  </a:lnTo>
                  <a:lnTo>
                    <a:pt x="4742838" y="3632477"/>
                  </a:lnTo>
                  <a:lnTo>
                    <a:pt x="4741433" y="3632707"/>
                  </a:lnTo>
                  <a:lnTo>
                    <a:pt x="4739481" y="3632220"/>
                  </a:lnTo>
                  <a:lnTo>
                    <a:pt x="4736631" y="3632464"/>
                  </a:lnTo>
                  <a:lnTo>
                    <a:pt x="4733568" y="3631216"/>
                  </a:lnTo>
                  <a:lnTo>
                    <a:pt x="4730309" y="3630814"/>
                  </a:lnTo>
                  <a:lnTo>
                    <a:pt x="4724021" y="3628418"/>
                  </a:lnTo>
                  <a:lnTo>
                    <a:pt x="4723029" y="3628429"/>
                  </a:lnTo>
                  <a:lnTo>
                    <a:pt x="4721835" y="3629141"/>
                  </a:lnTo>
                  <a:lnTo>
                    <a:pt x="4724096" y="3631505"/>
                  </a:lnTo>
                  <a:lnTo>
                    <a:pt x="4725242" y="3632282"/>
                  </a:lnTo>
                  <a:lnTo>
                    <a:pt x="4726461" y="3632578"/>
                  </a:lnTo>
                  <a:lnTo>
                    <a:pt x="4727031" y="3632427"/>
                  </a:lnTo>
                  <a:lnTo>
                    <a:pt x="4728613" y="3631402"/>
                  </a:lnTo>
                  <a:lnTo>
                    <a:pt x="4729420" y="3631477"/>
                  </a:lnTo>
                  <a:lnTo>
                    <a:pt x="4731217" y="3632744"/>
                  </a:lnTo>
                  <a:lnTo>
                    <a:pt x="4731773" y="3632956"/>
                  </a:lnTo>
                  <a:lnTo>
                    <a:pt x="4732456" y="3633429"/>
                  </a:lnTo>
                  <a:lnTo>
                    <a:pt x="4734993" y="3635972"/>
                  </a:lnTo>
                  <a:lnTo>
                    <a:pt x="4735681" y="3636777"/>
                  </a:lnTo>
                  <a:lnTo>
                    <a:pt x="4736546" y="3638661"/>
                  </a:lnTo>
                  <a:lnTo>
                    <a:pt x="4736987" y="3639993"/>
                  </a:lnTo>
                  <a:lnTo>
                    <a:pt x="4737631" y="3641035"/>
                  </a:lnTo>
                  <a:lnTo>
                    <a:pt x="4740741" y="3643272"/>
                  </a:lnTo>
                  <a:lnTo>
                    <a:pt x="4741409" y="3644741"/>
                  </a:lnTo>
                  <a:lnTo>
                    <a:pt x="4741432" y="3646499"/>
                  </a:lnTo>
                  <a:lnTo>
                    <a:pt x="4741120" y="3648600"/>
                  </a:lnTo>
                  <a:lnTo>
                    <a:pt x="4740879" y="3649092"/>
                  </a:lnTo>
                  <a:lnTo>
                    <a:pt x="4739835" y="3650416"/>
                  </a:lnTo>
                  <a:lnTo>
                    <a:pt x="4739456" y="3650704"/>
                  </a:lnTo>
                  <a:lnTo>
                    <a:pt x="4738673" y="3650450"/>
                  </a:lnTo>
                  <a:lnTo>
                    <a:pt x="4738552" y="3649790"/>
                  </a:lnTo>
                  <a:lnTo>
                    <a:pt x="4738638" y="3649081"/>
                  </a:lnTo>
                  <a:lnTo>
                    <a:pt x="4738489" y="3648707"/>
                  </a:lnTo>
                  <a:lnTo>
                    <a:pt x="4737170" y="3649017"/>
                  </a:lnTo>
                  <a:lnTo>
                    <a:pt x="4737079" y="3650354"/>
                  </a:lnTo>
                  <a:lnTo>
                    <a:pt x="4737369" y="3651905"/>
                  </a:lnTo>
                  <a:lnTo>
                    <a:pt x="4737112" y="3653318"/>
                  </a:lnTo>
                  <a:lnTo>
                    <a:pt x="4737077" y="3654179"/>
                  </a:lnTo>
                  <a:lnTo>
                    <a:pt x="4736842" y="3654939"/>
                  </a:lnTo>
                  <a:lnTo>
                    <a:pt x="4736165" y="3655097"/>
                  </a:lnTo>
                  <a:lnTo>
                    <a:pt x="4735671" y="3654486"/>
                  </a:lnTo>
                  <a:lnTo>
                    <a:pt x="4735583" y="3653452"/>
                  </a:lnTo>
                  <a:lnTo>
                    <a:pt x="4735702" y="3652435"/>
                  </a:lnTo>
                  <a:lnTo>
                    <a:pt x="4735821" y="3651919"/>
                  </a:lnTo>
                  <a:lnTo>
                    <a:pt x="4734578" y="3651842"/>
                  </a:lnTo>
                  <a:lnTo>
                    <a:pt x="4733473" y="3652535"/>
                  </a:lnTo>
                  <a:lnTo>
                    <a:pt x="4731329" y="3654369"/>
                  </a:lnTo>
                  <a:lnTo>
                    <a:pt x="4730882" y="3654883"/>
                  </a:lnTo>
                  <a:lnTo>
                    <a:pt x="4730968" y="3655407"/>
                  </a:lnTo>
                  <a:lnTo>
                    <a:pt x="4730996" y="3655973"/>
                  </a:lnTo>
                  <a:lnTo>
                    <a:pt x="4730382" y="3656567"/>
                  </a:lnTo>
                  <a:lnTo>
                    <a:pt x="4729831" y="3656307"/>
                  </a:lnTo>
                  <a:lnTo>
                    <a:pt x="4729188" y="3655575"/>
                  </a:lnTo>
                  <a:lnTo>
                    <a:pt x="4728616" y="3655206"/>
                  </a:lnTo>
                  <a:lnTo>
                    <a:pt x="4728288" y="3656025"/>
                  </a:lnTo>
                  <a:lnTo>
                    <a:pt x="4727220" y="3656055"/>
                  </a:lnTo>
                  <a:lnTo>
                    <a:pt x="4726265" y="3655704"/>
                  </a:lnTo>
                  <a:lnTo>
                    <a:pt x="4725435" y="3654923"/>
                  </a:lnTo>
                  <a:lnTo>
                    <a:pt x="4724729" y="3653691"/>
                  </a:lnTo>
                  <a:lnTo>
                    <a:pt x="4724593" y="3655110"/>
                  </a:lnTo>
                  <a:lnTo>
                    <a:pt x="4724707" y="3656980"/>
                  </a:lnTo>
                  <a:lnTo>
                    <a:pt x="4724455" y="3658278"/>
                  </a:lnTo>
                  <a:lnTo>
                    <a:pt x="4723204" y="3657946"/>
                  </a:lnTo>
                  <a:lnTo>
                    <a:pt x="4722327" y="3656761"/>
                  </a:lnTo>
                  <a:lnTo>
                    <a:pt x="4722086" y="3655281"/>
                  </a:lnTo>
                  <a:lnTo>
                    <a:pt x="4722073" y="3651771"/>
                  </a:lnTo>
                  <a:lnTo>
                    <a:pt x="4721762" y="3652625"/>
                  </a:lnTo>
                  <a:lnTo>
                    <a:pt x="4721469" y="3654225"/>
                  </a:lnTo>
                  <a:lnTo>
                    <a:pt x="4721148" y="3654794"/>
                  </a:lnTo>
                  <a:lnTo>
                    <a:pt x="4720497" y="3654848"/>
                  </a:lnTo>
                  <a:lnTo>
                    <a:pt x="4719758" y="3654423"/>
                  </a:lnTo>
                  <a:lnTo>
                    <a:pt x="4719023" y="3654331"/>
                  </a:lnTo>
                  <a:lnTo>
                    <a:pt x="4718406" y="3655375"/>
                  </a:lnTo>
                  <a:lnTo>
                    <a:pt x="4718749" y="3655660"/>
                  </a:lnTo>
                  <a:lnTo>
                    <a:pt x="4719538" y="3656508"/>
                  </a:lnTo>
                  <a:lnTo>
                    <a:pt x="4718609" y="3657036"/>
                  </a:lnTo>
                  <a:lnTo>
                    <a:pt x="4717470" y="3658352"/>
                  </a:lnTo>
                  <a:lnTo>
                    <a:pt x="4716589" y="3659019"/>
                  </a:lnTo>
                  <a:lnTo>
                    <a:pt x="4715660" y="3659391"/>
                  </a:lnTo>
                  <a:lnTo>
                    <a:pt x="4714720" y="3659550"/>
                  </a:lnTo>
                  <a:lnTo>
                    <a:pt x="4713829" y="3659472"/>
                  </a:lnTo>
                  <a:lnTo>
                    <a:pt x="4713046" y="3659180"/>
                  </a:lnTo>
                  <a:lnTo>
                    <a:pt x="4711083" y="3657452"/>
                  </a:lnTo>
                  <a:lnTo>
                    <a:pt x="4710190" y="3655445"/>
                  </a:lnTo>
                  <a:lnTo>
                    <a:pt x="4709728" y="3650901"/>
                  </a:lnTo>
                  <a:lnTo>
                    <a:pt x="4708962" y="3650496"/>
                  </a:lnTo>
                  <a:lnTo>
                    <a:pt x="4707007" y="3649033"/>
                  </a:lnTo>
                  <a:lnTo>
                    <a:pt x="4707881" y="3647541"/>
                  </a:lnTo>
                  <a:lnTo>
                    <a:pt x="4708053" y="3646793"/>
                  </a:lnTo>
                  <a:lnTo>
                    <a:pt x="4707939" y="3645924"/>
                  </a:lnTo>
                  <a:lnTo>
                    <a:pt x="4707594" y="3646006"/>
                  </a:lnTo>
                  <a:lnTo>
                    <a:pt x="4706665" y="3645858"/>
                  </a:lnTo>
                  <a:lnTo>
                    <a:pt x="4707671" y="3643024"/>
                  </a:lnTo>
                  <a:lnTo>
                    <a:pt x="4707827" y="3641305"/>
                  </a:lnTo>
                  <a:lnTo>
                    <a:pt x="4707220" y="3639598"/>
                  </a:lnTo>
                  <a:lnTo>
                    <a:pt x="4706553" y="3641518"/>
                  </a:lnTo>
                  <a:lnTo>
                    <a:pt x="4705656" y="3643104"/>
                  </a:lnTo>
                  <a:lnTo>
                    <a:pt x="4702144" y="3647318"/>
                  </a:lnTo>
                  <a:lnTo>
                    <a:pt x="4701396" y="3647782"/>
                  </a:lnTo>
                  <a:lnTo>
                    <a:pt x="4698293" y="3651480"/>
                  </a:lnTo>
                  <a:lnTo>
                    <a:pt x="4697883" y="3652261"/>
                  </a:lnTo>
                  <a:lnTo>
                    <a:pt x="4698887" y="3653318"/>
                  </a:lnTo>
                  <a:lnTo>
                    <a:pt x="4700380" y="3656759"/>
                  </a:lnTo>
                  <a:lnTo>
                    <a:pt x="4701350" y="3657097"/>
                  </a:lnTo>
                  <a:lnTo>
                    <a:pt x="4702857" y="3657360"/>
                  </a:lnTo>
                  <a:lnTo>
                    <a:pt x="4704609" y="3658899"/>
                  </a:lnTo>
                  <a:lnTo>
                    <a:pt x="4707384" y="3662234"/>
                  </a:lnTo>
                  <a:lnTo>
                    <a:pt x="4704791" y="3662246"/>
                  </a:lnTo>
                  <a:lnTo>
                    <a:pt x="4704440" y="3664122"/>
                  </a:lnTo>
                  <a:lnTo>
                    <a:pt x="4704855" y="3666505"/>
                  </a:lnTo>
                  <a:lnTo>
                    <a:pt x="4704538" y="3668023"/>
                  </a:lnTo>
                  <a:lnTo>
                    <a:pt x="4703156" y="3669000"/>
                  </a:lnTo>
                  <a:lnTo>
                    <a:pt x="4702390" y="3669056"/>
                  </a:lnTo>
                  <a:lnTo>
                    <a:pt x="4701150" y="3668514"/>
                  </a:lnTo>
                  <a:lnTo>
                    <a:pt x="4699417" y="3665991"/>
                  </a:lnTo>
                  <a:lnTo>
                    <a:pt x="4699100" y="3665392"/>
                  </a:lnTo>
                  <a:lnTo>
                    <a:pt x="4698737" y="3663671"/>
                  </a:lnTo>
                  <a:lnTo>
                    <a:pt x="4697287" y="3662314"/>
                  </a:lnTo>
                  <a:lnTo>
                    <a:pt x="4695414" y="3661441"/>
                  </a:lnTo>
                  <a:lnTo>
                    <a:pt x="4693777" y="3661161"/>
                  </a:lnTo>
                  <a:lnTo>
                    <a:pt x="4692561" y="3661508"/>
                  </a:lnTo>
                  <a:lnTo>
                    <a:pt x="4691295" y="3662409"/>
                  </a:lnTo>
                  <a:lnTo>
                    <a:pt x="4690751" y="3663797"/>
                  </a:lnTo>
                  <a:lnTo>
                    <a:pt x="4691699" y="3665624"/>
                  </a:lnTo>
                  <a:lnTo>
                    <a:pt x="4691244" y="3667742"/>
                  </a:lnTo>
                  <a:lnTo>
                    <a:pt x="4689174" y="3668020"/>
                  </a:lnTo>
                  <a:lnTo>
                    <a:pt x="4686563" y="3667648"/>
                  </a:lnTo>
                  <a:lnTo>
                    <a:pt x="4684491" y="3667796"/>
                  </a:lnTo>
                  <a:lnTo>
                    <a:pt x="4685062" y="3668115"/>
                  </a:lnTo>
                  <a:lnTo>
                    <a:pt x="4686338" y="3669323"/>
                  </a:lnTo>
                  <a:lnTo>
                    <a:pt x="4685686" y="3670019"/>
                  </a:lnTo>
                  <a:lnTo>
                    <a:pt x="4685924" y="3670700"/>
                  </a:lnTo>
                  <a:lnTo>
                    <a:pt x="4686611" y="3671499"/>
                  </a:lnTo>
                  <a:lnTo>
                    <a:pt x="4687317" y="3672528"/>
                  </a:lnTo>
                  <a:lnTo>
                    <a:pt x="4687712" y="3673842"/>
                  </a:lnTo>
                  <a:lnTo>
                    <a:pt x="4687725" y="3675096"/>
                  </a:lnTo>
                  <a:lnTo>
                    <a:pt x="4687506" y="3676263"/>
                  </a:lnTo>
                  <a:lnTo>
                    <a:pt x="4687198" y="3677294"/>
                  </a:lnTo>
                  <a:lnTo>
                    <a:pt x="4687783" y="3677007"/>
                  </a:lnTo>
                  <a:lnTo>
                    <a:pt x="4689408" y="3676954"/>
                  </a:lnTo>
                  <a:lnTo>
                    <a:pt x="4688823" y="3677863"/>
                  </a:lnTo>
                  <a:lnTo>
                    <a:pt x="4686210" y="3680329"/>
                  </a:lnTo>
                  <a:lnTo>
                    <a:pt x="4686734" y="3681395"/>
                  </a:lnTo>
                  <a:lnTo>
                    <a:pt x="4687759" y="3681772"/>
                  </a:lnTo>
                  <a:lnTo>
                    <a:pt x="4688727" y="3682297"/>
                  </a:lnTo>
                  <a:lnTo>
                    <a:pt x="4689086" y="3683814"/>
                  </a:lnTo>
                  <a:lnTo>
                    <a:pt x="4691973" y="3682043"/>
                  </a:lnTo>
                  <a:lnTo>
                    <a:pt x="4693546" y="3681404"/>
                  </a:lnTo>
                  <a:lnTo>
                    <a:pt x="4695067" y="3681391"/>
                  </a:lnTo>
                  <a:lnTo>
                    <a:pt x="4693950" y="3682206"/>
                  </a:lnTo>
                  <a:lnTo>
                    <a:pt x="4693316" y="3683300"/>
                  </a:lnTo>
                  <a:lnTo>
                    <a:pt x="4692862" y="3684479"/>
                  </a:lnTo>
                  <a:lnTo>
                    <a:pt x="4692275" y="3685538"/>
                  </a:lnTo>
                  <a:lnTo>
                    <a:pt x="4692560" y="3686143"/>
                  </a:lnTo>
                  <a:lnTo>
                    <a:pt x="4696188" y="3684300"/>
                  </a:lnTo>
                  <a:lnTo>
                    <a:pt x="4698098" y="3683730"/>
                  </a:lnTo>
                  <a:lnTo>
                    <a:pt x="4700265" y="3683708"/>
                  </a:lnTo>
                  <a:lnTo>
                    <a:pt x="4699375" y="3685021"/>
                  </a:lnTo>
                  <a:lnTo>
                    <a:pt x="4698068" y="3685619"/>
                  </a:lnTo>
                  <a:lnTo>
                    <a:pt x="4695327" y="3686344"/>
                  </a:lnTo>
                  <a:lnTo>
                    <a:pt x="4690773" y="3688768"/>
                  </a:lnTo>
                  <a:lnTo>
                    <a:pt x="4691088" y="3689436"/>
                  </a:lnTo>
                  <a:lnTo>
                    <a:pt x="4691810" y="3689595"/>
                  </a:lnTo>
                  <a:lnTo>
                    <a:pt x="4692372" y="3690058"/>
                  </a:lnTo>
                  <a:lnTo>
                    <a:pt x="4692745" y="3690835"/>
                  </a:lnTo>
                  <a:lnTo>
                    <a:pt x="4692892" y="3691892"/>
                  </a:lnTo>
                  <a:lnTo>
                    <a:pt x="4693970" y="3691617"/>
                  </a:lnTo>
                  <a:lnTo>
                    <a:pt x="4695005" y="3691844"/>
                  </a:lnTo>
                  <a:lnTo>
                    <a:pt x="4695867" y="3691803"/>
                  </a:lnTo>
                  <a:lnTo>
                    <a:pt x="4696463" y="3690759"/>
                  </a:lnTo>
                  <a:lnTo>
                    <a:pt x="4695963" y="3690656"/>
                  </a:lnTo>
                  <a:lnTo>
                    <a:pt x="4694944" y="3690258"/>
                  </a:lnTo>
                  <a:lnTo>
                    <a:pt x="4694453" y="3690156"/>
                  </a:lnTo>
                  <a:lnTo>
                    <a:pt x="4695053" y="3689453"/>
                  </a:lnTo>
                  <a:lnTo>
                    <a:pt x="4695870" y="3689242"/>
                  </a:lnTo>
                  <a:lnTo>
                    <a:pt x="4698120" y="3689109"/>
                  </a:lnTo>
                  <a:lnTo>
                    <a:pt x="4697700" y="3692858"/>
                  </a:lnTo>
                  <a:lnTo>
                    <a:pt x="4697976" y="3693279"/>
                  </a:lnTo>
                  <a:lnTo>
                    <a:pt x="4701561" y="3691368"/>
                  </a:lnTo>
                  <a:lnTo>
                    <a:pt x="4700833" y="3695682"/>
                  </a:lnTo>
                  <a:lnTo>
                    <a:pt x="4699999" y="3697162"/>
                  </a:lnTo>
                  <a:lnTo>
                    <a:pt x="4698073" y="3696574"/>
                  </a:lnTo>
                  <a:lnTo>
                    <a:pt x="4697942" y="3697560"/>
                  </a:lnTo>
                  <a:lnTo>
                    <a:pt x="4696121" y="3697055"/>
                  </a:lnTo>
                  <a:lnTo>
                    <a:pt x="4695176" y="3696652"/>
                  </a:lnTo>
                  <a:lnTo>
                    <a:pt x="4694233" y="3696117"/>
                  </a:lnTo>
                  <a:lnTo>
                    <a:pt x="4694653" y="3695226"/>
                  </a:lnTo>
                  <a:lnTo>
                    <a:pt x="4694867" y="3694934"/>
                  </a:lnTo>
                  <a:lnTo>
                    <a:pt x="4688262" y="3694848"/>
                  </a:lnTo>
                  <a:lnTo>
                    <a:pt x="4686332" y="3694468"/>
                  </a:lnTo>
                  <a:lnTo>
                    <a:pt x="4687699" y="3695425"/>
                  </a:lnTo>
                  <a:lnTo>
                    <a:pt x="4689487" y="3696099"/>
                  </a:lnTo>
                  <a:lnTo>
                    <a:pt x="4691299" y="3696352"/>
                  </a:lnTo>
                  <a:lnTo>
                    <a:pt x="4692750" y="3696059"/>
                  </a:lnTo>
                  <a:lnTo>
                    <a:pt x="4693249" y="3696222"/>
                  </a:lnTo>
                  <a:lnTo>
                    <a:pt x="4693738" y="3696938"/>
                  </a:lnTo>
                  <a:lnTo>
                    <a:pt x="4694119" y="3697860"/>
                  </a:lnTo>
                  <a:lnTo>
                    <a:pt x="4694267" y="3698598"/>
                  </a:lnTo>
                  <a:lnTo>
                    <a:pt x="4694109" y="3699617"/>
                  </a:lnTo>
                  <a:lnTo>
                    <a:pt x="4691447" y="3704731"/>
                  </a:lnTo>
                  <a:lnTo>
                    <a:pt x="4691440" y="3705749"/>
                  </a:lnTo>
                  <a:lnTo>
                    <a:pt x="4692036" y="3707612"/>
                  </a:lnTo>
                  <a:lnTo>
                    <a:pt x="4692068" y="3708649"/>
                  </a:lnTo>
                  <a:lnTo>
                    <a:pt x="4691697" y="3709581"/>
                  </a:lnTo>
                  <a:lnTo>
                    <a:pt x="4690539" y="3710895"/>
                  </a:lnTo>
                  <a:lnTo>
                    <a:pt x="4690195" y="3711689"/>
                  </a:lnTo>
                  <a:lnTo>
                    <a:pt x="4690182" y="3712699"/>
                  </a:lnTo>
                  <a:lnTo>
                    <a:pt x="4690669" y="3716517"/>
                  </a:lnTo>
                  <a:lnTo>
                    <a:pt x="4689156" y="3716263"/>
                  </a:lnTo>
                  <a:lnTo>
                    <a:pt x="4688406" y="3716281"/>
                  </a:lnTo>
                  <a:lnTo>
                    <a:pt x="4687696" y="3716417"/>
                  </a:lnTo>
                  <a:lnTo>
                    <a:pt x="4687330" y="3716422"/>
                  </a:lnTo>
                  <a:lnTo>
                    <a:pt x="4686564" y="3716240"/>
                  </a:lnTo>
                  <a:lnTo>
                    <a:pt x="4686116" y="3716337"/>
                  </a:lnTo>
                  <a:lnTo>
                    <a:pt x="4686013" y="3716670"/>
                  </a:lnTo>
                  <a:lnTo>
                    <a:pt x="4686250" y="3717726"/>
                  </a:lnTo>
                  <a:lnTo>
                    <a:pt x="4686027" y="3718053"/>
                  </a:lnTo>
                  <a:lnTo>
                    <a:pt x="4683139" y="3718392"/>
                  </a:lnTo>
                  <a:lnTo>
                    <a:pt x="4682281" y="3718764"/>
                  </a:lnTo>
                  <a:lnTo>
                    <a:pt x="4683157" y="3719564"/>
                  </a:lnTo>
                  <a:lnTo>
                    <a:pt x="4682908" y="3720042"/>
                  </a:lnTo>
                  <a:lnTo>
                    <a:pt x="4682765" y="3720426"/>
                  </a:lnTo>
                  <a:lnTo>
                    <a:pt x="4682545" y="3720760"/>
                  </a:lnTo>
                  <a:lnTo>
                    <a:pt x="4682070" y="3721050"/>
                  </a:lnTo>
                  <a:lnTo>
                    <a:pt x="4683822" y="3720823"/>
                  </a:lnTo>
                  <a:lnTo>
                    <a:pt x="4685610" y="3720041"/>
                  </a:lnTo>
                  <a:lnTo>
                    <a:pt x="4687219" y="3719650"/>
                  </a:lnTo>
                  <a:lnTo>
                    <a:pt x="4688398" y="3720588"/>
                  </a:lnTo>
                  <a:lnTo>
                    <a:pt x="4688903" y="3722447"/>
                  </a:lnTo>
                  <a:lnTo>
                    <a:pt x="4689039" y="3724800"/>
                  </a:lnTo>
                  <a:lnTo>
                    <a:pt x="4688441" y="3726426"/>
                  </a:lnTo>
                  <a:lnTo>
                    <a:pt x="4686739" y="3726080"/>
                  </a:lnTo>
                  <a:lnTo>
                    <a:pt x="4685493" y="3728523"/>
                  </a:lnTo>
                  <a:lnTo>
                    <a:pt x="4683816" y="3730114"/>
                  </a:lnTo>
                  <a:lnTo>
                    <a:pt x="4679061" y="3732623"/>
                  </a:lnTo>
                  <a:lnTo>
                    <a:pt x="4680474" y="3733479"/>
                  </a:lnTo>
                  <a:lnTo>
                    <a:pt x="4681966" y="3733169"/>
                  </a:lnTo>
                  <a:lnTo>
                    <a:pt x="4683464" y="3733162"/>
                  </a:lnTo>
                  <a:lnTo>
                    <a:pt x="4684957" y="3734938"/>
                  </a:lnTo>
                  <a:lnTo>
                    <a:pt x="4685346" y="3736758"/>
                  </a:lnTo>
                  <a:lnTo>
                    <a:pt x="4684660" y="3737713"/>
                  </a:lnTo>
                  <a:lnTo>
                    <a:pt x="4683612" y="3738610"/>
                  </a:lnTo>
                  <a:lnTo>
                    <a:pt x="4682882" y="3740223"/>
                  </a:lnTo>
                  <a:lnTo>
                    <a:pt x="4682398" y="3742494"/>
                  </a:lnTo>
                  <a:lnTo>
                    <a:pt x="4681717" y="3743539"/>
                  </a:lnTo>
                  <a:lnTo>
                    <a:pt x="4677406" y="3745921"/>
                  </a:lnTo>
                  <a:lnTo>
                    <a:pt x="4676884" y="3746521"/>
                  </a:lnTo>
                  <a:lnTo>
                    <a:pt x="4676990" y="3747466"/>
                  </a:lnTo>
                  <a:lnTo>
                    <a:pt x="4677232" y="3748459"/>
                  </a:lnTo>
                  <a:lnTo>
                    <a:pt x="4677031" y="3749257"/>
                  </a:lnTo>
                  <a:lnTo>
                    <a:pt x="4676506" y="3749829"/>
                  </a:lnTo>
                  <a:lnTo>
                    <a:pt x="4675781" y="3750137"/>
                  </a:lnTo>
                  <a:lnTo>
                    <a:pt x="4677461" y="3751114"/>
                  </a:lnTo>
                  <a:lnTo>
                    <a:pt x="4680872" y="3751649"/>
                  </a:lnTo>
                  <a:lnTo>
                    <a:pt x="4682580" y="3753239"/>
                  </a:lnTo>
                  <a:lnTo>
                    <a:pt x="4681380" y="3753643"/>
                  </a:lnTo>
                  <a:lnTo>
                    <a:pt x="4680626" y="3754308"/>
                  </a:lnTo>
                  <a:lnTo>
                    <a:pt x="4680623" y="3755226"/>
                  </a:lnTo>
                  <a:lnTo>
                    <a:pt x="4681682" y="3756343"/>
                  </a:lnTo>
                  <a:lnTo>
                    <a:pt x="4680843" y="3757742"/>
                  </a:lnTo>
                  <a:lnTo>
                    <a:pt x="4680972" y="3758972"/>
                  </a:lnTo>
                  <a:lnTo>
                    <a:pt x="4680872" y="3759588"/>
                  </a:lnTo>
                  <a:lnTo>
                    <a:pt x="4679340" y="3759159"/>
                  </a:lnTo>
                  <a:lnTo>
                    <a:pt x="4678722" y="3758758"/>
                  </a:lnTo>
                  <a:lnTo>
                    <a:pt x="4677422" y="3757612"/>
                  </a:lnTo>
                  <a:lnTo>
                    <a:pt x="4676706" y="3757208"/>
                  </a:lnTo>
                  <a:lnTo>
                    <a:pt x="4675786" y="3756978"/>
                  </a:lnTo>
                  <a:lnTo>
                    <a:pt x="4674910" y="3756954"/>
                  </a:lnTo>
                  <a:lnTo>
                    <a:pt x="4674049" y="3757099"/>
                  </a:lnTo>
                  <a:lnTo>
                    <a:pt x="4673202" y="3757367"/>
                  </a:lnTo>
                  <a:lnTo>
                    <a:pt x="4674000" y="3758144"/>
                  </a:lnTo>
                  <a:lnTo>
                    <a:pt x="4675745" y="3759108"/>
                  </a:lnTo>
                  <a:lnTo>
                    <a:pt x="4676626" y="3759740"/>
                  </a:lnTo>
                  <a:lnTo>
                    <a:pt x="4677158" y="3760403"/>
                  </a:lnTo>
                  <a:lnTo>
                    <a:pt x="4677994" y="3762003"/>
                  </a:lnTo>
                  <a:lnTo>
                    <a:pt x="4678677" y="3762900"/>
                  </a:lnTo>
                  <a:lnTo>
                    <a:pt x="4677213" y="3764493"/>
                  </a:lnTo>
                  <a:lnTo>
                    <a:pt x="4675159" y="3763392"/>
                  </a:lnTo>
                  <a:lnTo>
                    <a:pt x="4673036" y="3761308"/>
                  </a:lnTo>
                  <a:lnTo>
                    <a:pt x="4671365" y="3759983"/>
                  </a:lnTo>
                  <a:lnTo>
                    <a:pt x="4669870" y="3759957"/>
                  </a:lnTo>
                  <a:lnTo>
                    <a:pt x="4670664" y="3761143"/>
                  </a:lnTo>
                  <a:lnTo>
                    <a:pt x="4674854" y="3764788"/>
                  </a:lnTo>
                  <a:lnTo>
                    <a:pt x="4675328" y="3765319"/>
                  </a:lnTo>
                  <a:lnTo>
                    <a:pt x="4675461" y="3766111"/>
                  </a:lnTo>
                  <a:lnTo>
                    <a:pt x="4675562" y="3768968"/>
                  </a:lnTo>
                  <a:lnTo>
                    <a:pt x="4675332" y="3770239"/>
                  </a:lnTo>
                  <a:lnTo>
                    <a:pt x="4674803" y="3771345"/>
                  </a:lnTo>
                  <a:lnTo>
                    <a:pt x="4673869" y="3771957"/>
                  </a:lnTo>
                  <a:lnTo>
                    <a:pt x="4672411" y="3771289"/>
                  </a:lnTo>
                  <a:lnTo>
                    <a:pt x="4668635" y="3767487"/>
                  </a:lnTo>
                  <a:lnTo>
                    <a:pt x="4666618" y="3766661"/>
                  </a:lnTo>
                  <a:lnTo>
                    <a:pt x="4667454" y="3768217"/>
                  </a:lnTo>
                  <a:lnTo>
                    <a:pt x="4670828" y="3771955"/>
                  </a:lnTo>
                  <a:lnTo>
                    <a:pt x="4671580" y="3773078"/>
                  </a:lnTo>
                  <a:lnTo>
                    <a:pt x="4672400" y="3774582"/>
                  </a:lnTo>
                  <a:lnTo>
                    <a:pt x="4672942" y="3776171"/>
                  </a:lnTo>
                  <a:lnTo>
                    <a:pt x="4672840" y="3777553"/>
                  </a:lnTo>
                  <a:lnTo>
                    <a:pt x="4672347" y="3778283"/>
                  </a:lnTo>
                  <a:lnTo>
                    <a:pt x="4672042" y="3778065"/>
                  </a:lnTo>
                  <a:lnTo>
                    <a:pt x="4671735" y="3777566"/>
                  </a:lnTo>
                  <a:lnTo>
                    <a:pt x="4671236" y="3777473"/>
                  </a:lnTo>
                  <a:lnTo>
                    <a:pt x="4670673" y="3778150"/>
                  </a:lnTo>
                  <a:lnTo>
                    <a:pt x="4670583" y="3779052"/>
                  </a:lnTo>
                  <a:lnTo>
                    <a:pt x="4670753" y="3779823"/>
                  </a:lnTo>
                  <a:lnTo>
                    <a:pt x="4670966" y="3780103"/>
                  </a:lnTo>
                  <a:lnTo>
                    <a:pt x="4669402" y="3779992"/>
                  </a:lnTo>
                  <a:lnTo>
                    <a:pt x="4668144" y="3776486"/>
                  </a:lnTo>
                  <a:lnTo>
                    <a:pt x="4666581" y="3775726"/>
                  </a:lnTo>
                  <a:lnTo>
                    <a:pt x="4666893" y="3778199"/>
                  </a:lnTo>
                  <a:lnTo>
                    <a:pt x="4666757" y="3783056"/>
                  </a:lnTo>
                  <a:lnTo>
                    <a:pt x="4667363" y="3785426"/>
                  </a:lnTo>
                  <a:lnTo>
                    <a:pt x="4665109" y="3784833"/>
                  </a:lnTo>
                  <a:lnTo>
                    <a:pt x="4664641" y="3782961"/>
                  </a:lnTo>
                  <a:lnTo>
                    <a:pt x="4664446" y="3780562"/>
                  </a:lnTo>
                  <a:lnTo>
                    <a:pt x="4663020" y="3778392"/>
                  </a:lnTo>
                  <a:lnTo>
                    <a:pt x="4663213" y="3782590"/>
                  </a:lnTo>
                  <a:lnTo>
                    <a:pt x="4662904" y="3783509"/>
                  </a:lnTo>
                  <a:lnTo>
                    <a:pt x="4662242" y="3783766"/>
                  </a:lnTo>
                  <a:lnTo>
                    <a:pt x="4661370" y="3783508"/>
                  </a:lnTo>
                  <a:lnTo>
                    <a:pt x="4660520" y="3782903"/>
                  </a:lnTo>
                  <a:lnTo>
                    <a:pt x="4658830" y="3780548"/>
                  </a:lnTo>
                  <a:lnTo>
                    <a:pt x="4657114" y="3778882"/>
                  </a:lnTo>
                  <a:lnTo>
                    <a:pt x="4655273" y="3777428"/>
                  </a:lnTo>
                  <a:lnTo>
                    <a:pt x="4653766" y="3776534"/>
                  </a:lnTo>
                  <a:lnTo>
                    <a:pt x="4653920" y="3777343"/>
                  </a:lnTo>
                  <a:lnTo>
                    <a:pt x="4653910" y="3777713"/>
                  </a:lnTo>
                  <a:lnTo>
                    <a:pt x="4654066" y="3778009"/>
                  </a:lnTo>
                  <a:lnTo>
                    <a:pt x="4654707" y="3778607"/>
                  </a:lnTo>
                  <a:lnTo>
                    <a:pt x="4653906" y="3780084"/>
                  </a:lnTo>
                  <a:lnTo>
                    <a:pt x="4655238" y="3781948"/>
                  </a:lnTo>
                  <a:lnTo>
                    <a:pt x="4658580" y="3784586"/>
                  </a:lnTo>
                  <a:lnTo>
                    <a:pt x="4658556" y="3787524"/>
                  </a:lnTo>
                  <a:lnTo>
                    <a:pt x="4658778" y="3789991"/>
                  </a:lnTo>
                  <a:lnTo>
                    <a:pt x="4657959" y="3790727"/>
                  </a:lnTo>
                  <a:lnTo>
                    <a:pt x="4655957" y="3791284"/>
                  </a:lnTo>
                  <a:lnTo>
                    <a:pt x="4652298" y="3790523"/>
                  </a:lnTo>
                  <a:lnTo>
                    <a:pt x="4651672" y="3789249"/>
                  </a:lnTo>
                  <a:lnTo>
                    <a:pt x="4651471" y="3786532"/>
                  </a:lnTo>
                  <a:lnTo>
                    <a:pt x="4651168" y="3785384"/>
                  </a:lnTo>
                  <a:lnTo>
                    <a:pt x="4650151" y="3783853"/>
                  </a:lnTo>
                  <a:lnTo>
                    <a:pt x="4649524" y="3783572"/>
                  </a:lnTo>
                  <a:lnTo>
                    <a:pt x="4649072" y="3784095"/>
                  </a:lnTo>
                  <a:lnTo>
                    <a:pt x="4648597" y="3784963"/>
                  </a:lnTo>
                  <a:lnTo>
                    <a:pt x="4648612" y="3785814"/>
                  </a:lnTo>
                  <a:lnTo>
                    <a:pt x="4648935" y="3786773"/>
                  </a:lnTo>
                  <a:lnTo>
                    <a:pt x="4648779" y="3787425"/>
                  </a:lnTo>
                  <a:lnTo>
                    <a:pt x="4647338" y="3787343"/>
                  </a:lnTo>
                  <a:lnTo>
                    <a:pt x="4649453" y="3789595"/>
                  </a:lnTo>
                  <a:lnTo>
                    <a:pt x="4651416" y="3791328"/>
                  </a:lnTo>
                  <a:lnTo>
                    <a:pt x="4652955" y="3793347"/>
                  </a:lnTo>
                  <a:lnTo>
                    <a:pt x="4653788" y="3796452"/>
                  </a:lnTo>
                  <a:lnTo>
                    <a:pt x="4654048" y="3797147"/>
                  </a:lnTo>
                  <a:lnTo>
                    <a:pt x="4654524" y="3798018"/>
                  </a:lnTo>
                  <a:lnTo>
                    <a:pt x="4654864" y="3798801"/>
                  </a:lnTo>
                  <a:lnTo>
                    <a:pt x="4654760" y="3799268"/>
                  </a:lnTo>
                  <a:lnTo>
                    <a:pt x="4654172" y="3799953"/>
                  </a:lnTo>
                  <a:lnTo>
                    <a:pt x="4654232" y="3800780"/>
                  </a:lnTo>
                  <a:lnTo>
                    <a:pt x="4654654" y="3801422"/>
                  </a:lnTo>
                  <a:lnTo>
                    <a:pt x="4655185" y="3801536"/>
                  </a:lnTo>
                  <a:lnTo>
                    <a:pt x="4655805" y="3801939"/>
                  </a:lnTo>
                  <a:lnTo>
                    <a:pt x="4658066" y="3805930"/>
                  </a:lnTo>
                  <a:lnTo>
                    <a:pt x="4655186" y="3803763"/>
                  </a:lnTo>
                  <a:lnTo>
                    <a:pt x="4654382" y="3803671"/>
                  </a:lnTo>
                  <a:lnTo>
                    <a:pt x="4653764" y="3804292"/>
                  </a:lnTo>
                  <a:lnTo>
                    <a:pt x="4653467" y="3805655"/>
                  </a:lnTo>
                  <a:lnTo>
                    <a:pt x="4652822" y="3806122"/>
                  </a:lnTo>
                  <a:lnTo>
                    <a:pt x="4651547" y="3806053"/>
                  </a:lnTo>
                  <a:lnTo>
                    <a:pt x="4648717" y="3804883"/>
                  </a:lnTo>
                  <a:lnTo>
                    <a:pt x="4647378" y="3804766"/>
                  </a:lnTo>
                  <a:lnTo>
                    <a:pt x="4647652" y="3805375"/>
                  </a:lnTo>
                  <a:lnTo>
                    <a:pt x="4653199" y="3809152"/>
                  </a:lnTo>
                  <a:lnTo>
                    <a:pt x="4653855" y="3809985"/>
                  </a:lnTo>
                  <a:lnTo>
                    <a:pt x="4654454" y="3810936"/>
                  </a:lnTo>
                  <a:lnTo>
                    <a:pt x="4655546" y="3812173"/>
                  </a:lnTo>
                  <a:lnTo>
                    <a:pt x="4654686" y="3813084"/>
                  </a:lnTo>
                  <a:lnTo>
                    <a:pt x="4653741" y="3812205"/>
                  </a:lnTo>
                  <a:lnTo>
                    <a:pt x="4651789" y="3809132"/>
                  </a:lnTo>
                  <a:lnTo>
                    <a:pt x="4650489" y="3808301"/>
                  </a:lnTo>
                  <a:lnTo>
                    <a:pt x="4649593" y="3808368"/>
                  </a:lnTo>
                  <a:lnTo>
                    <a:pt x="4649396" y="3809009"/>
                  </a:lnTo>
                  <a:lnTo>
                    <a:pt x="4650240" y="3809920"/>
                  </a:lnTo>
                  <a:lnTo>
                    <a:pt x="4650351" y="3811094"/>
                  </a:lnTo>
                  <a:lnTo>
                    <a:pt x="4650155" y="3812061"/>
                  </a:lnTo>
                  <a:lnTo>
                    <a:pt x="4649622" y="3812765"/>
                  </a:lnTo>
                  <a:lnTo>
                    <a:pt x="4648750" y="3813148"/>
                  </a:lnTo>
                  <a:lnTo>
                    <a:pt x="4650389" y="3814822"/>
                  </a:lnTo>
                  <a:lnTo>
                    <a:pt x="4651021" y="3815707"/>
                  </a:lnTo>
                  <a:lnTo>
                    <a:pt x="4651690" y="3817031"/>
                  </a:lnTo>
                  <a:lnTo>
                    <a:pt x="4651789" y="3818084"/>
                  </a:lnTo>
                  <a:lnTo>
                    <a:pt x="4651075" y="3818329"/>
                  </a:lnTo>
                  <a:lnTo>
                    <a:pt x="4650031" y="3817840"/>
                  </a:lnTo>
                  <a:lnTo>
                    <a:pt x="4649149" y="3816707"/>
                  </a:lnTo>
                  <a:lnTo>
                    <a:pt x="4648297" y="3815998"/>
                  </a:lnTo>
                  <a:lnTo>
                    <a:pt x="4644440" y="3814922"/>
                  </a:lnTo>
                  <a:lnTo>
                    <a:pt x="4643944" y="3814642"/>
                  </a:lnTo>
                  <a:lnTo>
                    <a:pt x="4643459" y="3814258"/>
                  </a:lnTo>
                  <a:lnTo>
                    <a:pt x="4643122" y="3813760"/>
                  </a:lnTo>
                  <a:lnTo>
                    <a:pt x="4642980" y="3812267"/>
                  </a:lnTo>
                  <a:lnTo>
                    <a:pt x="4642441" y="3811890"/>
                  </a:lnTo>
                  <a:lnTo>
                    <a:pt x="4641792" y="3811737"/>
                  </a:lnTo>
                  <a:lnTo>
                    <a:pt x="4641380" y="3811483"/>
                  </a:lnTo>
                  <a:lnTo>
                    <a:pt x="4640733" y="3811221"/>
                  </a:lnTo>
                  <a:lnTo>
                    <a:pt x="4640150" y="3812560"/>
                  </a:lnTo>
                  <a:lnTo>
                    <a:pt x="4639051" y="3816647"/>
                  </a:lnTo>
                  <a:lnTo>
                    <a:pt x="4637317" y="3819765"/>
                  </a:lnTo>
                  <a:lnTo>
                    <a:pt x="4637242" y="3820389"/>
                  </a:lnTo>
                  <a:lnTo>
                    <a:pt x="4637383" y="3821000"/>
                  </a:lnTo>
                  <a:lnTo>
                    <a:pt x="4637362" y="3821685"/>
                  </a:lnTo>
                  <a:lnTo>
                    <a:pt x="4636754" y="3822528"/>
                  </a:lnTo>
                  <a:lnTo>
                    <a:pt x="4636728" y="3822182"/>
                  </a:lnTo>
                  <a:lnTo>
                    <a:pt x="4636051" y="3821988"/>
                  </a:lnTo>
                  <a:lnTo>
                    <a:pt x="4634687" y="3821918"/>
                  </a:lnTo>
                  <a:lnTo>
                    <a:pt x="4632655" y="3823173"/>
                  </a:lnTo>
                  <a:lnTo>
                    <a:pt x="4631721" y="3823088"/>
                  </a:lnTo>
                  <a:lnTo>
                    <a:pt x="4630328" y="3821637"/>
                  </a:lnTo>
                  <a:lnTo>
                    <a:pt x="4630190" y="3819839"/>
                  </a:lnTo>
                  <a:lnTo>
                    <a:pt x="4629414" y="3818303"/>
                  </a:lnTo>
                  <a:lnTo>
                    <a:pt x="4628230" y="3817208"/>
                  </a:lnTo>
                  <a:lnTo>
                    <a:pt x="4626888" y="3816700"/>
                  </a:lnTo>
                  <a:lnTo>
                    <a:pt x="4627324" y="3817713"/>
                  </a:lnTo>
                  <a:lnTo>
                    <a:pt x="4627691" y="3818393"/>
                  </a:lnTo>
                  <a:lnTo>
                    <a:pt x="4628099" y="3818847"/>
                  </a:lnTo>
                  <a:lnTo>
                    <a:pt x="4628643" y="3819192"/>
                  </a:lnTo>
                  <a:lnTo>
                    <a:pt x="4628609" y="3819661"/>
                  </a:lnTo>
                  <a:lnTo>
                    <a:pt x="4628474" y="3819974"/>
                  </a:lnTo>
                  <a:lnTo>
                    <a:pt x="4628272" y="3820214"/>
                  </a:lnTo>
                  <a:lnTo>
                    <a:pt x="4627999" y="3820415"/>
                  </a:lnTo>
                  <a:lnTo>
                    <a:pt x="4625851" y="3819436"/>
                  </a:lnTo>
                  <a:lnTo>
                    <a:pt x="4624744" y="3817674"/>
                  </a:lnTo>
                  <a:lnTo>
                    <a:pt x="4623072" y="3812019"/>
                  </a:lnTo>
                  <a:lnTo>
                    <a:pt x="4621907" y="3809269"/>
                  </a:lnTo>
                  <a:lnTo>
                    <a:pt x="4621223" y="3808163"/>
                  </a:lnTo>
                  <a:lnTo>
                    <a:pt x="4620489" y="3807549"/>
                  </a:lnTo>
                  <a:lnTo>
                    <a:pt x="4619700" y="3807690"/>
                  </a:lnTo>
                  <a:lnTo>
                    <a:pt x="4619636" y="3808744"/>
                  </a:lnTo>
                  <a:lnTo>
                    <a:pt x="4619876" y="3810304"/>
                  </a:lnTo>
                  <a:lnTo>
                    <a:pt x="4619995" y="3811924"/>
                  </a:lnTo>
                  <a:lnTo>
                    <a:pt x="4621122" y="3812375"/>
                  </a:lnTo>
                  <a:lnTo>
                    <a:pt x="4621953" y="3813456"/>
                  </a:lnTo>
                  <a:lnTo>
                    <a:pt x="4622462" y="3814890"/>
                  </a:lnTo>
                  <a:lnTo>
                    <a:pt x="4622648" y="3816437"/>
                  </a:lnTo>
                  <a:lnTo>
                    <a:pt x="4620454" y="3814493"/>
                  </a:lnTo>
                  <a:lnTo>
                    <a:pt x="4619185" y="3812065"/>
                  </a:lnTo>
                  <a:lnTo>
                    <a:pt x="4618152" y="3809475"/>
                  </a:lnTo>
                  <a:lnTo>
                    <a:pt x="4616676" y="3806997"/>
                  </a:lnTo>
                  <a:lnTo>
                    <a:pt x="4615915" y="3806289"/>
                  </a:lnTo>
                  <a:lnTo>
                    <a:pt x="4613920" y="3804843"/>
                  </a:lnTo>
                  <a:lnTo>
                    <a:pt x="4612855" y="3803883"/>
                  </a:lnTo>
                  <a:lnTo>
                    <a:pt x="4611927" y="3802758"/>
                  </a:lnTo>
                  <a:lnTo>
                    <a:pt x="4609493" y="3798988"/>
                  </a:lnTo>
                  <a:lnTo>
                    <a:pt x="4609007" y="3799231"/>
                  </a:lnTo>
                  <a:lnTo>
                    <a:pt x="4609833" y="3801047"/>
                  </a:lnTo>
                  <a:lnTo>
                    <a:pt x="4610331" y="3801770"/>
                  </a:lnTo>
                  <a:lnTo>
                    <a:pt x="4611014" y="3802415"/>
                  </a:lnTo>
                  <a:lnTo>
                    <a:pt x="4609962" y="3803094"/>
                  </a:lnTo>
                  <a:lnTo>
                    <a:pt x="4608507" y="3802113"/>
                  </a:lnTo>
                  <a:lnTo>
                    <a:pt x="4606928" y="3800528"/>
                  </a:lnTo>
                  <a:lnTo>
                    <a:pt x="4605494" y="3799339"/>
                  </a:lnTo>
                  <a:lnTo>
                    <a:pt x="4604098" y="3799124"/>
                  </a:lnTo>
                  <a:lnTo>
                    <a:pt x="4603225" y="3799659"/>
                  </a:lnTo>
                  <a:lnTo>
                    <a:pt x="4603199" y="3800408"/>
                  </a:lnTo>
                  <a:lnTo>
                    <a:pt x="4604359" y="3800800"/>
                  </a:lnTo>
                  <a:lnTo>
                    <a:pt x="4604633" y="3801420"/>
                  </a:lnTo>
                  <a:lnTo>
                    <a:pt x="4603609" y="3804366"/>
                  </a:lnTo>
                  <a:lnTo>
                    <a:pt x="4602796" y="3805409"/>
                  </a:lnTo>
                  <a:lnTo>
                    <a:pt x="4601706" y="3804182"/>
                  </a:lnTo>
                  <a:lnTo>
                    <a:pt x="4601302" y="3803500"/>
                  </a:lnTo>
                  <a:lnTo>
                    <a:pt x="4600180" y="3801970"/>
                  </a:lnTo>
                  <a:lnTo>
                    <a:pt x="4599085" y="3800131"/>
                  </a:lnTo>
                  <a:lnTo>
                    <a:pt x="4598321" y="3799329"/>
                  </a:lnTo>
                  <a:lnTo>
                    <a:pt x="4597765" y="3798998"/>
                  </a:lnTo>
                  <a:lnTo>
                    <a:pt x="4597806" y="3799507"/>
                  </a:lnTo>
                  <a:lnTo>
                    <a:pt x="4598217" y="3801471"/>
                  </a:lnTo>
                  <a:lnTo>
                    <a:pt x="4598417" y="3802117"/>
                  </a:lnTo>
                  <a:lnTo>
                    <a:pt x="4598836" y="3803017"/>
                  </a:lnTo>
                  <a:lnTo>
                    <a:pt x="4599202" y="3803630"/>
                  </a:lnTo>
                  <a:lnTo>
                    <a:pt x="4599582" y="3804107"/>
                  </a:lnTo>
                  <a:lnTo>
                    <a:pt x="4603868" y="3808427"/>
                  </a:lnTo>
                  <a:lnTo>
                    <a:pt x="4605234" y="3809356"/>
                  </a:lnTo>
                  <a:lnTo>
                    <a:pt x="4605537" y="3811981"/>
                  </a:lnTo>
                  <a:lnTo>
                    <a:pt x="4605443" y="3813029"/>
                  </a:lnTo>
                  <a:lnTo>
                    <a:pt x="4604728" y="3813719"/>
                  </a:lnTo>
                  <a:lnTo>
                    <a:pt x="4604602" y="3811820"/>
                  </a:lnTo>
                  <a:lnTo>
                    <a:pt x="4604126" y="3810870"/>
                  </a:lnTo>
                  <a:lnTo>
                    <a:pt x="4603490" y="3810971"/>
                  </a:lnTo>
                  <a:lnTo>
                    <a:pt x="4602858" y="3812179"/>
                  </a:lnTo>
                  <a:lnTo>
                    <a:pt x="4603016" y="3812914"/>
                  </a:lnTo>
                  <a:lnTo>
                    <a:pt x="4603515" y="3813765"/>
                  </a:lnTo>
                  <a:lnTo>
                    <a:pt x="4603796" y="3814586"/>
                  </a:lnTo>
                  <a:lnTo>
                    <a:pt x="4603316" y="3815242"/>
                  </a:lnTo>
                  <a:lnTo>
                    <a:pt x="4602633" y="3815380"/>
                  </a:lnTo>
                  <a:lnTo>
                    <a:pt x="4602139" y="3815117"/>
                  </a:lnTo>
                  <a:lnTo>
                    <a:pt x="4601822" y="3814510"/>
                  </a:lnTo>
                  <a:lnTo>
                    <a:pt x="4601678" y="3813669"/>
                  </a:lnTo>
                  <a:lnTo>
                    <a:pt x="4601237" y="3813889"/>
                  </a:lnTo>
                  <a:lnTo>
                    <a:pt x="4600446" y="3811816"/>
                  </a:lnTo>
                  <a:lnTo>
                    <a:pt x="4599219" y="3811254"/>
                  </a:lnTo>
                  <a:lnTo>
                    <a:pt x="4598504" y="3812276"/>
                  </a:lnTo>
                  <a:lnTo>
                    <a:pt x="4599244" y="3814880"/>
                  </a:lnTo>
                  <a:lnTo>
                    <a:pt x="4597675" y="3814081"/>
                  </a:lnTo>
                  <a:lnTo>
                    <a:pt x="4596964" y="3813077"/>
                  </a:lnTo>
                  <a:lnTo>
                    <a:pt x="4596073" y="3810249"/>
                  </a:lnTo>
                  <a:lnTo>
                    <a:pt x="4595430" y="3810009"/>
                  </a:lnTo>
                  <a:lnTo>
                    <a:pt x="4594712" y="3811077"/>
                  </a:lnTo>
                  <a:lnTo>
                    <a:pt x="4594196" y="3812711"/>
                  </a:lnTo>
                  <a:lnTo>
                    <a:pt x="4594154" y="3814114"/>
                  </a:lnTo>
                  <a:lnTo>
                    <a:pt x="4593667" y="3814356"/>
                  </a:lnTo>
                  <a:lnTo>
                    <a:pt x="4589938" y="3808235"/>
                  </a:lnTo>
                  <a:lnTo>
                    <a:pt x="4590283" y="3806280"/>
                  </a:lnTo>
                  <a:lnTo>
                    <a:pt x="4590239" y="3804919"/>
                  </a:lnTo>
                  <a:lnTo>
                    <a:pt x="4589899" y="3803701"/>
                  </a:lnTo>
                  <a:lnTo>
                    <a:pt x="4589158" y="3803426"/>
                  </a:lnTo>
                  <a:lnTo>
                    <a:pt x="4588577" y="3804117"/>
                  </a:lnTo>
                  <a:lnTo>
                    <a:pt x="4588381" y="3805126"/>
                  </a:lnTo>
                  <a:lnTo>
                    <a:pt x="4588314" y="3806252"/>
                  </a:lnTo>
                  <a:lnTo>
                    <a:pt x="4588118" y="3807236"/>
                  </a:lnTo>
                  <a:lnTo>
                    <a:pt x="4587610" y="3805734"/>
                  </a:lnTo>
                  <a:lnTo>
                    <a:pt x="4586971" y="3804560"/>
                  </a:lnTo>
                  <a:lnTo>
                    <a:pt x="4586169" y="3804051"/>
                  </a:lnTo>
                  <a:lnTo>
                    <a:pt x="4585147" y="3804523"/>
                  </a:lnTo>
                  <a:lnTo>
                    <a:pt x="4584983" y="3803378"/>
                  </a:lnTo>
                  <a:lnTo>
                    <a:pt x="4584521" y="3802520"/>
                  </a:lnTo>
                  <a:lnTo>
                    <a:pt x="4583999" y="3801828"/>
                  </a:lnTo>
                  <a:lnTo>
                    <a:pt x="4583664" y="3801146"/>
                  </a:lnTo>
                  <a:lnTo>
                    <a:pt x="4583575" y="3800058"/>
                  </a:lnTo>
                  <a:lnTo>
                    <a:pt x="4583634" y="3797578"/>
                  </a:lnTo>
                  <a:lnTo>
                    <a:pt x="4583479" y="3796679"/>
                  </a:lnTo>
                  <a:lnTo>
                    <a:pt x="4582537" y="3795347"/>
                  </a:lnTo>
                  <a:lnTo>
                    <a:pt x="4581439" y="3794234"/>
                  </a:lnTo>
                  <a:lnTo>
                    <a:pt x="4580642" y="3792855"/>
                  </a:lnTo>
                  <a:lnTo>
                    <a:pt x="4580478" y="3789695"/>
                  </a:lnTo>
                  <a:lnTo>
                    <a:pt x="4580029" y="3788972"/>
                  </a:lnTo>
                  <a:lnTo>
                    <a:pt x="4579145" y="3788057"/>
                  </a:lnTo>
                  <a:lnTo>
                    <a:pt x="4578919" y="3787938"/>
                  </a:lnTo>
                  <a:lnTo>
                    <a:pt x="4574471" y="3782853"/>
                  </a:lnTo>
                  <a:lnTo>
                    <a:pt x="4573325" y="3782390"/>
                  </a:lnTo>
                  <a:lnTo>
                    <a:pt x="4572488" y="3783653"/>
                  </a:lnTo>
                  <a:lnTo>
                    <a:pt x="4571621" y="3781656"/>
                  </a:lnTo>
                  <a:lnTo>
                    <a:pt x="4571122" y="3777442"/>
                  </a:lnTo>
                  <a:lnTo>
                    <a:pt x="4570425" y="3775060"/>
                  </a:lnTo>
                  <a:lnTo>
                    <a:pt x="4570378" y="3774378"/>
                  </a:lnTo>
                  <a:lnTo>
                    <a:pt x="4571151" y="3770459"/>
                  </a:lnTo>
                  <a:lnTo>
                    <a:pt x="4571212" y="3769403"/>
                  </a:lnTo>
                  <a:lnTo>
                    <a:pt x="4571002" y="3766888"/>
                  </a:lnTo>
                  <a:lnTo>
                    <a:pt x="4568099" y="3754753"/>
                  </a:lnTo>
                  <a:lnTo>
                    <a:pt x="4568073" y="3751051"/>
                  </a:lnTo>
                  <a:lnTo>
                    <a:pt x="4569489" y="3748019"/>
                  </a:lnTo>
                  <a:lnTo>
                    <a:pt x="4570050" y="3746149"/>
                  </a:lnTo>
                  <a:lnTo>
                    <a:pt x="4569723" y="3744047"/>
                  </a:lnTo>
                  <a:lnTo>
                    <a:pt x="4569730" y="3742673"/>
                  </a:lnTo>
                  <a:lnTo>
                    <a:pt x="4572108" y="3735147"/>
                  </a:lnTo>
                  <a:lnTo>
                    <a:pt x="4574051" y="3732130"/>
                  </a:lnTo>
                  <a:lnTo>
                    <a:pt x="4575627" y="3728163"/>
                  </a:lnTo>
                  <a:lnTo>
                    <a:pt x="4576691" y="3726311"/>
                  </a:lnTo>
                  <a:lnTo>
                    <a:pt x="4577435" y="3724348"/>
                  </a:lnTo>
                  <a:lnTo>
                    <a:pt x="4577209" y="3722420"/>
                  </a:lnTo>
                  <a:lnTo>
                    <a:pt x="4576011" y="3721398"/>
                  </a:lnTo>
                  <a:lnTo>
                    <a:pt x="4574622" y="3722007"/>
                  </a:lnTo>
                  <a:lnTo>
                    <a:pt x="4571837" y="3724358"/>
                  </a:lnTo>
                  <a:lnTo>
                    <a:pt x="4571026" y="3724568"/>
                  </a:lnTo>
                  <a:lnTo>
                    <a:pt x="4570264" y="3724645"/>
                  </a:lnTo>
                  <a:lnTo>
                    <a:pt x="4569612" y="3725021"/>
                  </a:lnTo>
                  <a:lnTo>
                    <a:pt x="4566340" y="3734240"/>
                  </a:lnTo>
                  <a:lnTo>
                    <a:pt x="4560672" y="3752262"/>
                  </a:lnTo>
                  <a:lnTo>
                    <a:pt x="4560160" y="3752957"/>
                  </a:lnTo>
                  <a:lnTo>
                    <a:pt x="4559319" y="3750176"/>
                  </a:lnTo>
                  <a:lnTo>
                    <a:pt x="4559422" y="3748079"/>
                  </a:lnTo>
                  <a:lnTo>
                    <a:pt x="4565831" y="3727364"/>
                  </a:lnTo>
                  <a:lnTo>
                    <a:pt x="4571283" y="3718458"/>
                  </a:lnTo>
                  <a:lnTo>
                    <a:pt x="4571735" y="3716736"/>
                  </a:lnTo>
                  <a:lnTo>
                    <a:pt x="4575594" y="3708357"/>
                  </a:lnTo>
                  <a:lnTo>
                    <a:pt x="4576984" y="3708937"/>
                  </a:lnTo>
                  <a:lnTo>
                    <a:pt x="4578253" y="3709922"/>
                  </a:lnTo>
                  <a:lnTo>
                    <a:pt x="4579389" y="3711171"/>
                  </a:lnTo>
                  <a:lnTo>
                    <a:pt x="4580359" y="3712568"/>
                  </a:lnTo>
                  <a:lnTo>
                    <a:pt x="4580693" y="3713577"/>
                  </a:lnTo>
                  <a:lnTo>
                    <a:pt x="4580974" y="3714824"/>
                  </a:lnTo>
                  <a:lnTo>
                    <a:pt x="4581393" y="3715774"/>
                  </a:lnTo>
                  <a:lnTo>
                    <a:pt x="4582159" y="3715871"/>
                  </a:lnTo>
                  <a:lnTo>
                    <a:pt x="4583391" y="3714973"/>
                  </a:lnTo>
                  <a:lnTo>
                    <a:pt x="4584548" y="3713838"/>
                  </a:lnTo>
                  <a:lnTo>
                    <a:pt x="4585492" y="3712518"/>
                  </a:lnTo>
                  <a:lnTo>
                    <a:pt x="4585996" y="3711302"/>
                  </a:lnTo>
                  <a:lnTo>
                    <a:pt x="4586816" y="3708561"/>
                  </a:lnTo>
                  <a:lnTo>
                    <a:pt x="4588162" y="3705622"/>
                  </a:lnTo>
                  <a:lnTo>
                    <a:pt x="4588537" y="3704061"/>
                  </a:lnTo>
                  <a:lnTo>
                    <a:pt x="4588469" y="3701847"/>
                  </a:lnTo>
                  <a:lnTo>
                    <a:pt x="4589323" y="3702321"/>
                  </a:lnTo>
                  <a:lnTo>
                    <a:pt x="4591195" y="3695578"/>
                  </a:lnTo>
                  <a:lnTo>
                    <a:pt x="4591866" y="3694339"/>
                  </a:lnTo>
                  <a:lnTo>
                    <a:pt x="4593625" y="3692880"/>
                  </a:lnTo>
                  <a:lnTo>
                    <a:pt x="4595654" y="3689184"/>
                  </a:lnTo>
                  <a:lnTo>
                    <a:pt x="4596843" y="3687653"/>
                  </a:lnTo>
                  <a:lnTo>
                    <a:pt x="4595441" y="3688024"/>
                  </a:lnTo>
                  <a:lnTo>
                    <a:pt x="4593315" y="3691893"/>
                  </a:lnTo>
                  <a:lnTo>
                    <a:pt x="4590844" y="3694503"/>
                  </a:lnTo>
                  <a:lnTo>
                    <a:pt x="4586937" y="3701075"/>
                  </a:lnTo>
                  <a:lnTo>
                    <a:pt x="4584735" y="3703533"/>
                  </a:lnTo>
                  <a:lnTo>
                    <a:pt x="4583248" y="3704492"/>
                  </a:lnTo>
                  <a:lnTo>
                    <a:pt x="4581361" y="3708102"/>
                  </a:lnTo>
                  <a:lnTo>
                    <a:pt x="4579942" y="3709617"/>
                  </a:lnTo>
                  <a:lnTo>
                    <a:pt x="4578111" y="3708743"/>
                  </a:lnTo>
                  <a:lnTo>
                    <a:pt x="4578577" y="3703089"/>
                  </a:lnTo>
                  <a:lnTo>
                    <a:pt x="4583421" y="3694406"/>
                  </a:lnTo>
                  <a:lnTo>
                    <a:pt x="4591478" y="3681123"/>
                  </a:lnTo>
                  <a:lnTo>
                    <a:pt x="4593790" y="3675051"/>
                  </a:lnTo>
                  <a:lnTo>
                    <a:pt x="4594843" y="3673756"/>
                  </a:lnTo>
                  <a:lnTo>
                    <a:pt x="4596094" y="3672719"/>
                  </a:lnTo>
                  <a:lnTo>
                    <a:pt x="4602580" y="3663210"/>
                  </a:lnTo>
                  <a:lnTo>
                    <a:pt x="4603324" y="3661401"/>
                  </a:lnTo>
                  <a:lnTo>
                    <a:pt x="4604400" y="3657643"/>
                  </a:lnTo>
                  <a:lnTo>
                    <a:pt x="4612307" y="3645399"/>
                  </a:lnTo>
                  <a:lnTo>
                    <a:pt x="4619637" y="3631901"/>
                  </a:lnTo>
                  <a:lnTo>
                    <a:pt x="4627466" y="3621348"/>
                  </a:lnTo>
                  <a:lnTo>
                    <a:pt x="4631873" y="3617995"/>
                  </a:lnTo>
                  <a:lnTo>
                    <a:pt x="4635710" y="3613671"/>
                  </a:lnTo>
                  <a:lnTo>
                    <a:pt x="4639738" y="3610445"/>
                  </a:lnTo>
                  <a:lnTo>
                    <a:pt x="4641639" y="3608003"/>
                  </a:lnTo>
                  <a:lnTo>
                    <a:pt x="4643236" y="3605261"/>
                  </a:lnTo>
                  <a:lnTo>
                    <a:pt x="4644261" y="3602772"/>
                  </a:lnTo>
                  <a:lnTo>
                    <a:pt x="4644241" y="3599109"/>
                  </a:lnTo>
                  <a:lnTo>
                    <a:pt x="4641888" y="3598151"/>
                  </a:lnTo>
                  <a:lnTo>
                    <a:pt x="4638592" y="3598735"/>
                  </a:lnTo>
                  <a:lnTo>
                    <a:pt x="4635741" y="3599679"/>
                  </a:lnTo>
                  <a:lnTo>
                    <a:pt x="4636779" y="3598232"/>
                  </a:lnTo>
                  <a:lnTo>
                    <a:pt x="4638365" y="3597684"/>
                  </a:lnTo>
                  <a:lnTo>
                    <a:pt x="4641725" y="3597420"/>
                  </a:lnTo>
                  <a:lnTo>
                    <a:pt x="4646597" y="3595669"/>
                  </a:lnTo>
                  <a:lnTo>
                    <a:pt x="4648351" y="3595947"/>
                  </a:lnTo>
                  <a:lnTo>
                    <a:pt x="4649804" y="3596968"/>
                  </a:lnTo>
                  <a:lnTo>
                    <a:pt x="4650222" y="3598212"/>
                  </a:lnTo>
                  <a:lnTo>
                    <a:pt x="4650028" y="3599622"/>
                  </a:lnTo>
                  <a:lnTo>
                    <a:pt x="4649655" y="3601148"/>
                  </a:lnTo>
                  <a:lnTo>
                    <a:pt x="4649717" y="3602752"/>
                  </a:lnTo>
                  <a:lnTo>
                    <a:pt x="4650813" y="3606427"/>
                  </a:lnTo>
                  <a:lnTo>
                    <a:pt x="4651014" y="3608374"/>
                  </a:lnTo>
                  <a:lnTo>
                    <a:pt x="4652576" y="3608939"/>
                  </a:lnTo>
                  <a:lnTo>
                    <a:pt x="4652935" y="3610518"/>
                  </a:lnTo>
                  <a:lnTo>
                    <a:pt x="4652537" y="3612380"/>
                  </a:lnTo>
                  <a:lnTo>
                    <a:pt x="4651828" y="3613800"/>
                  </a:lnTo>
                  <a:lnTo>
                    <a:pt x="4654298" y="3615262"/>
                  </a:lnTo>
                  <a:lnTo>
                    <a:pt x="4655099" y="3616062"/>
                  </a:lnTo>
                  <a:lnTo>
                    <a:pt x="4655133" y="3617062"/>
                  </a:lnTo>
                  <a:lnTo>
                    <a:pt x="4656061" y="3617037"/>
                  </a:lnTo>
                  <a:lnTo>
                    <a:pt x="4656732" y="3616449"/>
                  </a:lnTo>
                  <a:lnTo>
                    <a:pt x="4656995" y="3615441"/>
                  </a:lnTo>
                  <a:lnTo>
                    <a:pt x="4656689" y="3614178"/>
                  </a:lnTo>
                  <a:lnTo>
                    <a:pt x="4656292" y="3613003"/>
                  </a:lnTo>
                  <a:lnTo>
                    <a:pt x="4656391" y="3612203"/>
                  </a:lnTo>
                  <a:lnTo>
                    <a:pt x="4656826" y="3611532"/>
                  </a:lnTo>
                  <a:lnTo>
                    <a:pt x="4657479" y="3610789"/>
                  </a:lnTo>
                  <a:lnTo>
                    <a:pt x="4664978" y="3611738"/>
                  </a:lnTo>
                  <a:lnTo>
                    <a:pt x="4672628" y="3614828"/>
                  </a:lnTo>
                  <a:lnTo>
                    <a:pt x="4673317" y="3615816"/>
                  </a:lnTo>
                  <a:lnTo>
                    <a:pt x="4675453" y="3621422"/>
                  </a:lnTo>
                  <a:lnTo>
                    <a:pt x="4675353" y="3619758"/>
                  </a:lnTo>
                  <a:lnTo>
                    <a:pt x="4675879" y="3618797"/>
                  </a:lnTo>
                  <a:lnTo>
                    <a:pt x="4676857" y="3618357"/>
                  </a:lnTo>
                  <a:lnTo>
                    <a:pt x="4678109" y="3618249"/>
                  </a:lnTo>
                  <a:lnTo>
                    <a:pt x="4676838" y="3617283"/>
                  </a:lnTo>
                  <a:lnTo>
                    <a:pt x="4675787" y="3615575"/>
                  </a:lnTo>
                  <a:lnTo>
                    <a:pt x="4675360" y="3613801"/>
                  </a:lnTo>
                  <a:lnTo>
                    <a:pt x="4675955" y="3612622"/>
                  </a:lnTo>
                  <a:lnTo>
                    <a:pt x="4675666" y="3612017"/>
                  </a:lnTo>
                  <a:lnTo>
                    <a:pt x="4674254" y="3612447"/>
                  </a:lnTo>
                  <a:lnTo>
                    <a:pt x="4672582" y="3612016"/>
                  </a:lnTo>
                  <a:lnTo>
                    <a:pt x="4667413" y="3609704"/>
                  </a:lnTo>
                  <a:lnTo>
                    <a:pt x="4665633" y="3608421"/>
                  </a:lnTo>
                  <a:lnTo>
                    <a:pt x="4664751" y="3606916"/>
                  </a:lnTo>
                  <a:lnTo>
                    <a:pt x="4666538" y="3604640"/>
                  </a:lnTo>
                  <a:lnTo>
                    <a:pt x="4666255" y="3603703"/>
                  </a:lnTo>
                  <a:lnTo>
                    <a:pt x="4665623" y="3602803"/>
                  </a:lnTo>
                  <a:lnTo>
                    <a:pt x="4665316" y="3602029"/>
                  </a:lnTo>
                  <a:lnTo>
                    <a:pt x="4665582" y="3601168"/>
                  </a:lnTo>
                  <a:lnTo>
                    <a:pt x="4666460" y="3599696"/>
                  </a:lnTo>
                  <a:lnTo>
                    <a:pt x="4666736" y="3598748"/>
                  </a:lnTo>
                  <a:lnTo>
                    <a:pt x="4667364" y="3597242"/>
                  </a:lnTo>
                  <a:lnTo>
                    <a:pt x="4672365" y="3591430"/>
                  </a:lnTo>
                  <a:lnTo>
                    <a:pt x="4676098" y="3588223"/>
                  </a:lnTo>
                  <a:lnTo>
                    <a:pt x="4678823" y="3583715"/>
                  </a:lnTo>
                  <a:lnTo>
                    <a:pt x="4680105" y="3582609"/>
                  </a:lnTo>
                  <a:lnTo>
                    <a:pt x="4682794" y="3581391"/>
                  </a:lnTo>
                  <a:lnTo>
                    <a:pt x="4684121" y="3580370"/>
                  </a:lnTo>
                  <a:lnTo>
                    <a:pt x="4684800" y="3578878"/>
                  </a:lnTo>
                  <a:lnTo>
                    <a:pt x="4684661" y="3577711"/>
                  </a:lnTo>
                  <a:lnTo>
                    <a:pt x="4684302" y="3576984"/>
                  </a:lnTo>
                  <a:lnTo>
                    <a:pt x="4684262" y="3576425"/>
                  </a:lnTo>
                  <a:lnTo>
                    <a:pt x="4685083" y="3575777"/>
                  </a:lnTo>
                  <a:lnTo>
                    <a:pt x="4687036" y="3574884"/>
                  </a:lnTo>
                  <a:lnTo>
                    <a:pt x="4688041" y="3574808"/>
                  </a:lnTo>
                  <a:lnTo>
                    <a:pt x="4689182" y="3575149"/>
                  </a:lnTo>
                  <a:lnTo>
                    <a:pt x="4689352" y="3574334"/>
                  </a:lnTo>
                  <a:lnTo>
                    <a:pt x="4689280" y="3572322"/>
                  </a:lnTo>
                  <a:lnTo>
                    <a:pt x="4689347" y="3571769"/>
                  </a:lnTo>
                  <a:lnTo>
                    <a:pt x="4689871" y="3571473"/>
                  </a:lnTo>
                  <a:lnTo>
                    <a:pt x="4692420" y="3570853"/>
                  </a:lnTo>
                  <a:lnTo>
                    <a:pt x="4698841" y="3567067"/>
                  </a:lnTo>
                  <a:lnTo>
                    <a:pt x="4700813" y="3564830"/>
                  </a:lnTo>
                  <a:lnTo>
                    <a:pt x="4701999" y="3563916"/>
                  </a:lnTo>
                  <a:lnTo>
                    <a:pt x="4703569" y="3563686"/>
                  </a:lnTo>
                  <a:lnTo>
                    <a:pt x="4704935" y="3564382"/>
                  </a:lnTo>
                  <a:lnTo>
                    <a:pt x="4706251" y="3565347"/>
                  </a:lnTo>
                  <a:lnTo>
                    <a:pt x="4707684" y="3565935"/>
                  </a:lnTo>
                  <a:lnTo>
                    <a:pt x="4706696" y="3562418"/>
                  </a:lnTo>
                  <a:lnTo>
                    <a:pt x="4707633" y="3559448"/>
                  </a:lnTo>
                  <a:lnTo>
                    <a:pt x="4709620" y="3557024"/>
                  </a:lnTo>
                  <a:lnTo>
                    <a:pt x="4711790" y="3555151"/>
                  </a:lnTo>
                  <a:lnTo>
                    <a:pt x="4709156" y="3555298"/>
                  </a:lnTo>
                  <a:lnTo>
                    <a:pt x="4701186" y="3559309"/>
                  </a:lnTo>
                  <a:lnTo>
                    <a:pt x="4699592" y="3559803"/>
                  </a:lnTo>
                  <a:lnTo>
                    <a:pt x="4696058" y="3560036"/>
                  </a:lnTo>
                  <a:lnTo>
                    <a:pt x="4694412" y="3560507"/>
                  </a:lnTo>
                  <a:lnTo>
                    <a:pt x="4679312" y="3568751"/>
                  </a:lnTo>
                  <a:lnTo>
                    <a:pt x="4678233" y="3569719"/>
                  </a:lnTo>
                  <a:lnTo>
                    <a:pt x="4677567" y="3571002"/>
                  </a:lnTo>
                  <a:lnTo>
                    <a:pt x="4676667" y="3573620"/>
                  </a:lnTo>
                  <a:lnTo>
                    <a:pt x="4676491" y="3574382"/>
                  </a:lnTo>
                  <a:lnTo>
                    <a:pt x="4676454" y="3575093"/>
                  </a:lnTo>
                  <a:lnTo>
                    <a:pt x="4676210" y="3575642"/>
                  </a:lnTo>
                  <a:lnTo>
                    <a:pt x="4675425" y="3575902"/>
                  </a:lnTo>
                  <a:lnTo>
                    <a:pt x="4674596" y="3575781"/>
                  </a:lnTo>
                  <a:lnTo>
                    <a:pt x="4674014" y="3575314"/>
                  </a:lnTo>
                  <a:lnTo>
                    <a:pt x="4673701" y="3574542"/>
                  </a:lnTo>
                  <a:lnTo>
                    <a:pt x="4673676" y="3573494"/>
                  </a:lnTo>
                  <a:lnTo>
                    <a:pt x="4670953" y="3572876"/>
                  </a:lnTo>
                  <a:lnTo>
                    <a:pt x="4666090" y="3576495"/>
                  </a:lnTo>
                  <a:lnTo>
                    <a:pt x="4663250" y="3577447"/>
                  </a:lnTo>
                  <a:lnTo>
                    <a:pt x="4663678" y="3576556"/>
                  </a:lnTo>
                  <a:lnTo>
                    <a:pt x="4663903" y="3576255"/>
                  </a:lnTo>
                  <a:lnTo>
                    <a:pt x="4661484" y="3576208"/>
                  </a:lnTo>
                  <a:lnTo>
                    <a:pt x="4658708" y="3577437"/>
                  </a:lnTo>
                  <a:lnTo>
                    <a:pt x="4653749" y="3580877"/>
                  </a:lnTo>
                  <a:lnTo>
                    <a:pt x="4650239" y="3584495"/>
                  </a:lnTo>
                  <a:lnTo>
                    <a:pt x="4648183" y="3585915"/>
                  </a:lnTo>
                  <a:lnTo>
                    <a:pt x="4645234" y="3586272"/>
                  </a:lnTo>
                  <a:lnTo>
                    <a:pt x="4646021" y="3588312"/>
                  </a:lnTo>
                  <a:lnTo>
                    <a:pt x="4645590" y="3588782"/>
                  </a:lnTo>
                  <a:lnTo>
                    <a:pt x="4644538" y="3588630"/>
                  </a:lnTo>
                  <a:lnTo>
                    <a:pt x="4643469" y="3588810"/>
                  </a:lnTo>
                  <a:lnTo>
                    <a:pt x="4642788" y="3589498"/>
                  </a:lnTo>
                  <a:lnTo>
                    <a:pt x="4642278" y="3590363"/>
                  </a:lnTo>
                  <a:lnTo>
                    <a:pt x="4641918" y="3591353"/>
                  </a:lnTo>
                  <a:lnTo>
                    <a:pt x="4641689" y="3592418"/>
                  </a:lnTo>
                  <a:lnTo>
                    <a:pt x="4640628" y="3592298"/>
                  </a:lnTo>
                  <a:lnTo>
                    <a:pt x="4637765" y="3592763"/>
                  </a:lnTo>
                  <a:lnTo>
                    <a:pt x="4636793" y="3592477"/>
                  </a:lnTo>
                  <a:lnTo>
                    <a:pt x="4636096" y="3592034"/>
                  </a:lnTo>
                  <a:lnTo>
                    <a:pt x="4635346" y="3591785"/>
                  </a:lnTo>
                  <a:lnTo>
                    <a:pt x="4626615" y="3594492"/>
                  </a:lnTo>
                  <a:lnTo>
                    <a:pt x="4623951" y="3596770"/>
                  </a:lnTo>
                  <a:lnTo>
                    <a:pt x="4621262" y="3600572"/>
                  </a:lnTo>
                  <a:lnTo>
                    <a:pt x="4620212" y="3604602"/>
                  </a:lnTo>
                  <a:lnTo>
                    <a:pt x="4622502" y="3607586"/>
                  </a:lnTo>
                  <a:lnTo>
                    <a:pt x="4621154" y="3608504"/>
                  </a:lnTo>
                  <a:lnTo>
                    <a:pt x="4620509" y="3609877"/>
                  </a:lnTo>
                  <a:lnTo>
                    <a:pt x="4620108" y="3611311"/>
                  </a:lnTo>
                  <a:lnTo>
                    <a:pt x="4619479" y="3612437"/>
                  </a:lnTo>
                  <a:lnTo>
                    <a:pt x="4618935" y="3613011"/>
                  </a:lnTo>
                  <a:lnTo>
                    <a:pt x="4618888" y="3612956"/>
                  </a:lnTo>
                  <a:lnTo>
                    <a:pt x="4618766" y="3612449"/>
                  </a:lnTo>
                  <a:lnTo>
                    <a:pt x="4617992" y="3611626"/>
                  </a:lnTo>
                  <a:lnTo>
                    <a:pt x="4617674" y="3611167"/>
                  </a:lnTo>
                  <a:lnTo>
                    <a:pt x="4617766" y="3610224"/>
                  </a:lnTo>
                  <a:lnTo>
                    <a:pt x="4617430" y="3609803"/>
                  </a:lnTo>
                  <a:lnTo>
                    <a:pt x="4616889" y="3609699"/>
                  </a:lnTo>
                  <a:lnTo>
                    <a:pt x="4616091" y="3610247"/>
                  </a:lnTo>
                  <a:lnTo>
                    <a:pt x="4615616" y="3610287"/>
                  </a:lnTo>
                  <a:lnTo>
                    <a:pt x="4612872" y="3609996"/>
                  </a:lnTo>
                  <a:lnTo>
                    <a:pt x="4610099" y="3610830"/>
                  </a:lnTo>
                  <a:lnTo>
                    <a:pt x="4607821" y="3612815"/>
                  </a:lnTo>
                  <a:lnTo>
                    <a:pt x="4606560" y="3615936"/>
                  </a:lnTo>
                  <a:lnTo>
                    <a:pt x="4604984" y="3613719"/>
                  </a:lnTo>
                  <a:lnTo>
                    <a:pt x="4604009" y="3610345"/>
                  </a:lnTo>
                  <a:lnTo>
                    <a:pt x="4603590" y="3606978"/>
                  </a:lnTo>
                  <a:lnTo>
                    <a:pt x="4603688" y="3604781"/>
                  </a:lnTo>
                  <a:lnTo>
                    <a:pt x="4605728" y="3600387"/>
                  </a:lnTo>
                  <a:lnTo>
                    <a:pt x="4606667" y="3599677"/>
                  </a:lnTo>
                  <a:lnTo>
                    <a:pt x="4607917" y="3597978"/>
                  </a:lnTo>
                  <a:lnTo>
                    <a:pt x="4608814" y="3597110"/>
                  </a:lnTo>
                  <a:lnTo>
                    <a:pt x="4605922" y="3597020"/>
                  </a:lnTo>
                  <a:lnTo>
                    <a:pt x="4612137" y="3587297"/>
                  </a:lnTo>
                  <a:lnTo>
                    <a:pt x="4613613" y="3585823"/>
                  </a:lnTo>
                  <a:lnTo>
                    <a:pt x="4614167" y="3583824"/>
                  </a:lnTo>
                  <a:lnTo>
                    <a:pt x="4615038" y="3583051"/>
                  </a:lnTo>
                  <a:lnTo>
                    <a:pt x="4614011" y="3580256"/>
                  </a:lnTo>
                  <a:lnTo>
                    <a:pt x="4615418" y="3577512"/>
                  </a:lnTo>
                  <a:lnTo>
                    <a:pt x="4617605" y="3574807"/>
                  </a:lnTo>
                  <a:lnTo>
                    <a:pt x="4618920" y="3572112"/>
                  </a:lnTo>
                  <a:lnTo>
                    <a:pt x="4619722" y="3568602"/>
                  </a:lnTo>
                  <a:lnTo>
                    <a:pt x="4620787" y="3565643"/>
                  </a:lnTo>
                  <a:lnTo>
                    <a:pt x="4621174" y="3565104"/>
                  </a:lnTo>
                  <a:lnTo>
                    <a:pt x="4622047" y="3564401"/>
                  </a:lnTo>
                  <a:lnTo>
                    <a:pt x="4622321" y="3563996"/>
                  </a:lnTo>
                  <a:lnTo>
                    <a:pt x="4622548" y="3562968"/>
                  </a:lnTo>
                  <a:lnTo>
                    <a:pt x="4622655" y="3561235"/>
                  </a:lnTo>
                  <a:lnTo>
                    <a:pt x="4622975" y="3560376"/>
                  </a:lnTo>
                  <a:lnTo>
                    <a:pt x="4621740" y="3559151"/>
                  </a:lnTo>
                  <a:lnTo>
                    <a:pt x="4620964" y="3557933"/>
                  </a:lnTo>
                  <a:lnTo>
                    <a:pt x="4621000" y="3556766"/>
                  </a:lnTo>
                  <a:lnTo>
                    <a:pt x="4622193" y="3555682"/>
                  </a:lnTo>
                  <a:lnTo>
                    <a:pt x="4622912" y="3554720"/>
                  </a:lnTo>
                  <a:lnTo>
                    <a:pt x="4623207" y="3553165"/>
                  </a:lnTo>
                  <a:lnTo>
                    <a:pt x="4623051" y="3551591"/>
                  </a:lnTo>
                  <a:lnTo>
                    <a:pt x="4622412" y="3550554"/>
                  </a:lnTo>
                  <a:lnTo>
                    <a:pt x="4625890" y="3544502"/>
                  </a:lnTo>
                  <a:lnTo>
                    <a:pt x="4627238" y="3545105"/>
                  </a:lnTo>
                  <a:lnTo>
                    <a:pt x="4627647" y="3546205"/>
                  </a:lnTo>
                  <a:lnTo>
                    <a:pt x="4627341" y="3548752"/>
                  </a:lnTo>
                  <a:lnTo>
                    <a:pt x="4627089" y="3549416"/>
                  </a:lnTo>
                  <a:lnTo>
                    <a:pt x="4626682" y="3549803"/>
                  </a:lnTo>
                  <a:lnTo>
                    <a:pt x="4626452" y="3550266"/>
                  </a:lnTo>
                  <a:lnTo>
                    <a:pt x="4626711" y="3551186"/>
                  </a:lnTo>
                  <a:lnTo>
                    <a:pt x="4627090" y="3551633"/>
                  </a:lnTo>
                  <a:lnTo>
                    <a:pt x="4627482" y="3551873"/>
                  </a:lnTo>
                  <a:lnTo>
                    <a:pt x="4627760" y="3552354"/>
                  </a:lnTo>
                  <a:lnTo>
                    <a:pt x="4627828" y="3553527"/>
                  </a:lnTo>
                  <a:lnTo>
                    <a:pt x="4628446" y="3551838"/>
                  </a:lnTo>
                  <a:lnTo>
                    <a:pt x="4629078" y="3550740"/>
                  </a:lnTo>
                  <a:lnTo>
                    <a:pt x="4630012" y="3549917"/>
                  </a:lnTo>
                  <a:lnTo>
                    <a:pt x="4631532" y="3549028"/>
                  </a:lnTo>
                  <a:lnTo>
                    <a:pt x="4630774" y="3548325"/>
                  </a:lnTo>
                  <a:lnTo>
                    <a:pt x="4629929" y="3548227"/>
                  </a:lnTo>
                  <a:lnTo>
                    <a:pt x="4629039" y="3548583"/>
                  </a:lnTo>
                  <a:lnTo>
                    <a:pt x="4628123" y="3549173"/>
                  </a:lnTo>
                  <a:lnTo>
                    <a:pt x="4628668" y="3548242"/>
                  </a:lnTo>
                  <a:lnTo>
                    <a:pt x="4628968" y="3546912"/>
                  </a:lnTo>
                  <a:lnTo>
                    <a:pt x="4629016" y="3545538"/>
                  </a:lnTo>
                  <a:lnTo>
                    <a:pt x="4628848" y="3544518"/>
                  </a:lnTo>
                  <a:lnTo>
                    <a:pt x="4628024" y="3542860"/>
                  </a:lnTo>
                  <a:lnTo>
                    <a:pt x="4627156" y="3541956"/>
                  </a:lnTo>
                  <a:lnTo>
                    <a:pt x="4622408" y="3540067"/>
                  </a:lnTo>
                  <a:lnTo>
                    <a:pt x="4621183" y="3539827"/>
                  </a:lnTo>
                  <a:lnTo>
                    <a:pt x="4620178" y="3539930"/>
                  </a:lnTo>
                  <a:lnTo>
                    <a:pt x="4619379" y="3540796"/>
                  </a:lnTo>
                  <a:lnTo>
                    <a:pt x="4619502" y="3541849"/>
                  </a:lnTo>
                  <a:lnTo>
                    <a:pt x="4620332" y="3542375"/>
                  </a:lnTo>
                  <a:lnTo>
                    <a:pt x="4621638" y="3541668"/>
                  </a:lnTo>
                  <a:lnTo>
                    <a:pt x="4621987" y="3542396"/>
                  </a:lnTo>
                  <a:lnTo>
                    <a:pt x="4620659" y="3544817"/>
                  </a:lnTo>
                  <a:lnTo>
                    <a:pt x="4619835" y="3552076"/>
                  </a:lnTo>
                  <a:lnTo>
                    <a:pt x="4618594" y="3554253"/>
                  </a:lnTo>
                  <a:lnTo>
                    <a:pt x="4617670" y="3555482"/>
                  </a:lnTo>
                  <a:lnTo>
                    <a:pt x="4617840" y="3557148"/>
                  </a:lnTo>
                  <a:lnTo>
                    <a:pt x="4618397" y="3558917"/>
                  </a:lnTo>
                  <a:lnTo>
                    <a:pt x="4618626" y="3560477"/>
                  </a:lnTo>
                  <a:lnTo>
                    <a:pt x="4617988" y="3561658"/>
                  </a:lnTo>
                  <a:lnTo>
                    <a:pt x="4616725" y="3562378"/>
                  </a:lnTo>
                  <a:lnTo>
                    <a:pt x="4615265" y="3562634"/>
                  </a:lnTo>
                  <a:lnTo>
                    <a:pt x="4614054" y="3562447"/>
                  </a:lnTo>
                  <a:lnTo>
                    <a:pt x="4614868" y="3560675"/>
                  </a:lnTo>
                  <a:lnTo>
                    <a:pt x="4614973" y="3557722"/>
                  </a:lnTo>
                  <a:lnTo>
                    <a:pt x="4614577" y="3554561"/>
                  </a:lnTo>
                  <a:lnTo>
                    <a:pt x="4613842" y="3552128"/>
                  </a:lnTo>
                  <a:lnTo>
                    <a:pt x="4613085" y="3551542"/>
                  </a:lnTo>
                  <a:lnTo>
                    <a:pt x="4610576" y="3551038"/>
                  </a:lnTo>
                  <a:lnTo>
                    <a:pt x="4609664" y="3550629"/>
                  </a:lnTo>
                  <a:lnTo>
                    <a:pt x="4608674" y="3549383"/>
                  </a:lnTo>
                  <a:lnTo>
                    <a:pt x="4608130" y="3548156"/>
                  </a:lnTo>
                  <a:lnTo>
                    <a:pt x="4607099" y="3545221"/>
                  </a:lnTo>
                  <a:lnTo>
                    <a:pt x="4606821" y="3547653"/>
                  </a:lnTo>
                  <a:lnTo>
                    <a:pt x="4606203" y="3548578"/>
                  </a:lnTo>
                  <a:lnTo>
                    <a:pt x="4605105" y="3548317"/>
                  </a:lnTo>
                  <a:lnTo>
                    <a:pt x="4598033" y="3543618"/>
                  </a:lnTo>
                  <a:lnTo>
                    <a:pt x="4596004" y="3542721"/>
                  </a:lnTo>
                  <a:lnTo>
                    <a:pt x="4593987" y="3542246"/>
                  </a:lnTo>
                  <a:lnTo>
                    <a:pt x="4593035" y="3541791"/>
                  </a:lnTo>
                  <a:lnTo>
                    <a:pt x="4592305" y="3540871"/>
                  </a:lnTo>
                  <a:lnTo>
                    <a:pt x="4591151" y="3538559"/>
                  </a:lnTo>
                  <a:lnTo>
                    <a:pt x="4590505" y="3537585"/>
                  </a:lnTo>
                  <a:lnTo>
                    <a:pt x="4589731" y="3536757"/>
                  </a:lnTo>
                  <a:lnTo>
                    <a:pt x="4588038" y="3535707"/>
                  </a:lnTo>
                  <a:lnTo>
                    <a:pt x="4585765" y="3534832"/>
                  </a:lnTo>
                  <a:lnTo>
                    <a:pt x="4583738" y="3534574"/>
                  </a:lnTo>
                  <a:lnTo>
                    <a:pt x="4582768" y="3535408"/>
                  </a:lnTo>
                  <a:lnTo>
                    <a:pt x="4588193" y="3537159"/>
                  </a:lnTo>
                  <a:lnTo>
                    <a:pt x="4589903" y="3538341"/>
                  </a:lnTo>
                  <a:lnTo>
                    <a:pt x="4589972" y="3540108"/>
                  </a:lnTo>
                  <a:lnTo>
                    <a:pt x="4590271" y="3541156"/>
                  </a:lnTo>
                  <a:lnTo>
                    <a:pt x="4590960" y="3541854"/>
                  </a:lnTo>
                  <a:lnTo>
                    <a:pt x="4592187" y="3542568"/>
                  </a:lnTo>
                  <a:lnTo>
                    <a:pt x="4594666" y="3543427"/>
                  </a:lnTo>
                  <a:lnTo>
                    <a:pt x="4595235" y="3543819"/>
                  </a:lnTo>
                  <a:lnTo>
                    <a:pt x="4596296" y="3544724"/>
                  </a:lnTo>
                  <a:lnTo>
                    <a:pt x="4596691" y="3544785"/>
                  </a:lnTo>
                  <a:lnTo>
                    <a:pt x="4598083" y="3544728"/>
                  </a:lnTo>
                  <a:lnTo>
                    <a:pt x="4599326" y="3545691"/>
                  </a:lnTo>
                  <a:lnTo>
                    <a:pt x="4601563" y="3548152"/>
                  </a:lnTo>
                  <a:lnTo>
                    <a:pt x="4602898" y="3548872"/>
                  </a:lnTo>
                  <a:lnTo>
                    <a:pt x="4605281" y="3549805"/>
                  </a:lnTo>
                  <a:lnTo>
                    <a:pt x="4606261" y="3550756"/>
                  </a:lnTo>
                  <a:lnTo>
                    <a:pt x="4606993" y="3554631"/>
                  </a:lnTo>
                  <a:lnTo>
                    <a:pt x="4606298" y="3558128"/>
                  </a:lnTo>
                  <a:lnTo>
                    <a:pt x="4605093" y="3561544"/>
                  </a:lnTo>
                  <a:lnTo>
                    <a:pt x="4604291" y="3565164"/>
                  </a:lnTo>
                  <a:lnTo>
                    <a:pt x="4605203" y="3565371"/>
                  </a:lnTo>
                  <a:lnTo>
                    <a:pt x="4607048" y="3566301"/>
                  </a:lnTo>
                  <a:lnTo>
                    <a:pt x="4607914" y="3566601"/>
                  </a:lnTo>
                  <a:lnTo>
                    <a:pt x="4607261" y="3567389"/>
                  </a:lnTo>
                  <a:lnTo>
                    <a:pt x="4605458" y="3567653"/>
                  </a:lnTo>
                  <a:lnTo>
                    <a:pt x="4604627" y="3568333"/>
                  </a:lnTo>
                  <a:lnTo>
                    <a:pt x="4604539" y="3569406"/>
                  </a:lnTo>
                  <a:lnTo>
                    <a:pt x="4605032" y="3572432"/>
                  </a:lnTo>
                  <a:lnTo>
                    <a:pt x="4604900" y="3573208"/>
                  </a:lnTo>
                  <a:lnTo>
                    <a:pt x="4604298" y="3574730"/>
                  </a:lnTo>
                  <a:lnTo>
                    <a:pt x="4604553" y="3580164"/>
                  </a:lnTo>
                  <a:lnTo>
                    <a:pt x="4604126" y="3582035"/>
                  </a:lnTo>
                  <a:lnTo>
                    <a:pt x="4603283" y="3582616"/>
                  </a:lnTo>
                  <a:lnTo>
                    <a:pt x="4602654" y="3582269"/>
                  </a:lnTo>
                  <a:lnTo>
                    <a:pt x="4601926" y="3581602"/>
                  </a:lnTo>
                  <a:lnTo>
                    <a:pt x="4600785" y="3581211"/>
                  </a:lnTo>
                  <a:lnTo>
                    <a:pt x="4599932" y="3581410"/>
                  </a:lnTo>
                  <a:lnTo>
                    <a:pt x="4595668" y="3584109"/>
                  </a:lnTo>
                  <a:lnTo>
                    <a:pt x="4594417" y="3585418"/>
                  </a:lnTo>
                  <a:lnTo>
                    <a:pt x="4593469" y="3586957"/>
                  </a:lnTo>
                  <a:lnTo>
                    <a:pt x="4592737" y="3588760"/>
                  </a:lnTo>
                  <a:lnTo>
                    <a:pt x="4591463" y="3595403"/>
                  </a:lnTo>
                  <a:lnTo>
                    <a:pt x="4590327" y="3596753"/>
                  </a:lnTo>
                  <a:lnTo>
                    <a:pt x="4589075" y="3597698"/>
                  </a:lnTo>
                  <a:lnTo>
                    <a:pt x="4580701" y="3606918"/>
                  </a:lnTo>
                  <a:lnTo>
                    <a:pt x="4574060" y="3616572"/>
                  </a:lnTo>
                  <a:lnTo>
                    <a:pt x="4566045" y="3631323"/>
                  </a:lnTo>
                  <a:lnTo>
                    <a:pt x="4564280" y="3633079"/>
                  </a:lnTo>
                  <a:lnTo>
                    <a:pt x="4563916" y="3634100"/>
                  </a:lnTo>
                  <a:lnTo>
                    <a:pt x="4563868" y="3635305"/>
                  </a:lnTo>
                  <a:lnTo>
                    <a:pt x="4564176" y="3636467"/>
                  </a:lnTo>
                  <a:lnTo>
                    <a:pt x="4564090" y="3637430"/>
                  </a:lnTo>
                  <a:lnTo>
                    <a:pt x="4563327" y="3638396"/>
                  </a:lnTo>
                  <a:lnTo>
                    <a:pt x="4559641" y="3641382"/>
                  </a:lnTo>
                  <a:lnTo>
                    <a:pt x="4559069" y="3642038"/>
                  </a:lnTo>
                  <a:lnTo>
                    <a:pt x="4557678" y="3644941"/>
                  </a:lnTo>
                  <a:lnTo>
                    <a:pt x="4555554" y="3647146"/>
                  </a:lnTo>
                  <a:lnTo>
                    <a:pt x="4554528" y="3651538"/>
                  </a:lnTo>
                  <a:lnTo>
                    <a:pt x="4553586" y="3653095"/>
                  </a:lnTo>
                  <a:lnTo>
                    <a:pt x="4552839" y="3653132"/>
                  </a:lnTo>
                  <a:lnTo>
                    <a:pt x="4550719" y="3652422"/>
                  </a:lnTo>
                  <a:lnTo>
                    <a:pt x="4549839" y="3652501"/>
                  </a:lnTo>
                  <a:lnTo>
                    <a:pt x="4549309" y="3653345"/>
                  </a:lnTo>
                  <a:lnTo>
                    <a:pt x="4548572" y="3655949"/>
                  </a:lnTo>
                  <a:lnTo>
                    <a:pt x="4547135" y="3657723"/>
                  </a:lnTo>
                  <a:lnTo>
                    <a:pt x="4545535" y="3660848"/>
                  </a:lnTo>
                  <a:lnTo>
                    <a:pt x="4544230" y="3661936"/>
                  </a:lnTo>
                  <a:lnTo>
                    <a:pt x="4542730" y="3662355"/>
                  </a:lnTo>
                  <a:lnTo>
                    <a:pt x="4540168" y="3662556"/>
                  </a:lnTo>
                  <a:lnTo>
                    <a:pt x="4538635" y="3663088"/>
                  </a:lnTo>
                  <a:lnTo>
                    <a:pt x="4537374" y="3662952"/>
                  </a:lnTo>
                  <a:lnTo>
                    <a:pt x="4536010" y="3661862"/>
                  </a:lnTo>
                  <a:lnTo>
                    <a:pt x="4533952" y="3659664"/>
                  </a:lnTo>
                  <a:lnTo>
                    <a:pt x="4531901" y="3659055"/>
                  </a:lnTo>
                  <a:lnTo>
                    <a:pt x="4524015" y="3659664"/>
                  </a:lnTo>
                  <a:lnTo>
                    <a:pt x="4528551" y="3650415"/>
                  </a:lnTo>
                  <a:lnTo>
                    <a:pt x="4529496" y="3646536"/>
                  </a:lnTo>
                  <a:lnTo>
                    <a:pt x="4529374" y="3645603"/>
                  </a:lnTo>
                  <a:lnTo>
                    <a:pt x="4528927" y="3644468"/>
                  </a:lnTo>
                  <a:lnTo>
                    <a:pt x="4527895" y="3642380"/>
                  </a:lnTo>
                  <a:lnTo>
                    <a:pt x="4527298" y="3641439"/>
                  </a:lnTo>
                  <a:lnTo>
                    <a:pt x="4526568" y="3640646"/>
                  </a:lnTo>
                  <a:lnTo>
                    <a:pt x="4526040" y="3640310"/>
                  </a:lnTo>
                  <a:lnTo>
                    <a:pt x="4526073" y="3640776"/>
                  </a:lnTo>
                  <a:lnTo>
                    <a:pt x="4525971" y="3642167"/>
                  </a:lnTo>
                  <a:lnTo>
                    <a:pt x="4524524" y="3646109"/>
                  </a:lnTo>
                  <a:lnTo>
                    <a:pt x="4524732" y="3648712"/>
                  </a:lnTo>
                  <a:lnTo>
                    <a:pt x="4524630" y="3651852"/>
                  </a:lnTo>
                  <a:lnTo>
                    <a:pt x="4524707" y="3652385"/>
                  </a:lnTo>
                  <a:lnTo>
                    <a:pt x="4524975" y="3652900"/>
                  </a:lnTo>
                  <a:lnTo>
                    <a:pt x="4525166" y="3653459"/>
                  </a:lnTo>
                  <a:lnTo>
                    <a:pt x="4525021" y="3654137"/>
                  </a:lnTo>
                  <a:lnTo>
                    <a:pt x="4524637" y="3654343"/>
                  </a:lnTo>
                  <a:lnTo>
                    <a:pt x="4523415" y="3654209"/>
                  </a:lnTo>
                  <a:lnTo>
                    <a:pt x="4522870" y="3654382"/>
                  </a:lnTo>
                  <a:lnTo>
                    <a:pt x="4520338" y="3656754"/>
                  </a:lnTo>
                  <a:lnTo>
                    <a:pt x="4519205" y="3658252"/>
                  </a:lnTo>
                  <a:lnTo>
                    <a:pt x="4518873" y="3659665"/>
                  </a:lnTo>
                  <a:lnTo>
                    <a:pt x="4519265" y="3659864"/>
                  </a:lnTo>
                  <a:lnTo>
                    <a:pt x="4521452" y="3661686"/>
                  </a:lnTo>
                  <a:lnTo>
                    <a:pt x="4522586" y="3662233"/>
                  </a:lnTo>
                  <a:lnTo>
                    <a:pt x="4523752" y="3662578"/>
                  </a:lnTo>
                  <a:lnTo>
                    <a:pt x="4524913" y="3662747"/>
                  </a:lnTo>
                  <a:lnTo>
                    <a:pt x="4526011" y="3662722"/>
                  </a:lnTo>
                  <a:lnTo>
                    <a:pt x="4527612" y="3662141"/>
                  </a:lnTo>
                  <a:lnTo>
                    <a:pt x="4528936" y="3661362"/>
                  </a:lnTo>
                  <a:lnTo>
                    <a:pt x="4530204" y="3661192"/>
                  </a:lnTo>
                  <a:lnTo>
                    <a:pt x="4531671" y="3662447"/>
                  </a:lnTo>
                  <a:lnTo>
                    <a:pt x="4530303" y="3663823"/>
                  </a:lnTo>
                  <a:lnTo>
                    <a:pt x="4528746" y="3666483"/>
                  </a:lnTo>
                  <a:lnTo>
                    <a:pt x="4527831" y="3669190"/>
                  </a:lnTo>
                  <a:lnTo>
                    <a:pt x="4528423" y="3670744"/>
                  </a:lnTo>
                  <a:lnTo>
                    <a:pt x="4526244" y="3674845"/>
                  </a:lnTo>
                  <a:lnTo>
                    <a:pt x="4525968" y="3675640"/>
                  </a:lnTo>
                  <a:lnTo>
                    <a:pt x="4526159" y="3677098"/>
                  </a:lnTo>
                  <a:lnTo>
                    <a:pt x="4524885" y="3676512"/>
                  </a:lnTo>
                  <a:lnTo>
                    <a:pt x="4522487" y="3674440"/>
                  </a:lnTo>
                  <a:lnTo>
                    <a:pt x="4520895" y="3674256"/>
                  </a:lnTo>
                  <a:lnTo>
                    <a:pt x="4518611" y="3674911"/>
                  </a:lnTo>
                  <a:lnTo>
                    <a:pt x="4516673" y="3676327"/>
                  </a:lnTo>
                  <a:lnTo>
                    <a:pt x="4516101" y="3678426"/>
                  </a:lnTo>
                  <a:lnTo>
                    <a:pt x="4517879" y="3677861"/>
                  </a:lnTo>
                  <a:lnTo>
                    <a:pt x="4520081" y="3676457"/>
                  </a:lnTo>
                  <a:lnTo>
                    <a:pt x="4521799" y="3676147"/>
                  </a:lnTo>
                  <a:lnTo>
                    <a:pt x="4522114" y="3678829"/>
                  </a:lnTo>
                  <a:lnTo>
                    <a:pt x="4520899" y="3680855"/>
                  </a:lnTo>
                  <a:lnTo>
                    <a:pt x="4517035" y="3683437"/>
                  </a:lnTo>
                  <a:lnTo>
                    <a:pt x="4516798" y="3685119"/>
                  </a:lnTo>
                  <a:lnTo>
                    <a:pt x="4517192" y="3686711"/>
                  </a:lnTo>
                  <a:lnTo>
                    <a:pt x="4516629" y="3687195"/>
                  </a:lnTo>
                  <a:lnTo>
                    <a:pt x="4515696" y="3687458"/>
                  </a:lnTo>
                  <a:lnTo>
                    <a:pt x="4514995" y="3688442"/>
                  </a:lnTo>
                  <a:lnTo>
                    <a:pt x="4514265" y="3691018"/>
                  </a:lnTo>
                  <a:lnTo>
                    <a:pt x="4513692" y="3692399"/>
                  </a:lnTo>
                  <a:lnTo>
                    <a:pt x="4513033" y="3693183"/>
                  </a:lnTo>
                  <a:lnTo>
                    <a:pt x="4512212" y="3693930"/>
                  </a:lnTo>
                  <a:lnTo>
                    <a:pt x="4511688" y="3694104"/>
                  </a:lnTo>
                  <a:lnTo>
                    <a:pt x="4511226" y="3693626"/>
                  </a:lnTo>
                  <a:lnTo>
                    <a:pt x="4510554" y="3692220"/>
                  </a:lnTo>
                  <a:lnTo>
                    <a:pt x="4510317" y="3691508"/>
                  </a:lnTo>
                  <a:lnTo>
                    <a:pt x="4510411" y="3691109"/>
                  </a:lnTo>
                  <a:lnTo>
                    <a:pt x="4510150" y="3690404"/>
                  </a:lnTo>
                  <a:lnTo>
                    <a:pt x="4506232" y="3687401"/>
                  </a:lnTo>
                  <a:lnTo>
                    <a:pt x="4505551" y="3688652"/>
                  </a:lnTo>
                  <a:lnTo>
                    <a:pt x="4504722" y="3689549"/>
                  </a:lnTo>
                  <a:lnTo>
                    <a:pt x="4503189" y="3690535"/>
                  </a:lnTo>
                  <a:lnTo>
                    <a:pt x="4502781" y="3690941"/>
                  </a:lnTo>
                  <a:lnTo>
                    <a:pt x="4497516" y="3700213"/>
                  </a:lnTo>
                  <a:lnTo>
                    <a:pt x="4495680" y="3702312"/>
                  </a:lnTo>
                  <a:lnTo>
                    <a:pt x="4493663" y="3702657"/>
                  </a:lnTo>
                  <a:lnTo>
                    <a:pt x="4493863" y="3701670"/>
                  </a:lnTo>
                  <a:lnTo>
                    <a:pt x="4493204" y="3701555"/>
                  </a:lnTo>
                  <a:lnTo>
                    <a:pt x="4492595" y="3701533"/>
                  </a:lnTo>
                  <a:lnTo>
                    <a:pt x="4492979" y="3703606"/>
                  </a:lnTo>
                  <a:lnTo>
                    <a:pt x="4492389" y="3705126"/>
                  </a:lnTo>
                  <a:lnTo>
                    <a:pt x="4491138" y="3706242"/>
                  </a:lnTo>
                  <a:lnTo>
                    <a:pt x="4489554" y="3707118"/>
                  </a:lnTo>
                  <a:lnTo>
                    <a:pt x="4488754" y="3706734"/>
                  </a:lnTo>
                  <a:lnTo>
                    <a:pt x="4488821" y="3704921"/>
                  </a:lnTo>
                  <a:lnTo>
                    <a:pt x="4488556" y="3703104"/>
                  </a:lnTo>
                  <a:lnTo>
                    <a:pt x="4486729" y="3702669"/>
                  </a:lnTo>
                  <a:lnTo>
                    <a:pt x="4487122" y="3704210"/>
                  </a:lnTo>
                  <a:lnTo>
                    <a:pt x="4486599" y="3704943"/>
                  </a:lnTo>
                  <a:lnTo>
                    <a:pt x="4485640" y="3705407"/>
                  </a:lnTo>
                  <a:lnTo>
                    <a:pt x="4484707" y="3706113"/>
                  </a:lnTo>
                  <a:lnTo>
                    <a:pt x="4483509" y="3709303"/>
                  </a:lnTo>
                  <a:lnTo>
                    <a:pt x="4482544" y="3710355"/>
                  </a:lnTo>
                  <a:lnTo>
                    <a:pt x="4479529" y="3707248"/>
                  </a:lnTo>
                  <a:lnTo>
                    <a:pt x="4478712" y="3705816"/>
                  </a:lnTo>
                  <a:lnTo>
                    <a:pt x="4479228" y="3704736"/>
                  </a:lnTo>
                  <a:lnTo>
                    <a:pt x="4480156" y="3704112"/>
                  </a:lnTo>
                  <a:lnTo>
                    <a:pt x="4481515" y="3702770"/>
                  </a:lnTo>
                  <a:lnTo>
                    <a:pt x="4482508" y="3702250"/>
                  </a:lnTo>
                  <a:lnTo>
                    <a:pt x="4481563" y="3701594"/>
                  </a:lnTo>
                  <a:lnTo>
                    <a:pt x="4480309" y="3701437"/>
                  </a:lnTo>
                  <a:lnTo>
                    <a:pt x="4479040" y="3701611"/>
                  </a:lnTo>
                  <a:lnTo>
                    <a:pt x="4478028" y="3701959"/>
                  </a:lnTo>
                  <a:lnTo>
                    <a:pt x="4476614" y="3701932"/>
                  </a:lnTo>
                  <a:lnTo>
                    <a:pt x="4475239" y="3700975"/>
                  </a:lnTo>
                  <a:lnTo>
                    <a:pt x="4474054" y="3699885"/>
                  </a:lnTo>
                  <a:lnTo>
                    <a:pt x="4473191" y="3699373"/>
                  </a:lnTo>
                  <a:lnTo>
                    <a:pt x="4472274" y="3699899"/>
                  </a:lnTo>
                  <a:lnTo>
                    <a:pt x="4471616" y="3701065"/>
                  </a:lnTo>
                  <a:lnTo>
                    <a:pt x="4471342" y="3702516"/>
                  </a:lnTo>
                  <a:lnTo>
                    <a:pt x="4471567" y="3703877"/>
                  </a:lnTo>
                  <a:lnTo>
                    <a:pt x="4471038" y="3703771"/>
                  </a:lnTo>
                  <a:lnTo>
                    <a:pt x="4469867" y="3703748"/>
                  </a:lnTo>
                  <a:lnTo>
                    <a:pt x="4468678" y="3704115"/>
                  </a:lnTo>
                  <a:lnTo>
                    <a:pt x="4468404" y="3707190"/>
                  </a:lnTo>
                  <a:lnTo>
                    <a:pt x="4468901" y="3708099"/>
                  </a:lnTo>
                  <a:lnTo>
                    <a:pt x="4469162" y="3710024"/>
                  </a:lnTo>
                  <a:lnTo>
                    <a:pt x="4469769" y="3712221"/>
                  </a:lnTo>
                  <a:lnTo>
                    <a:pt x="4471319" y="3713971"/>
                  </a:lnTo>
                  <a:lnTo>
                    <a:pt x="4469230" y="3714144"/>
                  </a:lnTo>
                  <a:lnTo>
                    <a:pt x="4467135" y="3713339"/>
                  </a:lnTo>
                  <a:lnTo>
                    <a:pt x="4462477" y="3710038"/>
                  </a:lnTo>
                  <a:lnTo>
                    <a:pt x="4461606" y="3709250"/>
                  </a:lnTo>
                  <a:lnTo>
                    <a:pt x="4460914" y="3708235"/>
                  </a:lnTo>
                  <a:lnTo>
                    <a:pt x="4459425" y="3705177"/>
                  </a:lnTo>
                  <a:lnTo>
                    <a:pt x="4458773" y="3704518"/>
                  </a:lnTo>
                  <a:lnTo>
                    <a:pt x="4458140" y="3704714"/>
                  </a:lnTo>
                  <a:lnTo>
                    <a:pt x="4457473" y="3705872"/>
                  </a:lnTo>
                  <a:lnTo>
                    <a:pt x="4456861" y="3704457"/>
                  </a:lnTo>
                  <a:lnTo>
                    <a:pt x="4456097" y="3703642"/>
                  </a:lnTo>
                  <a:lnTo>
                    <a:pt x="4455179" y="3703315"/>
                  </a:lnTo>
                  <a:lnTo>
                    <a:pt x="4454084" y="3703336"/>
                  </a:lnTo>
                  <a:lnTo>
                    <a:pt x="4454734" y="3704918"/>
                  </a:lnTo>
                  <a:lnTo>
                    <a:pt x="4455614" y="3706409"/>
                  </a:lnTo>
                  <a:lnTo>
                    <a:pt x="4456552" y="3707580"/>
                  </a:lnTo>
                  <a:lnTo>
                    <a:pt x="4457405" y="3708284"/>
                  </a:lnTo>
                  <a:lnTo>
                    <a:pt x="4454837" y="3708223"/>
                  </a:lnTo>
                  <a:lnTo>
                    <a:pt x="4453818" y="3708383"/>
                  </a:lnTo>
                  <a:lnTo>
                    <a:pt x="4451739" y="3708123"/>
                  </a:lnTo>
                  <a:lnTo>
                    <a:pt x="4450755" y="3708295"/>
                  </a:lnTo>
                  <a:lnTo>
                    <a:pt x="4449998" y="3708959"/>
                  </a:lnTo>
                  <a:lnTo>
                    <a:pt x="4449623" y="3710029"/>
                  </a:lnTo>
                  <a:lnTo>
                    <a:pt x="4449809" y="3710863"/>
                  </a:lnTo>
                  <a:lnTo>
                    <a:pt x="4450136" y="3711703"/>
                  </a:lnTo>
                  <a:lnTo>
                    <a:pt x="4450178" y="3712803"/>
                  </a:lnTo>
                  <a:lnTo>
                    <a:pt x="4448426" y="3715530"/>
                  </a:lnTo>
                  <a:lnTo>
                    <a:pt x="4445319" y="3715564"/>
                  </a:lnTo>
                  <a:lnTo>
                    <a:pt x="4441767" y="3713995"/>
                  </a:lnTo>
                  <a:lnTo>
                    <a:pt x="4437334" y="3710894"/>
                  </a:lnTo>
                  <a:lnTo>
                    <a:pt x="4433017" y="3709380"/>
                  </a:lnTo>
                  <a:lnTo>
                    <a:pt x="4432079" y="3707901"/>
                  </a:lnTo>
                  <a:lnTo>
                    <a:pt x="4431702" y="3705749"/>
                  </a:lnTo>
                  <a:lnTo>
                    <a:pt x="4431674" y="3703778"/>
                  </a:lnTo>
                  <a:lnTo>
                    <a:pt x="4432039" y="3699791"/>
                  </a:lnTo>
                  <a:lnTo>
                    <a:pt x="4430885" y="3695939"/>
                  </a:lnTo>
                  <a:lnTo>
                    <a:pt x="4424257" y="3690881"/>
                  </a:lnTo>
                  <a:lnTo>
                    <a:pt x="4421906" y="3687490"/>
                  </a:lnTo>
                  <a:lnTo>
                    <a:pt x="4423057" y="3685134"/>
                  </a:lnTo>
                  <a:lnTo>
                    <a:pt x="4424175" y="3682942"/>
                  </a:lnTo>
                  <a:lnTo>
                    <a:pt x="4424871" y="3681263"/>
                  </a:lnTo>
                  <a:lnTo>
                    <a:pt x="4423658" y="3677607"/>
                  </a:lnTo>
                  <a:lnTo>
                    <a:pt x="4421783" y="3675005"/>
                  </a:lnTo>
                  <a:lnTo>
                    <a:pt x="4419940" y="3674337"/>
                  </a:lnTo>
                  <a:lnTo>
                    <a:pt x="4418051" y="3674971"/>
                  </a:lnTo>
                  <a:lnTo>
                    <a:pt x="4416057" y="3676291"/>
                  </a:lnTo>
                  <a:lnTo>
                    <a:pt x="4412866" y="3677722"/>
                  </a:lnTo>
                  <a:lnTo>
                    <a:pt x="4408587" y="3678587"/>
                  </a:lnTo>
                  <a:lnTo>
                    <a:pt x="4404181" y="3678587"/>
                  </a:lnTo>
                  <a:lnTo>
                    <a:pt x="4401372" y="3677941"/>
                  </a:lnTo>
                  <a:lnTo>
                    <a:pt x="4399957" y="3677362"/>
                  </a:lnTo>
                  <a:lnTo>
                    <a:pt x="4399093" y="3676427"/>
                  </a:lnTo>
                  <a:lnTo>
                    <a:pt x="4398192" y="3675657"/>
                  </a:lnTo>
                  <a:lnTo>
                    <a:pt x="4397167" y="3675316"/>
                  </a:lnTo>
                  <a:lnTo>
                    <a:pt x="4396705" y="3675711"/>
                  </a:lnTo>
                  <a:lnTo>
                    <a:pt x="4396641" y="3676594"/>
                  </a:lnTo>
                  <a:lnTo>
                    <a:pt x="4396379" y="3677414"/>
                  </a:lnTo>
                  <a:lnTo>
                    <a:pt x="4395324" y="3677629"/>
                  </a:lnTo>
                  <a:lnTo>
                    <a:pt x="4393164" y="3677311"/>
                  </a:lnTo>
                  <a:lnTo>
                    <a:pt x="4391828" y="3676904"/>
                  </a:lnTo>
                  <a:lnTo>
                    <a:pt x="4390800" y="3675829"/>
                  </a:lnTo>
                  <a:lnTo>
                    <a:pt x="4388269" y="3670605"/>
                  </a:lnTo>
                  <a:lnTo>
                    <a:pt x="4387967" y="3668925"/>
                  </a:lnTo>
                  <a:lnTo>
                    <a:pt x="4388080" y="3666792"/>
                  </a:lnTo>
                  <a:lnTo>
                    <a:pt x="4388377" y="3664678"/>
                  </a:lnTo>
                  <a:lnTo>
                    <a:pt x="4388346" y="3663216"/>
                  </a:lnTo>
                  <a:lnTo>
                    <a:pt x="4387584" y="3662048"/>
                  </a:lnTo>
                  <a:lnTo>
                    <a:pt x="4385677" y="3660778"/>
                  </a:lnTo>
                  <a:lnTo>
                    <a:pt x="4384516" y="3659320"/>
                  </a:lnTo>
                  <a:lnTo>
                    <a:pt x="4384737" y="3657500"/>
                  </a:lnTo>
                  <a:lnTo>
                    <a:pt x="4385393" y="3655527"/>
                  </a:lnTo>
                  <a:lnTo>
                    <a:pt x="4385544" y="3653603"/>
                  </a:lnTo>
                  <a:lnTo>
                    <a:pt x="4385036" y="3652754"/>
                  </a:lnTo>
                  <a:lnTo>
                    <a:pt x="4384185" y="3652269"/>
                  </a:lnTo>
                  <a:lnTo>
                    <a:pt x="4383262" y="3651867"/>
                  </a:lnTo>
                  <a:lnTo>
                    <a:pt x="4382513" y="3651309"/>
                  </a:lnTo>
                  <a:lnTo>
                    <a:pt x="4381984" y="3650408"/>
                  </a:lnTo>
                  <a:lnTo>
                    <a:pt x="4376153" y="3637070"/>
                  </a:lnTo>
                  <a:lnTo>
                    <a:pt x="4370314" y="3623726"/>
                  </a:lnTo>
                  <a:lnTo>
                    <a:pt x="4364470" y="3610382"/>
                  </a:lnTo>
                  <a:lnTo>
                    <a:pt x="4358627" y="3597044"/>
                  </a:lnTo>
                  <a:lnTo>
                    <a:pt x="4352772" y="3583701"/>
                  </a:lnTo>
                  <a:lnTo>
                    <a:pt x="4346910" y="3570353"/>
                  </a:lnTo>
                  <a:lnTo>
                    <a:pt x="4341047" y="3557006"/>
                  </a:lnTo>
                  <a:lnTo>
                    <a:pt x="4335174" y="3543669"/>
                  </a:lnTo>
                  <a:lnTo>
                    <a:pt x="4333261" y="3539835"/>
                  </a:lnTo>
                  <a:lnTo>
                    <a:pt x="4332645" y="3539313"/>
                  </a:lnTo>
                  <a:lnTo>
                    <a:pt x="4329182" y="3539025"/>
                  </a:lnTo>
                  <a:lnTo>
                    <a:pt x="4327706" y="3538577"/>
                  </a:lnTo>
                  <a:lnTo>
                    <a:pt x="4324446" y="3536339"/>
                  </a:lnTo>
                  <a:lnTo>
                    <a:pt x="4320361" y="3535161"/>
                  </a:lnTo>
                  <a:lnTo>
                    <a:pt x="4319563" y="3534529"/>
                  </a:lnTo>
                  <a:lnTo>
                    <a:pt x="4318733" y="3533277"/>
                  </a:lnTo>
                  <a:lnTo>
                    <a:pt x="4317675" y="3532447"/>
                  </a:lnTo>
                  <a:lnTo>
                    <a:pt x="4314519" y="3530862"/>
                  </a:lnTo>
                  <a:lnTo>
                    <a:pt x="4310469" y="3530111"/>
                  </a:lnTo>
                  <a:lnTo>
                    <a:pt x="4304552" y="3527960"/>
                  </a:lnTo>
                  <a:lnTo>
                    <a:pt x="4303353" y="3527786"/>
                  </a:lnTo>
                  <a:lnTo>
                    <a:pt x="4300964" y="3527794"/>
                  </a:lnTo>
                  <a:lnTo>
                    <a:pt x="4300001" y="3527616"/>
                  </a:lnTo>
                  <a:lnTo>
                    <a:pt x="4296982" y="3525850"/>
                  </a:lnTo>
                  <a:lnTo>
                    <a:pt x="4295776" y="3525419"/>
                  </a:lnTo>
                  <a:lnTo>
                    <a:pt x="4291637" y="3525037"/>
                  </a:lnTo>
                  <a:lnTo>
                    <a:pt x="4287736" y="3525965"/>
                  </a:lnTo>
                  <a:lnTo>
                    <a:pt x="4284876" y="3528391"/>
                  </a:lnTo>
                  <a:lnTo>
                    <a:pt x="4283844" y="3532526"/>
                  </a:lnTo>
                  <a:lnTo>
                    <a:pt x="4284153" y="3533808"/>
                  </a:lnTo>
                  <a:lnTo>
                    <a:pt x="4284615" y="3534638"/>
                  </a:lnTo>
                  <a:lnTo>
                    <a:pt x="4284691" y="3535251"/>
                  </a:lnTo>
                  <a:lnTo>
                    <a:pt x="4283205" y="3536442"/>
                  </a:lnTo>
                  <a:lnTo>
                    <a:pt x="4282549" y="3537256"/>
                  </a:lnTo>
                  <a:lnTo>
                    <a:pt x="4281761" y="3537835"/>
                  </a:lnTo>
                  <a:lnTo>
                    <a:pt x="4279035" y="3537361"/>
                  </a:lnTo>
                  <a:lnTo>
                    <a:pt x="4277246" y="3537955"/>
                  </a:lnTo>
                  <a:lnTo>
                    <a:pt x="4275602" y="3539036"/>
                  </a:lnTo>
                  <a:lnTo>
                    <a:pt x="4274339" y="3540196"/>
                  </a:lnTo>
                  <a:lnTo>
                    <a:pt x="4271970" y="3543342"/>
                  </a:lnTo>
                  <a:lnTo>
                    <a:pt x="4270956" y="3545310"/>
                  </a:lnTo>
                  <a:lnTo>
                    <a:pt x="4270361" y="3547320"/>
                  </a:lnTo>
                  <a:lnTo>
                    <a:pt x="4269510" y="3548888"/>
                  </a:lnTo>
                  <a:lnTo>
                    <a:pt x="4267917" y="3549830"/>
                  </a:lnTo>
                  <a:lnTo>
                    <a:pt x="4264516" y="3551152"/>
                  </a:lnTo>
                  <a:lnTo>
                    <a:pt x="4261863" y="3553323"/>
                  </a:lnTo>
                  <a:lnTo>
                    <a:pt x="4255071" y="3561896"/>
                  </a:lnTo>
                  <a:lnTo>
                    <a:pt x="4253963" y="3562439"/>
                  </a:lnTo>
                  <a:lnTo>
                    <a:pt x="4242443" y="3560599"/>
                  </a:lnTo>
                  <a:lnTo>
                    <a:pt x="4240435" y="3559070"/>
                  </a:lnTo>
                  <a:lnTo>
                    <a:pt x="4239153" y="3557107"/>
                  </a:lnTo>
                  <a:lnTo>
                    <a:pt x="4238821" y="3556599"/>
                  </a:lnTo>
                  <a:lnTo>
                    <a:pt x="4237392" y="3553279"/>
                  </a:lnTo>
                  <a:lnTo>
                    <a:pt x="4235769" y="3546928"/>
                  </a:lnTo>
                  <a:lnTo>
                    <a:pt x="4234601" y="3543988"/>
                  </a:lnTo>
                  <a:lnTo>
                    <a:pt x="4232991" y="3543104"/>
                  </a:lnTo>
                  <a:lnTo>
                    <a:pt x="4221530" y="3544891"/>
                  </a:lnTo>
                  <a:lnTo>
                    <a:pt x="4220528" y="3545439"/>
                  </a:lnTo>
                  <a:lnTo>
                    <a:pt x="4219841" y="3546441"/>
                  </a:lnTo>
                  <a:lnTo>
                    <a:pt x="4219236" y="3548259"/>
                  </a:lnTo>
                  <a:lnTo>
                    <a:pt x="4216724" y="3559998"/>
                  </a:lnTo>
                  <a:lnTo>
                    <a:pt x="4214188" y="3571744"/>
                  </a:lnTo>
                  <a:lnTo>
                    <a:pt x="4211617" y="3583487"/>
                  </a:lnTo>
                  <a:lnTo>
                    <a:pt x="4209017" y="3595238"/>
                  </a:lnTo>
                  <a:lnTo>
                    <a:pt x="4206386" y="3606978"/>
                  </a:lnTo>
                  <a:lnTo>
                    <a:pt x="4203728" y="3618725"/>
                  </a:lnTo>
                  <a:lnTo>
                    <a:pt x="4201039" y="3630468"/>
                  </a:lnTo>
                  <a:lnTo>
                    <a:pt x="4198329" y="3642221"/>
                  </a:lnTo>
                  <a:lnTo>
                    <a:pt x="4197787" y="3644529"/>
                  </a:lnTo>
                  <a:lnTo>
                    <a:pt x="4198364" y="3649323"/>
                  </a:lnTo>
                  <a:lnTo>
                    <a:pt x="4199749" y="3654800"/>
                  </a:lnTo>
                  <a:lnTo>
                    <a:pt x="4202393" y="3665270"/>
                  </a:lnTo>
                  <a:lnTo>
                    <a:pt x="4204148" y="3672276"/>
                  </a:lnTo>
                  <a:lnTo>
                    <a:pt x="4204286" y="3675262"/>
                  </a:lnTo>
                  <a:lnTo>
                    <a:pt x="4200613" y="3682319"/>
                  </a:lnTo>
                  <a:lnTo>
                    <a:pt x="4199791" y="3683215"/>
                  </a:lnTo>
                  <a:lnTo>
                    <a:pt x="4198705" y="3684824"/>
                  </a:lnTo>
                  <a:lnTo>
                    <a:pt x="4198938" y="3687258"/>
                  </a:lnTo>
                  <a:lnTo>
                    <a:pt x="4199603" y="3689517"/>
                  </a:lnTo>
                  <a:lnTo>
                    <a:pt x="4199815" y="3690576"/>
                  </a:lnTo>
                  <a:lnTo>
                    <a:pt x="4198473" y="3691696"/>
                  </a:lnTo>
                  <a:lnTo>
                    <a:pt x="4198082" y="3693325"/>
                  </a:lnTo>
                  <a:lnTo>
                    <a:pt x="4198302" y="3697563"/>
                  </a:lnTo>
                  <a:lnTo>
                    <a:pt x="4197909" y="3702387"/>
                  </a:lnTo>
                  <a:lnTo>
                    <a:pt x="4198408" y="3704526"/>
                  </a:lnTo>
                  <a:lnTo>
                    <a:pt x="4200247" y="3704764"/>
                  </a:lnTo>
                  <a:lnTo>
                    <a:pt x="4202026" y="3706417"/>
                  </a:lnTo>
                  <a:lnTo>
                    <a:pt x="4203235" y="3708463"/>
                  </a:lnTo>
                  <a:lnTo>
                    <a:pt x="4203639" y="3710691"/>
                  </a:lnTo>
                  <a:lnTo>
                    <a:pt x="4203130" y="3712551"/>
                  </a:lnTo>
                  <a:lnTo>
                    <a:pt x="4201277" y="3715366"/>
                  </a:lnTo>
                  <a:lnTo>
                    <a:pt x="4200787" y="3716713"/>
                  </a:lnTo>
                  <a:lnTo>
                    <a:pt x="4201173" y="3717455"/>
                  </a:lnTo>
                  <a:lnTo>
                    <a:pt x="4201863" y="3717856"/>
                  </a:lnTo>
                  <a:lnTo>
                    <a:pt x="4202306" y="3718167"/>
                  </a:lnTo>
                  <a:lnTo>
                    <a:pt x="4202787" y="3718420"/>
                  </a:lnTo>
                  <a:lnTo>
                    <a:pt x="4203150" y="3718716"/>
                  </a:lnTo>
                  <a:lnTo>
                    <a:pt x="4203428" y="3719230"/>
                  </a:lnTo>
                  <a:lnTo>
                    <a:pt x="4203410" y="3719675"/>
                  </a:lnTo>
                  <a:lnTo>
                    <a:pt x="4203003" y="3720605"/>
                  </a:lnTo>
                  <a:lnTo>
                    <a:pt x="4202948" y="3720998"/>
                  </a:lnTo>
                  <a:lnTo>
                    <a:pt x="4203591" y="3724994"/>
                  </a:lnTo>
                  <a:lnTo>
                    <a:pt x="4204250" y="3726597"/>
                  </a:lnTo>
                  <a:lnTo>
                    <a:pt x="4205674" y="3727685"/>
                  </a:lnTo>
                  <a:lnTo>
                    <a:pt x="4207689" y="3727928"/>
                  </a:lnTo>
                  <a:lnTo>
                    <a:pt x="4209002" y="3727666"/>
                  </a:lnTo>
                  <a:lnTo>
                    <a:pt x="4209816" y="3728257"/>
                  </a:lnTo>
                  <a:lnTo>
                    <a:pt x="4210349" y="3731067"/>
                  </a:lnTo>
                  <a:lnTo>
                    <a:pt x="4210148" y="3734975"/>
                  </a:lnTo>
                  <a:lnTo>
                    <a:pt x="4208947" y="3738162"/>
                  </a:lnTo>
                  <a:lnTo>
                    <a:pt x="4205133" y="3744762"/>
                  </a:lnTo>
                  <a:lnTo>
                    <a:pt x="4204259" y="3746807"/>
                  </a:lnTo>
                  <a:lnTo>
                    <a:pt x="4204128" y="3747607"/>
                  </a:lnTo>
                  <a:lnTo>
                    <a:pt x="4204397" y="3748738"/>
                  </a:lnTo>
                  <a:lnTo>
                    <a:pt x="4204877" y="3749252"/>
                  </a:lnTo>
                  <a:lnTo>
                    <a:pt x="4205491" y="3749704"/>
                  </a:lnTo>
                  <a:lnTo>
                    <a:pt x="4206200" y="3750637"/>
                  </a:lnTo>
                  <a:lnTo>
                    <a:pt x="4207129" y="3752769"/>
                  </a:lnTo>
                  <a:lnTo>
                    <a:pt x="4207477" y="3754752"/>
                  </a:lnTo>
                  <a:lnTo>
                    <a:pt x="4207189" y="3756587"/>
                  </a:lnTo>
                  <a:lnTo>
                    <a:pt x="4206206" y="3758289"/>
                  </a:lnTo>
                  <a:lnTo>
                    <a:pt x="4205489" y="3758844"/>
                  </a:lnTo>
                  <a:lnTo>
                    <a:pt x="4203908" y="3759523"/>
                  </a:lnTo>
                  <a:lnTo>
                    <a:pt x="4203210" y="3760274"/>
                  </a:lnTo>
                  <a:lnTo>
                    <a:pt x="4201769" y="3762977"/>
                  </a:lnTo>
                  <a:lnTo>
                    <a:pt x="4198416" y="3766650"/>
                  </a:lnTo>
                  <a:lnTo>
                    <a:pt x="4197593" y="3768222"/>
                  </a:lnTo>
                  <a:lnTo>
                    <a:pt x="4193683" y="3779100"/>
                  </a:lnTo>
                  <a:lnTo>
                    <a:pt x="4193030" y="3786947"/>
                  </a:lnTo>
                  <a:lnTo>
                    <a:pt x="4193529" y="3788658"/>
                  </a:lnTo>
                  <a:lnTo>
                    <a:pt x="4194964" y="3790483"/>
                  </a:lnTo>
                  <a:lnTo>
                    <a:pt x="4196615" y="3791500"/>
                  </a:lnTo>
                  <a:lnTo>
                    <a:pt x="4200070" y="3792103"/>
                  </a:lnTo>
                  <a:lnTo>
                    <a:pt x="4201786" y="3792748"/>
                  </a:lnTo>
                  <a:lnTo>
                    <a:pt x="4203141" y="3794406"/>
                  </a:lnTo>
                  <a:lnTo>
                    <a:pt x="4202758" y="3796089"/>
                  </a:lnTo>
                  <a:lnTo>
                    <a:pt x="4201429" y="3797431"/>
                  </a:lnTo>
                  <a:lnTo>
                    <a:pt x="4199934" y="3798055"/>
                  </a:lnTo>
                  <a:lnTo>
                    <a:pt x="4198090" y="3797808"/>
                  </a:lnTo>
                  <a:lnTo>
                    <a:pt x="4194677" y="3796285"/>
                  </a:lnTo>
                  <a:lnTo>
                    <a:pt x="4193006" y="3796072"/>
                  </a:lnTo>
                  <a:lnTo>
                    <a:pt x="4191350" y="3796713"/>
                  </a:lnTo>
                  <a:lnTo>
                    <a:pt x="4190318" y="3797952"/>
                  </a:lnTo>
                  <a:lnTo>
                    <a:pt x="4189878" y="3799650"/>
                  </a:lnTo>
                  <a:lnTo>
                    <a:pt x="4189969" y="3801642"/>
                  </a:lnTo>
                  <a:lnTo>
                    <a:pt x="4190604" y="3803719"/>
                  </a:lnTo>
                  <a:lnTo>
                    <a:pt x="4192520" y="3808138"/>
                  </a:lnTo>
                  <a:lnTo>
                    <a:pt x="4192997" y="3810135"/>
                  </a:lnTo>
                  <a:lnTo>
                    <a:pt x="4192808" y="3811215"/>
                  </a:lnTo>
                  <a:lnTo>
                    <a:pt x="4191767" y="3812910"/>
                  </a:lnTo>
                  <a:lnTo>
                    <a:pt x="4191491" y="3813869"/>
                  </a:lnTo>
                  <a:lnTo>
                    <a:pt x="4191666" y="3814842"/>
                  </a:lnTo>
                  <a:lnTo>
                    <a:pt x="4192510" y="3816706"/>
                  </a:lnTo>
                  <a:lnTo>
                    <a:pt x="4192602" y="3817791"/>
                  </a:lnTo>
                  <a:lnTo>
                    <a:pt x="4191721" y="3819444"/>
                  </a:lnTo>
                  <a:lnTo>
                    <a:pt x="4190245" y="3818690"/>
                  </a:lnTo>
                  <a:lnTo>
                    <a:pt x="4183831" y="3811294"/>
                  </a:lnTo>
                  <a:lnTo>
                    <a:pt x="4182181" y="3810508"/>
                  </a:lnTo>
                  <a:lnTo>
                    <a:pt x="4180264" y="3810904"/>
                  </a:lnTo>
                  <a:lnTo>
                    <a:pt x="4178765" y="3812065"/>
                  </a:lnTo>
                  <a:lnTo>
                    <a:pt x="4178289" y="3813248"/>
                  </a:lnTo>
                  <a:lnTo>
                    <a:pt x="4178059" y="3814657"/>
                  </a:lnTo>
                  <a:lnTo>
                    <a:pt x="4177271" y="3816497"/>
                  </a:lnTo>
                  <a:lnTo>
                    <a:pt x="4176692" y="3817119"/>
                  </a:lnTo>
                  <a:lnTo>
                    <a:pt x="4175307" y="3818004"/>
                  </a:lnTo>
                  <a:lnTo>
                    <a:pt x="4175267" y="3818030"/>
                  </a:lnTo>
                  <a:lnTo>
                    <a:pt x="4174694" y="3818648"/>
                  </a:lnTo>
                  <a:lnTo>
                    <a:pt x="4174075" y="3820510"/>
                  </a:lnTo>
                  <a:lnTo>
                    <a:pt x="4173163" y="3824936"/>
                  </a:lnTo>
                  <a:lnTo>
                    <a:pt x="4172069" y="3826145"/>
                  </a:lnTo>
                  <a:lnTo>
                    <a:pt x="4170184" y="3826582"/>
                  </a:lnTo>
                  <a:lnTo>
                    <a:pt x="4168213" y="3826656"/>
                  </a:lnTo>
                  <a:lnTo>
                    <a:pt x="4160787" y="3825272"/>
                  </a:lnTo>
                  <a:lnTo>
                    <a:pt x="4159417" y="3825612"/>
                  </a:lnTo>
                  <a:lnTo>
                    <a:pt x="4157980" y="3826823"/>
                  </a:lnTo>
                  <a:lnTo>
                    <a:pt x="4157085" y="3828392"/>
                  </a:lnTo>
                  <a:lnTo>
                    <a:pt x="4156002" y="3832035"/>
                  </a:lnTo>
                  <a:lnTo>
                    <a:pt x="4155360" y="3833369"/>
                  </a:lnTo>
                  <a:lnTo>
                    <a:pt x="4152495" y="3835455"/>
                  </a:lnTo>
                  <a:lnTo>
                    <a:pt x="4151999" y="3836417"/>
                  </a:lnTo>
                  <a:lnTo>
                    <a:pt x="4154253" y="3836647"/>
                  </a:lnTo>
                  <a:lnTo>
                    <a:pt x="4155864" y="3837428"/>
                  </a:lnTo>
                  <a:lnTo>
                    <a:pt x="4156087" y="3839522"/>
                  </a:lnTo>
                  <a:lnTo>
                    <a:pt x="4155330" y="3843958"/>
                  </a:lnTo>
                  <a:lnTo>
                    <a:pt x="4155394" y="3845141"/>
                  </a:lnTo>
                  <a:lnTo>
                    <a:pt x="4155699" y="3847184"/>
                  </a:lnTo>
                  <a:lnTo>
                    <a:pt x="4155703" y="3848428"/>
                  </a:lnTo>
                  <a:lnTo>
                    <a:pt x="4154392" y="3854122"/>
                  </a:lnTo>
                  <a:lnTo>
                    <a:pt x="4154347" y="3855721"/>
                  </a:lnTo>
                  <a:lnTo>
                    <a:pt x="4154794" y="3857394"/>
                  </a:lnTo>
                  <a:lnTo>
                    <a:pt x="4155829" y="3859693"/>
                  </a:lnTo>
                  <a:lnTo>
                    <a:pt x="4155701" y="3859745"/>
                  </a:lnTo>
                  <a:lnTo>
                    <a:pt x="4148630" y="3862610"/>
                  </a:lnTo>
                  <a:lnTo>
                    <a:pt x="4141428" y="3865521"/>
                  </a:lnTo>
                  <a:lnTo>
                    <a:pt x="4134222" y="3868421"/>
                  </a:lnTo>
                  <a:lnTo>
                    <a:pt x="4127005" y="3871307"/>
                  </a:lnTo>
                  <a:lnTo>
                    <a:pt x="4119791" y="3874186"/>
                  </a:lnTo>
                  <a:lnTo>
                    <a:pt x="4112569" y="3877048"/>
                  </a:lnTo>
                  <a:lnTo>
                    <a:pt x="4105346" y="3879898"/>
                  </a:lnTo>
                  <a:lnTo>
                    <a:pt x="4098120" y="3882749"/>
                  </a:lnTo>
                  <a:lnTo>
                    <a:pt x="4090881" y="3885580"/>
                  </a:lnTo>
                  <a:lnTo>
                    <a:pt x="4083641" y="3888398"/>
                  </a:lnTo>
                  <a:lnTo>
                    <a:pt x="4076396" y="3891213"/>
                  </a:lnTo>
                  <a:lnTo>
                    <a:pt x="4069153" y="3894013"/>
                  </a:lnTo>
                  <a:lnTo>
                    <a:pt x="4061900" y="3896799"/>
                  </a:lnTo>
                  <a:lnTo>
                    <a:pt x="4054639" y="3899575"/>
                  </a:lnTo>
                  <a:lnTo>
                    <a:pt x="4047376" y="3902345"/>
                  </a:lnTo>
                  <a:lnTo>
                    <a:pt x="4040114" y="3905097"/>
                  </a:lnTo>
                  <a:lnTo>
                    <a:pt x="4032845" y="3907839"/>
                  </a:lnTo>
                  <a:lnTo>
                    <a:pt x="4025572" y="3910575"/>
                  </a:lnTo>
                  <a:lnTo>
                    <a:pt x="4021784" y="3911995"/>
                  </a:lnTo>
                  <a:lnTo>
                    <a:pt x="4018294" y="3913300"/>
                  </a:lnTo>
                  <a:lnTo>
                    <a:pt x="4011010" y="3916010"/>
                  </a:lnTo>
                  <a:lnTo>
                    <a:pt x="4003725" y="3918714"/>
                  </a:lnTo>
                  <a:lnTo>
                    <a:pt x="3996431" y="3921401"/>
                  </a:lnTo>
                  <a:lnTo>
                    <a:pt x="3989136" y="3924076"/>
                  </a:lnTo>
                  <a:lnTo>
                    <a:pt x="3981838" y="3926747"/>
                  </a:lnTo>
                  <a:lnTo>
                    <a:pt x="3974533" y="3929407"/>
                  </a:lnTo>
                  <a:lnTo>
                    <a:pt x="3967225" y="3932050"/>
                  </a:lnTo>
                  <a:lnTo>
                    <a:pt x="3959913" y="3934688"/>
                  </a:lnTo>
                  <a:lnTo>
                    <a:pt x="3952596" y="3937309"/>
                  </a:lnTo>
                  <a:lnTo>
                    <a:pt x="3945278" y="3939924"/>
                  </a:lnTo>
                  <a:lnTo>
                    <a:pt x="3937953" y="3942523"/>
                  </a:lnTo>
                  <a:lnTo>
                    <a:pt x="3930624" y="3945116"/>
                  </a:lnTo>
                  <a:lnTo>
                    <a:pt x="3923289" y="3947694"/>
                  </a:lnTo>
                  <a:lnTo>
                    <a:pt x="3921991" y="3947999"/>
                  </a:lnTo>
                  <a:lnTo>
                    <a:pt x="3927267" y="3944499"/>
                  </a:lnTo>
                  <a:lnTo>
                    <a:pt x="3937428" y="3934917"/>
                  </a:lnTo>
                  <a:lnTo>
                    <a:pt x="3939503" y="3932000"/>
                  </a:lnTo>
                  <a:lnTo>
                    <a:pt x="3940765" y="3928321"/>
                  </a:lnTo>
                  <a:lnTo>
                    <a:pt x="3940674" y="3927296"/>
                  </a:lnTo>
                  <a:lnTo>
                    <a:pt x="3940392" y="3926105"/>
                  </a:lnTo>
                  <a:lnTo>
                    <a:pt x="3940342" y="3925024"/>
                  </a:lnTo>
                  <a:lnTo>
                    <a:pt x="3940975" y="3924342"/>
                  </a:lnTo>
                  <a:lnTo>
                    <a:pt x="3941655" y="3923933"/>
                  </a:lnTo>
                  <a:lnTo>
                    <a:pt x="3942394" y="3923209"/>
                  </a:lnTo>
                  <a:lnTo>
                    <a:pt x="3943028" y="3922364"/>
                  </a:lnTo>
                  <a:lnTo>
                    <a:pt x="3944396" y="3919795"/>
                  </a:lnTo>
                  <a:lnTo>
                    <a:pt x="3945766" y="3918640"/>
                  </a:lnTo>
                  <a:lnTo>
                    <a:pt x="3951818" y="3914961"/>
                  </a:lnTo>
                  <a:lnTo>
                    <a:pt x="3953079" y="3913800"/>
                  </a:lnTo>
                  <a:lnTo>
                    <a:pt x="3954829" y="3910345"/>
                  </a:lnTo>
                  <a:lnTo>
                    <a:pt x="3956029" y="3909310"/>
                  </a:lnTo>
                  <a:lnTo>
                    <a:pt x="3963181" y="3906944"/>
                  </a:lnTo>
                  <a:lnTo>
                    <a:pt x="3965984" y="3904498"/>
                  </a:lnTo>
                  <a:lnTo>
                    <a:pt x="3968159" y="3901130"/>
                  </a:lnTo>
                  <a:lnTo>
                    <a:pt x="3971336" y="3892042"/>
                  </a:lnTo>
                  <a:lnTo>
                    <a:pt x="3971880" y="3891389"/>
                  </a:lnTo>
                  <a:lnTo>
                    <a:pt x="3973549" y="3890914"/>
                  </a:lnTo>
                  <a:lnTo>
                    <a:pt x="3974095" y="3890270"/>
                  </a:lnTo>
                  <a:lnTo>
                    <a:pt x="3974898" y="3888646"/>
                  </a:lnTo>
                  <a:lnTo>
                    <a:pt x="3978108" y="3884523"/>
                  </a:lnTo>
                  <a:lnTo>
                    <a:pt x="3978515" y="3883591"/>
                  </a:lnTo>
                  <a:lnTo>
                    <a:pt x="3979334" y="3880549"/>
                  </a:lnTo>
                  <a:lnTo>
                    <a:pt x="3979867" y="3879628"/>
                  </a:lnTo>
                  <a:lnTo>
                    <a:pt x="3981359" y="3878772"/>
                  </a:lnTo>
                  <a:lnTo>
                    <a:pt x="3981799" y="3878053"/>
                  </a:lnTo>
                  <a:lnTo>
                    <a:pt x="3982883" y="3877091"/>
                  </a:lnTo>
                  <a:lnTo>
                    <a:pt x="3989190" y="3875811"/>
                  </a:lnTo>
                  <a:lnTo>
                    <a:pt x="3990654" y="3874616"/>
                  </a:lnTo>
                  <a:lnTo>
                    <a:pt x="3991578" y="3874309"/>
                  </a:lnTo>
                  <a:lnTo>
                    <a:pt x="3992282" y="3875083"/>
                  </a:lnTo>
                  <a:lnTo>
                    <a:pt x="3992906" y="3875409"/>
                  </a:lnTo>
                  <a:lnTo>
                    <a:pt x="3993872" y="3874823"/>
                  </a:lnTo>
                  <a:lnTo>
                    <a:pt x="3994798" y="3873897"/>
                  </a:lnTo>
                  <a:lnTo>
                    <a:pt x="3995285" y="3873168"/>
                  </a:lnTo>
                  <a:lnTo>
                    <a:pt x="3995743" y="3870511"/>
                  </a:lnTo>
                  <a:lnTo>
                    <a:pt x="3995214" y="3868916"/>
                  </a:lnTo>
                  <a:lnTo>
                    <a:pt x="3992368" y="3865233"/>
                  </a:lnTo>
                  <a:lnTo>
                    <a:pt x="3991974" y="3864300"/>
                  </a:lnTo>
                  <a:lnTo>
                    <a:pt x="3991523" y="3862882"/>
                  </a:lnTo>
                  <a:lnTo>
                    <a:pt x="3991214" y="3861571"/>
                  </a:lnTo>
                  <a:lnTo>
                    <a:pt x="3992010" y="3856202"/>
                  </a:lnTo>
                  <a:lnTo>
                    <a:pt x="3993038" y="3854029"/>
                  </a:lnTo>
                  <a:lnTo>
                    <a:pt x="3993352" y="3852954"/>
                  </a:lnTo>
                  <a:lnTo>
                    <a:pt x="3993318" y="3851796"/>
                  </a:lnTo>
                  <a:lnTo>
                    <a:pt x="3993045" y="3849895"/>
                  </a:lnTo>
                  <a:lnTo>
                    <a:pt x="3993179" y="3849083"/>
                  </a:lnTo>
                  <a:lnTo>
                    <a:pt x="3991435" y="3846244"/>
                  </a:lnTo>
                  <a:lnTo>
                    <a:pt x="3990924" y="3842740"/>
                  </a:lnTo>
                  <a:lnTo>
                    <a:pt x="3991229" y="3839377"/>
                  </a:lnTo>
                  <a:lnTo>
                    <a:pt x="3991921" y="3836959"/>
                  </a:lnTo>
                  <a:lnTo>
                    <a:pt x="3999465" y="3822370"/>
                  </a:lnTo>
                  <a:lnTo>
                    <a:pt x="4000952" y="3816665"/>
                  </a:lnTo>
                  <a:lnTo>
                    <a:pt x="4001146" y="3814660"/>
                  </a:lnTo>
                  <a:lnTo>
                    <a:pt x="4000597" y="3812888"/>
                  </a:lnTo>
                  <a:lnTo>
                    <a:pt x="3999784" y="3811100"/>
                  </a:lnTo>
                  <a:lnTo>
                    <a:pt x="3999192" y="3809042"/>
                  </a:lnTo>
                  <a:lnTo>
                    <a:pt x="3999312" y="3807707"/>
                  </a:lnTo>
                  <a:lnTo>
                    <a:pt x="4000143" y="3804833"/>
                  </a:lnTo>
                  <a:lnTo>
                    <a:pt x="4000112" y="3803581"/>
                  </a:lnTo>
                  <a:lnTo>
                    <a:pt x="3999799" y="3802327"/>
                  </a:lnTo>
                  <a:lnTo>
                    <a:pt x="3999761" y="3801308"/>
                  </a:lnTo>
                  <a:lnTo>
                    <a:pt x="3999897" y="3800417"/>
                  </a:lnTo>
                  <a:lnTo>
                    <a:pt x="4000136" y="3799563"/>
                  </a:lnTo>
                  <a:lnTo>
                    <a:pt x="4001007" y="3798245"/>
                  </a:lnTo>
                  <a:lnTo>
                    <a:pt x="4007575" y="3794041"/>
                  </a:lnTo>
                  <a:lnTo>
                    <a:pt x="4007893" y="3792912"/>
                  </a:lnTo>
                  <a:lnTo>
                    <a:pt x="4008660" y="3791339"/>
                  </a:lnTo>
                  <a:lnTo>
                    <a:pt x="4009554" y="3789859"/>
                  </a:lnTo>
                  <a:lnTo>
                    <a:pt x="4010543" y="3788055"/>
                  </a:lnTo>
                  <a:lnTo>
                    <a:pt x="4011707" y="3785900"/>
                  </a:lnTo>
                  <a:lnTo>
                    <a:pt x="4012824" y="3783902"/>
                  </a:lnTo>
                  <a:lnTo>
                    <a:pt x="4014785" y="3784178"/>
                  </a:lnTo>
                  <a:lnTo>
                    <a:pt x="4017132" y="3783184"/>
                  </a:lnTo>
                  <a:lnTo>
                    <a:pt x="4019257" y="3781774"/>
                  </a:lnTo>
                  <a:lnTo>
                    <a:pt x="4024269" y="3776346"/>
                  </a:lnTo>
                  <a:lnTo>
                    <a:pt x="4026067" y="3775191"/>
                  </a:lnTo>
                  <a:lnTo>
                    <a:pt x="4029094" y="3769585"/>
                  </a:lnTo>
                  <a:lnTo>
                    <a:pt x="4028569" y="3768060"/>
                  </a:lnTo>
                  <a:lnTo>
                    <a:pt x="4027871" y="3766319"/>
                  </a:lnTo>
                  <a:lnTo>
                    <a:pt x="4028793" y="3764668"/>
                  </a:lnTo>
                  <a:lnTo>
                    <a:pt x="4031159" y="3761688"/>
                  </a:lnTo>
                  <a:lnTo>
                    <a:pt x="4033932" y="3757256"/>
                  </a:lnTo>
                  <a:lnTo>
                    <a:pt x="4036263" y="3750020"/>
                  </a:lnTo>
                  <a:lnTo>
                    <a:pt x="4037268" y="3748711"/>
                  </a:lnTo>
                  <a:lnTo>
                    <a:pt x="4038769" y="3747759"/>
                  </a:lnTo>
                  <a:lnTo>
                    <a:pt x="4041917" y="3743692"/>
                  </a:lnTo>
                  <a:lnTo>
                    <a:pt x="4049804" y="3737849"/>
                  </a:lnTo>
                  <a:lnTo>
                    <a:pt x="4051294" y="3734609"/>
                  </a:lnTo>
                  <a:lnTo>
                    <a:pt x="4051793" y="3730230"/>
                  </a:lnTo>
                  <a:lnTo>
                    <a:pt x="4051838" y="3727765"/>
                  </a:lnTo>
                  <a:lnTo>
                    <a:pt x="4051622" y="3726082"/>
                  </a:lnTo>
                  <a:lnTo>
                    <a:pt x="4051960" y="3724746"/>
                  </a:lnTo>
                  <a:lnTo>
                    <a:pt x="4056897" y="3718879"/>
                  </a:lnTo>
                  <a:lnTo>
                    <a:pt x="4059843" y="3717054"/>
                  </a:lnTo>
                  <a:lnTo>
                    <a:pt x="4061602" y="3716314"/>
                  </a:lnTo>
                  <a:lnTo>
                    <a:pt x="4063181" y="3715125"/>
                  </a:lnTo>
                  <a:lnTo>
                    <a:pt x="4063853" y="3713437"/>
                  </a:lnTo>
                  <a:lnTo>
                    <a:pt x="4064219" y="3711457"/>
                  </a:lnTo>
                  <a:lnTo>
                    <a:pt x="4064902" y="3709396"/>
                  </a:lnTo>
                  <a:lnTo>
                    <a:pt x="4067880" y="3705306"/>
                  </a:lnTo>
                  <a:lnTo>
                    <a:pt x="4069568" y="3701535"/>
                  </a:lnTo>
                  <a:lnTo>
                    <a:pt x="4071009" y="3700778"/>
                  </a:lnTo>
                  <a:lnTo>
                    <a:pt x="4072764" y="3700891"/>
                  </a:lnTo>
                  <a:lnTo>
                    <a:pt x="4074709" y="3701497"/>
                  </a:lnTo>
                  <a:lnTo>
                    <a:pt x="4078228" y="3701897"/>
                  </a:lnTo>
                  <a:lnTo>
                    <a:pt x="4081558" y="3700810"/>
                  </a:lnTo>
                  <a:lnTo>
                    <a:pt x="4106178" y="3677774"/>
                  </a:lnTo>
                  <a:lnTo>
                    <a:pt x="4106169" y="3677777"/>
                  </a:lnTo>
                  <a:lnTo>
                    <a:pt x="4107301" y="3676374"/>
                  </a:lnTo>
                  <a:lnTo>
                    <a:pt x="4109144" y="3673036"/>
                  </a:lnTo>
                  <a:lnTo>
                    <a:pt x="4110369" y="3672017"/>
                  </a:lnTo>
                  <a:lnTo>
                    <a:pt x="4111406" y="3670769"/>
                  </a:lnTo>
                  <a:lnTo>
                    <a:pt x="4112025" y="3666198"/>
                  </a:lnTo>
                  <a:lnTo>
                    <a:pt x="4112666" y="3663967"/>
                  </a:lnTo>
                  <a:lnTo>
                    <a:pt x="4115158" y="3661482"/>
                  </a:lnTo>
                  <a:lnTo>
                    <a:pt x="4121920" y="3658936"/>
                  </a:lnTo>
                  <a:lnTo>
                    <a:pt x="4124690" y="3656591"/>
                  </a:lnTo>
                  <a:lnTo>
                    <a:pt x="4127084" y="3651429"/>
                  </a:lnTo>
                  <a:lnTo>
                    <a:pt x="4128114" y="3650381"/>
                  </a:lnTo>
                  <a:lnTo>
                    <a:pt x="4129012" y="3650154"/>
                  </a:lnTo>
                  <a:lnTo>
                    <a:pt x="4130773" y="3650025"/>
                  </a:lnTo>
                  <a:lnTo>
                    <a:pt x="4131521" y="3649856"/>
                  </a:lnTo>
                  <a:lnTo>
                    <a:pt x="4132293" y="3649203"/>
                  </a:lnTo>
                  <a:lnTo>
                    <a:pt x="4133061" y="3647313"/>
                  </a:lnTo>
                  <a:lnTo>
                    <a:pt x="4133603" y="3646526"/>
                  </a:lnTo>
                  <a:lnTo>
                    <a:pt x="4134271" y="3646203"/>
                  </a:lnTo>
                  <a:lnTo>
                    <a:pt x="4135872" y="3645799"/>
                  </a:lnTo>
                  <a:lnTo>
                    <a:pt x="4136447" y="3645351"/>
                  </a:lnTo>
                  <a:lnTo>
                    <a:pt x="4136830" y="3644448"/>
                  </a:lnTo>
                  <a:lnTo>
                    <a:pt x="4137387" y="3641393"/>
                  </a:lnTo>
                  <a:lnTo>
                    <a:pt x="4138187" y="3639945"/>
                  </a:lnTo>
                  <a:lnTo>
                    <a:pt x="4145411" y="3632176"/>
                  </a:lnTo>
                  <a:lnTo>
                    <a:pt x="4148331" y="3630337"/>
                  </a:lnTo>
                  <a:lnTo>
                    <a:pt x="4149406" y="3628922"/>
                  </a:lnTo>
                  <a:lnTo>
                    <a:pt x="4155454" y="3614009"/>
                  </a:lnTo>
                  <a:lnTo>
                    <a:pt x="4158814" y="3601621"/>
                  </a:lnTo>
                  <a:lnTo>
                    <a:pt x="4159934" y="3592044"/>
                  </a:lnTo>
                  <a:lnTo>
                    <a:pt x="4160959" y="3588212"/>
                  </a:lnTo>
                  <a:lnTo>
                    <a:pt x="4166984" y="3579323"/>
                  </a:lnTo>
                  <a:lnTo>
                    <a:pt x="4167521" y="3575434"/>
                  </a:lnTo>
                  <a:lnTo>
                    <a:pt x="4166096" y="3567837"/>
                  </a:lnTo>
                  <a:lnTo>
                    <a:pt x="4167015" y="3563930"/>
                  </a:lnTo>
                  <a:lnTo>
                    <a:pt x="4167533" y="3563209"/>
                  </a:lnTo>
                  <a:lnTo>
                    <a:pt x="4168748" y="3562093"/>
                  </a:lnTo>
                  <a:lnTo>
                    <a:pt x="4169293" y="3561417"/>
                  </a:lnTo>
                  <a:lnTo>
                    <a:pt x="4169666" y="3560320"/>
                  </a:lnTo>
                  <a:lnTo>
                    <a:pt x="4169781" y="3559191"/>
                  </a:lnTo>
                  <a:lnTo>
                    <a:pt x="4170025" y="3558178"/>
                  </a:lnTo>
                  <a:lnTo>
                    <a:pt x="4171970" y="3556348"/>
                  </a:lnTo>
                  <a:lnTo>
                    <a:pt x="4175615" y="3545707"/>
                  </a:lnTo>
                  <a:lnTo>
                    <a:pt x="4179017" y="3531708"/>
                  </a:lnTo>
                  <a:lnTo>
                    <a:pt x="4182404" y="3520094"/>
                  </a:lnTo>
                  <a:lnTo>
                    <a:pt x="4183656" y="3517886"/>
                  </a:lnTo>
                  <a:lnTo>
                    <a:pt x="4183843" y="3517048"/>
                  </a:lnTo>
                  <a:lnTo>
                    <a:pt x="4183811" y="3515949"/>
                  </a:lnTo>
                  <a:lnTo>
                    <a:pt x="4183547" y="3515390"/>
                  </a:lnTo>
                  <a:lnTo>
                    <a:pt x="4183045" y="3514708"/>
                  </a:lnTo>
                  <a:lnTo>
                    <a:pt x="4182318" y="3513224"/>
                  </a:lnTo>
                  <a:lnTo>
                    <a:pt x="4182116" y="3511273"/>
                  </a:lnTo>
                  <a:lnTo>
                    <a:pt x="4184890" y="3497939"/>
                  </a:lnTo>
                  <a:lnTo>
                    <a:pt x="4185771" y="3496713"/>
                  </a:lnTo>
                  <a:lnTo>
                    <a:pt x="4187013" y="3495922"/>
                  </a:lnTo>
                  <a:lnTo>
                    <a:pt x="4189686" y="3493326"/>
                  </a:lnTo>
                  <a:lnTo>
                    <a:pt x="4190666" y="3492055"/>
                  </a:lnTo>
                  <a:lnTo>
                    <a:pt x="4191479" y="3490451"/>
                  </a:lnTo>
                  <a:lnTo>
                    <a:pt x="4193680" y="3482148"/>
                  </a:lnTo>
                  <a:lnTo>
                    <a:pt x="4198241" y="3473674"/>
                  </a:lnTo>
                  <a:lnTo>
                    <a:pt x="4201264" y="3462142"/>
                  </a:lnTo>
                  <a:lnTo>
                    <a:pt x="4204961" y="3453897"/>
                  </a:lnTo>
                  <a:lnTo>
                    <a:pt x="4210681" y="3444787"/>
                  </a:lnTo>
                  <a:lnTo>
                    <a:pt x="4211036" y="3441874"/>
                  </a:lnTo>
                  <a:lnTo>
                    <a:pt x="4212005" y="3440652"/>
                  </a:lnTo>
                  <a:lnTo>
                    <a:pt x="4215813" y="3438874"/>
                  </a:lnTo>
                  <a:lnTo>
                    <a:pt x="4217146" y="3437853"/>
                  </a:lnTo>
                  <a:lnTo>
                    <a:pt x="4219915" y="3432318"/>
                  </a:lnTo>
                  <a:lnTo>
                    <a:pt x="4220314" y="3431128"/>
                  </a:lnTo>
                  <a:lnTo>
                    <a:pt x="4220631" y="3429649"/>
                  </a:lnTo>
                  <a:lnTo>
                    <a:pt x="4224906" y="3425372"/>
                  </a:lnTo>
                  <a:lnTo>
                    <a:pt x="4226627" y="3422284"/>
                  </a:lnTo>
                  <a:lnTo>
                    <a:pt x="4228152" y="3414642"/>
                  </a:lnTo>
                  <a:lnTo>
                    <a:pt x="4229912" y="3411667"/>
                  </a:lnTo>
                  <a:lnTo>
                    <a:pt x="4232944" y="3409862"/>
                  </a:lnTo>
                  <a:lnTo>
                    <a:pt x="4234245" y="3408612"/>
                  </a:lnTo>
                  <a:lnTo>
                    <a:pt x="4235552" y="3404302"/>
                  </a:lnTo>
                  <a:lnTo>
                    <a:pt x="4240344" y="3395516"/>
                  </a:lnTo>
                  <a:lnTo>
                    <a:pt x="4241490" y="3394270"/>
                  </a:lnTo>
                  <a:lnTo>
                    <a:pt x="4244680" y="3392235"/>
                  </a:lnTo>
                  <a:lnTo>
                    <a:pt x="4245501" y="3391020"/>
                  </a:lnTo>
                  <a:lnTo>
                    <a:pt x="4246603" y="3387466"/>
                  </a:lnTo>
                  <a:lnTo>
                    <a:pt x="4247673" y="3385895"/>
                  </a:lnTo>
                  <a:lnTo>
                    <a:pt x="4249252" y="3384681"/>
                  </a:lnTo>
                  <a:lnTo>
                    <a:pt x="4252590" y="3383036"/>
                  </a:lnTo>
                  <a:lnTo>
                    <a:pt x="4253777" y="3382111"/>
                  </a:lnTo>
                  <a:lnTo>
                    <a:pt x="4265661" y="3365183"/>
                  </a:lnTo>
                  <a:lnTo>
                    <a:pt x="4265855" y="3364510"/>
                  </a:lnTo>
                  <a:lnTo>
                    <a:pt x="4267776" y="3361572"/>
                  </a:lnTo>
                  <a:lnTo>
                    <a:pt x="4269037" y="3360065"/>
                  </a:lnTo>
                  <a:lnTo>
                    <a:pt x="4271572" y="3358027"/>
                  </a:lnTo>
                  <a:lnTo>
                    <a:pt x="4273952" y="3353287"/>
                  </a:lnTo>
                  <a:lnTo>
                    <a:pt x="4281371" y="3348398"/>
                  </a:lnTo>
                  <a:lnTo>
                    <a:pt x="4284158" y="3343402"/>
                  </a:lnTo>
                  <a:lnTo>
                    <a:pt x="4287765" y="3339199"/>
                  </a:lnTo>
                  <a:lnTo>
                    <a:pt x="4297394" y="3329900"/>
                  </a:lnTo>
                  <a:lnTo>
                    <a:pt x="4309068" y="3314141"/>
                  </a:lnTo>
                  <a:lnTo>
                    <a:pt x="4322244" y="3298448"/>
                  </a:lnTo>
                  <a:lnTo>
                    <a:pt x="4327895" y="3294349"/>
                  </a:lnTo>
                  <a:lnTo>
                    <a:pt x="4344200" y="3277168"/>
                  </a:lnTo>
                  <a:lnTo>
                    <a:pt x="4353930" y="3270225"/>
                  </a:lnTo>
                  <a:lnTo>
                    <a:pt x="4364903" y="3264667"/>
                  </a:lnTo>
                  <a:lnTo>
                    <a:pt x="4376723" y="3256456"/>
                  </a:lnTo>
                  <a:lnTo>
                    <a:pt x="4380290" y="3252463"/>
                  </a:lnTo>
                  <a:lnTo>
                    <a:pt x="4383135" y="3250239"/>
                  </a:lnTo>
                  <a:lnTo>
                    <a:pt x="4394143" y="3245219"/>
                  </a:lnTo>
                  <a:lnTo>
                    <a:pt x="4402475" y="3242929"/>
                  </a:lnTo>
                  <a:lnTo>
                    <a:pt x="4408265" y="3240821"/>
                  </a:lnTo>
                  <a:lnTo>
                    <a:pt x="4423500" y="3235014"/>
                  </a:lnTo>
                  <a:lnTo>
                    <a:pt x="4430047" y="3234500"/>
                  </a:lnTo>
                  <a:lnTo>
                    <a:pt x="4433836" y="3233283"/>
                  </a:lnTo>
                  <a:lnTo>
                    <a:pt x="4435546" y="3233339"/>
                  </a:lnTo>
                  <a:lnTo>
                    <a:pt x="4439390" y="3234263"/>
                  </a:lnTo>
                  <a:lnTo>
                    <a:pt x="4443116" y="3234539"/>
                  </a:lnTo>
                  <a:lnTo>
                    <a:pt x="4444992" y="3234339"/>
                  </a:lnTo>
                  <a:close/>
                  <a:moveTo>
                    <a:pt x="170660" y="3228935"/>
                  </a:moveTo>
                  <a:lnTo>
                    <a:pt x="172236" y="3229377"/>
                  </a:lnTo>
                  <a:lnTo>
                    <a:pt x="178316" y="3230043"/>
                  </a:lnTo>
                  <a:lnTo>
                    <a:pt x="183451" y="3229498"/>
                  </a:lnTo>
                  <a:lnTo>
                    <a:pt x="185620" y="3230236"/>
                  </a:lnTo>
                  <a:lnTo>
                    <a:pt x="185705" y="3231826"/>
                  </a:lnTo>
                  <a:lnTo>
                    <a:pt x="186078" y="3233740"/>
                  </a:lnTo>
                  <a:lnTo>
                    <a:pt x="187005" y="3234992"/>
                  </a:lnTo>
                  <a:lnTo>
                    <a:pt x="188744" y="3234585"/>
                  </a:lnTo>
                  <a:lnTo>
                    <a:pt x="189384" y="3235268"/>
                  </a:lnTo>
                  <a:lnTo>
                    <a:pt x="189158" y="3237996"/>
                  </a:lnTo>
                  <a:lnTo>
                    <a:pt x="188310" y="3243135"/>
                  </a:lnTo>
                  <a:lnTo>
                    <a:pt x="188266" y="3244887"/>
                  </a:lnTo>
                  <a:lnTo>
                    <a:pt x="188036" y="3246524"/>
                  </a:lnTo>
                  <a:lnTo>
                    <a:pt x="187477" y="3248424"/>
                  </a:lnTo>
                  <a:lnTo>
                    <a:pt x="185628" y="3253388"/>
                  </a:lnTo>
                  <a:lnTo>
                    <a:pt x="184805" y="3257774"/>
                  </a:lnTo>
                  <a:lnTo>
                    <a:pt x="183927" y="3260005"/>
                  </a:lnTo>
                  <a:lnTo>
                    <a:pt x="180988" y="3262902"/>
                  </a:lnTo>
                  <a:lnTo>
                    <a:pt x="178255" y="3261963"/>
                  </a:lnTo>
                  <a:lnTo>
                    <a:pt x="171738" y="3254462"/>
                  </a:lnTo>
                  <a:lnTo>
                    <a:pt x="171158" y="3253097"/>
                  </a:lnTo>
                  <a:lnTo>
                    <a:pt x="170791" y="3250801"/>
                  </a:lnTo>
                  <a:lnTo>
                    <a:pt x="170315" y="3249122"/>
                  </a:lnTo>
                  <a:lnTo>
                    <a:pt x="167898" y="3244784"/>
                  </a:lnTo>
                  <a:lnTo>
                    <a:pt x="165992" y="3238463"/>
                  </a:lnTo>
                  <a:lnTo>
                    <a:pt x="167051" y="3236714"/>
                  </a:lnTo>
                  <a:lnTo>
                    <a:pt x="167796" y="3236617"/>
                  </a:lnTo>
                  <a:lnTo>
                    <a:pt x="168330" y="3237671"/>
                  </a:lnTo>
                  <a:lnTo>
                    <a:pt x="168743" y="3239405"/>
                  </a:lnTo>
                  <a:lnTo>
                    <a:pt x="169577" y="3238533"/>
                  </a:lnTo>
                  <a:lnTo>
                    <a:pt x="170488" y="3237896"/>
                  </a:lnTo>
                  <a:lnTo>
                    <a:pt x="171434" y="3237617"/>
                  </a:lnTo>
                  <a:lnTo>
                    <a:pt x="173417" y="3238120"/>
                  </a:lnTo>
                  <a:lnTo>
                    <a:pt x="174636" y="3238192"/>
                  </a:lnTo>
                  <a:lnTo>
                    <a:pt x="175459" y="3237807"/>
                  </a:lnTo>
                  <a:lnTo>
                    <a:pt x="175283" y="3236753"/>
                  </a:lnTo>
                  <a:lnTo>
                    <a:pt x="174715" y="3236345"/>
                  </a:lnTo>
                  <a:lnTo>
                    <a:pt x="173981" y="3236324"/>
                  </a:lnTo>
                  <a:lnTo>
                    <a:pt x="173277" y="3236422"/>
                  </a:lnTo>
                  <a:lnTo>
                    <a:pt x="172814" y="3236367"/>
                  </a:lnTo>
                  <a:lnTo>
                    <a:pt x="172464" y="3235858"/>
                  </a:lnTo>
                  <a:lnTo>
                    <a:pt x="172036" y="3234562"/>
                  </a:lnTo>
                  <a:lnTo>
                    <a:pt x="171893" y="3234259"/>
                  </a:lnTo>
                  <a:lnTo>
                    <a:pt x="171516" y="3233806"/>
                  </a:lnTo>
                  <a:lnTo>
                    <a:pt x="171055" y="3232438"/>
                  </a:lnTo>
                  <a:lnTo>
                    <a:pt x="170545" y="3231935"/>
                  </a:lnTo>
                  <a:lnTo>
                    <a:pt x="170020" y="3231592"/>
                  </a:lnTo>
                  <a:lnTo>
                    <a:pt x="168729" y="3230208"/>
                  </a:lnTo>
                  <a:lnTo>
                    <a:pt x="169901" y="3229157"/>
                  </a:lnTo>
                  <a:close/>
                  <a:moveTo>
                    <a:pt x="303512" y="3219604"/>
                  </a:moveTo>
                  <a:lnTo>
                    <a:pt x="305906" y="3223472"/>
                  </a:lnTo>
                  <a:lnTo>
                    <a:pt x="306512" y="3224088"/>
                  </a:lnTo>
                  <a:lnTo>
                    <a:pt x="306838" y="3224536"/>
                  </a:lnTo>
                  <a:lnTo>
                    <a:pt x="307002" y="3226153"/>
                  </a:lnTo>
                  <a:lnTo>
                    <a:pt x="307166" y="3226844"/>
                  </a:lnTo>
                  <a:lnTo>
                    <a:pt x="307533" y="3227105"/>
                  </a:lnTo>
                  <a:lnTo>
                    <a:pt x="308587" y="3227327"/>
                  </a:lnTo>
                  <a:lnTo>
                    <a:pt x="308897" y="3227641"/>
                  </a:lnTo>
                  <a:lnTo>
                    <a:pt x="308890" y="3228403"/>
                  </a:lnTo>
                  <a:lnTo>
                    <a:pt x="308414" y="3230949"/>
                  </a:lnTo>
                  <a:lnTo>
                    <a:pt x="308149" y="3231832"/>
                  </a:lnTo>
                  <a:lnTo>
                    <a:pt x="308116" y="3232859"/>
                  </a:lnTo>
                  <a:lnTo>
                    <a:pt x="308609" y="3235884"/>
                  </a:lnTo>
                  <a:lnTo>
                    <a:pt x="308473" y="3238697"/>
                  </a:lnTo>
                  <a:lnTo>
                    <a:pt x="309393" y="3243310"/>
                  </a:lnTo>
                  <a:lnTo>
                    <a:pt x="309435" y="3244762"/>
                  </a:lnTo>
                  <a:lnTo>
                    <a:pt x="309331" y="3245708"/>
                  </a:lnTo>
                  <a:lnTo>
                    <a:pt x="309409" y="3247005"/>
                  </a:lnTo>
                  <a:lnTo>
                    <a:pt x="309355" y="3248447"/>
                  </a:lnTo>
                  <a:lnTo>
                    <a:pt x="308843" y="3249839"/>
                  </a:lnTo>
                  <a:lnTo>
                    <a:pt x="307912" y="3250733"/>
                  </a:lnTo>
                  <a:lnTo>
                    <a:pt x="307230" y="3250533"/>
                  </a:lnTo>
                  <a:lnTo>
                    <a:pt x="306796" y="3249724"/>
                  </a:lnTo>
                  <a:lnTo>
                    <a:pt x="306629" y="3248825"/>
                  </a:lnTo>
                  <a:lnTo>
                    <a:pt x="304012" y="3252594"/>
                  </a:lnTo>
                  <a:lnTo>
                    <a:pt x="302582" y="3254194"/>
                  </a:lnTo>
                  <a:lnTo>
                    <a:pt x="300707" y="3254693"/>
                  </a:lnTo>
                  <a:lnTo>
                    <a:pt x="300050" y="3255103"/>
                  </a:lnTo>
                  <a:lnTo>
                    <a:pt x="299455" y="3255082"/>
                  </a:lnTo>
                  <a:lnTo>
                    <a:pt x="299020" y="3253917"/>
                  </a:lnTo>
                  <a:lnTo>
                    <a:pt x="299391" y="3253328"/>
                  </a:lnTo>
                  <a:lnTo>
                    <a:pt x="301732" y="3250587"/>
                  </a:lnTo>
                  <a:lnTo>
                    <a:pt x="302873" y="3248846"/>
                  </a:lnTo>
                  <a:lnTo>
                    <a:pt x="303956" y="3246643"/>
                  </a:lnTo>
                  <a:lnTo>
                    <a:pt x="304378" y="3244580"/>
                  </a:lnTo>
                  <a:lnTo>
                    <a:pt x="303050" y="3242186"/>
                  </a:lnTo>
                  <a:lnTo>
                    <a:pt x="302915" y="3240178"/>
                  </a:lnTo>
                  <a:lnTo>
                    <a:pt x="303247" y="3233787"/>
                  </a:lnTo>
                  <a:lnTo>
                    <a:pt x="303363" y="3233343"/>
                  </a:lnTo>
                  <a:lnTo>
                    <a:pt x="302652" y="3233005"/>
                  </a:lnTo>
                  <a:lnTo>
                    <a:pt x="301749" y="3233159"/>
                  </a:lnTo>
                  <a:lnTo>
                    <a:pt x="300910" y="3233158"/>
                  </a:lnTo>
                  <a:lnTo>
                    <a:pt x="300385" y="3232379"/>
                  </a:lnTo>
                  <a:lnTo>
                    <a:pt x="299990" y="3231308"/>
                  </a:lnTo>
                  <a:lnTo>
                    <a:pt x="299461" y="3231015"/>
                  </a:lnTo>
                  <a:lnTo>
                    <a:pt x="298777" y="3231011"/>
                  </a:lnTo>
                  <a:lnTo>
                    <a:pt x="296913" y="3230656"/>
                  </a:lnTo>
                  <a:lnTo>
                    <a:pt x="296127" y="3230970"/>
                  </a:lnTo>
                  <a:lnTo>
                    <a:pt x="295420" y="3231458"/>
                  </a:lnTo>
                  <a:lnTo>
                    <a:pt x="294656" y="3231778"/>
                  </a:lnTo>
                  <a:lnTo>
                    <a:pt x="292832" y="3231743"/>
                  </a:lnTo>
                  <a:lnTo>
                    <a:pt x="291496" y="3230967"/>
                  </a:lnTo>
                  <a:lnTo>
                    <a:pt x="290987" y="3229344"/>
                  </a:lnTo>
                  <a:lnTo>
                    <a:pt x="291644" y="3226728"/>
                  </a:lnTo>
                  <a:lnTo>
                    <a:pt x="293013" y="3225283"/>
                  </a:lnTo>
                  <a:lnTo>
                    <a:pt x="294514" y="3225799"/>
                  </a:lnTo>
                  <a:lnTo>
                    <a:pt x="296846" y="3227877"/>
                  </a:lnTo>
                  <a:lnTo>
                    <a:pt x="298123" y="3227633"/>
                  </a:lnTo>
                  <a:lnTo>
                    <a:pt x="298868" y="3226348"/>
                  </a:lnTo>
                  <a:lnTo>
                    <a:pt x="299411" y="3224559"/>
                  </a:lnTo>
                  <a:lnTo>
                    <a:pt x="300095" y="3222825"/>
                  </a:lnTo>
                  <a:lnTo>
                    <a:pt x="300991" y="3221571"/>
                  </a:lnTo>
                  <a:lnTo>
                    <a:pt x="302297" y="3220233"/>
                  </a:lnTo>
                  <a:close/>
                  <a:moveTo>
                    <a:pt x="3244285" y="3218472"/>
                  </a:moveTo>
                  <a:lnTo>
                    <a:pt x="3247804" y="3218754"/>
                  </a:lnTo>
                  <a:lnTo>
                    <a:pt x="3257148" y="3225094"/>
                  </a:lnTo>
                  <a:lnTo>
                    <a:pt x="3258706" y="3225807"/>
                  </a:lnTo>
                  <a:lnTo>
                    <a:pt x="3259313" y="3226246"/>
                  </a:lnTo>
                  <a:lnTo>
                    <a:pt x="3260138" y="3227080"/>
                  </a:lnTo>
                  <a:lnTo>
                    <a:pt x="3262216" y="3230105"/>
                  </a:lnTo>
                  <a:lnTo>
                    <a:pt x="3263268" y="3230845"/>
                  </a:lnTo>
                  <a:lnTo>
                    <a:pt x="3267531" y="3232984"/>
                  </a:lnTo>
                  <a:lnTo>
                    <a:pt x="3275974" y="3240254"/>
                  </a:lnTo>
                  <a:lnTo>
                    <a:pt x="3277033" y="3241552"/>
                  </a:lnTo>
                  <a:lnTo>
                    <a:pt x="3278005" y="3243063"/>
                  </a:lnTo>
                  <a:lnTo>
                    <a:pt x="3281700" y="3248471"/>
                  </a:lnTo>
                  <a:lnTo>
                    <a:pt x="3282423" y="3249998"/>
                  </a:lnTo>
                  <a:lnTo>
                    <a:pt x="3286673" y="3256470"/>
                  </a:lnTo>
                  <a:lnTo>
                    <a:pt x="3288203" y="3260397"/>
                  </a:lnTo>
                  <a:lnTo>
                    <a:pt x="3286468" y="3263159"/>
                  </a:lnTo>
                  <a:lnTo>
                    <a:pt x="3287330" y="3265313"/>
                  </a:lnTo>
                  <a:lnTo>
                    <a:pt x="3286293" y="3266152"/>
                  </a:lnTo>
                  <a:lnTo>
                    <a:pt x="3284483" y="3266018"/>
                  </a:lnTo>
                  <a:lnTo>
                    <a:pt x="3281294" y="3264246"/>
                  </a:lnTo>
                  <a:lnTo>
                    <a:pt x="3264986" y="3264945"/>
                  </a:lnTo>
                  <a:lnTo>
                    <a:pt x="3255720" y="3261537"/>
                  </a:lnTo>
                  <a:lnTo>
                    <a:pt x="3246085" y="3259274"/>
                  </a:lnTo>
                  <a:lnTo>
                    <a:pt x="3233951" y="3260252"/>
                  </a:lnTo>
                  <a:lnTo>
                    <a:pt x="3221349" y="3258500"/>
                  </a:lnTo>
                  <a:lnTo>
                    <a:pt x="3211261" y="3256527"/>
                  </a:lnTo>
                  <a:lnTo>
                    <a:pt x="3200282" y="3255460"/>
                  </a:lnTo>
                  <a:lnTo>
                    <a:pt x="3195326" y="3252574"/>
                  </a:lnTo>
                  <a:lnTo>
                    <a:pt x="3192049" y="3251944"/>
                  </a:lnTo>
                  <a:lnTo>
                    <a:pt x="3192236" y="3250007"/>
                  </a:lnTo>
                  <a:lnTo>
                    <a:pt x="3194128" y="3246195"/>
                  </a:lnTo>
                  <a:lnTo>
                    <a:pt x="3194347" y="3245505"/>
                  </a:lnTo>
                  <a:lnTo>
                    <a:pt x="3195073" y="3241848"/>
                  </a:lnTo>
                  <a:lnTo>
                    <a:pt x="3196838" y="3237344"/>
                  </a:lnTo>
                  <a:lnTo>
                    <a:pt x="3199908" y="3232597"/>
                  </a:lnTo>
                  <a:lnTo>
                    <a:pt x="3201380" y="3231656"/>
                  </a:lnTo>
                  <a:lnTo>
                    <a:pt x="3206444" y="3231083"/>
                  </a:lnTo>
                  <a:lnTo>
                    <a:pt x="3207868" y="3230448"/>
                  </a:lnTo>
                  <a:lnTo>
                    <a:pt x="3213083" y="3226505"/>
                  </a:lnTo>
                  <a:lnTo>
                    <a:pt x="3216196" y="3225010"/>
                  </a:lnTo>
                  <a:lnTo>
                    <a:pt x="3223857" y="3223280"/>
                  </a:lnTo>
                  <a:lnTo>
                    <a:pt x="3227967" y="3220545"/>
                  </a:lnTo>
                  <a:close/>
                  <a:moveTo>
                    <a:pt x="298089" y="3214492"/>
                  </a:moveTo>
                  <a:lnTo>
                    <a:pt x="299476" y="3214887"/>
                  </a:lnTo>
                  <a:lnTo>
                    <a:pt x="300899" y="3216578"/>
                  </a:lnTo>
                  <a:lnTo>
                    <a:pt x="300833" y="3218802"/>
                  </a:lnTo>
                  <a:lnTo>
                    <a:pt x="299262" y="3220677"/>
                  </a:lnTo>
                  <a:lnTo>
                    <a:pt x="298316" y="3221410"/>
                  </a:lnTo>
                  <a:lnTo>
                    <a:pt x="297590" y="3221577"/>
                  </a:lnTo>
                  <a:lnTo>
                    <a:pt x="295680" y="3221242"/>
                  </a:lnTo>
                  <a:lnTo>
                    <a:pt x="295716" y="3221782"/>
                  </a:lnTo>
                  <a:lnTo>
                    <a:pt x="295559" y="3222500"/>
                  </a:lnTo>
                  <a:lnTo>
                    <a:pt x="295130" y="3223141"/>
                  </a:lnTo>
                  <a:lnTo>
                    <a:pt x="293906" y="3223549"/>
                  </a:lnTo>
                  <a:lnTo>
                    <a:pt x="292097" y="3223647"/>
                  </a:lnTo>
                  <a:lnTo>
                    <a:pt x="289816" y="3223293"/>
                  </a:lnTo>
                  <a:lnTo>
                    <a:pt x="287532" y="3221755"/>
                  </a:lnTo>
                  <a:lnTo>
                    <a:pt x="286250" y="3219886"/>
                  </a:lnTo>
                  <a:lnTo>
                    <a:pt x="285314" y="3218892"/>
                  </a:lnTo>
                  <a:lnTo>
                    <a:pt x="284724" y="3218020"/>
                  </a:lnTo>
                  <a:lnTo>
                    <a:pt x="285325" y="3217508"/>
                  </a:lnTo>
                  <a:lnTo>
                    <a:pt x="286888" y="3217471"/>
                  </a:lnTo>
                  <a:lnTo>
                    <a:pt x="288587" y="3217032"/>
                  </a:lnTo>
                  <a:lnTo>
                    <a:pt x="289707" y="3216088"/>
                  </a:lnTo>
                  <a:lnTo>
                    <a:pt x="290022" y="3215193"/>
                  </a:lnTo>
                  <a:lnTo>
                    <a:pt x="291170" y="3214820"/>
                  </a:lnTo>
                  <a:lnTo>
                    <a:pt x="296336" y="3215036"/>
                  </a:lnTo>
                  <a:lnTo>
                    <a:pt x="297207" y="3214932"/>
                  </a:lnTo>
                  <a:close/>
                  <a:moveTo>
                    <a:pt x="271541" y="3208678"/>
                  </a:moveTo>
                  <a:lnTo>
                    <a:pt x="274154" y="3209106"/>
                  </a:lnTo>
                  <a:lnTo>
                    <a:pt x="277118" y="3210545"/>
                  </a:lnTo>
                  <a:lnTo>
                    <a:pt x="279415" y="3210719"/>
                  </a:lnTo>
                  <a:lnTo>
                    <a:pt x="281032" y="3210563"/>
                  </a:lnTo>
                  <a:lnTo>
                    <a:pt x="282531" y="3210674"/>
                  </a:lnTo>
                  <a:lnTo>
                    <a:pt x="283175" y="3210506"/>
                  </a:lnTo>
                  <a:lnTo>
                    <a:pt x="284279" y="3210592"/>
                  </a:lnTo>
                  <a:lnTo>
                    <a:pt x="287428" y="3211401"/>
                  </a:lnTo>
                  <a:lnTo>
                    <a:pt x="288832" y="3212262"/>
                  </a:lnTo>
                  <a:lnTo>
                    <a:pt x="289419" y="3213847"/>
                  </a:lnTo>
                  <a:lnTo>
                    <a:pt x="288962" y="3215677"/>
                  </a:lnTo>
                  <a:lnTo>
                    <a:pt x="288518" y="3216535"/>
                  </a:lnTo>
                  <a:lnTo>
                    <a:pt x="282181" y="3215607"/>
                  </a:lnTo>
                  <a:lnTo>
                    <a:pt x="281237" y="3214813"/>
                  </a:lnTo>
                  <a:lnTo>
                    <a:pt x="280406" y="3214687"/>
                  </a:lnTo>
                  <a:lnTo>
                    <a:pt x="279180" y="3214861"/>
                  </a:lnTo>
                  <a:lnTo>
                    <a:pt x="272164" y="3212185"/>
                  </a:lnTo>
                  <a:lnTo>
                    <a:pt x="270833" y="3211273"/>
                  </a:lnTo>
                  <a:lnTo>
                    <a:pt x="270632" y="3211031"/>
                  </a:lnTo>
                  <a:lnTo>
                    <a:pt x="270174" y="3210237"/>
                  </a:lnTo>
                  <a:lnTo>
                    <a:pt x="270268" y="3209845"/>
                  </a:lnTo>
                  <a:lnTo>
                    <a:pt x="270420" y="3209447"/>
                  </a:lnTo>
                  <a:lnTo>
                    <a:pt x="270524" y="3208996"/>
                  </a:lnTo>
                  <a:lnTo>
                    <a:pt x="270963" y="3208718"/>
                  </a:lnTo>
                  <a:close/>
                  <a:moveTo>
                    <a:pt x="3326294" y="3201322"/>
                  </a:moveTo>
                  <a:lnTo>
                    <a:pt x="3329103" y="3201852"/>
                  </a:lnTo>
                  <a:lnTo>
                    <a:pt x="3329648" y="3202528"/>
                  </a:lnTo>
                  <a:lnTo>
                    <a:pt x="3330066" y="3203371"/>
                  </a:lnTo>
                  <a:lnTo>
                    <a:pt x="3330611" y="3204117"/>
                  </a:lnTo>
                  <a:lnTo>
                    <a:pt x="3333416" y="3205585"/>
                  </a:lnTo>
                  <a:lnTo>
                    <a:pt x="3333917" y="3205929"/>
                  </a:lnTo>
                  <a:lnTo>
                    <a:pt x="3334345" y="3207007"/>
                  </a:lnTo>
                  <a:lnTo>
                    <a:pt x="3334635" y="3207307"/>
                  </a:lnTo>
                  <a:lnTo>
                    <a:pt x="3334615" y="3207600"/>
                  </a:lnTo>
                  <a:lnTo>
                    <a:pt x="3334097" y="3208645"/>
                  </a:lnTo>
                  <a:lnTo>
                    <a:pt x="3333519" y="3209435"/>
                  </a:lnTo>
                  <a:lnTo>
                    <a:pt x="3332654" y="3210181"/>
                  </a:lnTo>
                  <a:lnTo>
                    <a:pt x="3331709" y="3210651"/>
                  </a:lnTo>
                  <a:lnTo>
                    <a:pt x="3329088" y="3210557"/>
                  </a:lnTo>
                  <a:lnTo>
                    <a:pt x="3327626" y="3211299"/>
                  </a:lnTo>
                  <a:lnTo>
                    <a:pt x="3326357" y="3211018"/>
                  </a:lnTo>
                  <a:lnTo>
                    <a:pt x="3325129" y="3207859"/>
                  </a:lnTo>
                  <a:lnTo>
                    <a:pt x="3324837" y="3205214"/>
                  </a:lnTo>
                  <a:lnTo>
                    <a:pt x="3325196" y="3202774"/>
                  </a:lnTo>
                  <a:close/>
                  <a:moveTo>
                    <a:pt x="261791" y="3199336"/>
                  </a:moveTo>
                  <a:lnTo>
                    <a:pt x="262781" y="3199649"/>
                  </a:lnTo>
                  <a:lnTo>
                    <a:pt x="266686" y="3199492"/>
                  </a:lnTo>
                  <a:lnTo>
                    <a:pt x="269413" y="3199797"/>
                  </a:lnTo>
                  <a:lnTo>
                    <a:pt x="272493" y="3200578"/>
                  </a:lnTo>
                  <a:lnTo>
                    <a:pt x="273138" y="3201206"/>
                  </a:lnTo>
                  <a:lnTo>
                    <a:pt x="274054" y="3203226"/>
                  </a:lnTo>
                  <a:lnTo>
                    <a:pt x="274071" y="3203865"/>
                  </a:lnTo>
                  <a:lnTo>
                    <a:pt x="273981" y="3204455"/>
                  </a:lnTo>
                  <a:lnTo>
                    <a:pt x="274239" y="3205238"/>
                  </a:lnTo>
                  <a:lnTo>
                    <a:pt x="274760" y="3206267"/>
                  </a:lnTo>
                  <a:lnTo>
                    <a:pt x="274666" y="3207193"/>
                  </a:lnTo>
                  <a:lnTo>
                    <a:pt x="273742" y="3207575"/>
                  </a:lnTo>
                  <a:lnTo>
                    <a:pt x="273176" y="3207549"/>
                  </a:lnTo>
                  <a:lnTo>
                    <a:pt x="271049" y="3207495"/>
                  </a:lnTo>
                  <a:lnTo>
                    <a:pt x="269694" y="3207257"/>
                  </a:lnTo>
                  <a:lnTo>
                    <a:pt x="268484" y="3206656"/>
                  </a:lnTo>
                  <a:lnTo>
                    <a:pt x="265778" y="3204488"/>
                  </a:lnTo>
                  <a:lnTo>
                    <a:pt x="263618" y="3203362"/>
                  </a:lnTo>
                  <a:lnTo>
                    <a:pt x="261323" y="3201316"/>
                  </a:lnTo>
                  <a:lnTo>
                    <a:pt x="260846" y="3199495"/>
                  </a:lnTo>
                  <a:close/>
                  <a:moveTo>
                    <a:pt x="158748" y="3198841"/>
                  </a:moveTo>
                  <a:lnTo>
                    <a:pt x="159943" y="3198860"/>
                  </a:lnTo>
                  <a:lnTo>
                    <a:pt x="161232" y="3199837"/>
                  </a:lnTo>
                  <a:lnTo>
                    <a:pt x="162095" y="3201803"/>
                  </a:lnTo>
                  <a:lnTo>
                    <a:pt x="162234" y="3202902"/>
                  </a:lnTo>
                  <a:lnTo>
                    <a:pt x="162121" y="3203222"/>
                  </a:lnTo>
                  <a:lnTo>
                    <a:pt x="161755" y="3203624"/>
                  </a:lnTo>
                  <a:lnTo>
                    <a:pt x="161167" y="3203602"/>
                  </a:lnTo>
                  <a:lnTo>
                    <a:pt x="160433" y="3203666"/>
                  </a:lnTo>
                  <a:lnTo>
                    <a:pt x="158112" y="3205135"/>
                  </a:lnTo>
                  <a:lnTo>
                    <a:pt x="157341" y="3204675"/>
                  </a:lnTo>
                  <a:lnTo>
                    <a:pt x="157054" y="3203462"/>
                  </a:lnTo>
                  <a:lnTo>
                    <a:pt x="156501" y="3202640"/>
                  </a:lnTo>
                  <a:lnTo>
                    <a:pt x="156188" y="3201542"/>
                  </a:lnTo>
                  <a:lnTo>
                    <a:pt x="156539" y="3200678"/>
                  </a:lnTo>
                  <a:lnTo>
                    <a:pt x="157064" y="3200317"/>
                  </a:lnTo>
                  <a:lnTo>
                    <a:pt x="157439" y="3199687"/>
                  </a:lnTo>
                  <a:lnTo>
                    <a:pt x="157856" y="3199138"/>
                  </a:lnTo>
                  <a:close/>
                  <a:moveTo>
                    <a:pt x="3318165" y="3181948"/>
                  </a:moveTo>
                  <a:lnTo>
                    <a:pt x="3318035" y="3182546"/>
                  </a:lnTo>
                  <a:lnTo>
                    <a:pt x="3318093" y="3183040"/>
                  </a:lnTo>
                  <a:lnTo>
                    <a:pt x="3318218" y="3183529"/>
                  </a:lnTo>
                  <a:lnTo>
                    <a:pt x="3318294" y="3184151"/>
                  </a:lnTo>
                  <a:lnTo>
                    <a:pt x="3318630" y="3187297"/>
                  </a:lnTo>
                  <a:lnTo>
                    <a:pt x="3321791" y="3189354"/>
                  </a:lnTo>
                  <a:lnTo>
                    <a:pt x="3321993" y="3191775"/>
                  </a:lnTo>
                  <a:lnTo>
                    <a:pt x="3320740" y="3193177"/>
                  </a:lnTo>
                  <a:lnTo>
                    <a:pt x="3318418" y="3193876"/>
                  </a:lnTo>
                  <a:lnTo>
                    <a:pt x="3316040" y="3193527"/>
                  </a:lnTo>
                  <a:lnTo>
                    <a:pt x="3313349" y="3190230"/>
                  </a:lnTo>
                  <a:lnTo>
                    <a:pt x="3311544" y="3189660"/>
                  </a:lnTo>
                  <a:lnTo>
                    <a:pt x="3310270" y="3188655"/>
                  </a:lnTo>
                  <a:lnTo>
                    <a:pt x="3310596" y="3185808"/>
                  </a:lnTo>
                  <a:lnTo>
                    <a:pt x="3312062" y="3184158"/>
                  </a:lnTo>
                  <a:lnTo>
                    <a:pt x="3316558" y="3183071"/>
                  </a:lnTo>
                  <a:close/>
                  <a:moveTo>
                    <a:pt x="226956" y="3169900"/>
                  </a:moveTo>
                  <a:lnTo>
                    <a:pt x="242033" y="3172997"/>
                  </a:lnTo>
                  <a:lnTo>
                    <a:pt x="242488" y="3172892"/>
                  </a:lnTo>
                  <a:lnTo>
                    <a:pt x="244040" y="3172047"/>
                  </a:lnTo>
                  <a:lnTo>
                    <a:pt x="244883" y="3171893"/>
                  </a:lnTo>
                  <a:lnTo>
                    <a:pt x="245672" y="3172112"/>
                  </a:lnTo>
                  <a:lnTo>
                    <a:pt x="247910" y="3173353"/>
                  </a:lnTo>
                  <a:lnTo>
                    <a:pt x="248573" y="3176402"/>
                  </a:lnTo>
                  <a:lnTo>
                    <a:pt x="249196" y="3177834"/>
                  </a:lnTo>
                  <a:lnTo>
                    <a:pt x="250235" y="3178603"/>
                  </a:lnTo>
                  <a:lnTo>
                    <a:pt x="249183" y="3179573"/>
                  </a:lnTo>
                  <a:lnTo>
                    <a:pt x="248443" y="3179570"/>
                  </a:lnTo>
                  <a:lnTo>
                    <a:pt x="247789" y="3179123"/>
                  </a:lnTo>
                  <a:lnTo>
                    <a:pt x="247004" y="3178775"/>
                  </a:lnTo>
                  <a:lnTo>
                    <a:pt x="246073" y="3178873"/>
                  </a:lnTo>
                  <a:lnTo>
                    <a:pt x="244229" y="3179578"/>
                  </a:lnTo>
                  <a:lnTo>
                    <a:pt x="243767" y="3179685"/>
                  </a:lnTo>
                  <a:lnTo>
                    <a:pt x="236743" y="3177157"/>
                  </a:lnTo>
                  <a:lnTo>
                    <a:pt x="236194" y="3177305"/>
                  </a:lnTo>
                  <a:lnTo>
                    <a:pt x="234163" y="3176897"/>
                  </a:lnTo>
                  <a:lnTo>
                    <a:pt x="223832" y="3170013"/>
                  </a:lnTo>
                  <a:close/>
                  <a:moveTo>
                    <a:pt x="232171" y="3164489"/>
                  </a:moveTo>
                  <a:lnTo>
                    <a:pt x="237580" y="3165359"/>
                  </a:lnTo>
                  <a:lnTo>
                    <a:pt x="241858" y="3167241"/>
                  </a:lnTo>
                  <a:lnTo>
                    <a:pt x="243002" y="3167942"/>
                  </a:lnTo>
                  <a:lnTo>
                    <a:pt x="243882" y="3169549"/>
                  </a:lnTo>
                  <a:lnTo>
                    <a:pt x="242585" y="3170601"/>
                  </a:lnTo>
                  <a:lnTo>
                    <a:pt x="238657" y="3170684"/>
                  </a:lnTo>
                  <a:lnTo>
                    <a:pt x="237874" y="3170408"/>
                  </a:lnTo>
                  <a:lnTo>
                    <a:pt x="236952" y="3169912"/>
                  </a:lnTo>
                  <a:lnTo>
                    <a:pt x="234480" y="3169869"/>
                  </a:lnTo>
                  <a:lnTo>
                    <a:pt x="233579" y="3169387"/>
                  </a:lnTo>
                  <a:lnTo>
                    <a:pt x="233039" y="3168770"/>
                  </a:lnTo>
                  <a:lnTo>
                    <a:pt x="233010" y="3168441"/>
                  </a:lnTo>
                  <a:lnTo>
                    <a:pt x="233480" y="3168511"/>
                  </a:lnTo>
                  <a:lnTo>
                    <a:pt x="233274" y="3168145"/>
                  </a:lnTo>
                  <a:lnTo>
                    <a:pt x="232337" y="3167172"/>
                  </a:lnTo>
                  <a:lnTo>
                    <a:pt x="231977" y="3166549"/>
                  </a:lnTo>
                  <a:lnTo>
                    <a:pt x="232197" y="3166350"/>
                  </a:lnTo>
                  <a:lnTo>
                    <a:pt x="231599" y="3166079"/>
                  </a:lnTo>
                  <a:lnTo>
                    <a:pt x="231020" y="3165205"/>
                  </a:lnTo>
                  <a:close/>
                  <a:moveTo>
                    <a:pt x="223406" y="3163136"/>
                  </a:moveTo>
                  <a:lnTo>
                    <a:pt x="224069" y="3163292"/>
                  </a:lnTo>
                  <a:lnTo>
                    <a:pt x="226151" y="3164448"/>
                  </a:lnTo>
                  <a:lnTo>
                    <a:pt x="227251" y="3164808"/>
                  </a:lnTo>
                  <a:lnTo>
                    <a:pt x="228223" y="3164917"/>
                  </a:lnTo>
                  <a:lnTo>
                    <a:pt x="228878" y="3165167"/>
                  </a:lnTo>
                  <a:lnTo>
                    <a:pt x="229030" y="3165694"/>
                  </a:lnTo>
                  <a:lnTo>
                    <a:pt x="229282" y="3166124"/>
                  </a:lnTo>
                  <a:lnTo>
                    <a:pt x="231451" y="3167761"/>
                  </a:lnTo>
                  <a:lnTo>
                    <a:pt x="232084" y="3168602"/>
                  </a:lnTo>
                  <a:lnTo>
                    <a:pt x="232291" y="3169152"/>
                  </a:lnTo>
                  <a:lnTo>
                    <a:pt x="232005" y="3169701"/>
                  </a:lnTo>
                  <a:lnTo>
                    <a:pt x="231090" y="3169838"/>
                  </a:lnTo>
                  <a:lnTo>
                    <a:pt x="230177" y="3169700"/>
                  </a:lnTo>
                  <a:lnTo>
                    <a:pt x="227528" y="3169158"/>
                  </a:lnTo>
                  <a:lnTo>
                    <a:pt x="225242" y="3168507"/>
                  </a:lnTo>
                  <a:lnTo>
                    <a:pt x="223306" y="3166826"/>
                  </a:lnTo>
                  <a:lnTo>
                    <a:pt x="223061" y="3166080"/>
                  </a:lnTo>
                  <a:lnTo>
                    <a:pt x="223928" y="3165779"/>
                  </a:lnTo>
                  <a:lnTo>
                    <a:pt x="223986" y="3164752"/>
                  </a:lnTo>
                  <a:lnTo>
                    <a:pt x="223369" y="3163699"/>
                  </a:lnTo>
                  <a:close/>
                  <a:moveTo>
                    <a:pt x="3324722" y="3160498"/>
                  </a:moveTo>
                  <a:lnTo>
                    <a:pt x="3329426" y="3162673"/>
                  </a:lnTo>
                  <a:lnTo>
                    <a:pt x="3329268" y="3163252"/>
                  </a:lnTo>
                  <a:lnTo>
                    <a:pt x="3329024" y="3163538"/>
                  </a:lnTo>
                  <a:lnTo>
                    <a:pt x="3328300" y="3163813"/>
                  </a:lnTo>
                  <a:lnTo>
                    <a:pt x="3327690" y="3163535"/>
                  </a:lnTo>
                  <a:lnTo>
                    <a:pt x="3326398" y="3163245"/>
                  </a:lnTo>
                  <a:lnTo>
                    <a:pt x="3325835" y="3162927"/>
                  </a:lnTo>
                  <a:lnTo>
                    <a:pt x="3325002" y="3162143"/>
                  </a:lnTo>
                  <a:lnTo>
                    <a:pt x="3324797" y="3161744"/>
                  </a:lnTo>
                  <a:lnTo>
                    <a:pt x="3324828" y="3161336"/>
                  </a:lnTo>
                  <a:close/>
                  <a:moveTo>
                    <a:pt x="250170" y="3149672"/>
                  </a:moveTo>
                  <a:lnTo>
                    <a:pt x="251458" y="3149901"/>
                  </a:lnTo>
                  <a:lnTo>
                    <a:pt x="253903" y="3150926"/>
                  </a:lnTo>
                  <a:lnTo>
                    <a:pt x="255131" y="3151164"/>
                  </a:lnTo>
                  <a:lnTo>
                    <a:pt x="257815" y="3150909"/>
                  </a:lnTo>
                  <a:lnTo>
                    <a:pt x="258948" y="3151278"/>
                  </a:lnTo>
                  <a:lnTo>
                    <a:pt x="260085" y="3153484"/>
                  </a:lnTo>
                  <a:lnTo>
                    <a:pt x="260359" y="3154806"/>
                  </a:lnTo>
                  <a:lnTo>
                    <a:pt x="260424" y="3156214"/>
                  </a:lnTo>
                  <a:lnTo>
                    <a:pt x="260198" y="3157365"/>
                  </a:lnTo>
                  <a:lnTo>
                    <a:pt x="260015" y="3158860"/>
                  </a:lnTo>
                  <a:lnTo>
                    <a:pt x="261245" y="3160882"/>
                  </a:lnTo>
                  <a:lnTo>
                    <a:pt x="261251" y="3161962"/>
                  </a:lnTo>
                  <a:lnTo>
                    <a:pt x="260405" y="3162667"/>
                  </a:lnTo>
                  <a:lnTo>
                    <a:pt x="256827" y="3162718"/>
                  </a:lnTo>
                  <a:lnTo>
                    <a:pt x="255670" y="3163312"/>
                  </a:lnTo>
                  <a:lnTo>
                    <a:pt x="252778" y="3165806"/>
                  </a:lnTo>
                  <a:lnTo>
                    <a:pt x="252101" y="3167978"/>
                  </a:lnTo>
                  <a:lnTo>
                    <a:pt x="250179" y="3168263"/>
                  </a:lnTo>
                  <a:lnTo>
                    <a:pt x="246179" y="3166668"/>
                  </a:lnTo>
                  <a:lnTo>
                    <a:pt x="241686" y="3162400"/>
                  </a:lnTo>
                  <a:lnTo>
                    <a:pt x="239910" y="3162056"/>
                  </a:lnTo>
                  <a:lnTo>
                    <a:pt x="240228" y="3163166"/>
                  </a:lnTo>
                  <a:lnTo>
                    <a:pt x="239960" y="3163824"/>
                  </a:lnTo>
                  <a:lnTo>
                    <a:pt x="239273" y="3164033"/>
                  </a:lnTo>
                  <a:lnTo>
                    <a:pt x="238363" y="3163779"/>
                  </a:lnTo>
                  <a:lnTo>
                    <a:pt x="237533" y="3163164"/>
                  </a:lnTo>
                  <a:lnTo>
                    <a:pt x="236445" y="3161571"/>
                  </a:lnTo>
                  <a:lnTo>
                    <a:pt x="235780" y="3160878"/>
                  </a:lnTo>
                  <a:lnTo>
                    <a:pt x="232128" y="3159794"/>
                  </a:lnTo>
                  <a:lnTo>
                    <a:pt x="230535" y="3158707"/>
                  </a:lnTo>
                  <a:lnTo>
                    <a:pt x="230431" y="3156540"/>
                  </a:lnTo>
                  <a:lnTo>
                    <a:pt x="231517" y="3156804"/>
                  </a:lnTo>
                  <a:lnTo>
                    <a:pt x="232456" y="3156675"/>
                  </a:lnTo>
                  <a:lnTo>
                    <a:pt x="233169" y="3155997"/>
                  </a:lnTo>
                  <a:lnTo>
                    <a:pt x="233584" y="3154592"/>
                  </a:lnTo>
                  <a:lnTo>
                    <a:pt x="237357" y="3152575"/>
                  </a:lnTo>
                  <a:lnTo>
                    <a:pt x="239268" y="3152194"/>
                  </a:lnTo>
                  <a:lnTo>
                    <a:pt x="240292" y="3153151"/>
                  </a:lnTo>
                  <a:lnTo>
                    <a:pt x="242849" y="3152338"/>
                  </a:lnTo>
                  <a:lnTo>
                    <a:pt x="247671" y="3150126"/>
                  </a:lnTo>
                  <a:close/>
                  <a:moveTo>
                    <a:pt x="198748" y="3141641"/>
                  </a:moveTo>
                  <a:lnTo>
                    <a:pt x="199958" y="3141664"/>
                  </a:lnTo>
                  <a:lnTo>
                    <a:pt x="201977" y="3142936"/>
                  </a:lnTo>
                  <a:lnTo>
                    <a:pt x="203932" y="3144684"/>
                  </a:lnTo>
                  <a:lnTo>
                    <a:pt x="210191" y="3148052"/>
                  </a:lnTo>
                  <a:lnTo>
                    <a:pt x="212920" y="3148718"/>
                  </a:lnTo>
                  <a:lnTo>
                    <a:pt x="213474" y="3149743"/>
                  </a:lnTo>
                  <a:lnTo>
                    <a:pt x="214212" y="3151807"/>
                  </a:lnTo>
                  <a:lnTo>
                    <a:pt x="214886" y="3153596"/>
                  </a:lnTo>
                  <a:lnTo>
                    <a:pt x="214915" y="3154644"/>
                  </a:lnTo>
                  <a:lnTo>
                    <a:pt x="214456" y="3154822"/>
                  </a:lnTo>
                  <a:lnTo>
                    <a:pt x="214054" y="3154249"/>
                  </a:lnTo>
                  <a:lnTo>
                    <a:pt x="213793" y="3153651"/>
                  </a:lnTo>
                  <a:lnTo>
                    <a:pt x="213241" y="3153408"/>
                  </a:lnTo>
                  <a:lnTo>
                    <a:pt x="212453" y="3153479"/>
                  </a:lnTo>
                  <a:lnTo>
                    <a:pt x="210742" y="3153100"/>
                  </a:lnTo>
                  <a:lnTo>
                    <a:pt x="204397" y="3149298"/>
                  </a:lnTo>
                  <a:lnTo>
                    <a:pt x="202891" y="3146894"/>
                  </a:lnTo>
                  <a:lnTo>
                    <a:pt x="200605" y="3146531"/>
                  </a:lnTo>
                  <a:lnTo>
                    <a:pt x="197177" y="3145285"/>
                  </a:lnTo>
                  <a:lnTo>
                    <a:pt x="195881" y="3143421"/>
                  </a:lnTo>
                  <a:lnTo>
                    <a:pt x="197109" y="3142230"/>
                  </a:lnTo>
                  <a:close/>
                  <a:moveTo>
                    <a:pt x="219677" y="3132200"/>
                  </a:moveTo>
                  <a:lnTo>
                    <a:pt x="220488" y="3132601"/>
                  </a:lnTo>
                  <a:lnTo>
                    <a:pt x="221488" y="3132491"/>
                  </a:lnTo>
                  <a:lnTo>
                    <a:pt x="222610" y="3132822"/>
                  </a:lnTo>
                  <a:lnTo>
                    <a:pt x="224863" y="3133928"/>
                  </a:lnTo>
                  <a:lnTo>
                    <a:pt x="225173" y="3135034"/>
                  </a:lnTo>
                  <a:lnTo>
                    <a:pt x="225205" y="3136784"/>
                  </a:lnTo>
                  <a:lnTo>
                    <a:pt x="225593" y="3137790"/>
                  </a:lnTo>
                  <a:lnTo>
                    <a:pt x="226953" y="3136685"/>
                  </a:lnTo>
                  <a:lnTo>
                    <a:pt x="227287" y="3135585"/>
                  </a:lnTo>
                  <a:lnTo>
                    <a:pt x="228313" y="3135606"/>
                  </a:lnTo>
                  <a:lnTo>
                    <a:pt x="233689" y="3138480"/>
                  </a:lnTo>
                  <a:lnTo>
                    <a:pt x="234780" y="3138797"/>
                  </a:lnTo>
                  <a:lnTo>
                    <a:pt x="235646" y="3138362"/>
                  </a:lnTo>
                  <a:lnTo>
                    <a:pt x="236304" y="3138131"/>
                  </a:lnTo>
                  <a:lnTo>
                    <a:pt x="236951" y="3138205"/>
                  </a:lnTo>
                  <a:lnTo>
                    <a:pt x="237320" y="3138593"/>
                  </a:lnTo>
                  <a:lnTo>
                    <a:pt x="237513" y="3139176"/>
                  </a:lnTo>
                  <a:lnTo>
                    <a:pt x="237627" y="3139795"/>
                  </a:lnTo>
                  <a:lnTo>
                    <a:pt x="237783" y="3140266"/>
                  </a:lnTo>
                  <a:lnTo>
                    <a:pt x="238990" y="3142542"/>
                  </a:lnTo>
                  <a:lnTo>
                    <a:pt x="239395" y="3143775"/>
                  </a:lnTo>
                  <a:lnTo>
                    <a:pt x="239681" y="3145325"/>
                  </a:lnTo>
                  <a:lnTo>
                    <a:pt x="238983" y="3144975"/>
                  </a:lnTo>
                  <a:lnTo>
                    <a:pt x="237963" y="3143876"/>
                  </a:lnTo>
                  <a:lnTo>
                    <a:pt x="237414" y="3143469"/>
                  </a:lnTo>
                  <a:lnTo>
                    <a:pt x="236572" y="3143334"/>
                  </a:lnTo>
                  <a:lnTo>
                    <a:pt x="234799" y="3143534"/>
                  </a:lnTo>
                  <a:lnTo>
                    <a:pt x="232402" y="3142924"/>
                  </a:lnTo>
                  <a:lnTo>
                    <a:pt x="227361" y="3142615"/>
                  </a:lnTo>
                  <a:lnTo>
                    <a:pt x="227161" y="3142280"/>
                  </a:lnTo>
                  <a:lnTo>
                    <a:pt x="226659" y="3140888"/>
                  </a:lnTo>
                  <a:lnTo>
                    <a:pt x="226282" y="3140426"/>
                  </a:lnTo>
                  <a:lnTo>
                    <a:pt x="226194" y="3140640"/>
                  </a:lnTo>
                  <a:lnTo>
                    <a:pt x="225730" y="3140975"/>
                  </a:lnTo>
                  <a:lnTo>
                    <a:pt x="225183" y="3141269"/>
                  </a:lnTo>
                  <a:lnTo>
                    <a:pt x="224823" y="3141368"/>
                  </a:lnTo>
                  <a:lnTo>
                    <a:pt x="223966" y="3140918"/>
                  </a:lnTo>
                  <a:lnTo>
                    <a:pt x="220828" y="3138028"/>
                  </a:lnTo>
                  <a:lnTo>
                    <a:pt x="220049" y="3134539"/>
                  </a:lnTo>
                  <a:lnTo>
                    <a:pt x="219342" y="3132934"/>
                  </a:lnTo>
                  <a:close/>
                  <a:moveTo>
                    <a:pt x="3305068" y="3121551"/>
                  </a:moveTo>
                  <a:lnTo>
                    <a:pt x="3308746" y="3122613"/>
                  </a:lnTo>
                  <a:lnTo>
                    <a:pt x="3308944" y="3123399"/>
                  </a:lnTo>
                  <a:lnTo>
                    <a:pt x="3308674" y="3123498"/>
                  </a:lnTo>
                  <a:lnTo>
                    <a:pt x="3308553" y="3123723"/>
                  </a:lnTo>
                  <a:lnTo>
                    <a:pt x="3308471" y="3124029"/>
                  </a:lnTo>
                  <a:lnTo>
                    <a:pt x="3308316" y="3124326"/>
                  </a:lnTo>
                  <a:lnTo>
                    <a:pt x="3306017" y="3123630"/>
                  </a:lnTo>
                  <a:lnTo>
                    <a:pt x="3304960" y="3122946"/>
                  </a:lnTo>
                  <a:lnTo>
                    <a:pt x="3303960" y="3121562"/>
                  </a:lnTo>
                  <a:close/>
                  <a:moveTo>
                    <a:pt x="4555987" y="3114098"/>
                  </a:moveTo>
                  <a:lnTo>
                    <a:pt x="4557933" y="3114536"/>
                  </a:lnTo>
                  <a:lnTo>
                    <a:pt x="4561748" y="3116149"/>
                  </a:lnTo>
                  <a:lnTo>
                    <a:pt x="4562208" y="3116124"/>
                  </a:lnTo>
                  <a:lnTo>
                    <a:pt x="4563280" y="3115765"/>
                  </a:lnTo>
                  <a:lnTo>
                    <a:pt x="4563774" y="3115838"/>
                  </a:lnTo>
                  <a:lnTo>
                    <a:pt x="4564225" y="3116242"/>
                  </a:lnTo>
                  <a:lnTo>
                    <a:pt x="4564922" y="3117262"/>
                  </a:lnTo>
                  <a:lnTo>
                    <a:pt x="4565228" y="3117571"/>
                  </a:lnTo>
                  <a:lnTo>
                    <a:pt x="4569878" y="3119645"/>
                  </a:lnTo>
                  <a:lnTo>
                    <a:pt x="4570898" y="3119847"/>
                  </a:lnTo>
                  <a:lnTo>
                    <a:pt x="4571606" y="3119493"/>
                  </a:lnTo>
                  <a:lnTo>
                    <a:pt x="4572766" y="3118364"/>
                  </a:lnTo>
                  <a:lnTo>
                    <a:pt x="4573740" y="3118137"/>
                  </a:lnTo>
                  <a:lnTo>
                    <a:pt x="4576392" y="3118907"/>
                  </a:lnTo>
                  <a:lnTo>
                    <a:pt x="4577240" y="3118782"/>
                  </a:lnTo>
                  <a:lnTo>
                    <a:pt x="4578793" y="3118054"/>
                  </a:lnTo>
                  <a:lnTo>
                    <a:pt x="4579634" y="3117882"/>
                  </a:lnTo>
                  <a:lnTo>
                    <a:pt x="4580634" y="3118202"/>
                  </a:lnTo>
                  <a:lnTo>
                    <a:pt x="4583740" y="3119878"/>
                  </a:lnTo>
                  <a:lnTo>
                    <a:pt x="4584276" y="3119955"/>
                  </a:lnTo>
                  <a:lnTo>
                    <a:pt x="4585038" y="3120362"/>
                  </a:lnTo>
                  <a:lnTo>
                    <a:pt x="4585937" y="3120699"/>
                  </a:lnTo>
                  <a:lnTo>
                    <a:pt x="4586869" y="3120550"/>
                  </a:lnTo>
                  <a:lnTo>
                    <a:pt x="4587803" y="3120236"/>
                  </a:lnTo>
                  <a:lnTo>
                    <a:pt x="4591202" y="3119820"/>
                  </a:lnTo>
                  <a:lnTo>
                    <a:pt x="4598697" y="3116490"/>
                  </a:lnTo>
                  <a:lnTo>
                    <a:pt x="4599644" y="3116458"/>
                  </a:lnTo>
                  <a:lnTo>
                    <a:pt x="4602638" y="3116882"/>
                  </a:lnTo>
                  <a:lnTo>
                    <a:pt x="4604629" y="3117473"/>
                  </a:lnTo>
                  <a:lnTo>
                    <a:pt x="4605428" y="3117501"/>
                  </a:lnTo>
                  <a:lnTo>
                    <a:pt x="4607442" y="3115661"/>
                  </a:lnTo>
                  <a:lnTo>
                    <a:pt x="4608747" y="3114856"/>
                  </a:lnTo>
                  <a:lnTo>
                    <a:pt x="4610659" y="3115857"/>
                  </a:lnTo>
                  <a:lnTo>
                    <a:pt x="4615114" y="3116965"/>
                  </a:lnTo>
                  <a:lnTo>
                    <a:pt x="4615255" y="3118533"/>
                  </a:lnTo>
                  <a:lnTo>
                    <a:pt x="4616146" y="3119045"/>
                  </a:lnTo>
                  <a:lnTo>
                    <a:pt x="4618555" y="3119252"/>
                  </a:lnTo>
                  <a:lnTo>
                    <a:pt x="4619011" y="3119604"/>
                  </a:lnTo>
                  <a:lnTo>
                    <a:pt x="4620239" y="3120895"/>
                  </a:lnTo>
                  <a:lnTo>
                    <a:pt x="4620803" y="3121374"/>
                  </a:lnTo>
                  <a:lnTo>
                    <a:pt x="4621283" y="3121496"/>
                  </a:lnTo>
                  <a:lnTo>
                    <a:pt x="4623188" y="3121691"/>
                  </a:lnTo>
                  <a:lnTo>
                    <a:pt x="4624529" y="3122358"/>
                  </a:lnTo>
                  <a:lnTo>
                    <a:pt x="4628199" y="3124841"/>
                  </a:lnTo>
                  <a:lnTo>
                    <a:pt x="4630635" y="3125759"/>
                  </a:lnTo>
                  <a:lnTo>
                    <a:pt x="4632872" y="3126305"/>
                  </a:lnTo>
                  <a:lnTo>
                    <a:pt x="4632756" y="3127635"/>
                  </a:lnTo>
                  <a:lnTo>
                    <a:pt x="4631996" y="3129534"/>
                  </a:lnTo>
                  <a:lnTo>
                    <a:pt x="4631758" y="3130510"/>
                  </a:lnTo>
                  <a:lnTo>
                    <a:pt x="4632037" y="3131801"/>
                  </a:lnTo>
                  <a:lnTo>
                    <a:pt x="4632639" y="3132526"/>
                  </a:lnTo>
                  <a:lnTo>
                    <a:pt x="4632786" y="3133118"/>
                  </a:lnTo>
                  <a:lnTo>
                    <a:pt x="4631698" y="3133995"/>
                  </a:lnTo>
                  <a:lnTo>
                    <a:pt x="4630411" y="3134511"/>
                  </a:lnTo>
                  <a:lnTo>
                    <a:pt x="4629726" y="3135025"/>
                  </a:lnTo>
                  <a:lnTo>
                    <a:pt x="4627811" y="3139677"/>
                  </a:lnTo>
                  <a:lnTo>
                    <a:pt x="4626985" y="3140041"/>
                  </a:lnTo>
                  <a:lnTo>
                    <a:pt x="4623772" y="3140410"/>
                  </a:lnTo>
                  <a:lnTo>
                    <a:pt x="4622712" y="3140836"/>
                  </a:lnTo>
                  <a:lnTo>
                    <a:pt x="4612770" y="3147835"/>
                  </a:lnTo>
                  <a:lnTo>
                    <a:pt x="4607478" y="3149978"/>
                  </a:lnTo>
                  <a:lnTo>
                    <a:pt x="4600883" y="3155607"/>
                  </a:lnTo>
                  <a:lnTo>
                    <a:pt x="4598923" y="3156286"/>
                  </a:lnTo>
                  <a:lnTo>
                    <a:pt x="4596866" y="3156452"/>
                  </a:lnTo>
                  <a:lnTo>
                    <a:pt x="4595080" y="3155948"/>
                  </a:lnTo>
                  <a:lnTo>
                    <a:pt x="4593295" y="3155703"/>
                  </a:lnTo>
                  <a:lnTo>
                    <a:pt x="4588195" y="3157424"/>
                  </a:lnTo>
                  <a:lnTo>
                    <a:pt x="4581311" y="3158060"/>
                  </a:lnTo>
                  <a:lnTo>
                    <a:pt x="4569925" y="3163358"/>
                  </a:lnTo>
                  <a:lnTo>
                    <a:pt x="4554924" y="3165905"/>
                  </a:lnTo>
                  <a:lnTo>
                    <a:pt x="4540129" y="3169738"/>
                  </a:lnTo>
                  <a:lnTo>
                    <a:pt x="4534199" y="3169329"/>
                  </a:lnTo>
                  <a:lnTo>
                    <a:pt x="4530735" y="3170033"/>
                  </a:lnTo>
                  <a:lnTo>
                    <a:pt x="4524591" y="3168242"/>
                  </a:lnTo>
                  <a:lnTo>
                    <a:pt x="4520605" y="3169287"/>
                  </a:lnTo>
                  <a:lnTo>
                    <a:pt x="4517996" y="3168783"/>
                  </a:lnTo>
                  <a:lnTo>
                    <a:pt x="4516419" y="3168711"/>
                  </a:lnTo>
                  <a:lnTo>
                    <a:pt x="4514835" y="3168875"/>
                  </a:lnTo>
                  <a:lnTo>
                    <a:pt x="4510925" y="3170336"/>
                  </a:lnTo>
                  <a:lnTo>
                    <a:pt x="4501657" y="3171677"/>
                  </a:lnTo>
                  <a:lnTo>
                    <a:pt x="4501773" y="3169759"/>
                  </a:lnTo>
                  <a:lnTo>
                    <a:pt x="4500359" y="3168766"/>
                  </a:lnTo>
                  <a:lnTo>
                    <a:pt x="4498453" y="3168035"/>
                  </a:lnTo>
                  <a:lnTo>
                    <a:pt x="4497071" y="3166917"/>
                  </a:lnTo>
                  <a:lnTo>
                    <a:pt x="4496085" y="3165089"/>
                  </a:lnTo>
                  <a:lnTo>
                    <a:pt x="4495070" y="3163651"/>
                  </a:lnTo>
                  <a:lnTo>
                    <a:pt x="4493837" y="3162512"/>
                  </a:lnTo>
                  <a:lnTo>
                    <a:pt x="4492187" y="3161552"/>
                  </a:lnTo>
                  <a:lnTo>
                    <a:pt x="4488579" y="3160041"/>
                  </a:lnTo>
                  <a:lnTo>
                    <a:pt x="4480221" y="3157157"/>
                  </a:lnTo>
                  <a:lnTo>
                    <a:pt x="4466673" y="3155551"/>
                  </a:lnTo>
                  <a:lnTo>
                    <a:pt x="4456446" y="3156219"/>
                  </a:lnTo>
                  <a:lnTo>
                    <a:pt x="4447769" y="3157668"/>
                  </a:lnTo>
                  <a:lnTo>
                    <a:pt x="4438202" y="3158140"/>
                  </a:lnTo>
                  <a:lnTo>
                    <a:pt x="4436567" y="3157509"/>
                  </a:lnTo>
                  <a:lnTo>
                    <a:pt x="4434388" y="3155684"/>
                  </a:lnTo>
                  <a:lnTo>
                    <a:pt x="4431929" y="3155758"/>
                  </a:lnTo>
                  <a:lnTo>
                    <a:pt x="4430891" y="3157087"/>
                  </a:lnTo>
                  <a:lnTo>
                    <a:pt x="4432975" y="3159029"/>
                  </a:lnTo>
                  <a:lnTo>
                    <a:pt x="4431385" y="3159488"/>
                  </a:lnTo>
                  <a:lnTo>
                    <a:pt x="4429182" y="3159356"/>
                  </a:lnTo>
                  <a:lnTo>
                    <a:pt x="4427050" y="3158662"/>
                  </a:lnTo>
                  <a:lnTo>
                    <a:pt x="4425693" y="3157424"/>
                  </a:lnTo>
                  <a:lnTo>
                    <a:pt x="4424217" y="3156593"/>
                  </a:lnTo>
                  <a:lnTo>
                    <a:pt x="4422330" y="3156842"/>
                  </a:lnTo>
                  <a:lnTo>
                    <a:pt x="4420985" y="3156398"/>
                  </a:lnTo>
                  <a:lnTo>
                    <a:pt x="4421132" y="3153503"/>
                  </a:lnTo>
                  <a:lnTo>
                    <a:pt x="4422670" y="3150373"/>
                  </a:lnTo>
                  <a:lnTo>
                    <a:pt x="4428024" y="3145270"/>
                  </a:lnTo>
                  <a:lnTo>
                    <a:pt x="4431377" y="3143004"/>
                  </a:lnTo>
                  <a:lnTo>
                    <a:pt x="4432981" y="3142323"/>
                  </a:lnTo>
                  <a:lnTo>
                    <a:pt x="4433607" y="3141782"/>
                  </a:lnTo>
                  <a:lnTo>
                    <a:pt x="4434079" y="3140751"/>
                  </a:lnTo>
                  <a:lnTo>
                    <a:pt x="4434197" y="3139820"/>
                  </a:lnTo>
                  <a:lnTo>
                    <a:pt x="4434449" y="3138997"/>
                  </a:lnTo>
                  <a:lnTo>
                    <a:pt x="4435306" y="3138246"/>
                  </a:lnTo>
                  <a:lnTo>
                    <a:pt x="4440410" y="3135744"/>
                  </a:lnTo>
                  <a:lnTo>
                    <a:pt x="4448365" y="3135025"/>
                  </a:lnTo>
                  <a:lnTo>
                    <a:pt x="4450119" y="3134415"/>
                  </a:lnTo>
                  <a:lnTo>
                    <a:pt x="4450762" y="3134306"/>
                  </a:lnTo>
                  <a:lnTo>
                    <a:pt x="4454665" y="3134669"/>
                  </a:lnTo>
                  <a:lnTo>
                    <a:pt x="4471285" y="3129102"/>
                  </a:lnTo>
                  <a:lnTo>
                    <a:pt x="4477843" y="3127586"/>
                  </a:lnTo>
                  <a:lnTo>
                    <a:pt x="4483773" y="3124878"/>
                  </a:lnTo>
                  <a:lnTo>
                    <a:pt x="4493076" y="3121695"/>
                  </a:lnTo>
                  <a:lnTo>
                    <a:pt x="4505212" y="3119712"/>
                  </a:lnTo>
                  <a:lnTo>
                    <a:pt x="4510749" y="3117449"/>
                  </a:lnTo>
                  <a:lnTo>
                    <a:pt x="4517122" y="3117617"/>
                  </a:lnTo>
                  <a:lnTo>
                    <a:pt x="4522867" y="3116009"/>
                  </a:lnTo>
                  <a:lnTo>
                    <a:pt x="4524856" y="3116270"/>
                  </a:lnTo>
                  <a:lnTo>
                    <a:pt x="4528341" y="3117744"/>
                  </a:lnTo>
                  <a:lnTo>
                    <a:pt x="4529279" y="3117760"/>
                  </a:lnTo>
                  <a:lnTo>
                    <a:pt x="4532097" y="3116032"/>
                  </a:lnTo>
                  <a:lnTo>
                    <a:pt x="4537903" y="3116385"/>
                  </a:lnTo>
                  <a:lnTo>
                    <a:pt x="4539266" y="3116218"/>
                  </a:lnTo>
                  <a:lnTo>
                    <a:pt x="4540972" y="3115384"/>
                  </a:lnTo>
                  <a:lnTo>
                    <a:pt x="4542562" y="3114949"/>
                  </a:lnTo>
                  <a:lnTo>
                    <a:pt x="4544129" y="3114847"/>
                  </a:lnTo>
                  <a:lnTo>
                    <a:pt x="4550091" y="3115505"/>
                  </a:lnTo>
                  <a:lnTo>
                    <a:pt x="4552178" y="3115286"/>
                  </a:lnTo>
                  <a:close/>
                  <a:moveTo>
                    <a:pt x="4439795" y="3098364"/>
                  </a:moveTo>
                  <a:lnTo>
                    <a:pt x="4440167" y="3098656"/>
                  </a:lnTo>
                  <a:lnTo>
                    <a:pt x="4440429" y="3098714"/>
                  </a:lnTo>
                  <a:lnTo>
                    <a:pt x="4440960" y="3098650"/>
                  </a:lnTo>
                  <a:lnTo>
                    <a:pt x="4444280" y="3100441"/>
                  </a:lnTo>
                  <a:lnTo>
                    <a:pt x="4444997" y="3101635"/>
                  </a:lnTo>
                  <a:lnTo>
                    <a:pt x="4443503" y="3103114"/>
                  </a:lnTo>
                  <a:lnTo>
                    <a:pt x="4441489" y="3103401"/>
                  </a:lnTo>
                  <a:lnTo>
                    <a:pt x="4439829" y="3102391"/>
                  </a:lnTo>
                  <a:lnTo>
                    <a:pt x="4439070" y="3100543"/>
                  </a:lnTo>
                  <a:close/>
                  <a:moveTo>
                    <a:pt x="165174" y="3097479"/>
                  </a:moveTo>
                  <a:lnTo>
                    <a:pt x="169165" y="3098006"/>
                  </a:lnTo>
                  <a:lnTo>
                    <a:pt x="171778" y="3097997"/>
                  </a:lnTo>
                  <a:lnTo>
                    <a:pt x="173727" y="3098931"/>
                  </a:lnTo>
                  <a:lnTo>
                    <a:pt x="174714" y="3100915"/>
                  </a:lnTo>
                  <a:lnTo>
                    <a:pt x="174926" y="3103535"/>
                  </a:lnTo>
                  <a:lnTo>
                    <a:pt x="174363" y="3105658"/>
                  </a:lnTo>
                  <a:lnTo>
                    <a:pt x="173765" y="3108142"/>
                  </a:lnTo>
                  <a:lnTo>
                    <a:pt x="172637" y="3107602"/>
                  </a:lnTo>
                  <a:lnTo>
                    <a:pt x="169666" y="3105047"/>
                  </a:lnTo>
                  <a:lnTo>
                    <a:pt x="168825" y="3103007"/>
                  </a:lnTo>
                  <a:lnTo>
                    <a:pt x="167162" y="3101707"/>
                  </a:lnTo>
                  <a:lnTo>
                    <a:pt x="165284" y="3100052"/>
                  </a:lnTo>
                  <a:lnTo>
                    <a:pt x="164715" y="3098520"/>
                  </a:lnTo>
                  <a:close/>
                  <a:moveTo>
                    <a:pt x="3220212" y="3094086"/>
                  </a:moveTo>
                  <a:lnTo>
                    <a:pt x="3220814" y="3094377"/>
                  </a:lnTo>
                  <a:lnTo>
                    <a:pt x="3221394" y="3095481"/>
                  </a:lnTo>
                  <a:lnTo>
                    <a:pt x="3221827" y="3096594"/>
                  </a:lnTo>
                  <a:lnTo>
                    <a:pt x="3221843" y="3097787"/>
                  </a:lnTo>
                  <a:lnTo>
                    <a:pt x="3221691" y="3098435"/>
                  </a:lnTo>
                  <a:lnTo>
                    <a:pt x="3221500" y="3098687"/>
                  </a:lnTo>
                  <a:lnTo>
                    <a:pt x="3221021" y="3098507"/>
                  </a:lnTo>
                  <a:lnTo>
                    <a:pt x="3220571" y="3097490"/>
                  </a:lnTo>
                  <a:lnTo>
                    <a:pt x="3220265" y="3096328"/>
                  </a:lnTo>
                  <a:lnTo>
                    <a:pt x="3220027" y="3095034"/>
                  </a:lnTo>
                  <a:close/>
                  <a:moveTo>
                    <a:pt x="162597" y="3089970"/>
                  </a:moveTo>
                  <a:lnTo>
                    <a:pt x="165769" y="3092078"/>
                  </a:lnTo>
                  <a:lnTo>
                    <a:pt x="166252" y="3093118"/>
                  </a:lnTo>
                  <a:lnTo>
                    <a:pt x="166090" y="3093812"/>
                  </a:lnTo>
                  <a:lnTo>
                    <a:pt x="166029" y="3094249"/>
                  </a:lnTo>
                  <a:lnTo>
                    <a:pt x="165965" y="3095138"/>
                  </a:lnTo>
                  <a:lnTo>
                    <a:pt x="165502" y="3095917"/>
                  </a:lnTo>
                  <a:lnTo>
                    <a:pt x="164497" y="3096215"/>
                  </a:lnTo>
                  <a:lnTo>
                    <a:pt x="163532" y="3096223"/>
                  </a:lnTo>
                  <a:lnTo>
                    <a:pt x="162768" y="3096095"/>
                  </a:lnTo>
                  <a:lnTo>
                    <a:pt x="162247" y="3095534"/>
                  </a:lnTo>
                  <a:lnTo>
                    <a:pt x="161847" y="3094820"/>
                  </a:lnTo>
                  <a:lnTo>
                    <a:pt x="160101" y="3093952"/>
                  </a:lnTo>
                  <a:lnTo>
                    <a:pt x="159637" y="3092711"/>
                  </a:lnTo>
                  <a:lnTo>
                    <a:pt x="158458" y="3092419"/>
                  </a:lnTo>
                  <a:lnTo>
                    <a:pt x="157054" y="3091112"/>
                  </a:lnTo>
                  <a:lnTo>
                    <a:pt x="157386" y="3090096"/>
                  </a:lnTo>
                  <a:lnTo>
                    <a:pt x="160399" y="3090650"/>
                  </a:lnTo>
                  <a:lnTo>
                    <a:pt x="161245" y="3090467"/>
                  </a:lnTo>
                  <a:lnTo>
                    <a:pt x="161989" y="3090017"/>
                  </a:lnTo>
                  <a:close/>
                  <a:moveTo>
                    <a:pt x="129786" y="3089478"/>
                  </a:moveTo>
                  <a:lnTo>
                    <a:pt x="130375" y="3089561"/>
                  </a:lnTo>
                  <a:lnTo>
                    <a:pt x="132380" y="3091208"/>
                  </a:lnTo>
                  <a:lnTo>
                    <a:pt x="135074" y="3091381"/>
                  </a:lnTo>
                  <a:lnTo>
                    <a:pt x="138487" y="3090743"/>
                  </a:lnTo>
                  <a:lnTo>
                    <a:pt x="141550" y="3090701"/>
                  </a:lnTo>
                  <a:lnTo>
                    <a:pt x="143218" y="3092656"/>
                  </a:lnTo>
                  <a:lnTo>
                    <a:pt x="147965" y="3091479"/>
                  </a:lnTo>
                  <a:lnTo>
                    <a:pt x="149457" y="3091697"/>
                  </a:lnTo>
                  <a:lnTo>
                    <a:pt x="150664" y="3092486"/>
                  </a:lnTo>
                  <a:lnTo>
                    <a:pt x="152708" y="3094369"/>
                  </a:lnTo>
                  <a:lnTo>
                    <a:pt x="159195" y="3096658"/>
                  </a:lnTo>
                  <a:lnTo>
                    <a:pt x="161212" y="3098173"/>
                  </a:lnTo>
                  <a:lnTo>
                    <a:pt x="177068" y="3115042"/>
                  </a:lnTo>
                  <a:lnTo>
                    <a:pt x="178524" y="3117509"/>
                  </a:lnTo>
                  <a:lnTo>
                    <a:pt x="179567" y="3118182"/>
                  </a:lnTo>
                  <a:lnTo>
                    <a:pt x="180063" y="3119218"/>
                  </a:lnTo>
                  <a:lnTo>
                    <a:pt x="180149" y="3120602"/>
                  </a:lnTo>
                  <a:lnTo>
                    <a:pt x="179932" y="3122321"/>
                  </a:lnTo>
                  <a:lnTo>
                    <a:pt x="179743" y="3122334"/>
                  </a:lnTo>
                  <a:lnTo>
                    <a:pt x="179255" y="3122887"/>
                  </a:lnTo>
                  <a:lnTo>
                    <a:pt x="178783" y="3123707"/>
                  </a:lnTo>
                  <a:lnTo>
                    <a:pt x="178622" y="3124569"/>
                  </a:lnTo>
                  <a:lnTo>
                    <a:pt x="178771" y="3125887"/>
                  </a:lnTo>
                  <a:lnTo>
                    <a:pt x="178746" y="3126599"/>
                  </a:lnTo>
                  <a:lnTo>
                    <a:pt x="178582" y="3127550"/>
                  </a:lnTo>
                  <a:lnTo>
                    <a:pt x="180342" y="3126292"/>
                  </a:lnTo>
                  <a:lnTo>
                    <a:pt x="182137" y="3124596"/>
                  </a:lnTo>
                  <a:lnTo>
                    <a:pt x="183773" y="3123708"/>
                  </a:lnTo>
                  <a:lnTo>
                    <a:pt x="185027" y="3124891"/>
                  </a:lnTo>
                  <a:lnTo>
                    <a:pt x="183194" y="3126217"/>
                  </a:lnTo>
                  <a:lnTo>
                    <a:pt x="183310" y="3128861"/>
                  </a:lnTo>
                  <a:lnTo>
                    <a:pt x="184352" y="3131654"/>
                  </a:lnTo>
                  <a:lnTo>
                    <a:pt x="185278" y="3133414"/>
                  </a:lnTo>
                  <a:lnTo>
                    <a:pt x="189616" y="3138348"/>
                  </a:lnTo>
                  <a:lnTo>
                    <a:pt x="190860" y="3140369"/>
                  </a:lnTo>
                  <a:lnTo>
                    <a:pt x="191374" y="3141810"/>
                  </a:lnTo>
                  <a:lnTo>
                    <a:pt x="191627" y="3142863"/>
                  </a:lnTo>
                  <a:lnTo>
                    <a:pt x="192042" y="3143779"/>
                  </a:lnTo>
                  <a:lnTo>
                    <a:pt x="193036" y="3144786"/>
                  </a:lnTo>
                  <a:lnTo>
                    <a:pt x="196457" y="3146135"/>
                  </a:lnTo>
                  <a:lnTo>
                    <a:pt x="197273" y="3146898"/>
                  </a:lnTo>
                  <a:lnTo>
                    <a:pt x="197404" y="3147537"/>
                  </a:lnTo>
                  <a:lnTo>
                    <a:pt x="197375" y="3148369"/>
                  </a:lnTo>
                  <a:lnTo>
                    <a:pt x="197290" y="3149075"/>
                  </a:lnTo>
                  <a:lnTo>
                    <a:pt x="197225" y="3149364"/>
                  </a:lnTo>
                  <a:lnTo>
                    <a:pt x="197716" y="3149876"/>
                  </a:lnTo>
                  <a:lnTo>
                    <a:pt x="198156" y="3150035"/>
                  </a:lnTo>
                  <a:lnTo>
                    <a:pt x="198655" y="3150130"/>
                  </a:lnTo>
                  <a:lnTo>
                    <a:pt x="199348" y="3150419"/>
                  </a:lnTo>
                  <a:lnTo>
                    <a:pt x="202211" y="3152731"/>
                  </a:lnTo>
                  <a:lnTo>
                    <a:pt x="203249" y="3153261"/>
                  </a:lnTo>
                  <a:lnTo>
                    <a:pt x="202827" y="3153051"/>
                  </a:lnTo>
                  <a:lnTo>
                    <a:pt x="203281" y="3153306"/>
                  </a:lnTo>
                  <a:lnTo>
                    <a:pt x="203660" y="3153632"/>
                  </a:lnTo>
                  <a:lnTo>
                    <a:pt x="203971" y="3154044"/>
                  </a:lnTo>
                  <a:lnTo>
                    <a:pt x="204242" y="3154509"/>
                  </a:lnTo>
                  <a:lnTo>
                    <a:pt x="203792" y="3154657"/>
                  </a:lnTo>
                  <a:lnTo>
                    <a:pt x="202826" y="3155128"/>
                  </a:lnTo>
                  <a:lnTo>
                    <a:pt x="202347" y="3155232"/>
                  </a:lnTo>
                  <a:lnTo>
                    <a:pt x="203139" y="3156392"/>
                  </a:lnTo>
                  <a:lnTo>
                    <a:pt x="209568" y="3159662"/>
                  </a:lnTo>
                  <a:lnTo>
                    <a:pt x="210426" y="3160455"/>
                  </a:lnTo>
                  <a:lnTo>
                    <a:pt x="210510" y="3161416"/>
                  </a:lnTo>
                  <a:lnTo>
                    <a:pt x="209877" y="3162038"/>
                  </a:lnTo>
                  <a:lnTo>
                    <a:pt x="209052" y="3162575"/>
                  </a:lnTo>
                  <a:lnTo>
                    <a:pt x="208681" y="3163123"/>
                  </a:lnTo>
                  <a:lnTo>
                    <a:pt x="209430" y="3163789"/>
                  </a:lnTo>
                  <a:lnTo>
                    <a:pt x="209924" y="3163706"/>
                  </a:lnTo>
                  <a:lnTo>
                    <a:pt x="211004" y="3162657"/>
                  </a:lnTo>
                  <a:lnTo>
                    <a:pt x="211671" y="3162402"/>
                  </a:lnTo>
                  <a:lnTo>
                    <a:pt x="212100" y="3162510"/>
                  </a:lnTo>
                  <a:lnTo>
                    <a:pt x="214176" y="3163586"/>
                  </a:lnTo>
                  <a:lnTo>
                    <a:pt x="215478" y="3164729"/>
                  </a:lnTo>
                  <a:lnTo>
                    <a:pt x="219647" y="3170034"/>
                  </a:lnTo>
                  <a:lnTo>
                    <a:pt x="220993" y="3171112"/>
                  </a:lnTo>
                  <a:lnTo>
                    <a:pt x="222167" y="3172524"/>
                  </a:lnTo>
                  <a:lnTo>
                    <a:pt x="223221" y="3176302"/>
                  </a:lnTo>
                  <a:lnTo>
                    <a:pt x="224806" y="3177183"/>
                  </a:lnTo>
                  <a:lnTo>
                    <a:pt x="225425" y="3176883"/>
                  </a:lnTo>
                  <a:lnTo>
                    <a:pt x="226089" y="3175531"/>
                  </a:lnTo>
                  <a:lnTo>
                    <a:pt x="226628" y="3175449"/>
                  </a:lnTo>
                  <a:lnTo>
                    <a:pt x="227027" y="3175781"/>
                  </a:lnTo>
                  <a:lnTo>
                    <a:pt x="227513" y="3176638"/>
                  </a:lnTo>
                  <a:lnTo>
                    <a:pt x="227813" y="3176922"/>
                  </a:lnTo>
                  <a:lnTo>
                    <a:pt x="228426" y="3177303"/>
                  </a:lnTo>
                  <a:lnTo>
                    <a:pt x="229964" y="3178716"/>
                  </a:lnTo>
                  <a:lnTo>
                    <a:pt x="230332" y="3179417"/>
                  </a:lnTo>
                  <a:lnTo>
                    <a:pt x="231455" y="3180957"/>
                  </a:lnTo>
                  <a:lnTo>
                    <a:pt x="237958" y="3182662"/>
                  </a:lnTo>
                  <a:lnTo>
                    <a:pt x="239361" y="3183729"/>
                  </a:lnTo>
                  <a:lnTo>
                    <a:pt x="241608" y="3186519"/>
                  </a:lnTo>
                  <a:lnTo>
                    <a:pt x="242860" y="3187506"/>
                  </a:lnTo>
                  <a:lnTo>
                    <a:pt x="247936" y="3189528"/>
                  </a:lnTo>
                  <a:lnTo>
                    <a:pt x="252064" y="3193235"/>
                  </a:lnTo>
                  <a:lnTo>
                    <a:pt x="256640" y="3199014"/>
                  </a:lnTo>
                  <a:lnTo>
                    <a:pt x="259452" y="3204042"/>
                  </a:lnTo>
                  <a:lnTo>
                    <a:pt x="260648" y="3205081"/>
                  </a:lnTo>
                  <a:lnTo>
                    <a:pt x="266669" y="3208395"/>
                  </a:lnTo>
                  <a:lnTo>
                    <a:pt x="269267" y="3210872"/>
                  </a:lnTo>
                  <a:lnTo>
                    <a:pt x="270788" y="3213740"/>
                  </a:lnTo>
                  <a:lnTo>
                    <a:pt x="271451" y="3214370"/>
                  </a:lnTo>
                  <a:lnTo>
                    <a:pt x="281608" y="3217423"/>
                  </a:lnTo>
                  <a:lnTo>
                    <a:pt x="282986" y="3218610"/>
                  </a:lnTo>
                  <a:lnTo>
                    <a:pt x="284683" y="3221697"/>
                  </a:lnTo>
                  <a:lnTo>
                    <a:pt x="287351" y="3223910"/>
                  </a:lnTo>
                  <a:lnTo>
                    <a:pt x="288319" y="3225587"/>
                  </a:lnTo>
                  <a:lnTo>
                    <a:pt x="288822" y="3227643"/>
                  </a:lnTo>
                  <a:lnTo>
                    <a:pt x="288744" y="3229854"/>
                  </a:lnTo>
                  <a:lnTo>
                    <a:pt x="287951" y="3230375"/>
                  </a:lnTo>
                  <a:lnTo>
                    <a:pt x="288101" y="3232242"/>
                  </a:lnTo>
                  <a:lnTo>
                    <a:pt x="288010" y="3234075"/>
                  </a:lnTo>
                  <a:lnTo>
                    <a:pt x="286929" y="3240576"/>
                  </a:lnTo>
                  <a:lnTo>
                    <a:pt x="287038" y="3247158"/>
                  </a:lnTo>
                  <a:lnTo>
                    <a:pt x="285533" y="3247124"/>
                  </a:lnTo>
                  <a:lnTo>
                    <a:pt x="286184" y="3249066"/>
                  </a:lnTo>
                  <a:lnTo>
                    <a:pt x="287623" y="3251343"/>
                  </a:lnTo>
                  <a:lnTo>
                    <a:pt x="288468" y="3252319"/>
                  </a:lnTo>
                  <a:lnTo>
                    <a:pt x="288359" y="3254210"/>
                  </a:lnTo>
                  <a:lnTo>
                    <a:pt x="289397" y="3257778"/>
                  </a:lnTo>
                  <a:lnTo>
                    <a:pt x="288601" y="3259341"/>
                  </a:lnTo>
                  <a:lnTo>
                    <a:pt x="289703" y="3263536"/>
                  </a:lnTo>
                  <a:lnTo>
                    <a:pt x="289619" y="3264433"/>
                  </a:lnTo>
                  <a:lnTo>
                    <a:pt x="288790" y="3266318"/>
                  </a:lnTo>
                  <a:lnTo>
                    <a:pt x="288679" y="3267223"/>
                  </a:lnTo>
                  <a:lnTo>
                    <a:pt x="288765" y="3268920"/>
                  </a:lnTo>
                  <a:lnTo>
                    <a:pt x="288542" y="3272580"/>
                  </a:lnTo>
                  <a:lnTo>
                    <a:pt x="288608" y="3274145"/>
                  </a:lnTo>
                  <a:lnTo>
                    <a:pt x="299167" y="3302902"/>
                  </a:lnTo>
                  <a:lnTo>
                    <a:pt x="299238" y="3304407"/>
                  </a:lnTo>
                  <a:lnTo>
                    <a:pt x="298698" y="3306257"/>
                  </a:lnTo>
                  <a:lnTo>
                    <a:pt x="297573" y="3307851"/>
                  </a:lnTo>
                  <a:lnTo>
                    <a:pt x="296371" y="3307946"/>
                  </a:lnTo>
                  <a:lnTo>
                    <a:pt x="291612" y="3304240"/>
                  </a:lnTo>
                  <a:lnTo>
                    <a:pt x="291058" y="3304376"/>
                  </a:lnTo>
                  <a:lnTo>
                    <a:pt x="290707" y="3305851"/>
                  </a:lnTo>
                  <a:lnTo>
                    <a:pt x="291009" y="3306650"/>
                  </a:lnTo>
                  <a:lnTo>
                    <a:pt x="291538" y="3307236"/>
                  </a:lnTo>
                  <a:lnTo>
                    <a:pt x="291884" y="3308094"/>
                  </a:lnTo>
                  <a:lnTo>
                    <a:pt x="292069" y="3308995"/>
                  </a:lnTo>
                  <a:lnTo>
                    <a:pt x="292876" y="3311288"/>
                  </a:lnTo>
                  <a:lnTo>
                    <a:pt x="293045" y="3312497"/>
                  </a:lnTo>
                  <a:lnTo>
                    <a:pt x="293296" y="3325037"/>
                  </a:lnTo>
                  <a:lnTo>
                    <a:pt x="294373" y="3326180"/>
                  </a:lnTo>
                  <a:lnTo>
                    <a:pt x="294769" y="3326971"/>
                  </a:lnTo>
                  <a:lnTo>
                    <a:pt x="294726" y="3327782"/>
                  </a:lnTo>
                  <a:lnTo>
                    <a:pt x="294256" y="3329828"/>
                  </a:lnTo>
                  <a:lnTo>
                    <a:pt x="294229" y="3330796"/>
                  </a:lnTo>
                  <a:lnTo>
                    <a:pt x="295203" y="3332557"/>
                  </a:lnTo>
                  <a:lnTo>
                    <a:pt x="298526" y="3333630"/>
                  </a:lnTo>
                  <a:lnTo>
                    <a:pt x="299530" y="3335228"/>
                  </a:lnTo>
                  <a:lnTo>
                    <a:pt x="299918" y="3336150"/>
                  </a:lnTo>
                  <a:lnTo>
                    <a:pt x="301210" y="3337463"/>
                  </a:lnTo>
                  <a:lnTo>
                    <a:pt x="301698" y="3338241"/>
                  </a:lnTo>
                  <a:lnTo>
                    <a:pt x="301785" y="3340850"/>
                  </a:lnTo>
                  <a:lnTo>
                    <a:pt x="301895" y="3341584"/>
                  </a:lnTo>
                  <a:lnTo>
                    <a:pt x="303737" y="3344782"/>
                  </a:lnTo>
                  <a:lnTo>
                    <a:pt x="306469" y="3347673"/>
                  </a:lnTo>
                  <a:lnTo>
                    <a:pt x="312364" y="3352030"/>
                  </a:lnTo>
                  <a:lnTo>
                    <a:pt x="316059" y="3353916"/>
                  </a:lnTo>
                  <a:lnTo>
                    <a:pt x="317672" y="3355112"/>
                  </a:lnTo>
                  <a:lnTo>
                    <a:pt x="318607" y="3356805"/>
                  </a:lnTo>
                  <a:lnTo>
                    <a:pt x="318956" y="3357806"/>
                  </a:lnTo>
                  <a:lnTo>
                    <a:pt x="319413" y="3358468"/>
                  </a:lnTo>
                  <a:lnTo>
                    <a:pt x="325561" y="3364378"/>
                  </a:lnTo>
                  <a:lnTo>
                    <a:pt x="326268" y="3364560"/>
                  </a:lnTo>
                  <a:lnTo>
                    <a:pt x="327302" y="3364465"/>
                  </a:lnTo>
                  <a:lnTo>
                    <a:pt x="328049" y="3364663"/>
                  </a:lnTo>
                  <a:lnTo>
                    <a:pt x="328880" y="3365556"/>
                  </a:lnTo>
                  <a:lnTo>
                    <a:pt x="330888" y="3370044"/>
                  </a:lnTo>
                  <a:lnTo>
                    <a:pt x="329522" y="3370130"/>
                  </a:lnTo>
                  <a:lnTo>
                    <a:pt x="327041" y="3369352"/>
                  </a:lnTo>
                  <a:lnTo>
                    <a:pt x="325574" y="3370064"/>
                  </a:lnTo>
                  <a:lnTo>
                    <a:pt x="326238" y="3370995"/>
                  </a:lnTo>
                  <a:lnTo>
                    <a:pt x="327123" y="3371316"/>
                  </a:lnTo>
                  <a:lnTo>
                    <a:pt x="329203" y="3371661"/>
                  </a:lnTo>
                  <a:lnTo>
                    <a:pt x="330054" y="3372286"/>
                  </a:lnTo>
                  <a:lnTo>
                    <a:pt x="331239" y="3373922"/>
                  </a:lnTo>
                  <a:lnTo>
                    <a:pt x="332017" y="3374519"/>
                  </a:lnTo>
                  <a:lnTo>
                    <a:pt x="336048" y="3376361"/>
                  </a:lnTo>
                  <a:lnTo>
                    <a:pt x="337922" y="3377770"/>
                  </a:lnTo>
                  <a:lnTo>
                    <a:pt x="338936" y="3379607"/>
                  </a:lnTo>
                  <a:lnTo>
                    <a:pt x="339023" y="3380373"/>
                  </a:lnTo>
                  <a:lnTo>
                    <a:pt x="338970" y="3381277"/>
                  </a:lnTo>
                  <a:lnTo>
                    <a:pt x="338663" y="3381948"/>
                  </a:lnTo>
                  <a:lnTo>
                    <a:pt x="337272" y="3381979"/>
                  </a:lnTo>
                  <a:lnTo>
                    <a:pt x="337159" y="3382648"/>
                  </a:lnTo>
                  <a:lnTo>
                    <a:pt x="337368" y="3384221"/>
                  </a:lnTo>
                  <a:lnTo>
                    <a:pt x="337052" y="3388941"/>
                  </a:lnTo>
                  <a:lnTo>
                    <a:pt x="337601" y="3390203"/>
                  </a:lnTo>
                  <a:lnTo>
                    <a:pt x="338375" y="3390694"/>
                  </a:lnTo>
                  <a:lnTo>
                    <a:pt x="339874" y="3390980"/>
                  </a:lnTo>
                  <a:lnTo>
                    <a:pt x="342264" y="3393094"/>
                  </a:lnTo>
                  <a:lnTo>
                    <a:pt x="343232" y="3393239"/>
                  </a:lnTo>
                  <a:lnTo>
                    <a:pt x="343759" y="3394812"/>
                  </a:lnTo>
                  <a:lnTo>
                    <a:pt x="343727" y="3396529"/>
                  </a:lnTo>
                  <a:lnTo>
                    <a:pt x="343515" y="3398432"/>
                  </a:lnTo>
                  <a:lnTo>
                    <a:pt x="343477" y="3400560"/>
                  </a:lnTo>
                  <a:lnTo>
                    <a:pt x="344401" y="3404144"/>
                  </a:lnTo>
                  <a:lnTo>
                    <a:pt x="344196" y="3405732"/>
                  </a:lnTo>
                  <a:lnTo>
                    <a:pt x="342429" y="3405830"/>
                  </a:lnTo>
                  <a:lnTo>
                    <a:pt x="342498" y="3407377"/>
                  </a:lnTo>
                  <a:lnTo>
                    <a:pt x="342277" y="3408708"/>
                  </a:lnTo>
                  <a:lnTo>
                    <a:pt x="341680" y="3409433"/>
                  </a:lnTo>
                  <a:lnTo>
                    <a:pt x="340625" y="3409168"/>
                  </a:lnTo>
                  <a:lnTo>
                    <a:pt x="340009" y="3408005"/>
                  </a:lnTo>
                  <a:lnTo>
                    <a:pt x="339810" y="3406513"/>
                  </a:lnTo>
                  <a:lnTo>
                    <a:pt x="339319" y="3405433"/>
                  </a:lnTo>
                  <a:lnTo>
                    <a:pt x="337809" y="3405520"/>
                  </a:lnTo>
                  <a:lnTo>
                    <a:pt x="337558" y="3406148"/>
                  </a:lnTo>
                  <a:lnTo>
                    <a:pt x="339309" y="3411027"/>
                  </a:lnTo>
                  <a:lnTo>
                    <a:pt x="341546" y="3414663"/>
                  </a:lnTo>
                  <a:lnTo>
                    <a:pt x="341666" y="3415716"/>
                  </a:lnTo>
                  <a:lnTo>
                    <a:pt x="342132" y="3417440"/>
                  </a:lnTo>
                  <a:lnTo>
                    <a:pt x="346963" y="3429519"/>
                  </a:lnTo>
                  <a:lnTo>
                    <a:pt x="347269" y="3431469"/>
                  </a:lnTo>
                  <a:lnTo>
                    <a:pt x="346200" y="3431838"/>
                  </a:lnTo>
                  <a:lnTo>
                    <a:pt x="345793" y="3432038"/>
                  </a:lnTo>
                  <a:lnTo>
                    <a:pt x="345221" y="3432625"/>
                  </a:lnTo>
                  <a:lnTo>
                    <a:pt x="344819" y="3433289"/>
                  </a:lnTo>
                  <a:lnTo>
                    <a:pt x="344931" y="3433713"/>
                  </a:lnTo>
                  <a:lnTo>
                    <a:pt x="345532" y="3433811"/>
                  </a:lnTo>
                  <a:lnTo>
                    <a:pt x="346148" y="3433807"/>
                  </a:lnTo>
                  <a:lnTo>
                    <a:pt x="346662" y="3433970"/>
                  </a:lnTo>
                  <a:lnTo>
                    <a:pt x="346949" y="3434578"/>
                  </a:lnTo>
                  <a:lnTo>
                    <a:pt x="346619" y="3436000"/>
                  </a:lnTo>
                  <a:lnTo>
                    <a:pt x="345732" y="3438005"/>
                  </a:lnTo>
                  <a:lnTo>
                    <a:pt x="344728" y="3439287"/>
                  </a:lnTo>
                  <a:lnTo>
                    <a:pt x="344067" y="3438594"/>
                  </a:lnTo>
                  <a:lnTo>
                    <a:pt x="343502" y="3437318"/>
                  </a:lnTo>
                  <a:lnTo>
                    <a:pt x="342446" y="3436297"/>
                  </a:lnTo>
                  <a:lnTo>
                    <a:pt x="341210" y="3435693"/>
                  </a:lnTo>
                  <a:lnTo>
                    <a:pt x="340112" y="3435683"/>
                  </a:lnTo>
                  <a:lnTo>
                    <a:pt x="339839" y="3436374"/>
                  </a:lnTo>
                  <a:lnTo>
                    <a:pt x="340675" y="3438032"/>
                  </a:lnTo>
                  <a:lnTo>
                    <a:pt x="344177" y="3443080"/>
                  </a:lnTo>
                  <a:lnTo>
                    <a:pt x="344497" y="3444015"/>
                  </a:lnTo>
                  <a:lnTo>
                    <a:pt x="345089" y="3446682"/>
                  </a:lnTo>
                  <a:lnTo>
                    <a:pt x="345093" y="3447501"/>
                  </a:lnTo>
                  <a:lnTo>
                    <a:pt x="344348" y="3448754"/>
                  </a:lnTo>
                  <a:lnTo>
                    <a:pt x="343596" y="3449274"/>
                  </a:lnTo>
                  <a:lnTo>
                    <a:pt x="342947" y="3449861"/>
                  </a:lnTo>
                  <a:lnTo>
                    <a:pt x="342493" y="3451301"/>
                  </a:lnTo>
                  <a:lnTo>
                    <a:pt x="342578" y="3452323"/>
                  </a:lnTo>
                  <a:lnTo>
                    <a:pt x="342906" y="3453343"/>
                  </a:lnTo>
                  <a:lnTo>
                    <a:pt x="343070" y="3454576"/>
                  </a:lnTo>
                  <a:lnTo>
                    <a:pt x="342679" y="3456226"/>
                  </a:lnTo>
                  <a:lnTo>
                    <a:pt x="341822" y="3457637"/>
                  </a:lnTo>
                  <a:lnTo>
                    <a:pt x="340939" y="3458240"/>
                  </a:lnTo>
                  <a:lnTo>
                    <a:pt x="340076" y="3458664"/>
                  </a:lnTo>
                  <a:lnTo>
                    <a:pt x="339237" y="3459588"/>
                  </a:lnTo>
                  <a:lnTo>
                    <a:pt x="339029" y="3461201"/>
                  </a:lnTo>
                  <a:lnTo>
                    <a:pt x="340785" y="3461072"/>
                  </a:lnTo>
                  <a:lnTo>
                    <a:pt x="344644" y="3459477"/>
                  </a:lnTo>
                  <a:lnTo>
                    <a:pt x="344839" y="3457696"/>
                  </a:lnTo>
                  <a:lnTo>
                    <a:pt x="346278" y="3454717"/>
                  </a:lnTo>
                  <a:lnTo>
                    <a:pt x="346624" y="3453067"/>
                  </a:lnTo>
                  <a:lnTo>
                    <a:pt x="349931" y="3452868"/>
                  </a:lnTo>
                  <a:lnTo>
                    <a:pt x="348823" y="3450844"/>
                  </a:lnTo>
                  <a:lnTo>
                    <a:pt x="348522" y="3449629"/>
                  </a:lnTo>
                  <a:lnTo>
                    <a:pt x="348999" y="3448363"/>
                  </a:lnTo>
                  <a:lnTo>
                    <a:pt x="349789" y="3448138"/>
                  </a:lnTo>
                  <a:lnTo>
                    <a:pt x="351015" y="3448372"/>
                  </a:lnTo>
                  <a:lnTo>
                    <a:pt x="352210" y="3448838"/>
                  </a:lnTo>
                  <a:lnTo>
                    <a:pt x="352920" y="3449300"/>
                  </a:lnTo>
                  <a:lnTo>
                    <a:pt x="353493" y="3450105"/>
                  </a:lnTo>
                  <a:lnTo>
                    <a:pt x="353712" y="3450765"/>
                  </a:lnTo>
                  <a:lnTo>
                    <a:pt x="353572" y="3451608"/>
                  </a:lnTo>
                  <a:lnTo>
                    <a:pt x="353090" y="3452931"/>
                  </a:lnTo>
                  <a:lnTo>
                    <a:pt x="353082" y="3453388"/>
                  </a:lnTo>
                  <a:lnTo>
                    <a:pt x="352910" y="3454597"/>
                  </a:lnTo>
                  <a:lnTo>
                    <a:pt x="352569" y="3455792"/>
                  </a:lnTo>
                  <a:lnTo>
                    <a:pt x="352060" y="3456191"/>
                  </a:lnTo>
                  <a:lnTo>
                    <a:pt x="351908" y="3457211"/>
                  </a:lnTo>
                  <a:lnTo>
                    <a:pt x="351866" y="3464237"/>
                  </a:lnTo>
                  <a:lnTo>
                    <a:pt x="351032" y="3468290"/>
                  </a:lnTo>
                  <a:lnTo>
                    <a:pt x="351009" y="3470089"/>
                  </a:lnTo>
                  <a:lnTo>
                    <a:pt x="351589" y="3471775"/>
                  </a:lnTo>
                  <a:lnTo>
                    <a:pt x="352399" y="3473490"/>
                  </a:lnTo>
                  <a:lnTo>
                    <a:pt x="352783" y="3475524"/>
                  </a:lnTo>
                  <a:lnTo>
                    <a:pt x="352437" y="3477729"/>
                  </a:lnTo>
                  <a:lnTo>
                    <a:pt x="351050" y="3480001"/>
                  </a:lnTo>
                  <a:lnTo>
                    <a:pt x="349633" y="3480562"/>
                  </a:lnTo>
                  <a:lnTo>
                    <a:pt x="347389" y="3480734"/>
                  </a:lnTo>
                  <a:lnTo>
                    <a:pt x="345438" y="3480400"/>
                  </a:lnTo>
                  <a:lnTo>
                    <a:pt x="341803" y="3473656"/>
                  </a:lnTo>
                  <a:lnTo>
                    <a:pt x="340293" y="3474319"/>
                  </a:lnTo>
                  <a:lnTo>
                    <a:pt x="336864" y="3477726"/>
                  </a:lnTo>
                  <a:lnTo>
                    <a:pt x="335430" y="3478190"/>
                  </a:lnTo>
                  <a:lnTo>
                    <a:pt x="334329" y="3478037"/>
                  </a:lnTo>
                  <a:lnTo>
                    <a:pt x="333791" y="3478605"/>
                  </a:lnTo>
                  <a:lnTo>
                    <a:pt x="333396" y="3479502"/>
                  </a:lnTo>
                  <a:lnTo>
                    <a:pt x="332744" y="3480338"/>
                  </a:lnTo>
                  <a:lnTo>
                    <a:pt x="331929" y="3480811"/>
                  </a:lnTo>
                  <a:lnTo>
                    <a:pt x="330285" y="3481497"/>
                  </a:lnTo>
                  <a:lnTo>
                    <a:pt x="329332" y="3482108"/>
                  </a:lnTo>
                  <a:lnTo>
                    <a:pt x="329009" y="3483728"/>
                  </a:lnTo>
                  <a:lnTo>
                    <a:pt x="327287" y="3483813"/>
                  </a:lnTo>
                  <a:lnTo>
                    <a:pt x="325895" y="3482751"/>
                  </a:lnTo>
                  <a:lnTo>
                    <a:pt x="326587" y="3480932"/>
                  </a:lnTo>
                  <a:lnTo>
                    <a:pt x="325413" y="3480558"/>
                  </a:lnTo>
                  <a:lnTo>
                    <a:pt x="323171" y="3480783"/>
                  </a:lnTo>
                  <a:lnTo>
                    <a:pt x="322135" y="3480636"/>
                  </a:lnTo>
                  <a:lnTo>
                    <a:pt x="321339" y="3479900"/>
                  </a:lnTo>
                  <a:lnTo>
                    <a:pt x="320764" y="3477931"/>
                  </a:lnTo>
                  <a:lnTo>
                    <a:pt x="319636" y="3476753"/>
                  </a:lnTo>
                  <a:lnTo>
                    <a:pt x="318246" y="3474648"/>
                  </a:lnTo>
                  <a:lnTo>
                    <a:pt x="315595" y="3472074"/>
                  </a:lnTo>
                  <a:lnTo>
                    <a:pt x="311509" y="3470422"/>
                  </a:lnTo>
                  <a:lnTo>
                    <a:pt x="308396" y="3468479"/>
                  </a:lnTo>
                  <a:lnTo>
                    <a:pt x="295028" y="3454754"/>
                  </a:lnTo>
                  <a:lnTo>
                    <a:pt x="281342" y="3438691"/>
                  </a:lnTo>
                  <a:lnTo>
                    <a:pt x="279752" y="3437773"/>
                  </a:lnTo>
                  <a:lnTo>
                    <a:pt x="278418" y="3436494"/>
                  </a:lnTo>
                  <a:lnTo>
                    <a:pt x="279495" y="3435430"/>
                  </a:lnTo>
                  <a:lnTo>
                    <a:pt x="281515" y="3434678"/>
                  </a:lnTo>
                  <a:lnTo>
                    <a:pt x="282989" y="3434340"/>
                  </a:lnTo>
                  <a:lnTo>
                    <a:pt x="282462" y="3433570"/>
                  </a:lnTo>
                  <a:lnTo>
                    <a:pt x="280419" y="3432198"/>
                  </a:lnTo>
                  <a:lnTo>
                    <a:pt x="279675" y="3431984"/>
                  </a:lnTo>
                  <a:lnTo>
                    <a:pt x="278659" y="3432181"/>
                  </a:lnTo>
                  <a:lnTo>
                    <a:pt x="277703" y="3432558"/>
                  </a:lnTo>
                  <a:lnTo>
                    <a:pt x="275854" y="3433607"/>
                  </a:lnTo>
                  <a:lnTo>
                    <a:pt x="275409" y="3433182"/>
                  </a:lnTo>
                  <a:lnTo>
                    <a:pt x="274285" y="3432095"/>
                  </a:lnTo>
                  <a:lnTo>
                    <a:pt x="265314" y="3424969"/>
                  </a:lnTo>
                  <a:lnTo>
                    <a:pt x="261922" y="3420688"/>
                  </a:lnTo>
                  <a:lnTo>
                    <a:pt x="260175" y="3417676"/>
                  </a:lnTo>
                  <a:lnTo>
                    <a:pt x="259161" y="3414339"/>
                  </a:lnTo>
                  <a:lnTo>
                    <a:pt x="258413" y="3413060"/>
                  </a:lnTo>
                  <a:lnTo>
                    <a:pt x="243590" y="3396432"/>
                  </a:lnTo>
                  <a:lnTo>
                    <a:pt x="242985" y="3395116"/>
                  </a:lnTo>
                  <a:lnTo>
                    <a:pt x="242173" y="3390490"/>
                  </a:lnTo>
                  <a:lnTo>
                    <a:pt x="241653" y="3388764"/>
                  </a:lnTo>
                  <a:lnTo>
                    <a:pt x="240587" y="3386583"/>
                  </a:lnTo>
                  <a:lnTo>
                    <a:pt x="242136" y="3385508"/>
                  </a:lnTo>
                  <a:lnTo>
                    <a:pt x="247239" y="3384732"/>
                  </a:lnTo>
                  <a:lnTo>
                    <a:pt x="247807" y="3384287"/>
                  </a:lnTo>
                  <a:lnTo>
                    <a:pt x="249090" y="3383006"/>
                  </a:lnTo>
                  <a:lnTo>
                    <a:pt x="249789" y="3382567"/>
                  </a:lnTo>
                  <a:lnTo>
                    <a:pt x="250746" y="3382246"/>
                  </a:lnTo>
                  <a:lnTo>
                    <a:pt x="251550" y="3382132"/>
                  </a:lnTo>
                  <a:lnTo>
                    <a:pt x="252330" y="3382241"/>
                  </a:lnTo>
                  <a:lnTo>
                    <a:pt x="253943" y="3382801"/>
                  </a:lnTo>
                  <a:lnTo>
                    <a:pt x="254882" y="3382894"/>
                  </a:lnTo>
                  <a:lnTo>
                    <a:pt x="255799" y="3382661"/>
                  </a:lnTo>
                  <a:lnTo>
                    <a:pt x="256436" y="3381970"/>
                  </a:lnTo>
                  <a:lnTo>
                    <a:pt x="256853" y="3380479"/>
                  </a:lnTo>
                  <a:lnTo>
                    <a:pt x="256878" y="3379645"/>
                  </a:lnTo>
                  <a:lnTo>
                    <a:pt x="257170" y="3378970"/>
                  </a:lnTo>
                  <a:lnTo>
                    <a:pt x="258380" y="3377957"/>
                  </a:lnTo>
                  <a:lnTo>
                    <a:pt x="260272" y="3377054"/>
                  </a:lnTo>
                  <a:lnTo>
                    <a:pt x="261930" y="3376978"/>
                  </a:lnTo>
                  <a:lnTo>
                    <a:pt x="265261" y="3377384"/>
                  </a:lnTo>
                  <a:lnTo>
                    <a:pt x="268356" y="3376603"/>
                  </a:lnTo>
                  <a:lnTo>
                    <a:pt x="271940" y="3374658"/>
                  </a:lnTo>
                  <a:lnTo>
                    <a:pt x="275308" y="3371702"/>
                  </a:lnTo>
                  <a:lnTo>
                    <a:pt x="277747" y="3367892"/>
                  </a:lnTo>
                  <a:lnTo>
                    <a:pt x="278971" y="3366349"/>
                  </a:lnTo>
                  <a:lnTo>
                    <a:pt x="280577" y="3365080"/>
                  </a:lnTo>
                  <a:lnTo>
                    <a:pt x="281845" y="3363439"/>
                  </a:lnTo>
                  <a:lnTo>
                    <a:pt x="282111" y="3359176"/>
                  </a:lnTo>
                  <a:lnTo>
                    <a:pt x="283897" y="3353091"/>
                  </a:lnTo>
                  <a:lnTo>
                    <a:pt x="283340" y="3353281"/>
                  </a:lnTo>
                  <a:lnTo>
                    <a:pt x="282744" y="3353594"/>
                  </a:lnTo>
                  <a:lnTo>
                    <a:pt x="282179" y="3354033"/>
                  </a:lnTo>
                  <a:lnTo>
                    <a:pt x="281681" y="3354603"/>
                  </a:lnTo>
                  <a:lnTo>
                    <a:pt x="281383" y="3355396"/>
                  </a:lnTo>
                  <a:lnTo>
                    <a:pt x="280289" y="3359237"/>
                  </a:lnTo>
                  <a:lnTo>
                    <a:pt x="278567" y="3363380"/>
                  </a:lnTo>
                  <a:lnTo>
                    <a:pt x="277328" y="3365237"/>
                  </a:lnTo>
                  <a:lnTo>
                    <a:pt x="275748" y="3366425"/>
                  </a:lnTo>
                  <a:lnTo>
                    <a:pt x="274106" y="3367390"/>
                  </a:lnTo>
                  <a:lnTo>
                    <a:pt x="272708" y="3368539"/>
                  </a:lnTo>
                  <a:lnTo>
                    <a:pt x="270327" y="3372514"/>
                  </a:lnTo>
                  <a:lnTo>
                    <a:pt x="268987" y="3374092"/>
                  </a:lnTo>
                  <a:lnTo>
                    <a:pt x="267382" y="3374267"/>
                  </a:lnTo>
                  <a:lnTo>
                    <a:pt x="266123" y="3374123"/>
                  </a:lnTo>
                  <a:lnTo>
                    <a:pt x="262689" y="3374340"/>
                  </a:lnTo>
                  <a:lnTo>
                    <a:pt x="260962" y="3373797"/>
                  </a:lnTo>
                  <a:lnTo>
                    <a:pt x="257843" y="3371559"/>
                  </a:lnTo>
                  <a:lnTo>
                    <a:pt x="256994" y="3371425"/>
                  </a:lnTo>
                  <a:lnTo>
                    <a:pt x="255317" y="3371787"/>
                  </a:lnTo>
                  <a:lnTo>
                    <a:pt x="254587" y="3371706"/>
                  </a:lnTo>
                  <a:lnTo>
                    <a:pt x="253130" y="3370466"/>
                  </a:lnTo>
                  <a:lnTo>
                    <a:pt x="252339" y="3369014"/>
                  </a:lnTo>
                  <a:lnTo>
                    <a:pt x="251418" y="3367932"/>
                  </a:lnTo>
                  <a:lnTo>
                    <a:pt x="249567" y="3367773"/>
                  </a:lnTo>
                  <a:lnTo>
                    <a:pt x="246484" y="3369468"/>
                  </a:lnTo>
                  <a:lnTo>
                    <a:pt x="244714" y="3370085"/>
                  </a:lnTo>
                  <a:lnTo>
                    <a:pt x="243493" y="3369442"/>
                  </a:lnTo>
                  <a:lnTo>
                    <a:pt x="242203" y="3367943"/>
                  </a:lnTo>
                  <a:lnTo>
                    <a:pt x="239027" y="3366206"/>
                  </a:lnTo>
                  <a:lnTo>
                    <a:pt x="237960" y="3364886"/>
                  </a:lnTo>
                  <a:lnTo>
                    <a:pt x="241457" y="3362802"/>
                  </a:lnTo>
                  <a:lnTo>
                    <a:pt x="243257" y="3362167"/>
                  </a:lnTo>
                  <a:lnTo>
                    <a:pt x="244916" y="3362293"/>
                  </a:lnTo>
                  <a:lnTo>
                    <a:pt x="245206" y="3361608"/>
                  </a:lnTo>
                  <a:lnTo>
                    <a:pt x="242785" y="3360639"/>
                  </a:lnTo>
                  <a:lnTo>
                    <a:pt x="242086" y="3360170"/>
                  </a:lnTo>
                  <a:lnTo>
                    <a:pt x="241711" y="3359535"/>
                  </a:lnTo>
                  <a:lnTo>
                    <a:pt x="241438" y="3358698"/>
                  </a:lnTo>
                  <a:lnTo>
                    <a:pt x="241082" y="3357997"/>
                  </a:lnTo>
                  <a:lnTo>
                    <a:pt x="240439" y="3357778"/>
                  </a:lnTo>
                  <a:lnTo>
                    <a:pt x="239129" y="3358840"/>
                  </a:lnTo>
                  <a:lnTo>
                    <a:pt x="237911" y="3360771"/>
                  </a:lnTo>
                  <a:lnTo>
                    <a:pt x="236628" y="3362458"/>
                  </a:lnTo>
                  <a:lnTo>
                    <a:pt x="233768" y="3362904"/>
                  </a:lnTo>
                  <a:lnTo>
                    <a:pt x="230640" y="3364882"/>
                  </a:lnTo>
                  <a:lnTo>
                    <a:pt x="229111" y="3364957"/>
                  </a:lnTo>
                  <a:lnTo>
                    <a:pt x="228769" y="3365164"/>
                  </a:lnTo>
                  <a:lnTo>
                    <a:pt x="228268" y="3365751"/>
                  </a:lnTo>
                  <a:lnTo>
                    <a:pt x="227643" y="3366280"/>
                  </a:lnTo>
                  <a:lnTo>
                    <a:pt x="226931" y="3366315"/>
                  </a:lnTo>
                  <a:lnTo>
                    <a:pt x="225674" y="3365614"/>
                  </a:lnTo>
                  <a:lnTo>
                    <a:pt x="225166" y="3365159"/>
                  </a:lnTo>
                  <a:lnTo>
                    <a:pt x="225169" y="3364761"/>
                  </a:lnTo>
                  <a:lnTo>
                    <a:pt x="224376" y="3364070"/>
                  </a:lnTo>
                  <a:lnTo>
                    <a:pt x="223542" y="3362960"/>
                  </a:lnTo>
                  <a:lnTo>
                    <a:pt x="222829" y="3361701"/>
                  </a:lnTo>
                  <a:lnTo>
                    <a:pt x="222410" y="3360540"/>
                  </a:lnTo>
                  <a:lnTo>
                    <a:pt x="221801" y="3359359"/>
                  </a:lnTo>
                  <a:lnTo>
                    <a:pt x="219879" y="3357735"/>
                  </a:lnTo>
                  <a:lnTo>
                    <a:pt x="219286" y="3356623"/>
                  </a:lnTo>
                  <a:lnTo>
                    <a:pt x="219190" y="3355773"/>
                  </a:lnTo>
                  <a:lnTo>
                    <a:pt x="219243" y="3354319"/>
                  </a:lnTo>
                  <a:lnTo>
                    <a:pt x="219217" y="3353721"/>
                  </a:lnTo>
                  <a:lnTo>
                    <a:pt x="217993" y="3350141"/>
                  </a:lnTo>
                  <a:lnTo>
                    <a:pt x="216797" y="3348222"/>
                  </a:lnTo>
                  <a:lnTo>
                    <a:pt x="216431" y="3347054"/>
                  </a:lnTo>
                  <a:lnTo>
                    <a:pt x="215382" y="3344686"/>
                  </a:lnTo>
                  <a:lnTo>
                    <a:pt x="209552" y="3340023"/>
                  </a:lnTo>
                  <a:lnTo>
                    <a:pt x="208918" y="3339137"/>
                  </a:lnTo>
                  <a:lnTo>
                    <a:pt x="208337" y="3338042"/>
                  </a:lnTo>
                  <a:lnTo>
                    <a:pt x="208165" y="3336831"/>
                  </a:lnTo>
                  <a:lnTo>
                    <a:pt x="208749" y="3335609"/>
                  </a:lnTo>
                  <a:lnTo>
                    <a:pt x="209680" y="3335159"/>
                  </a:lnTo>
                  <a:lnTo>
                    <a:pt x="211856" y="3335657"/>
                  </a:lnTo>
                  <a:lnTo>
                    <a:pt x="213209" y="3335258"/>
                  </a:lnTo>
                  <a:lnTo>
                    <a:pt x="213744" y="3336819"/>
                  </a:lnTo>
                  <a:lnTo>
                    <a:pt x="214438" y="3338011"/>
                  </a:lnTo>
                  <a:lnTo>
                    <a:pt x="215492" y="3338683"/>
                  </a:lnTo>
                  <a:lnTo>
                    <a:pt x="217090" y="3338715"/>
                  </a:lnTo>
                  <a:lnTo>
                    <a:pt x="217765" y="3338446"/>
                  </a:lnTo>
                  <a:lnTo>
                    <a:pt x="221135" y="3337579"/>
                  </a:lnTo>
                  <a:lnTo>
                    <a:pt x="221663" y="3337988"/>
                  </a:lnTo>
                  <a:lnTo>
                    <a:pt x="222872" y="3336747"/>
                  </a:lnTo>
                  <a:lnTo>
                    <a:pt x="226001" y="3336341"/>
                  </a:lnTo>
                  <a:lnTo>
                    <a:pt x="227016" y="3335541"/>
                  </a:lnTo>
                  <a:lnTo>
                    <a:pt x="227892" y="3334354"/>
                  </a:lnTo>
                  <a:lnTo>
                    <a:pt x="228895" y="3333832"/>
                  </a:lnTo>
                  <a:lnTo>
                    <a:pt x="229938" y="3333098"/>
                  </a:lnTo>
                  <a:lnTo>
                    <a:pt x="230927" y="3331265"/>
                  </a:lnTo>
                  <a:lnTo>
                    <a:pt x="223304" y="3333026"/>
                  </a:lnTo>
                  <a:lnTo>
                    <a:pt x="220824" y="3334326"/>
                  </a:lnTo>
                  <a:lnTo>
                    <a:pt x="218769" y="3334856"/>
                  </a:lnTo>
                  <a:lnTo>
                    <a:pt x="219117" y="3332527"/>
                  </a:lnTo>
                  <a:lnTo>
                    <a:pt x="221511" y="3327229"/>
                  </a:lnTo>
                  <a:lnTo>
                    <a:pt x="223483" y="3324622"/>
                  </a:lnTo>
                  <a:lnTo>
                    <a:pt x="224304" y="3323130"/>
                  </a:lnTo>
                  <a:lnTo>
                    <a:pt x="223512" y="3323208"/>
                  </a:lnTo>
                  <a:lnTo>
                    <a:pt x="222260" y="3323812"/>
                  </a:lnTo>
                  <a:lnTo>
                    <a:pt x="221077" y="3323979"/>
                  </a:lnTo>
                  <a:lnTo>
                    <a:pt x="220155" y="3323629"/>
                  </a:lnTo>
                  <a:lnTo>
                    <a:pt x="219721" y="3322657"/>
                  </a:lnTo>
                  <a:lnTo>
                    <a:pt x="220049" y="3321716"/>
                  </a:lnTo>
                  <a:lnTo>
                    <a:pt x="221749" y="3317988"/>
                  </a:lnTo>
                  <a:lnTo>
                    <a:pt x="222449" y="3316962"/>
                  </a:lnTo>
                  <a:lnTo>
                    <a:pt x="223488" y="3316102"/>
                  </a:lnTo>
                  <a:lnTo>
                    <a:pt x="224717" y="3314788"/>
                  </a:lnTo>
                  <a:lnTo>
                    <a:pt x="225835" y="3313275"/>
                  </a:lnTo>
                  <a:lnTo>
                    <a:pt x="226524" y="3311834"/>
                  </a:lnTo>
                  <a:lnTo>
                    <a:pt x="226084" y="3311627"/>
                  </a:lnTo>
                  <a:lnTo>
                    <a:pt x="224923" y="3312303"/>
                  </a:lnTo>
                  <a:lnTo>
                    <a:pt x="223339" y="3313538"/>
                  </a:lnTo>
                  <a:lnTo>
                    <a:pt x="221761" y="3315127"/>
                  </a:lnTo>
                  <a:lnTo>
                    <a:pt x="220085" y="3317756"/>
                  </a:lnTo>
                  <a:lnTo>
                    <a:pt x="219235" y="3318769"/>
                  </a:lnTo>
                  <a:lnTo>
                    <a:pt x="218325" y="3319627"/>
                  </a:lnTo>
                  <a:lnTo>
                    <a:pt x="217620" y="3320028"/>
                  </a:lnTo>
                  <a:lnTo>
                    <a:pt x="217079" y="3319846"/>
                  </a:lnTo>
                  <a:lnTo>
                    <a:pt x="216650" y="3318469"/>
                  </a:lnTo>
                  <a:lnTo>
                    <a:pt x="216020" y="3317702"/>
                  </a:lnTo>
                  <a:lnTo>
                    <a:pt x="214232" y="3317533"/>
                  </a:lnTo>
                  <a:lnTo>
                    <a:pt x="210284" y="3319703"/>
                  </a:lnTo>
                  <a:lnTo>
                    <a:pt x="208887" y="3320006"/>
                  </a:lnTo>
                  <a:lnTo>
                    <a:pt x="207610" y="3319126"/>
                  </a:lnTo>
                  <a:lnTo>
                    <a:pt x="206822" y="3317891"/>
                  </a:lnTo>
                  <a:lnTo>
                    <a:pt x="206357" y="3316137"/>
                  </a:lnTo>
                  <a:lnTo>
                    <a:pt x="206019" y="3313713"/>
                  </a:lnTo>
                  <a:lnTo>
                    <a:pt x="208057" y="3312462"/>
                  </a:lnTo>
                  <a:lnTo>
                    <a:pt x="210510" y="3312216"/>
                  </a:lnTo>
                  <a:lnTo>
                    <a:pt x="213010" y="3311447"/>
                  </a:lnTo>
                  <a:lnTo>
                    <a:pt x="216727" y="3306858"/>
                  </a:lnTo>
                  <a:lnTo>
                    <a:pt x="219034" y="3304899"/>
                  </a:lnTo>
                  <a:lnTo>
                    <a:pt x="220776" y="3302860"/>
                  </a:lnTo>
                  <a:lnTo>
                    <a:pt x="220644" y="3300849"/>
                  </a:lnTo>
                  <a:lnTo>
                    <a:pt x="219208" y="3302402"/>
                  </a:lnTo>
                  <a:lnTo>
                    <a:pt x="215694" y="3303930"/>
                  </a:lnTo>
                  <a:lnTo>
                    <a:pt x="214596" y="3305001"/>
                  </a:lnTo>
                  <a:lnTo>
                    <a:pt x="213423" y="3307118"/>
                  </a:lnTo>
                  <a:lnTo>
                    <a:pt x="212119" y="3308435"/>
                  </a:lnTo>
                  <a:lnTo>
                    <a:pt x="210657" y="3309112"/>
                  </a:lnTo>
                  <a:lnTo>
                    <a:pt x="209009" y="3309299"/>
                  </a:lnTo>
                  <a:lnTo>
                    <a:pt x="208687" y="3308382"/>
                  </a:lnTo>
                  <a:lnTo>
                    <a:pt x="207618" y="3306772"/>
                  </a:lnTo>
                  <a:lnTo>
                    <a:pt x="207157" y="3305582"/>
                  </a:lnTo>
                  <a:lnTo>
                    <a:pt x="207686" y="3301276"/>
                  </a:lnTo>
                  <a:lnTo>
                    <a:pt x="208545" y="3300171"/>
                  </a:lnTo>
                  <a:lnTo>
                    <a:pt x="210093" y="3299025"/>
                  </a:lnTo>
                  <a:lnTo>
                    <a:pt x="210673" y="3298204"/>
                  </a:lnTo>
                  <a:lnTo>
                    <a:pt x="211491" y="3296505"/>
                  </a:lnTo>
                  <a:lnTo>
                    <a:pt x="211746" y="3295794"/>
                  </a:lnTo>
                  <a:lnTo>
                    <a:pt x="211205" y="3295644"/>
                  </a:lnTo>
                  <a:lnTo>
                    <a:pt x="206619" y="3295649"/>
                  </a:lnTo>
                  <a:lnTo>
                    <a:pt x="205262" y="3295321"/>
                  </a:lnTo>
                  <a:lnTo>
                    <a:pt x="204053" y="3295366"/>
                  </a:lnTo>
                  <a:lnTo>
                    <a:pt x="202801" y="3295135"/>
                  </a:lnTo>
                  <a:lnTo>
                    <a:pt x="202381" y="3295445"/>
                  </a:lnTo>
                  <a:lnTo>
                    <a:pt x="202026" y="3295805"/>
                  </a:lnTo>
                  <a:lnTo>
                    <a:pt x="201563" y="3295882"/>
                  </a:lnTo>
                  <a:lnTo>
                    <a:pt x="200797" y="3295471"/>
                  </a:lnTo>
                  <a:lnTo>
                    <a:pt x="199912" y="3294715"/>
                  </a:lnTo>
                  <a:lnTo>
                    <a:pt x="199277" y="3293757"/>
                  </a:lnTo>
                  <a:lnTo>
                    <a:pt x="199268" y="3292757"/>
                  </a:lnTo>
                  <a:lnTo>
                    <a:pt x="199719" y="3291231"/>
                  </a:lnTo>
                  <a:lnTo>
                    <a:pt x="199692" y="3289918"/>
                  </a:lnTo>
                  <a:lnTo>
                    <a:pt x="199156" y="3289149"/>
                  </a:lnTo>
                  <a:lnTo>
                    <a:pt x="198062" y="3289263"/>
                  </a:lnTo>
                  <a:lnTo>
                    <a:pt x="198064" y="3290923"/>
                  </a:lnTo>
                  <a:lnTo>
                    <a:pt x="197515" y="3292535"/>
                  </a:lnTo>
                  <a:lnTo>
                    <a:pt x="196536" y="3293945"/>
                  </a:lnTo>
                  <a:lnTo>
                    <a:pt x="194839" y="3295354"/>
                  </a:lnTo>
                  <a:lnTo>
                    <a:pt x="193576" y="3296603"/>
                  </a:lnTo>
                  <a:lnTo>
                    <a:pt x="193165" y="3296867"/>
                  </a:lnTo>
                  <a:lnTo>
                    <a:pt x="192562" y="3296597"/>
                  </a:lnTo>
                  <a:lnTo>
                    <a:pt x="192428" y="3295983"/>
                  </a:lnTo>
                  <a:lnTo>
                    <a:pt x="192469" y="3295321"/>
                  </a:lnTo>
                  <a:lnTo>
                    <a:pt x="192403" y="3294861"/>
                  </a:lnTo>
                  <a:lnTo>
                    <a:pt x="191004" y="3293010"/>
                  </a:lnTo>
                  <a:lnTo>
                    <a:pt x="190486" y="3292024"/>
                  </a:lnTo>
                  <a:lnTo>
                    <a:pt x="190166" y="3290858"/>
                  </a:lnTo>
                  <a:lnTo>
                    <a:pt x="189518" y="3289711"/>
                  </a:lnTo>
                  <a:lnTo>
                    <a:pt x="188554" y="3288455"/>
                  </a:lnTo>
                  <a:lnTo>
                    <a:pt x="188242" y="3287415"/>
                  </a:lnTo>
                  <a:lnTo>
                    <a:pt x="189549" y="3286896"/>
                  </a:lnTo>
                  <a:lnTo>
                    <a:pt x="189108" y="3285331"/>
                  </a:lnTo>
                  <a:lnTo>
                    <a:pt x="189143" y="3282513"/>
                  </a:lnTo>
                  <a:lnTo>
                    <a:pt x="188764" y="3281484"/>
                  </a:lnTo>
                  <a:lnTo>
                    <a:pt x="187635" y="3281184"/>
                  </a:lnTo>
                  <a:lnTo>
                    <a:pt x="186090" y="3281691"/>
                  </a:lnTo>
                  <a:lnTo>
                    <a:pt x="184623" y="3282515"/>
                  </a:lnTo>
                  <a:lnTo>
                    <a:pt x="183717" y="3283173"/>
                  </a:lnTo>
                  <a:lnTo>
                    <a:pt x="183610" y="3285535"/>
                  </a:lnTo>
                  <a:lnTo>
                    <a:pt x="183769" y="3287161"/>
                  </a:lnTo>
                  <a:lnTo>
                    <a:pt x="183304" y="3288135"/>
                  </a:lnTo>
                  <a:lnTo>
                    <a:pt x="181301" y="3288607"/>
                  </a:lnTo>
                  <a:lnTo>
                    <a:pt x="179560" y="3288486"/>
                  </a:lnTo>
                  <a:lnTo>
                    <a:pt x="178492" y="3287836"/>
                  </a:lnTo>
                  <a:lnTo>
                    <a:pt x="177866" y="3286706"/>
                  </a:lnTo>
                  <a:lnTo>
                    <a:pt x="177464" y="3285168"/>
                  </a:lnTo>
                  <a:lnTo>
                    <a:pt x="177189" y="3282919"/>
                  </a:lnTo>
                  <a:lnTo>
                    <a:pt x="177590" y="3281736"/>
                  </a:lnTo>
                  <a:lnTo>
                    <a:pt x="178522" y="3280683"/>
                  </a:lnTo>
                  <a:lnTo>
                    <a:pt x="179822" y="3278805"/>
                  </a:lnTo>
                  <a:lnTo>
                    <a:pt x="179889" y="3278597"/>
                  </a:lnTo>
                  <a:lnTo>
                    <a:pt x="181030" y="3276095"/>
                  </a:lnTo>
                  <a:lnTo>
                    <a:pt x="181607" y="3275150"/>
                  </a:lnTo>
                  <a:lnTo>
                    <a:pt x="182079" y="3274538"/>
                  </a:lnTo>
                  <a:lnTo>
                    <a:pt x="182412" y="3273834"/>
                  </a:lnTo>
                  <a:lnTo>
                    <a:pt x="182573" y="3272637"/>
                  </a:lnTo>
                  <a:lnTo>
                    <a:pt x="182965" y="3272828"/>
                  </a:lnTo>
                  <a:lnTo>
                    <a:pt x="183241" y="3272209"/>
                  </a:lnTo>
                  <a:lnTo>
                    <a:pt x="182997" y="3271588"/>
                  </a:lnTo>
                  <a:lnTo>
                    <a:pt x="182894" y="3270997"/>
                  </a:lnTo>
                  <a:lnTo>
                    <a:pt x="182867" y="3269478"/>
                  </a:lnTo>
                  <a:lnTo>
                    <a:pt x="183500" y="3269072"/>
                  </a:lnTo>
                  <a:lnTo>
                    <a:pt x="183755" y="3268516"/>
                  </a:lnTo>
                  <a:lnTo>
                    <a:pt x="183990" y="3267819"/>
                  </a:lnTo>
                  <a:lnTo>
                    <a:pt x="184555" y="3266991"/>
                  </a:lnTo>
                  <a:lnTo>
                    <a:pt x="185179" y="3266330"/>
                  </a:lnTo>
                  <a:lnTo>
                    <a:pt x="185510" y="3266028"/>
                  </a:lnTo>
                  <a:lnTo>
                    <a:pt x="186770" y="3265597"/>
                  </a:lnTo>
                  <a:lnTo>
                    <a:pt x="188064" y="3265442"/>
                  </a:lnTo>
                  <a:lnTo>
                    <a:pt x="190587" y="3265687"/>
                  </a:lnTo>
                  <a:lnTo>
                    <a:pt x="194694" y="3264567"/>
                  </a:lnTo>
                  <a:lnTo>
                    <a:pt x="197055" y="3265443"/>
                  </a:lnTo>
                  <a:lnTo>
                    <a:pt x="201854" y="3268686"/>
                  </a:lnTo>
                  <a:lnTo>
                    <a:pt x="210067" y="3270835"/>
                  </a:lnTo>
                  <a:lnTo>
                    <a:pt x="211825" y="3270616"/>
                  </a:lnTo>
                  <a:lnTo>
                    <a:pt x="212657" y="3270657"/>
                  </a:lnTo>
                  <a:lnTo>
                    <a:pt x="213531" y="3271080"/>
                  </a:lnTo>
                  <a:lnTo>
                    <a:pt x="214748" y="3272369"/>
                  </a:lnTo>
                  <a:lnTo>
                    <a:pt x="215385" y="3272854"/>
                  </a:lnTo>
                  <a:lnTo>
                    <a:pt x="218953" y="3273253"/>
                  </a:lnTo>
                  <a:lnTo>
                    <a:pt x="219190" y="3272267"/>
                  </a:lnTo>
                  <a:lnTo>
                    <a:pt x="219116" y="3271290"/>
                  </a:lnTo>
                  <a:lnTo>
                    <a:pt x="218785" y="3270470"/>
                  </a:lnTo>
                  <a:lnTo>
                    <a:pt x="218265" y="3269962"/>
                  </a:lnTo>
                  <a:lnTo>
                    <a:pt x="213114" y="3267990"/>
                  </a:lnTo>
                  <a:lnTo>
                    <a:pt x="205714" y="3266918"/>
                  </a:lnTo>
                  <a:lnTo>
                    <a:pt x="203399" y="3267322"/>
                  </a:lnTo>
                  <a:lnTo>
                    <a:pt x="202541" y="3266743"/>
                  </a:lnTo>
                  <a:lnTo>
                    <a:pt x="196331" y="3260766"/>
                  </a:lnTo>
                  <a:lnTo>
                    <a:pt x="195236" y="3259065"/>
                  </a:lnTo>
                  <a:lnTo>
                    <a:pt x="195076" y="3257650"/>
                  </a:lnTo>
                  <a:lnTo>
                    <a:pt x="196326" y="3256228"/>
                  </a:lnTo>
                  <a:lnTo>
                    <a:pt x="203264" y="3252345"/>
                  </a:lnTo>
                  <a:lnTo>
                    <a:pt x="203604" y="3251723"/>
                  </a:lnTo>
                  <a:lnTo>
                    <a:pt x="202811" y="3251005"/>
                  </a:lnTo>
                  <a:lnTo>
                    <a:pt x="201494" y="3249251"/>
                  </a:lnTo>
                  <a:lnTo>
                    <a:pt x="200658" y="3248596"/>
                  </a:lnTo>
                  <a:lnTo>
                    <a:pt x="199903" y="3249189"/>
                  </a:lnTo>
                  <a:lnTo>
                    <a:pt x="198457" y="3252681"/>
                  </a:lnTo>
                  <a:lnTo>
                    <a:pt x="197453" y="3253980"/>
                  </a:lnTo>
                  <a:lnTo>
                    <a:pt x="195741" y="3255084"/>
                  </a:lnTo>
                  <a:lnTo>
                    <a:pt x="193800" y="3255417"/>
                  </a:lnTo>
                  <a:lnTo>
                    <a:pt x="191803" y="3254930"/>
                  </a:lnTo>
                  <a:lnTo>
                    <a:pt x="190146" y="3253820"/>
                  </a:lnTo>
                  <a:lnTo>
                    <a:pt x="189244" y="3252308"/>
                  </a:lnTo>
                  <a:lnTo>
                    <a:pt x="189225" y="3250324"/>
                  </a:lnTo>
                  <a:lnTo>
                    <a:pt x="190973" y="3240887"/>
                  </a:lnTo>
                  <a:lnTo>
                    <a:pt x="191437" y="3239152"/>
                  </a:lnTo>
                  <a:lnTo>
                    <a:pt x="193034" y="3235069"/>
                  </a:lnTo>
                  <a:lnTo>
                    <a:pt x="193791" y="3232467"/>
                  </a:lnTo>
                  <a:lnTo>
                    <a:pt x="192854" y="3232147"/>
                  </a:lnTo>
                  <a:lnTo>
                    <a:pt x="191070" y="3232726"/>
                  </a:lnTo>
                  <a:lnTo>
                    <a:pt x="189306" y="3232800"/>
                  </a:lnTo>
                  <a:lnTo>
                    <a:pt x="188241" y="3231647"/>
                  </a:lnTo>
                  <a:lnTo>
                    <a:pt x="187404" y="3229640"/>
                  </a:lnTo>
                  <a:lnTo>
                    <a:pt x="187003" y="3227402"/>
                  </a:lnTo>
                  <a:lnTo>
                    <a:pt x="187352" y="3223933"/>
                  </a:lnTo>
                  <a:lnTo>
                    <a:pt x="186678" y="3222132"/>
                  </a:lnTo>
                  <a:lnTo>
                    <a:pt x="184913" y="3218975"/>
                  </a:lnTo>
                  <a:lnTo>
                    <a:pt x="184402" y="3220278"/>
                  </a:lnTo>
                  <a:lnTo>
                    <a:pt x="185629" y="3222979"/>
                  </a:lnTo>
                  <a:lnTo>
                    <a:pt x="185466" y="3224744"/>
                  </a:lnTo>
                  <a:lnTo>
                    <a:pt x="184479" y="3225927"/>
                  </a:lnTo>
                  <a:lnTo>
                    <a:pt x="182933" y="3226944"/>
                  </a:lnTo>
                  <a:lnTo>
                    <a:pt x="181346" y="3227566"/>
                  </a:lnTo>
                  <a:lnTo>
                    <a:pt x="180224" y="3227586"/>
                  </a:lnTo>
                  <a:lnTo>
                    <a:pt x="179056" y="3227130"/>
                  </a:lnTo>
                  <a:lnTo>
                    <a:pt x="178342" y="3226699"/>
                  </a:lnTo>
                  <a:lnTo>
                    <a:pt x="178179" y="3225662"/>
                  </a:lnTo>
                  <a:lnTo>
                    <a:pt x="179990" y="3218496"/>
                  </a:lnTo>
                  <a:lnTo>
                    <a:pt x="180136" y="3216623"/>
                  </a:lnTo>
                  <a:lnTo>
                    <a:pt x="179744" y="3217037"/>
                  </a:lnTo>
                  <a:lnTo>
                    <a:pt x="179215" y="3217946"/>
                  </a:lnTo>
                  <a:lnTo>
                    <a:pt x="178795" y="3218524"/>
                  </a:lnTo>
                  <a:lnTo>
                    <a:pt x="177743" y="3220322"/>
                  </a:lnTo>
                  <a:lnTo>
                    <a:pt x="175408" y="3225253"/>
                  </a:lnTo>
                  <a:lnTo>
                    <a:pt x="174267" y="3226691"/>
                  </a:lnTo>
                  <a:lnTo>
                    <a:pt x="173575" y="3226719"/>
                  </a:lnTo>
                  <a:lnTo>
                    <a:pt x="165424" y="3222849"/>
                  </a:lnTo>
                  <a:lnTo>
                    <a:pt x="163650" y="3222448"/>
                  </a:lnTo>
                  <a:lnTo>
                    <a:pt x="162129" y="3221762"/>
                  </a:lnTo>
                  <a:lnTo>
                    <a:pt x="161272" y="3220253"/>
                  </a:lnTo>
                  <a:lnTo>
                    <a:pt x="159401" y="3209612"/>
                  </a:lnTo>
                  <a:lnTo>
                    <a:pt x="159565" y="3207828"/>
                  </a:lnTo>
                  <a:lnTo>
                    <a:pt x="160648" y="3206581"/>
                  </a:lnTo>
                  <a:lnTo>
                    <a:pt x="164012" y="3204487"/>
                  </a:lnTo>
                  <a:lnTo>
                    <a:pt x="164555" y="3204318"/>
                  </a:lnTo>
                  <a:lnTo>
                    <a:pt x="164911" y="3204461"/>
                  </a:lnTo>
                  <a:lnTo>
                    <a:pt x="165296" y="3204430"/>
                  </a:lnTo>
                  <a:lnTo>
                    <a:pt x="165917" y="3203774"/>
                  </a:lnTo>
                  <a:lnTo>
                    <a:pt x="166134" y="3203274"/>
                  </a:lnTo>
                  <a:lnTo>
                    <a:pt x="165842" y="3202787"/>
                  </a:lnTo>
                  <a:lnTo>
                    <a:pt x="166080" y="3202267"/>
                  </a:lnTo>
                  <a:lnTo>
                    <a:pt x="167498" y="3200643"/>
                  </a:lnTo>
                  <a:lnTo>
                    <a:pt x="169140" y="3199293"/>
                  </a:lnTo>
                  <a:lnTo>
                    <a:pt x="170792" y="3198512"/>
                  </a:lnTo>
                  <a:lnTo>
                    <a:pt x="173896" y="3198706"/>
                  </a:lnTo>
                  <a:lnTo>
                    <a:pt x="175677" y="3197741"/>
                  </a:lnTo>
                  <a:lnTo>
                    <a:pt x="176936" y="3195933"/>
                  </a:lnTo>
                  <a:lnTo>
                    <a:pt x="176986" y="3193504"/>
                  </a:lnTo>
                  <a:lnTo>
                    <a:pt x="176039" y="3193968"/>
                  </a:lnTo>
                  <a:lnTo>
                    <a:pt x="175505" y="3194712"/>
                  </a:lnTo>
                  <a:lnTo>
                    <a:pt x="175014" y="3195512"/>
                  </a:lnTo>
                  <a:lnTo>
                    <a:pt x="174182" y="3196191"/>
                  </a:lnTo>
                  <a:lnTo>
                    <a:pt x="173591" y="3196194"/>
                  </a:lnTo>
                  <a:lnTo>
                    <a:pt x="171982" y="3195928"/>
                  </a:lnTo>
                  <a:lnTo>
                    <a:pt x="170352" y="3196720"/>
                  </a:lnTo>
                  <a:lnTo>
                    <a:pt x="168655" y="3196082"/>
                  </a:lnTo>
                  <a:lnTo>
                    <a:pt x="167211" y="3194901"/>
                  </a:lnTo>
                  <a:lnTo>
                    <a:pt x="166799" y="3193824"/>
                  </a:lnTo>
                  <a:lnTo>
                    <a:pt x="166825" y="3192554"/>
                  </a:lnTo>
                  <a:lnTo>
                    <a:pt x="166446" y="3190567"/>
                  </a:lnTo>
                  <a:lnTo>
                    <a:pt x="165844" y="3188646"/>
                  </a:lnTo>
                  <a:lnTo>
                    <a:pt x="165180" y="3187616"/>
                  </a:lnTo>
                  <a:lnTo>
                    <a:pt x="164450" y="3188063"/>
                  </a:lnTo>
                  <a:lnTo>
                    <a:pt x="163991" y="3189765"/>
                  </a:lnTo>
                  <a:lnTo>
                    <a:pt x="163619" y="3191902"/>
                  </a:lnTo>
                  <a:lnTo>
                    <a:pt x="163139" y="3193659"/>
                  </a:lnTo>
                  <a:lnTo>
                    <a:pt x="162281" y="3195250"/>
                  </a:lnTo>
                  <a:lnTo>
                    <a:pt x="161268" y="3196433"/>
                  </a:lnTo>
                  <a:lnTo>
                    <a:pt x="159960" y="3197179"/>
                  </a:lnTo>
                  <a:lnTo>
                    <a:pt x="158208" y="3197501"/>
                  </a:lnTo>
                  <a:lnTo>
                    <a:pt x="156486" y="3197396"/>
                  </a:lnTo>
                  <a:lnTo>
                    <a:pt x="154932" y="3196899"/>
                  </a:lnTo>
                  <a:lnTo>
                    <a:pt x="153623" y="3196003"/>
                  </a:lnTo>
                  <a:lnTo>
                    <a:pt x="152637" y="3194705"/>
                  </a:lnTo>
                  <a:lnTo>
                    <a:pt x="151324" y="3191664"/>
                  </a:lnTo>
                  <a:lnTo>
                    <a:pt x="150918" y="3189812"/>
                  </a:lnTo>
                  <a:lnTo>
                    <a:pt x="150962" y="3187960"/>
                  </a:lnTo>
                  <a:lnTo>
                    <a:pt x="151676" y="3186082"/>
                  </a:lnTo>
                  <a:lnTo>
                    <a:pt x="152734" y="3185569"/>
                  </a:lnTo>
                  <a:lnTo>
                    <a:pt x="155869" y="3185441"/>
                  </a:lnTo>
                  <a:lnTo>
                    <a:pt x="151558" y="3183269"/>
                  </a:lnTo>
                  <a:lnTo>
                    <a:pt x="152732" y="3182264"/>
                  </a:lnTo>
                  <a:lnTo>
                    <a:pt x="154303" y="3181518"/>
                  </a:lnTo>
                  <a:lnTo>
                    <a:pt x="157623" y="3180422"/>
                  </a:lnTo>
                  <a:lnTo>
                    <a:pt x="155680" y="3178456"/>
                  </a:lnTo>
                  <a:lnTo>
                    <a:pt x="152836" y="3179259"/>
                  </a:lnTo>
                  <a:lnTo>
                    <a:pt x="149854" y="3180845"/>
                  </a:lnTo>
                  <a:lnTo>
                    <a:pt x="147500" y="3181219"/>
                  </a:lnTo>
                  <a:lnTo>
                    <a:pt x="144470" y="3180952"/>
                  </a:lnTo>
                  <a:lnTo>
                    <a:pt x="143128" y="3180425"/>
                  </a:lnTo>
                  <a:lnTo>
                    <a:pt x="142596" y="3178735"/>
                  </a:lnTo>
                  <a:lnTo>
                    <a:pt x="143014" y="3177119"/>
                  </a:lnTo>
                  <a:lnTo>
                    <a:pt x="143990" y="3175816"/>
                  </a:lnTo>
                  <a:lnTo>
                    <a:pt x="145218" y="3174789"/>
                  </a:lnTo>
                  <a:lnTo>
                    <a:pt x="146387" y="3173991"/>
                  </a:lnTo>
                  <a:lnTo>
                    <a:pt x="143627" y="3173445"/>
                  </a:lnTo>
                  <a:lnTo>
                    <a:pt x="140378" y="3173981"/>
                  </a:lnTo>
                  <a:lnTo>
                    <a:pt x="137014" y="3175222"/>
                  </a:lnTo>
                  <a:lnTo>
                    <a:pt x="131890" y="3177991"/>
                  </a:lnTo>
                  <a:lnTo>
                    <a:pt x="130910" y="3178336"/>
                  </a:lnTo>
                  <a:lnTo>
                    <a:pt x="130075" y="3178194"/>
                  </a:lnTo>
                  <a:lnTo>
                    <a:pt x="129720" y="3177609"/>
                  </a:lnTo>
                  <a:lnTo>
                    <a:pt x="129316" y="3175692"/>
                  </a:lnTo>
                  <a:lnTo>
                    <a:pt x="129140" y="3175214"/>
                  </a:lnTo>
                  <a:lnTo>
                    <a:pt x="126208" y="3173365"/>
                  </a:lnTo>
                  <a:lnTo>
                    <a:pt x="125181" y="3171853"/>
                  </a:lnTo>
                  <a:lnTo>
                    <a:pt x="125433" y="3169981"/>
                  </a:lnTo>
                  <a:lnTo>
                    <a:pt x="126601" y="3169047"/>
                  </a:lnTo>
                  <a:lnTo>
                    <a:pt x="131623" y="3167646"/>
                  </a:lnTo>
                  <a:lnTo>
                    <a:pt x="138343" y="3164058"/>
                  </a:lnTo>
                  <a:lnTo>
                    <a:pt x="139835" y="3164178"/>
                  </a:lnTo>
                  <a:lnTo>
                    <a:pt x="140587" y="3163934"/>
                  </a:lnTo>
                  <a:lnTo>
                    <a:pt x="141023" y="3162843"/>
                  </a:lnTo>
                  <a:lnTo>
                    <a:pt x="140832" y="3162075"/>
                  </a:lnTo>
                  <a:lnTo>
                    <a:pt x="140188" y="3161821"/>
                  </a:lnTo>
                  <a:lnTo>
                    <a:pt x="138648" y="3161632"/>
                  </a:lnTo>
                  <a:lnTo>
                    <a:pt x="137465" y="3161162"/>
                  </a:lnTo>
                  <a:lnTo>
                    <a:pt x="137179" y="3160682"/>
                  </a:lnTo>
                  <a:lnTo>
                    <a:pt x="136891" y="3158778"/>
                  </a:lnTo>
                  <a:lnTo>
                    <a:pt x="136653" y="3158104"/>
                  </a:lnTo>
                  <a:lnTo>
                    <a:pt x="135879" y="3156882"/>
                  </a:lnTo>
                  <a:lnTo>
                    <a:pt x="136991" y="3156167"/>
                  </a:lnTo>
                  <a:lnTo>
                    <a:pt x="138837" y="3156743"/>
                  </a:lnTo>
                  <a:lnTo>
                    <a:pt x="139837" y="3156398"/>
                  </a:lnTo>
                  <a:lnTo>
                    <a:pt x="140569" y="3155224"/>
                  </a:lnTo>
                  <a:lnTo>
                    <a:pt x="140375" y="3154224"/>
                  </a:lnTo>
                  <a:lnTo>
                    <a:pt x="139633" y="3153641"/>
                  </a:lnTo>
                  <a:lnTo>
                    <a:pt x="138704" y="3153728"/>
                  </a:lnTo>
                  <a:lnTo>
                    <a:pt x="138137" y="3153448"/>
                  </a:lnTo>
                  <a:lnTo>
                    <a:pt x="137558" y="3150831"/>
                  </a:lnTo>
                  <a:lnTo>
                    <a:pt x="137058" y="3149963"/>
                  </a:lnTo>
                  <a:lnTo>
                    <a:pt x="136402" y="3149990"/>
                  </a:lnTo>
                  <a:lnTo>
                    <a:pt x="134485" y="3150701"/>
                  </a:lnTo>
                  <a:lnTo>
                    <a:pt x="133580" y="3150685"/>
                  </a:lnTo>
                  <a:lnTo>
                    <a:pt x="132271" y="3149325"/>
                  </a:lnTo>
                  <a:lnTo>
                    <a:pt x="131447" y="3147142"/>
                  </a:lnTo>
                  <a:lnTo>
                    <a:pt x="131470" y="3145345"/>
                  </a:lnTo>
                  <a:lnTo>
                    <a:pt x="132691" y="3145136"/>
                  </a:lnTo>
                  <a:lnTo>
                    <a:pt x="134689" y="3142545"/>
                  </a:lnTo>
                  <a:lnTo>
                    <a:pt x="136419" y="3140863"/>
                  </a:lnTo>
                  <a:lnTo>
                    <a:pt x="137918" y="3140298"/>
                  </a:lnTo>
                  <a:lnTo>
                    <a:pt x="138236" y="3139624"/>
                  </a:lnTo>
                  <a:lnTo>
                    <a:pt x="138330" y="3138586"/>
                  </a:lnTo>
                  <a:lnTo>
                    <a:pt x="138869" y="3137473"/>
                  </a:lnTo>
                  <a:lnTo>
                    <a:pt x="139657" y="3136681"/>
                  </a:lnTo>
                  <a:lnTo>
                    <a:pt x="140485" y="3136598"/>
                  </a:lnTo>
                  <a:lnTo>
                    <a:pt x="142289" y="3138480"/>
                  </a:lnTo>
                  <a:lnTo>
                    <a:pt x="143352" y="3138891"/>
                  </a:lnTo>
                  <a:lnTo>
                    <a:pt x="144402" y="3137695"/>
                  </a:lnTo>
                  <a:lnTo>
                    <a:pt x="146132" y="3139477"/>
                  </a:lnTo>
                  <a:lnTo>
                    <a:pt x="147989" y="3139755"/>
                  </a:lnTo>
                  <a:lnTo>
                    <a:pt x="149957" y="3139571"/>
                  </a:lnTo>
                  <a:lnTo>
                    <a:pt x="152021" y="3139992"/>
                  </a:lnTo>
                  <a:lnTo>
                    <a:pt x="161476" y="3144925"/>
                  </a:lnTo>
                  <a:lnTo>
                    <a:pt x="162478" y="3146327"/>
                  </a:lnTo>
                  <a:lnTo>
                    <a:pt x="162883" y="3148281"/>
                  </a:lnTo>
                  <a:lnTo>
                    <a:pt x="163360" y="3156249"/>
                  </a:lnTo>
                  <a:lnTo>
                    <a:pt x="163963" y="3158633"/>
                  </a:lnTo>
                  <a:lnTo>
                    <a:pt x="165426" y="3160205"/>
                  </a:lnTo>
                  <a:lnTo>
                    <a:pt x="165911" y="3153332"/>
                  </a:lnTo>
                  <a:lnTo>
                    <a:pt x="165733" y="3149494"/>
                  </a:lnTo>
                  <a:lnTo>
                    <a:pt x="163877" y="3145257"/>
                  </a:lnTo>
                  <a:lnTo>
                    <a:pt x="164884" y="3142339"/>
                  </a:lnTo>
                  <a:lnTo>
                    <a:pt x="166734" y="3140488"/>
                  </a:lnTo>
                  <a:lnTo>
                    <a:pt x="168319" y="3141524"/>
                  </a:lnTo>
                  <a:lnTo>
                    <a:pt x="170853" y="3139725"/>
                  </a:lnTo>
                  <a:lnTo>
                    <a:pt x="176254" y="3140738"/>
                  </a:lnTo>
                  <a:lnTo>
                    <a:pt x="177566" y="3138689"/>
                  </a:lnTo>
                  <a:lnTo>
                    <a:pt x="171159" y="3137213"/>
                  </a:lnTo>
                  <a:lnTo>
                    <a:pt x="169438" y="3137540"/>
                  </a:lnTo>
                  <a:lnTo>
                    <a:pt x="168185" y="3138009"/>
                  </a:lnTo>
                  <a:lnTo>
                    <a:pt x="167650" y="3137460"/>
                  </a:lnTo>
                  <a:lnTo>
                    <a:pt x="167424" y="3136530"/>
                  </a:lnTo>
                  <a:lnTo>
                    <a:pt x="167075" y="3135891"/>
                  </a:lnTo>
                  <a:lnTo>
                    <a:pt x="166668" y="3134432"/>
                  </a:lnTo>
                  <a:lnTo>
                    <a:pt x="166203" y="3133336"/>
                  </a:lnTo>
                  <a:lnTo>
                    <a:pt x="165466" y="3132570"/>
                  </a:lnTo>
                  <a:lnTo>
                    <a:pt x="153141" y="3125348"/>
                  </a:lnTo>
                  <a:lnTo>
                    <a:pt x="150459" y="3121653"/>
                  </a:lnTo>
                  <a:lnTo>
                    <a:pt x="150583" y="3123290"/>
                  </a:lnTo>
                  <a:lnTo>
                    <a:pt x="151357" y="3125321"/>
                  </a:lnTo>
                  <a:lnTo>
                    <a:pt x="152406" y="3127143"/>
                  </a:lnTo>
                  <a:lnTo>
                    <a:pt x="153379" y="3128158"/>
                  </a:lnTo>
                  <a:lnTo>
                    <a:pt x="160358" y="3131718"/>
                  </a:lnTo>
                  <a:lnTo>
                    <a:pt x="163112" y="3134283"/>
                  </a:lnTo>
                  <a:lnTo>
                    <a:pt x="164179" y="3135928"/>
                  </a:lnTo>
                  <a:lnTo>
                    <a:pt x="164688" y="3137638"/>
                  </a:lnTo>
                  <a:lnTo>
                    <a:pt x="164060" y="3139168"/>
                  </a:lnTo>
                  <a:lnTo>
                    <a:pt x="162358" y="3139160"/>
                  </a:lnTo>
                  <a:lnTo>
                    <a:pt x="159304" y="3137857"/>
                  </a:lnTo>
                  <a:lnTo>
                    <a:pt x="146432" y="3136718"/>
                  </a:lnTo>
                  <a:lnTo>
                    <a:pt x="146651" y="3134863"/>
                  </a:lnTo>
                  <a:lnTo>
                    <a:pt x="145331" y="3134417"/>
                  </a:lnTo>
                  <a:lnTo>
                    <a:pt x="142014" y="3134872"/>
                  </a:lnTo>
                  <a:lnTo>
                    <a:pt x="138835" y="3134400"/>
                  </a:lnTo>
                  <a:lnTo>
                    <a:pt x="135810" y="3133243"/>
                  </a:lnTo>
                  <a:lnTo>
                    <a:pt x="135078" y="3132028"/>
                  </a:lnTo>
                  <a:lnTo>
                    <a:pt x="134461" y="3130323"/>
                  </a:lnTo>
                  <a:lnTo>
                    <a:pt x="133550" y="3129409"/>
                  </a:lnTo>
                  <a:lnTo>
                    <a:pt x="131924" y="3130590"/>
                  </a:lnTo>
                  <a:lnTo>
                    <a:pt x="132379" y="3130925"/>
                  </a:lnTo>
                  <a:lnTo>
                    <a:pt x="132550" y="3131197"/>
                  </a:lnTo>
                  <a:lnTo>
                    <a:pt x="132400" y="3132362"/>
                  </a:lnTo>
                  <a:lnTo>
                    <a:pt x="132386" y="3133203"/>
                  </a:lnTo>
                  <a:lnTo>
                    <a:pt x="132031" y="3133658"/>
                  </a:lnTo>
                  <a:lnTo>
                    <a:pt x="130902" y="3133339"/>
                  </a:lnTo>
                  <a:lnTo>
                    <a:pt x="130529" y="3132938"/>
                  </a:lnTo>
                  <a:lnTo>
                    <a:pt x="130110" y="3132198"/>
                  </a:lnTo>
                  <a:lnTo>
                    <a:pt x="129766" y="3131321"/>
                  </a:lnTo>
                  <a:lnTo>
                    <a:pt x="129300" y="3129563"/>
                  </a:lnTo>
                  <a:lnTo>
                    <a:pt x="127875" y="3128152"/>
                  </a:lnTo>
                  <a:lnTo>
                    <a:pt x="127249" y="3127259"/>
                  </a:lnTo>
                  <a:lnTo>
                    <a:pt x="127036" y="3126430"/>
                  </a:lnTo>
                  <a:lnTo>
                    <a:pt x="126989" y="3124653"/>
                  </a:lnTo>
                  <a:lnTo>
                    <a:pt x="126808" y="3123681"/>
                  </a:lnTo>
                  <a:lnTo>
                    <a:pt x="126205" y="3122344"/>
                  </a:lnTo>
                  <a:lnTo>
                    <a:pt x="125709" y="3121632"/>
                  </a:lnTo>
                  <a:lnTo>
                    <a:pt x="125135" y="3121144"/>
                  </a:lnTo>
                  <a:lnTo>
                    <a:pt x="124804" y="3120658"/>
                  </a:lnTo>
                  <a:lnTo>
                    <a:pt x="124825" y="3119889"/>
                  </a:lnTo>
                  <a:lnTo>
                    <a:pt x="124964" y="3119002"/>
                  </a:lnTo>
                  <a:lnTo>
                    <a:pt x="125101" y="3116795"/>
                  </a:lnTo>
                  <a:lnTo>
                    <a:pt x="125947" y="3114402"/>
                  </a:lnTo>
                  <a:lnTo>
                    <a:pt x="126072" y="3113163"/>
                  </a:lnTo>
                  <a:lnTo>
                    <a:pt x="124193" y="3110510"/>
                  </a:lnTo>
                  <a:lnTo>
                    <a:pt x="122794" y="3110091"/>
                  </a:lnTo>
                  <a:lnTo>
                    <a:pt x="122292" y="3109574"/>
                  </a:lnTo>
                  <a:lnTo>
                    <a:pt x="122542" y="3108389"/>
                  </a:lnTo>
                  <a:lnTo>
                    <a:pt x="122554" y="3106395"/>
                  </a:lnTo>
                  <a:lnTo>
                    <a:pt x="122896" y="3105299"/>
                  </a:lnTo>
                  <a:lnTo>
                    <a:pt x="123832" y="3105213"/>
                  </a:lnTo>
                  <a:lnTo>
                    <a:pt x="125347" y="3105617"/>
                  </a:lnTo>
                  <a:lnTo>
                    <a:pt x="126939" y="3105573"/>
                  </a:lnTo>
                  <a:lnTo>
                    <a:pt x="127677" y="3105091"/>
                  </a:lnTo>
                  <a:lnTo>
                    <a:pt x="126662" y="3104173"/>
                  </a:lnTo>
                  <a:lnTo>
                    <a:pt x="125912" y="3103927"/>
                  </a:lnTo>
                  <a:lnTo>
                    <a:pt x="124399" y="3103768"/>
                  </a:lnTo>
                  <a:lnTo>
                    <a:pt x="123589" y="3103485"/>
                  </a:lnTo>
                  <a:lnTo>
                    <a:pt x="123227" y="3102951"/>
                  </a:lnTo>
                  <a:lnTo>
                    <a:pt x="122770" y="3101887"/>
                  </a:lnTo>
                  <a:lnTo>
                    <a:pt x="122427" y="3100732"/>
                  </a:lnTo>
                  <a:lnTo>
                    <a:pt x="122434" y="3099900"/>
                  </a:lnTo>
                  <a:lnTo>
                    <a:pt x="123020" y="3097765"/>
                  </a:lnTo>
                  <a:lnTo>
                    <a:pt x="123366" y="3093627"/>
                  </a:lnTo>
                  <a:lnTo>
                    <a:pt x="124171" y="3091961"/>
                  </a:lnTo>
                  <a:lnTo>
                    <a:pt x="123989" y="3090535"/>
                  </a:lnTo>
                  <a:lnTo>
                    <a:pt x="125035" y="3090021"/>
                  </a:lnTo>
                  <a:lnTo>
                    <a:pt x="126550" y="3090098"/>
                  </a:lnTo>
                  <a:lnTo>
                    <a:pt x="127764" y="3090478"/>
                  </a:lnTo>
                  <a:lnTo>
                    <a:pt x="127898" y="3090248"/>
                  </a:lnTo>
                  <a:close/>
                  <a:moveTo>
                    <a:pt x="188453" y="3086006"/>
                  </a:moveTo>
                  <a:lnTo>
                    <a:pt x="191439" y="3086382"/>
                  </a:lnTo>
                  <a:lnTo>
                    <a:pt x="192228" y="3086723"/>
                  </a:lnTo>
                  <a:lnTo>
                    <a:pt x="193072" y="3087891"/>
                  </a:lnTo>
                  <a:lnTo>
                    <a:pt x="192287" y="3089632"/>
                  </a:lnTo>
                  <a:lnTo>
                    <a:pt x="190689" y="3090542"/>
                  </a:lnTo>
                  <a:lnTo>
                    <a:pt x="189735" y="3090277"/>
                  </a:lnTo>
                  <a:lnTo>
                    <a:pt x="189325" y="3089920"/>
                  </a:lnTo>
                  <a:lnTo>
                    <a:pt x="188527" y="3089709"/>
                  </a:lnTo>
                  <a:lnTo>
                    <a:pt x="187666" y="3089039"/>
                  </a:lnTo>
                  <a:lnTo>
                    <a:pt x="187466" y="3088066"/>
                  </a:lnTo>
                  <a:lnTo>
                    <a:pt x="187372" y="3086601"/>
                  </a:lnTo>
                  <a:lnTo>
                    <a:pt x="187488" y="3086112"/>
                  </a:lnTo>
                  <a:close/>
                  <a:moveTo>
                    <a:pt x="114876" y="3079840"/>
                  </a:moveTo>
                  <a:lnTo>
                    <a:pt x="115320" y="3080959"/>
                  </a:lnTo>
                  <a:lnTo>
                    <a:pt x="116147" y="3081902"/>
                  </a:lnTo>
                  <a:lnTo>
                    <a:pt x="115976" y="3082541"/>
                  </a:lnTo>
                  <a:lnTo>
                    <a:pt x="115601" y="3083262"/>
                  </a:lnTo>
                  <a:lnTo>
                    <a:pt x="114554" y="3082813"/>
                  </a:lnTo>
                  <a:lnTo>
                    <a:pt x="113734" y="3082536"/>
                  </a:lnTo>
                  <a:lnTo>
                    <a:pt x="113235" y="3083257"/>
                  </a:lnTo>
                  <a:lnTo>
                    <a:pt x="112368" y="3083077"/>
                  </a:lnTo>
                  <a:lnTo>
                    <a:pt x="111529" y="3081767"/>
                  </a:lnTo>
                  <a:lnTo>
                    <a:pt x="111802" y="3080756"/>
                  </a:lnTo>
                  <a:lnTo>
                    <a:pt x="111996" y="3080188"/>
                  </a:lnTo>
                  <a:lnTo>
                    <a:pt x="113083" y="3079873"/>
                  </a:lnTo>
                  <a:lnTo>
                    <a:pt x="114346" y="3080486"/>
                  </a:lnTo>
                  <a:close/>
                  <a:moveTo>
                    <a:pt x="109675" y="3075028"/>
                  </a:moveTo>
                  <a:lnTo>
                    <a:pt x="109697" y="3075641"/>
                  </a:lnTo>
                  <a:lnTo>
                    <a:pt x="110490" y="3076387"/>
                  </a:lnTo>
                  <a:lnTo>
                    <a:pt x="111031" y="3076769"/>
                  </a:lnTo>
                  <a:lnTo>
                    <a:pt x="111559" y="3077447"/>
                  </a:lnTo>
                  <a:lnTo>
                    <a:pt x="110759" y="3077780"/>
                  </a:lnTo>
                  <a:lnTo>
                    <a:pt x="110760" y="3078443"/>
                  </a:lnTo>
                  <a:lnTo>
                    <a:pt x="111220" y="3079269"/>
                  </a:lnTo>
                  <a:lnTo>
                    <a:pt x="110509" y="3079406"/>
                  </a:lnTo>
                  <a:lnTo>
                    <a:pt x="109318" y="3078887"/>
                  </a:lnTo>
                  <a:lnTo>
                    <a:pt x="108644" y="3078801"/>
                  </a:lnTo>
                  <a:lnTo>
                    <a:pt x="108131" y="3077828"/>
                  </a:lnTo>
                  <a:lnTo>
                    <a:pt x="107780" y="3076755"/>
                  </a:lnTo>
                  <a:lnTo>
                    <a:pt x="108296" y="3075863"/>
                  </a:lnTo>
                  <a:lnTo>
                    <a:pt x="109015" y="3075310"/>
                  </a:lnTo>
                  <a:close/>
                  <a:moveTo>
                    <a:pt x="5088601" y="3068540"/>
                  </a:moveTo>
                  <a:lnTo>
                    <a:pt x="5089260" y="3069323"/>
                  </a:lnTo>
                  <a:lnTo>
                    <a:pt x="5089813" y="3069834"/>
                  </a:lnTo>
                  <a:lnTo>
                    <a:pt x="5090359" y="3069931"/>
                  </a:lnTo>
                  <a:lnTo>
                    <a:pt x="5091001" y="3069467"/>
                  </a:lnTo>
                  <a:lnTo>
                    <a:pt x="5090594" y="3072677"/>
                  </a:lnTo>
                  <a:lnTo>
                    <a:pt x="5089380" y="3071630"/>
                  </a:lnTo>
                  <a:lnTo>
                    <a:pt x="5088886" y="3072674"/>
                  </a:lnTo>
                  <a:lnTo>
                    <a:pt x="5088008" y="3072871"/>
                  </a:lnTo>
                  <a:lnTo>
                    <a:pt x="5086937" y="3072838"/>
                  </a:lnTo>
                  <a:lnTo>
                    <a:pt x="5085878" y="3073166"/>
                  </a:lnTo>
                  <a:lnTo>
                    <a:pt x="5085313" y="3073780"/>
                  </a:lnTo>
                  <a:lnTo>
                    <a:pt x="5084869" y="3074600"/>
                  </a:lnTo>
                  <a:lnTo>
                    <a:pt x="5084463" y="3073761"/>
                  </a:lnTo>
                  <a:lnTo>
                    <a:pt x="5085488" y="3071360"/>
                  </a:lnTo>
                  <a:lnTo>
                    <a:pt x="5087033" y="3069455"/>
                  </a:lnTo>
                  <a:close/>
                  <a:moveTo>
                    <a:pt x="5060978" y="3035909"/>
                  </a:moveTo>
                  <a:lnTo>
                    <a:pt x="5062380" y="3035987"/>
                  </a:lnTo>
                  <a:lnTo>
                    <a:pt x="5062812" y="3038429"/>
                  </a:lnTo>
                  <a:lnTo>
                    <a:pt x="5064707" y="3039499"/>
                  </a:lnTo>
                  <a:lnTo>
                    <a:pt x="5067062" y="3039708"/>
                  </a:lnTo>
                  <a:lnTo>
                    <a:pt x="5068849" y="3039551"/>
                  </a:lnTo>
                  <a:lnTo>
                    <a:pt x="5067792" y="3041515"/>
                  </a:lnTo>
                  <a:lnTo>
                    <a:pt x="5066369" y="3042897"/>
                  </a:lnTo>
                  <a:lnTo>
                    <a:pt x="5064655" y="3043937"/>
                  </a:lnTo>
                  <a:lnTo>
                    <a:pt x="5058877" y="3046234"/>
                  </a:lnTo>
                  <a:lnTo>
                    <a:pt x="5056777" y="3046322"/>
                  </a:lnTo>
                  <a:lnTo>
                    <a:pt x="5054840" y="3047800"/>
                  </a:lnTo>
                  <a:lnTo>
                    <a:pt x="5053705" y="3047710"/>
                  </a:lnTo>
                  <a:lnTo>
                    <a:pt x="5052780" y="3046023"/>
                  </a:lnTo>
                  <a:lnTo>
                    <a:pt x="5053561" y="3043852"/>
                  </a:lnTo>
                  <a:lnTo>
                    <a:pt x="5059226" y="3037150"/>
                  </a:lnTo>
                  <a:close/>
                  <a:moveTo>
                    <a:pt x="5154749" y="3022523"/>
                  </a:moveTo>
                  <a:lnTo>
                    <a:pt x="5154775" y="3024469"/>
                  </a:lnTo>
                  <a:lnTo>
                    <a:pt x="5155401" y="3026236"/>
                  </a:lnTo>
                  <a:lnTo>
                    <a:pt x="5155214" y="3027844"/>
                  </a:lnTo>
                  <a:lnTo>
                    <a:pt x="5153590" y="3027518"/>
                  </a:lnTo>
                  <a:lnTo>
                    <a:pt x="5152045" y="3025420"/>
                  </a:lnTo>
                  <a:lnTo>
                    <a:pt x="5153442" y="3022711"/>
                  </a:lnTo>
                  <a:close/>
                  <a:moveTo>
                    <a:pt x="192551" y="3009709"/>
                  </a:moveTo>
                  <a:lnTo>
                    <a:pt x="193716" y="3009832"/>
                  </a:lnTo>
                  <a:lnTo>
                    <a:pt x="193847" y="3012762"/>
                  </a:lnTo>
                  <a:lnTo>
                    <a:pt x="193756" y="3014958"/>
                  </a:lnTo>
                  <a:lnTo>
                    <a:pt x="193222" y="3016901"/>
                  </a:lnTo>
                  <a:lnTo>
                    <a:pt x="192036" y="3017797"/>
                  </a:lnTo>
                  <a:lnTo>
                    <a:pt x="192812" y="3021004"/>
                  </a:lnTo>
                  <a:lnTo>
                    <a:pt x="193092" y="3025167"/>
                  </a:lnTo>
                  <a:lnTo>
                    <a:pt x="192263" y="3029328"/>
                  </a:lnTo>
                  <a:lnTo>
                    <a:pt x="189706" y="3032513"/>
                  </a:lnTo>
                  <a:lnTo>
                    <a:pt x="190249" y="3033741"/>
                  </a:lnTo>
                  <a:lnTo>
                    <a:pt x="190309" y="3036042"/>
                  </a:lnTo>
                  <a:lnTo>
                    <a:pt x="190018" y="3038542"/>
                  </a:lnTo>
                  <a:lnTo>
                    <a:pt x="189482" y="3040432"/>
                  </a:lnTo>
                  <a:lnTo>
                    <a:pt x="188338" y="3041599"/>
                  </a:lnTo>
                  <a:lnTo>
                    <a:pt x="186651" y="3042259"/>
                  </a:lnTo>
                  <a:lnTo>
                    <a:pt x="185009" y="3042452"/>
                  </a:lnTo>
                  <a:lnTo>
                    <a:pt x="184004" y="3042214"/>
                  </a:lnTo>
                  <a:lnTo>
                    <a:pt x="183542" y="3041556"/>
                  </a:lnTo>
                  <a:lnTo>
                    <a:pt x="183410" y="3040850"/>
                  </a:lnTo>
                  <a:lnTo>
                    <a:pt x="183394" y="3040113"/>
                  </a:lnTo>
                  <a:lnTo>
                    <a:pt x="183280" y="3039325"/>
                  </a:lnTo>
                  <a:lnTo>
                    <a:pt x="182438" y="3037468"/>
                  </a:lnTo>
                  <a:lnTo>
                    <a:pt x="181777" y="3035094"/>
                  </a:lnTo>
                  <a:lnTo>
                    <a:pt x="181127" y="3035107"/>
                  </a:lnTo>
                  <a:lnTo>
                    <a:pt x="180184" y="3035374"/>
                  </a:lnTo>
                  <a:lnTo>
                    <a:pt x="178838" y="3034523"/>
                  </a:lnTo>
                  <a:lnTo>
                    <a:pt x="178185" y="3033006"/>
                  </a:lnTo>
                  <a:lnTo>
                    <a:pt x="177950" y="3030756"/>
                  </a:lnTo>
                  <a:lnTo>
                    <a:pt x="178193" y="3028202"/>
                  </a:lnTo>
                  <a:lnTo>
                    <a:pt x="178968" y="3025785"/>
                  </a:lnTo>
                  <a:lnTo>
                    <a:pt x="179313" y="3024304"/>
                  </a:lnTo>
                  <a:lnTo>
                    <a:pt x="179273" y="3018738"/>
                  </a:lnTo>
                  <a:lnTo>
                    <a:pt x="180371" y="3014687"/>
                  </a:lnTo>
                  <a:lnTo>
                    <a:pt x="182855" y="3012272"/>
                  </a:lnTo>
                  <a:lnTo>
                    <a:pt x="186066" y="3011013"/>
                  </a:lnTo>
                  <a:close/>
                  <a:moveTo>
                    <a:pt x="3332457" y="3000916"/>
                  </a:moveTo>
                  <a:lnTo>
                    <a:pt x="3332284" y="3001996"/>
                  </a:lnTo>
                  <a:lnTo>
                    <a:pt x="3331818" y="3002665"/>
                  </a:lnTo>
                  <a:lnTo>
                    <a:pt x="3325534" y="3007198"/>
                  </a:lnTo>
                  <a:lnTo>
                    <a:pt x="3320191" y="3009163"/>
                  </a:lnTo>
                  <a:lnTo>
                    <a:pt x="3318759" y="3010223"/>
                  </a:lnTo>
                  <a:lnTo>
                    <a:pt x="3317624" y="3011971"/>
                  </a:lnTo>
                  <a:lnTo>
                    <a:pt x="3316339" y="3012024"/>
                  </a:lnTo>
                  <a:lnTo>
                    <a:pt x="3311758" y="3016663"/>
                  </a:lnTo>
                  <a:lnTo>
                    <a:pt x="3300164" y="3022420"/>
                  </a:lnTo>
                  <a:lnTo>
                    <a:pt x="3292097" y="3030066"/>
                  </a:lnTo>
                  <a:lnTo>
                    <a:pt x="3290662" y="3030044"/>
                  </a:lnTo>
                  <a:lnTo>
                    <a:pt x="3291403" y="3028497"/>
                  </a:lnTo>
                  <a:lnTo>
                    <a:pt x="3292827" y="3027098"/>
                  </a:lnTo>
                  <a:lnTo>
                    <a:pt x="3294452" y="3026058"/>
                  </a:lnTo>
                  <a:lnTo>
                    <a:pt x="3295810" y="3025585"/>
                  </a:lnTo>
                  <a:lnTo>
                    <a:pt x="3295628" y="3024872"/>
                  </a:lnTo>
                  <a:lnTo>
                    <a:pt x="3292686" y="3025658"/>
                  </a:lnTo>
                  <a:lnTo>
                    <a:pt x="3294147" y="3022682"/>
                  </a:lnTo>
                  <a:lnTo>
                    <a:pt x="3296407" y="3020534"/>
                  </a:lnTo>
                  <a:lnTo>
                    <a:pt x="3306621" y="3013810"/>
                  </a:lnTo>
                  <a:lnTo>
                    <a:pt x="3312695" y="3011772"/>
                  </a:lnTo>
                  <a:lnTo>
                    <a:pt x="3313810" y="3011142"/>
                  </a:lnTo>
                  <a:lnTo>
                    <a:pt x="3315912" y="3009049"/>
                  </a:lnTo>
                  <a:lnTo>
                    <a:pt x="3317085" y="3008253"/>
                  </a:lnTo>
                  <a:close/>
                  <a:moveTo>
                    <a:pt x="5182879" y="2981993"/>
                  </a:moveTo>
                  <a:lnTo>
                    <a:pt x="5184574" y="2982642"/>
                  </a:lnTo>
                  <a:lnTo>
                    <a:pt x="5186010" y="2985933"/>
                  </a:lnTo>
                  <a:lnTo>
                    <a:pt x="5185069" y="2987797"/>
                  </a:lnTo>
                  <a:lnTo>
                    <a:pt x="5183207" y="2989231"/>
                  </a:lnTo>
                  <a:lnTo>
                    <a:pt x="5182080" y="2988958"/>
                  </a:lnTo>
                  <a:lnTo>
                    <a:pt x="5181492" y="2987620"/>
                  </a:lnTo>
                  <a:lnTo>
                    <a:pt x="5181999" y="2986741"/>
                  </a:lnTo>
                  <a:lnTo>
                    <a:pt x="5182010" y="2985593"/>
                  </a:lnTo>
                  <a:lnTo>
                    <a:pt x="5181524" y="2982547"/>
                  </a:lnTo>
                  <a:close/>
                  <a:moveTo>
                    <a:pt x="203546" y="2974296"/>
                  </a:moveTo>
                  <a:lnTo>
                    <a:pt x="204415" y="2974487"/>
                  </a:lnTo>
                  <a:lnTo>
                    <a:pt x="206045" y="2975443"/>
                  </a:lnTo>
                  <a:lnTo>
                    <a:pt x="210536" y="2976529"/>
                  </a:lnTo>
                  <a:lnTo>
                    <a:pt x="212110" y="2977647"/>
                  </a:lnTo>
                  <a:lnTo>
                    <a:pt x="212454" y="2979564"/>
                  </a:lnTo>
                  <a:lnTo>
                    <a:pt x="210571" y="2982504"/>
                  </a:lnTo>
                  <a:lnTo>
                    <a:pt x="209825" y="2983938"/>
                  </a:lnTo>
                  <a:lnTo>
                    <a:pt x="209548" y="2985619"/>
                  </a:lnTo>
                  <a:lnTo>
                    <a:pt x="208100" y="2987095"/>
                  </a:lnTo>
                  <a:lnTo>
                    <a:pt x="205363" y="2990498"/>
                  </a:lnTo>
                  <a:lnTo>
                    <a:pt x="203937" y="2992014"/>
                  </a:lnTo>
                  <a:lnTo>
                    <a:pt x="197814" y="2997228"/>
                  </a:lnTo>
                  <a:lnTo>
                    <a:pt x="197936" y="2998132"/>
                  </a:lnTo>
                  <a:lnTo>
                    <a:pt x="197167" y="2998574"/>
                  </a:lnTo>
                  <a:lnTo>
                    <a:pt x="197129" y="3000038"/>
                  </a:lnTo>
                  <a:lnTo>
                    <a:pt x="197217" y="3001433"/>
                  </a:lnTo>
                  <a:lnTo>
                    <a:pt x="197122" y="3002778"/>
                  </a:lnTo>
                  <a:lnTo>
                    <a:pt x="196511" y="3004102"/>
                  </a:lnTo>
                  <a:lnTo>
                    <a:pt x="195537" y="3004822"/>
                  </a:lnTo>
                  <a:lnTo>
                    <a:pt x="194268" y="3005140"/>
                  </a:lnTo>
                  <a:lnTo>
                    <a:pt x="191945" y="3005097"/>
                  </a:lnTo>
                  <a:lnTo>
                    <a:pt x="191758" y="3003735"/>
                  </a:lnTo>
                  <a:lnTo>
                    <a:pt x="190558" y="3003578"/>
                  </a:lnTo>
                  <a:lnTo>
                    <a:pt x="188887" y="3003811"/>
                  </a:lnTo>
                  <a:lnTo>
                    <a:pt x="187312" y="3003614"/>
                  </a:lnTo>
                  <a:lnTo>
                    <a:pt x="187279" y="3002946"/>
                  </a:lnTo>
                  <a:lnTo>
                    <a:pt x="187914" y="3001890"/>
                  </a:lnTo>
                  <a:lnTo>
                    <a:pt x="188663" y="3000944"/>
                  </a:lnTo>
                  <a:lnTo>
                    <a:pt x="188984" y="3000620"/>
                  </a:lnTo>
                  <a:lnTo>
                    <a:pt x="189554" y="2999936"/>
                  </a:lnTo>
                  <a:lnTo>
                    <a:pt x="190245" y="2999514"/>
                  </a:lnTo>
                  <a:lnTo>
                    <a:pt x="190941" y="2998840"/>
                  </a:lnTo>
                  <a:lnTo>
                    <a:pt x="191580" y="2997357"/>
                  </a:lnTo>
                  <a:lnTo>
                    <a:pt x="191724" y="2996491"/>
                  </a:lnTo>
                  <a:lnTo>
                    <a:pt x="191691" y="2994053"/>
                  </a:lnTo>
                  <a:lnTo>
                    <a:pt x="191878" y="2993780"/>
                  </a:lnTo>
                  <a:lnTo>
                    <a:pt x="192265" y="2993401"/>
                  </a:lnTo>
                  <a:lnTo>
                    <a:pt x="192611" y="2992835"/>
                  </a:lnTo>
                  <a:lnTo>
                    <a:pt x="192660" y="2992045"/>
                  </a:lnTo>
                  <a:lnTo>
                    <a:pt x="192399" y="2991880"/>
                  </a:lnTo>
                  <a:lnTo>
                    <a:pt x="191317" y="2991997"/>
                  </a:lnTo>
                  <a:lnTo>
                    <a:pt x="190886" y="2991964"/>
                  </a:lnTo>
                  <a:lnTo>
                    <a:pt x="188186" y="2990888"/>
                  </a:lnTo>
                  <a:lnTo>
                    <a:pt x="186781" y="2989965"/>
                  </a:lnTo>
                  <a:lnTo>
                    <a:pt x="186097" y="2988627"/>
                  </a:lnTo>
                  <a:lnTo>
                    <a:pt x="186494" y="2987366"/>
                  </a:lnTo>
                  <a:lnTo>
                    <a:pt x="187635" y="2986004"/>
                  </a:lnTo>
                  <a:lnTo>
                    <a:pt x="189140" y="2985057"/>
                  </a:lnTo>
                  <a:lnTo>
                    <a:pt x="191688" y="2985133"/>
                  </a:lnTo>
                  <a:lnTo>
                    <a:pt x="191965" y="2984091"/>
                  </a:lnTo>
                  <a:lnTo>
                    <a:pt x="191699" y="2981845"/>
                  </a:lnTo>
                  <a:lnTo>
                    <a:pt x="191937" y="2980577"/>
                  </a:lnTo>
                  <a:lnTo>
                    <a:pt x="192538" y="2979838"/>
                  </a:lnTo>
                  <a:lnTo>
                    <a:pt x="193766" y="2979107"/>
                  </a:lnTo>
                  <a:lnTo>
                    <a:pt x="197519" y="2975906"/>
                  </a:lnTo>
                  <a:lnTo>
                    <a:pt x="199523" y="2974607"/>
                  </a:lnTo>
                  <a:lnTo>
                    <a:pt x="200940" y="2974362"/>
                  </a:lnTo>
                  <a:lnTo>
                    <a:pt x="201688" y="2974492"/>
                  </a:lnTo>
                  <a:close/>
                  <a:moveTo>
                    <a:pt x="182675" y="2969653"/>
                  </a:moveTo>
                  <a:lnTo>
                    <a:pt x="181938" y="2971771"/>
                  </a:lnTo>
                  <a:lnTo>
                    <a:pt x="180034" y="2974554"/>
                  </a:lnTo>
                  <a:lnTo>
                    <a:pt x="178616" y="2977080"/>
                  </a:lnTo>
                  <a:lnTo>
                    <a:pt x="176942" y="2979107"/>
                  </a:lnTo>
                  <a:lnTo>
                    <a:pt x="175959" y="2979114"/>
                  </a:lnTo>
                  <a:lnTo>
                    <a:pt x="176352" y="2976946"/>
                  </a:lnTo>
                  <a:lnTo>
                    <a:pt x="174392" y="2977212"/>
                  </a:lnTo>
                  <a:lnTo>
                    <a:pt x="174487" y="2974894"/>
                  </a:lnTo>
                  <a:lnTo>
                    <a:pt x="176153" y="2972365"/>
                  </a:lnTo>
                  <a:lnTo>
                    <a:pt x="180352" y="2971230"/>
                  </a:lnTo>
                  <a:lnTo>
                    <a:pt x="181406" y="2970015"/>
                  </a:lnTo>
                  <a:close/>
                  <a:moveTo>
                    <a:pt x="207236" y="2964243"/>
                  </a:moveTo>
                  <a:lnTo>
                    <a:pt x="208213" y="2964742"/>
                  </a:lnTo>
                  <a:lnTo>
                    <a:pt x="209658" y="2966297"/>
                  </a:lnTo>
                  <a:lnTo>
                    <a:pt x="210395" y="2966274"/>
                  </a:lnTo>
                  <a:lnTo>
                    <a:pt x="212186" y="2965567"/>
                  </a:lnTo>
                  <a:lnTo>
                    <a:pt x="213065" y="2965543"/>
                  </a:lnTo>
                  <a:lnTo>
                    <a:pt x="218376" y="2968290"/>
                  </a:lnTo>
                  <a:lnTo>
                    <a:pt x="218837" y="2968663"/>
                  </a:lnTo>
                  <a:lnTo>
                    <a:pt x="219711" y="2969684"/>
                  </a:lnTo>
                  <a:lnTo>
                    <a:pt x="220269" y="2970106"/>
                  </a:lnTo>
                  <a:lnTo>
                    <a:pt x="220837" y="2970104"/>
                  </a:lnTo>
                  <a:lnTo>
                    <a:pt x="221403" y="2969767"/>
                  </a:lnTo>
                  <a:lnTo>
                    <a:pt x="222020" y="2969525"/>
                  </a:lnTo>
                  <a:lnTo>
                    <a:pt x="222767" y="2969790"/>
                  </a:lnTo>
                  <a:lnTo>
                    <a:pt x="220889" y="2971984"/>
                  </a:lnTo>
                  <a:lnTo>
                    <a:pt x="220039" y="2972820"/>
                  </a:lnTo>
                  <a:lnTo>
                    <a:pt x="217754" y="2973730"/>
                  </a:lnTo>
                  <a:lnTo>
                    <a:pt x="216844" y="2974455"/>
                  </a:lnTo>
                  <a:lnTo>
                    <a:pt x="216063" y="2975251"/>
                  </a:lnTo>
                  <a:lnTo>
                    <a:pt x="215198" y="2975959"/>
                  </a:lnTo>
                  <a:lnTo>
                    <a:pt x="213572" y="2975989"/>
                  </a:lnTo>
                  <a:lnTo>
                    <a:pt x="210834" y="2973508"/>
                  </a:lnTo>
                  <a:lnTo>
                    <a:pt x="208814" y="2973838"/>
                  </a:lnTo>
                  <a:lnTo>
                    <a:pt x="207848" y="2973827"/>
                  </a:lnTo>
                  <a:lnTo>
                    <a:pt x="206998" y="2972901"/>
                  </a:lnTo>
                  <a:lnTo>
                    <a:pt x="206403" y="2971577"/>
                  </a:lnTo>
                  <a:lnTo>
                    <a:pt x="206176" y="2970368"/>
                  </a:lnTo>
                  <a:lnTo>
                    <a:pt x="206298" y="2968786"/>
                  </a:lnTo>
                  <a:lnTo>
                    <a:pt x="206805" y="2966947"/>
                  </a:lnTo>
                  <a:lnTo>
                    <a:pt x="206843" y="2965255"/>
                  </a:lnTo>
                  <a:close/>
                  <a:moveTo>
                    <a:pt x="260633" y="2962078"/>
                  </a:moveTo>
                  <a:lnTo>
                    <a:pt x="267696" y="2963124"/>
                  </a:lnTo>
                  <a:lnTo>
                    <a:pt x="268955" y="2962987"/>
                  </a:lnTo>
                  <a:lnTo>
                    <a:pt x="271179" y="2962178"/>
                  </a:lnTo>
                  <a:lnTo>
                    <a:pt x="271873" y="2962512"/>
                  </a:lnTo>
                  <a:lnTo>
                    <a:pt x="272518" y="2963946"/>
                  </a:lnTo>
                  <a:lnTo>
                    <a:pt x="271783" y="2966310"/>
                  </a:lnTo>
                  <a:lnTo>
                    <a:pt x="270534" y="2968157"/>
                  </a:lnTo>
                  <a:lnTo>
                    <a:pt x="269907" y="2970019"/>
                  </a:lnTo>
                  <a:lnTo>
                    <a:pt x="271039" y="2972456"/>
                  </a:lnTo>
                  <a:lnTo>
                    <a:pt x="267427" y="2975248"/>
                  </a:lnTo>
                  <a:lnTo>
                    <a:pt x="264015" y="2976410"/>
                  </a:lnTo>
                  <a:lnTo>
                    <a:pt x="257504" y="2976559"/>
                  </a:lnTo>
                  <a:lnTo>
                    <a:pt x="257108" y="2976707"/>
                  </a:lnTo>
                  <a:lnTo>
                    <a:pt x="256437" y="2977333"/>
                  </a:lnTo>
                  <a:lnTo>
                    <a:pt x="256082" y="2977438"/>
                  </a:lnTo>
                  <a:lnTo>
                    <a:pt x="255521" y="2977139"/>
                  </a:lnTo>
                  <a:lnTo>
                    <a:pt x="254752" y="2976024"/>
                  </a:lnTo>
                  <a:lnTo>
                    <a:pt x="254328" y="2975715"/>
                  </a:lnTo>
                  <a:lnTo>
                    <a:pt x="251080" y="2976196"/>
                  </a:lnTo>
                  <a:lnTo>
                    <a:pt x="249839" y="2977399"/>
                  </a:lnTo>
                  <a:lnTo>
                    <a:pt x="247974" y="2977987"/>
                  </a:lnTo>
                  <a:lnTo>
                    <a:pt x="244547" y="2978278"/>
                  </a:lnTo>
                  <a:lnTo>
                    <a:pt x="243784" y="2978149"/>
                  </a:lnTo>
                  <a:lnTo>
                    <a:pt x="242108" y="2977551"/>
                  </a:lnTo>
                  <a:lnTo>
                    <a:pt x="241354" y="2977561"/>
                  </a:lnTo>
                  <a:lnTo>
                    <a:pt x="240448" y="2978196"/>
                  </a:lnTo>
                  <a:lnTo>
                    <a:pt x="238883" y="2979980"/>
                  </a:lnTo>
                  <a:lnTo>
                    <a:pt x="238312" y="2980192"/>
                  </a:lnTo>
                  <a:lnTo>
                    <a:pt x="236688" y="2979818"/>
                  </a:lnTo>
                  <a:lnTo>
                    <a:pt x="235196" y="2980308"/>
                  </a:lnTo>
                  <a:lnTo>
                    <a:pt x="228848" y="2985706"/>
                  </a:lnTo>
                  <a:lnTo>
                    <a:pt x="226969" y="2987712"/>
                  </a:lnTo>
                  <a:lnTo>
                    <a:pt x="226237" y="2989582"/>
                  </a:lnTo>
                  <a:lnTo>
                    <a:pt x="225579" y="2991823"/>
                  </a:lnTo>
                  <a:lnTo>
                    <a:pt x="223643" y="2992772"/>
                  </a:lnTo>
                  <a:lnTo>
                    <a:pt x="221428" y="2992881"/>
                  </a:lnTo>
                  <a:lnTo>
                    <a:pt x="219918" y="2992626"/>
                  </a:lnTo>
                  <a:lnTo>
                    <a:pt x="216749" y="2991359"/>
                  </a:lnTo>
                  <a:lnTo>
                    <a:pt x="215515" y="2991204"/>
                  </a:lnTo>
                  <a:lnTo>
                    <a:pt x="212816" y="2991324"/>
                  </a:lnTo>
                  <a:lnTo>
                    <a:pt x="211835" y="2990979"/>
                  </a:lnTo>
                  <a:lnTo>
                    <a:pt x="211702" y="2989092"/>
                  </a:lnTo>
                  <a:lnTo>
                    <a:pt x="213421" y="2985883"/>
                  </a:lnTo>
                  <a:lnTo>
                    <a:pt x="218566" y="2978474"/>
                  </a:lnTo>
                  <a:lnTo>
                    <a:pt x="219295" y="2977701"/>
                  </a:lnTo>
                  <a:lnTo>
                    <a:pt x="220350" y="2976856"/>
                  </a:lnTo>
                  <a:lnTo>
                    <a:pt x="220878" y="2976628"/>
                  </a:lnTo>
                  <a:lnTo>
                    <a:pt x="221275" y="2976677"/>
                  </a:lnTo>
                  <a:lnTo>
                    <a:pt x="221683" y="2976643"/>
                  </a:lnTo>
                  <a:lnTo>
                    <a:pt x="222249" y="2976155"/>
                  </a:lnTo>
                  <a:lnTo>
                    <a:pt x="222110" y="2975984"/>
                  </a:lnTo>
                  <a:lnTo>
                    <a:pt x="223256" y="2972903"/>
                  </a:lnTo>
                  <a:lnTo>
                    <a:pt x="224721" y="2971265"/>
                  </a:lnTo>
                  <a:lnTo>
                    <a:pt x="227304" y="2969208"/>
                  </a:lnTo>
                  <a:lnTo>
                    <a:pt x="229833" y="2967811"/>
                  </a:lnTo>
                  <a:lnTo>
                    <a:pt x="231135" y="2968150"/>
                  </a:lnTo>
                  <a:lnTo>
                    <a:pt x="233980" y="2965950"/>
                  </a:lnTo>
                  <a:lnTo>
                    <a:pt x="236475" y="2966660"/>
                  </a:lnTo>
                  <a:lnTo>
                    <a:pt x="238992" y="2967917"/>
                  </a:lnTo>
                  <a:lnTo>
                    <a:pt x="243269" y="2966935"/>
                  </a:lnTo>
                  <a:lnTo>
                    <a:pt x="246171" y="2967307"/>
                  </a:lnTo>
                  <a:lnTo>
                    <a:pt x="248393" y="2966564"/>
                  </a:lnTo>
                  <a:lnTo>
                    <a:pt x="249095" y="2966553"/>
                  </a:lnTo>
                  <a:lnTo>
                    <a:pt x="250374" y="2967033"/>
                  </a:lnTo>
                  <a:lnTo>
                    <a:pt x="251147" y="2967028"/>
                  </a:lnTo>
                  <a:lnTo>
                    <a:pt x="252562" y="2966023"/>
                  </a:lnTo>
                  <a:lnTo>
                    <a:pt x="254363" y="2965802"/>
                  </a:lnTo>
                  <a:lnTo>
                    <a:pt x="255698" y="2964746"/>
                  </a:lnTo>
                  <a:lnTo>
                    <a:pt x="256984" y="2963441"/>
                  </a:lnTo>
                  <a:lnTo>
                    <a:pt x="258027" y="2962551"/>
                  </a:lnTo>
                  <a:lnTo>
                    <a:pt x="259355" y="2962103"/>
                  </a:lnTo>
                  <a:close/>
                  <a:moveTo>
                    <a:pt x="5169227" y="2957482"/>
                  </a:moveTo>
                  <a:lnTo>
                    <a:pt x="5169890" y="2957810"/>
                  </a:lnTo>
                  <a:lnTo>
                    <a:pt x="5171103" y="2959795"/>
                  </a:lnTo>
                  <a:lnTo>
                    <a:pt x="5172784" y="2966028"/>
                  </a:lnTo>
                  <a:lnTo>
                    <a:pt x="5174193" y="2969337"/>
                  </a:lnTo>
                  <a:lnTo>
                    <a:pt x="5175762" y="2971178"/>
                  </a:lnTo>
                  <a:lnTo>
                    <a:pt x="5176016" y="2974674"/>
                  </a:lnTo>
                  <a:lnTo>
                    <a:pt x="5178274" y="2986464"/>
                  </a:lnTo>
                  <a:lnTo>
                    <a:pt x="5178060" y="2987818"/>
                  </a:lnTo>
                  <a:lnTo>
                    <a:pt x="5177329" y="2988825"/>
                  </a:lnTo>
                  <a:lnTo>
                    <a:pt x="5172247" y="2991694"/>
                  </a:lnTo>
                  <a:lnTo>
                    <a:pt x="5171139" y="2991587"/>
                  </a:lnTo>
                  <a:lnTo>
                    <a:pt x="5171099" y="2989918"/>
                  </a:lnTo>
                  <a:lnTo>
                    <a:pt x="5172613" y="2980117"/>
                  </a:lnTo>
                  <a:lnTo>
                    <a:pt x="5171815" y="2973350"/>
                  </a:lnTo>
                  <a:lnTo>
                    <a:pt x="5170870" y="2971496"/>
                  </a:lnTo>
                  <a:lnTo>
                    <a:pt x="5169271" y="2973346"/>
                  </a:lnTo>
                  <a:lnTo>
                    <a:pt x="5168996" y="2972126"/>
                  </a:lnTo>
                  <a:lnTo>
                    <a:pt x="5169183" y="2964942"/>
                  </a:lnTo>
                  <a:lnTo>
                    <a:pt x="5169514" y="2963814"/>
                  </a:lnTo>
                  <a:lnTo>
                    <a:pt x="5170241" y="2966047"/>
                  </a:lnTo>
                  <a:lnTo>
                    <a:pt x="5170341" y="2966840"/>
                  </a:lnTo>
                  <a:lnTo>
                    <a:pt x="5171597" y="2966898"/>
                  </a:lnTo>
                  <a:lnTo>
                    <a:pt x="5170780" y="2965017"/>
                  </a:lnTo>
                  <a:lnTo>
                    <a:pt x="5169086" y="2958365"/>
                  </a:lnTo>
                  <a:close/>
                  <a:moveTo>
                    <a:pt x="203455" y="2957117"/>
                  </a:moveTo>
                  <a:lnTo>
                    <a:pt x="204779" y="2957267"/>
                  </a:lnTo>
                  <a:lnTo>
                    <a:pt x="206131" y="2957736"/>
                  </a:lnTo>
                  <a:lnTo>
                    <a:pt x="207253" y="2958486"/>
                  </a:lnTo>
                  <a:lnTo>
                    <a:pt x="207906" y="2959437"/>
                  </a:lnTo>
                  <a:lnTo>
                    <a:pt x="207113" y="2959935"/>
                  </a:lnTo>
                  <a:lnTo>
                    <a:pt x="202597" y="2968888"/>
                  </a:lnTo>
                  <a:lnTo>
                    <a:pt x="201150" y="2970733"/>
                  </a:lnTo>
                  <a:lnTo>
                    <a:pt x="200510" y="2971015"/>
                  </a:lnTo>
                  <a:lnTo>
                    <a:pt x="199192" y="2971121"/>
                  </a:lnTo>
                  <a:lnTo>
                    <a:pt x="198511" y="2971416"/>
                  </a:lnTo>
                  <a:lnTo>
                    <a:pt x="197840" y="2972098"/>
                  </a:lnTo>
                  <a:lnTo>
                    <a:pt x="196642" y="2973847"/>
                  </a:lnTo>
                  <a:lnTo>
                    <a:pt x="196042" y="2974410"/>
                  </a:lnTo>
                  <a:lnTo>
                    <a:pt x="195339" y="2974520"/>
                  </a:lnTo>
                  <a:lnTo>
                    <a:pt x="194561" y="2974254"/>
                  </a:lnTo>
                  <a:lnTo>
                    <a:pt x="193911" y="2973755"/>
                  </a:lnTo>
                  <a:lnTo>
                    <a:pt x="193606" y="2973139"/>
                  </a:lnTo>
                  <a:lnTo>
                    <a:pt x="193643" y="2972412"/>
                  </a:lnTo>
                  <a:lnTo>
                    <a:pt x="193889" y="2971844"/>
                  </a:lnTo>
                  <a:lnTo>
                    <a:pt x="194209" y="2971195"/>
                  </a:lnTo>
                  <a:lnTo>
                    <a:pt x="194498" y="2970239"/>
                  </a:lnTo>
                  <a:lnTo>
                    <a:pt x="195068" y="2965396"/>
                  </a:lnTo>
                  <a:lnTo>
                    <a:pt x="194764" y="2963368"/>
                  </a:lnTo>
                  <a:lnTo>
                    <a:pt x="195997" y="2961703"/>
                  </a:lnTo>
                  <a:lnTo>
                    <a:pt x="197677" y="2960266"/>
                  </a:lnTo>
                  <a:lnTo>
                    <a:pt x="198789" y="2959795"/>
                  </a:lnTo>
                  <a:lnTo>
                    <a:pt x="199060" y="2959486"/>
                  </a:lnTo>
                  <a:lnTo>
                    <a:pt x="200531" y="2958090"/>
                  </a:lnTo>
                  <a:lnTo>
                    <a:pt x="201124" y="2957653"/>
                  </a:lnTo>
                  <a:lnTo>
                    <a:pt x="201692" y="2957389"/>
                  </a:lnTo>
                  <a:lnTo>
                    <a:pt x="202195" y="2957230"/>
                  </a:lnTo>
                  <a:close/>
                  <a:moveTo>
                    <a:pt x="5170546" y="2953588"/>
                  </a:moveTo>
                  <a:lnTo>
                    <a:pt x="5171516" y="2953825"/>
                  </a:lnTo>
                  <a:lnTo>
                    <a:pt x="5172334" y="2954401"/>
                  </a:lnTo>
                  <a:lnTo>
                    <a:pt x="5173863" y="2955803"/>
                  </a:lnTo>
                  <a:lnTo>
                    <a:pt x="5174723" y="2957173"/>
                  </a:lnTo>
                  <a:lnTo>
                    <a:pt x="5175370" y="2958539"/>
                  </a:lnTo>
                  <a:lnTo>
                    <a:pt x="5175691" y="2959819"/>
                  </a:lnTo>
                  <a:lnTo>
                    <a:pt x="5175550" y="2960976"/>
                  </a:lnTo>
                  <a:lnTo>
                    <a:pt x="5176005" y="2961647"/>
                  </a:lnTo>
                  <a:lnTo>
                    <a:pt x="5176868" y="2962328"/>
                  </a:lnTo>
                  <a:lnTo>
                    <a:pt x="5178355" y="2964732"/>
                  </a:lnTo>
                  <a:lnTo>
                    <a:pt x="5179102" y="2964883"/>
                  </a:lnTo>
                  <a:lnTo>
                    <a:pt x="5179742" y="2965133"/>
                  </a:lnTo>
                  <a:lnTo>
                    <a:pt x="5180652" y="2966069"/>
                  </a:lnTo>
                  <a:lnTo>
                    <a:pt x="5181152" y="2967290"/>
                  </a:lnTo>
                  <a:lnTo>
                    <a:pt x="5180587" y="2968415"/>
                  </a:lnTo>
                  <a:lnTo>
                    <a:pt x="5181717" y="2968702"/>
                  </a:lnTo>
                  <a:lnTo>
                    <a:pt x="5182162" y="2969725"/>
                  </a:lnTo>
                  <a:lnTo>
                    <a:pt x="5182558" y="2971183"/>
                  </a:lnTo>
                  <a:lnTo>
                    <a:pt x="5183543" y="2972785"/>
                  </a:lnTo>
                  <a:lnTo>
                    <a:pt x="5181715" y="2972320"/>
                  </a:lnTo>
                  <a:lnTo>
                    <a:pt x="5180754" y="2970995"/>
                  </a:lnTo>
                  <a:lnTo>
                    <a:pt x="5180042" y="2969101"/>
                  </a:lnTo>
                  <a:lnTo>
                    <a:pt x="5178974" y="2966933"/>
                  </a:lnTo>
                  <a:lnTo>
                    <a:pt x="5178910" y="2967277"/>
                  </a:lnTo>
                  <a:lnTo>
                    <a:pt x="5178555" y="2968113"/>
                  </a:lnTo>
                  <a:lnTo>
                    <a:pt x="5177214" y="2966238"/>
                  </a:lnTo>
                  <a:lnTo>
                    <a:pt x="5174149" y="2960691"/>
                  </a:lnTo>
                  <a:lnTo>
                    <a:pt x="5173568" y="2959587"/>
                  </a:lnTo>
                  <a:lnTo>
                    <a:pt x="5173311" y="2958630"/>
                  </a:lnTo>
                  <a:lnTo>
                    <a:pt x="5173195" y="2957850"/>
                  </a:lnTo>
                  <a:lnTo>
                    <a:pt x="5173051" y="2957285"/>
                  </a:lnTo>
                  <a:lnTo>
                    <a:pt x="5172016" y="2955492"/>
                  </a:lnTo>
                  <a:close/>
                  <a:moveTo>
                    <a:pt x="218444" y="2951399"/>
                  </a:moveTo>
                  <a:lnTo>
                    <a:pt x="220627" y="2952265"/>
                  </a:lnTo>
                  <a:lnTo>
                    <a:pt x="222536" y="2953689"/>
                  </a:lnTo>
                  <a:lnTo>
                    <a:pt x="223697" y="2955029"/>
                  </a:lnTo>
                  <a:lnTo>
                    <a:pt x="223015" y="2960205"/>
                  </a:lnTo>
                  <a:lnTo>
                    <a:pt x="222591" y="2961626"/>
                  </a:lnTo>
                  <a:lnTo>
                    <a:pt x="222436" y="2962915"/>
                  </a:lnTo>
                  <a:lnTo>
                    <a:pt x="222587" y="2964421"/>
                  </a:lnTo>
                  <a:lnTo>
                    <a:pt x="222349" y="2966023"/>
                  </a:lnTo>
                  <a:lnTo>
                    <a:pt x="221029" y="2967565"/>
                  </a:lnTo>
                  <a:lnTo>
                    <a:pt x="219738" y="2967703"/>
                  </a:lnTo>
                  <a:lnTo>
                    <a:pt x="218488" y="2966814"/>
                  </a:lnTo>
                  <a:lnTo>
                    <a:pt x="216468" y="2964789"/>
                  </a:lnTo>
                  <a:lnTo>
                    <a:pt x="213263" y="2963785"/>
                  </a:lnTo>
                  <a:lnTo>
                    <a:pt x="211758" y="2962824"/>
                  </a:lnTo>
                  <a:lnTo>
                    <a:pt x="211110" y="2961102"/>
                  </a:lnTo>
                  <a:lnTo>
                    <a:pt x="211495" y="2959881"/>
                  </a:lnTo>
                  <a:lnTo>
                    <a:pt x="212446" y="2959038"/>
                  </a:lnTo>
                  <a:lnTo>
                    <a:pt x="213631" y="2958668"/>
                  </a:lnTo>
                  <a:lnTo>
                    <a:pt x="216332" y="2959148"/>
                  </a:lnTo>
                  <a:lnTo>
                    <a:pt x="217550" y="2958599"/>
                  </a:lnTo>
                  <a:lnTo>
                    <a:pt x="217945" y="2957628"/>
                  </a:lnTo>
                  <a:lnTo>
                    <a:pt x="217100" y="2956650"/>
                  </a:lnTo>
                  <a:lnTo>
                    <a:pt x="216142" y="2956348"/>
                  </a:lnTo>
                  <a:lnTo>
                    <a:pt x="214339" y="2956449"/>
                  </a:lnTo>
                  <a:lnTo>
                    <a:pt x="212986" y="2956272"/>
                  </a:lnTo>
                  <a:lnTo>
                    <a:pt x="211697" y="2955767"/>
                  </a:lnTo>
                  <a:lnTo>
                    <a:pt x="210640" y="2954947"/>
                  </a:lnTo>
                  <a:lnTo>
                    <a:pt x="209804" y="2953856"/>
                  </a:lnTo>
                  <a:lnTo>
                    <a:pt x="209178" y="2952533"/>
                  </a:lnTo>
                  <a:lnTo>
                    <a:pt x="214612" y="2952477"/>
                  </a:lnTo>
                  <a:lnTo>
                    <a:pt x="216461" y="2951701"/>
                  </a:lnTo>
                  <a:close/>
                  <a:moveTo>
                    <a:pt x="192151" y="2945718"/>
                  </a:moveTo>
                  <a:lnTo>
                    <a:pt x="194331" y="2947064"/>
                  </a:lnTo>
                  <a:lnTo>
                    <a:pt x="196789" y="2948556"/>
                  </a:lnTo>
                  <a:lnTo>
                    <a:pt x="198362" y="2948639"/>
                  </a:lnTo>
                  <a:lnTo>
                    <a:pt x="202070" y="2951022"/>
                  </a:lnTo>
                  <a:lnTo>
                    <a:pt x="203586" y="2952837"/>
                  </a:lnTo>
                  <a:lnTo>
                    <a:pt x="203932" y="2954996"/>
                  </a:lnTo>
                  <a:lnTo>
                    <a:pt x="202433" y="2954930"/>
                  </a:lnTo>
                  <a:lnTo>
                    <a:pt x="200938" y="2955311"/>
                  </a:lnTo>
                  <a:lnTo>
                    <a:pt x="199593" y="2956187"/>
                  </a:lnTo>
                  <a:lnTo>
                    <a:pt x="198555" y="2957613"/>
                  </a:lnTo>
                  <a:lnTo>
                    <a:pt x="198151" y="2957953"/>
                  </a:lnTo>
                  <a:lnTo>
                    <a:pt x="195531" y="2960692"/>
                  </a:lnTo>
                  <a:lnTo>
                    <a:pt x="194957" y="2960331"/>
                  </a:lnTo>
                  <a:lnTo>
                    <a:pt x="194783" y="2958215"/>
                  </a:lnTo>
                  <a:lnTo>
                    <a:pt x="192864" y="2961107"/>
                  </a:lnTo>
                  <a:lnTo>
                    <a:pt x="192531" y="2964108"/>
                  </a:lnTo>
                  <a:lnTo>
                    <a:pt x="190917" y="2964632"/>
                  </a:lnTo>
                  <a:lnTo>
                    <a:pt x="189754" y="2962973"/>
                  </a:lnTo>
                  <a:lnTo>
                    <a:pt x="189170" y="2961413"/>
                  </a:lnTo>
                  <a:lnTo>
                    <a:pt x="191255" y="2959604"/>
                  </a:lnTo>
                  <a:lnTo>
                    <a:pt x="192962" y="2957671"/>
                  </a:lnTo>
                  <a:lnTo>
                    <a:pt x="192290" y="2956701"/>
                  </a:lnTo>
                  <a:lnTo>
                    <a:pt x="191313" y="2955450"/>
                  </a:lnTo>
                  <a:lnTo>
                    <a:pt x="190058" y="2956407"/>
                  </a:lnTo>
                  <a:lnTo>
                    <a:pt x="188328" y="2957316"/>
                  </a:lnTo>
                  <a:lnTo>
                    <a:pt x="186950" y="2957196"/>
                  </a:lnTo>
                  <a:lnTo>
                    <a:pt x="186573" y="2955993"/>
                  </a:lnTo>
                  <a:lnTo>
                    <a:pt x="188059" y="2955342"/>
                  </a:lnTo>
                  <a:lnTo>
                    <a:pt x="189141" y="2954489"/>
                  </a:lnTo>
                  <a:lnTo>
                    <a:pt x="186212" y="2953276"/>
                  </a:lnTo>
                  <a:lnTo>
                    <a:pt x="184639" y="2952235"/>
                  </a:lnTo>
                  <a:lnTo>
                    <a:pt x="183842" y="2951265"/>
                  </a:lnTo>
                  <a:lnTo>
                    <a:pt x="184933" y="2949718"/>
                  </a:lnTo>
                  <a:lnTo>
                    <a:pt x="187533" y="2949624"/>
                  </a:lnTo>
                  <a:lnTo>
                    <a:pt x="189032" y="2948409"/>
                  </a:lnTo>
                  <a:lnTo>
                    <a:pt x="190301" y="2948092"/>
                  </a:lnTo>
                  <a:lnTo>
                    <a:pt x="191047" y="2946752"/>
                  </a:lnTo>
                  <a:close/>
                  <a:moveTo>
                    <a:pt x="186281" y="2913389"/>
                  </a:moveTo>
                  <a:lnTo>
                    <a:pt x="187972" y="2913504"/>
                  </a:lnTo>
                  <a:lnTo>
                    <a:pt x="190928" y="2914215"/>
                  </a:lnTo>
                  <a:lnTo>
                    <a:pt x="190593" y="2914893"/>
                  </a:lnTo>
                  <a:lnTo>
                    <a:pt x="190177" y="2915075"/>
                  </a:lnTo>
                  <a:lnTo>
                    <a:pt x="189099" y="2915779"/>
                  </a:lnTo>
                  <a:lnTo>
                    <a:pt x="189736" y="2915876"/>
                  </a:lnTo>
                  <a:lnTo>
                    <a:pt x="190395" y="2915864"/>
                  </a:lnTo>
                  <a:lnTo>
                    <a:pt x="191071" y="2915740"/>
                  </a:lnTo>
                  <a:lnTo>
                    <a:pt x="191759" y="2915512"/>
                  </a:lnTo>
                  <a:lnTo>
                    <a:pt x="192424" y="2917243"/>
                  </a:lnTo>
                  <a:lnTo>
                    <a:pt x="192611" y="2918172"/>
                  </a:lnTo>
                  <a:lnTo>
                    <a:pt x="192476" y="2919262"/>
                  </a:lnTo>
                  <a:lnTo>
                    <a:pt x="191577" y="2921078"/>
                  </a:lnTo>
                  <a:lnTo>
                    <a:pt x="191071" y="2921775"/>
                  </a:lnTo>
                  <a:lnTo>
                    <a:pt x="190393" y="2922371"/>
                  </a:lnTo>
                  <a:lnTo>
                    <a:pt x="189110" y="2926905"/>
                  </a:lnTo>
                  <a:lnTo>
                    <a:pt x="186218" y="2931209"/>
                  </a:lnTo>
                  <a:lnTo>
                    <a:pt x="182783" y="2934385"/>
                  </a:lnTo>
                  <a:lnTo>
                    <a:pt x="179897" y="2935518"/>
                  </a:lnTo>
                  <a:lnTo>
                    <a:pt x="180365" y="2933549"/>
                  </a:lnTo>
                  <a:lnTo>
                    <a:pt x="179634" y="2930474"/>
                  </a:lnTo>
                  <a:lnTo>
                    <a:pt x="179682" y="2928658"/>
                  </a:lnTo>
                  <a:lnTo>
                    <a:pt x="180091" y="2927637"/>
                  </a:lnTo>
                  <a:lnTo>
                    <a:pt x="181278" y="2925607"/>
                  </a:lnTo>
                  <a:lnTo>
                    <a:pt x="181699" y="2924584"/>
                  </a:lnTo>
                  <a:lnTo>
                    <a:pt x="180831" y="2923276"/>
                  </a:lnTo>
                  <a:lnTo>
                    <a:pt x="181024" y="2922789"/>
                  </a:lnTo>
                  <a:lnTo>
                    <a:pt x="181647" y="2921758"/>
                  </a:lnTo>
                  <a:lnTo>
                    <a:pt x="181826" y="2921269"/>
                  </a:lnTo>
                  <a:lnTo>
                    <a:pt x="182159" y="2919413"/>
                  </a:lnTo>
                  <a:lnTo>
                    <a:pt x="182777" y="2917215"/>
                  </a:lnTo>
                  <a:lnTo>
                    <a:pt x="183736" y="2915128"/>
                  </a:lnTo>
                  <a:lnTo>
                    <a:pt x="185097" y="2913649"/>
                  </a:lnTo>
                  <a:close/>
                  <a:moveTo>
                    <a:pt x="5240427" y="2904201"/>
                  </a:moveTo>
                  <a:lnTo>
                    <a:pt x="5241698" y="2905716"/>
                  </a:lnTo>
                  <a:lnTo>
                    <a:pt x="5240973" y="2908528"/>
                  </a:lnTo>
                  <a:lnTo>
                    <a:pt x="5240581" y="2911831"/>
                  </a:lnTo>
                  <a:lnTo>
                    <a:pt x="5239076" y="2913497"/>
                  </a:lnTo>
                  <a:lnTo>
                    <a:pt x="5237327" y="2914101"/>
                  </a:lnTo>
                  <a:lnTo>
                    <a:pt x="5236731" y="2911814"/>
                  </a:lnTo>
                  <a:lnTo>
                    <a:pt x="5238117" y="2905742"/>
                  </a:lnTo>
                  <a:close/>
                  <a:moveTo>
                    <a:pt x="206633" y="2900687"/>
                  </a:moveTo>
                  <a:lnTo>
                    <a:pt x="206875" y="2902349"/>
                  </a:lnTo>
                  <a:lnTo>
                    <a:pt x="204902" y="2908015"/>
                  </a:lnTo>
                  <a:lnTo>
                    <a:pt x="202724" y="2920410"/>
                  </a:lnTo>
                  <a:lnTo>
                    <a:pt x="199810" y="2924437"/>
                  </a:lnTo>
                  <a:lnTo>
                    <a:pt x="198708" y="2924700"/>
                  </a:lnTo>
                  <a:lnTo>
                    <a:pt x="197519" y="2924388"/>
                  </a:lnTo>
                  <a:lnTo>
                    <a:pt x="196561" y="2923616"/>
                  </a:lnTo>
                  <a:lnTo>
                    <a:pt x="196164" y="2922512"/>
                  </a:lnTo>
                  <a:lnTo>
                    <a:pt x="195839" y="2921088"/>
                  </a:lnTo>
                  <a:lnTo>
                    <a:pt x="194335" y="2919292"/>
                  </a:lnTo>
                  <a:lnTo>
                    <a:pt x="193583" y="2916862"/>
                  </a:lnTo>
                  <a:lnTo>
                    <a:pt x="192439" y="2914495"/>
                  </a:lnTo>
                  <a:lnTo>
                    <a:pt x="191836" y="2913863"/>
                  </a:lnTo>
                  <a:lnTo>
                    <a:pt x="191215" y="2912758"/>
                  </a:lnTo>
                  <a:lnTo>
                    <a:pt x="191161" y="2911321"/>
                  </a:lnTo>
                  <a:lnTo>
                    <a:pt x="190869" y="2910441"/>
                  </a:lnTo>
                  <a:lnTo>
                    <a:pt x="189494" y="2910998"/>
                  </a:lnTo>
                  <a:lnTo>
                    <a:pt x="189756" y="2912249"/>
                  </a:lnTo>
                  <a:lnTo>
                    <a:pt x="189117" y="2912871"/>
                  </a:lnTo>
                  <a:lnTo>
                    <a:pt x="188204" y="2912707"/>
                  </a:lnTo>
                  <a:lnTo>
                    <a:pt x="187622" y="2911622"/>
                  </a:lnTo>
                  <a:lnTo>
                    <a:pt x="186101" y="2911345"/>
                  </a:lnTo>
                  <a:lnTo>
                    <a:pt x="185384" y="2909774"/>
                  </a:lnTo>
                  <a:lnTo>
                    <a:pt x="184913" y="2907811"/>
                  </a:lnTo>
                  <a:lnTo>
                    <a:pt x="184115" y="2906367"/>
                  </a:lnTo>
                  <a:lnTo>
                    <a:pt x="185352" y="2904711"/>
                  </a:lnTo>
                  <a:lnTo>
                    <a:pt x="186277" y="2904419"/>
                  </a:lnTo>
                  <a:lnTo>
                    <a:pt x="187004" y="2905130"/>
                  </a:lnTo>
                  <a:lnTo>
                    <a:pt x="187640" y="2906486"/>
                  </a:lnTo>
                  <a:lnTo>
                    <a:pt x="187873" y="2907346"/>
                  </a:lnTo>
                  <a:lnTo>
                    <a:pt x="187990" y="2908194"/>
                  </a:lnTo>
                  <a:lnTo>
                    <a:pt x="188179" y="2908968"/>
                  </a:lnTo>
                  <a:lnTo>
                    <a:pt x="188617" y="2909615"/>
                  </a:lnTo>
                  <a:lnTo>
                    <a:pt x="189216" y="2909572"/>
                  </a:lnTo>
                  <a:lnTo>
                    <a:pt x="189910" y="2909065"/>
                  </a:lnTo>
                  <a:lnTo>
                    <a:pt x="190549" y="2908942"/>
                  </a:lnTo>
                  <a:lnTo>
                    <a:pt x="190983" y="2910028"/>
                  </a:lnTo>
                  <a:lnTo>
                    <a:pt x="191708" y="2909488"/>
                  </a:lnTo>
                  <a:lnTo>
                    <a:pt x="191383" y="2909038"/>
                  </a:lnTo>
                  <a:lnTo>
                    <a:pt x="190742" y="2907368"/>
                  </a:lnTo>
                  <a:lnTo>
                    <a:pt x="191328" y="2907192"/>
                  </a:lnTo>
                  <a:lnTo>
                    <a:pt x="191868" y="2907122"/>
                  </a:lnTo>
                  <a:lnTo>
                    <a:pt x="191578" y="2906611"/>
                  </a:lnTo>
                  <a:lnTo>
                    <a:pt x="190792" y="2905648"/>
                  </a:lnTo>
                  <a:lnTo>
                    <a:pt x="190585" y="2905136"/>
                  </a:lnTo>
                  <a:lnTo>
                    <a:pt x="190794" y="2904376"/>
                  </a:lnTo>
                  <a:lnTo>
                    <a:pt x="191790" y="2903109"/>
                  </a:lnTo>
                  <a:lnTo>
                    <a:pt x="191763" y="2902763"/>
                  </a:lnTo>
                  <a:lnTo>
                    <a:pt x="191652" y="2902442"/>
                  </a:lnTo>
                  <a:lnTo>
                    <a:pt x="192055" y="2902083"/>
                  </a:lnTo>
                  <a:lnTo>
                    <a:pt x="192684" y="2901834"/>
                  </a:lnTo>
                  <a:lnTo>
                    <a:pt x="193221" y="2901847"/>
                  </a:lnTo>
                  <a:lnTo>
                    <a:pt x="201619" y="2905966"/>
                  </a:lnTo>
                  <a:lnTo>
                    <a:pt x="203336" y="2905528"/>
                  </a:lnTo>
                  <a:lnTo>
                    <a:pt x="204034" y="2903650"/>
                  </a:lnTo>
                  <a:lnTo>
                    <a:pt x="205411" y="2901579"/>
                  </a:lnTo>
                  <a:close/>
                  <a:moveTo>
                    <a:pt x="4689767" y="2898043"/>
                  </a:moveTo>
                  <a:lnTo>
                    <a:pt x="4691674" y="2898304"/>
                  </a:lnTo>
                  <a:lnTo>
                    <a:pt x="4695289" y="2901287"/>
                  </a:lnTo>
                  <a:lnTo>
                    <a:pt x="4696130" y="2901631"/>
                  </a:lnTo>
                  <a:lnTo>
                    <a:pt x="4698091" y="2903516"/>
                  </a:lnTo>
                  <a:lnTo>
                    <a:pt x="4698430" y="2904366"/>
                  </a:lnTo>
                  <a:lnTo>
                    <a:pt x="4698307" y="2904868"/>
                  </a:lnTo>
                  <a:lnTo>
                    <a:pt x="4698011" y="2905298"/>
                  </a:lnTo>
                  <a:lnTo>
                    <a:pt x="4697828" y="2905941"/>
                  </a:lnTo>
                  <a:lnTo>
                    <a:pt x="4697710" y="2907160"/>
                  </a:lnTo>
                  <a:lnTo>
                    <a:pt x="4697373" y="2908441"/>
                  </a:lnTo>
                  <a:lnTo>
                    <a:pt x="4696708" y="2908935"/>
                  </a:lnTo>
                  <a:lnTo>
                    <a:pt x="4695633" y="2907806"/>
                  </a:lnTo>
                  <a:lnTo>
                    <a:pt x="4695183" y="2906449"/>
                  </a:lnTo>
                  <a:lnTo>
                    <a:pt x="4694363" y="2901004"/>
                  </a:lnTo>
                  <a:lnTo>
                    <a:pt x="4693367" y="2900899"/>
                  </a:lnTo>
                  <a:lnTo>
                    <a:pt x="4693143" y="2901472"/>
                  </a:lnTo>
                  <a:lnTo>
                    <a:pt x="4693240" y="2902218"/>
                  </a:lnTo>
                  <a:lnTo>
                    <a:pt x="4693190" y="2902648"/>
                  </a:lnTo>
                  <a:lnTo>
                    <a:pt x="4692431" y="2902980"/>
                  </a:lnTo>
                  <a:lnTo>
                    <a:pt x="4692177" y="2902992"/>
                  </a:lnTo>
                  <a:lnTo>
                    <a:pt x="4691835" y="2902668"/>
                  </a:lnTo>
                  <a:lnTo>
                    <a:pt x="4690802" y="2901979"/>
                  </a:lnTo>
                  <a:lnTo>
                    <a:pt x="4689323" y="2900557"/>
                  </a:lnTo>
                  <a:lnTo>
                    <a:pt x="4688985" y="2899020"/>
                  </a:lnTo>
                  <a:close/>
                  <a:moveTo>
                    <a:pt x="235645" y="2895526"/>
                  </a:moveTo>
                  <a:lnTo>
                    <a:pt x="236319" y="2896680"/>
                  </a:lnTo>
                  <a:lnTo>
                    <a:pt x="235777" y="2897660"/>
                  </a:lnTo>
                  <a:lnTo>
                    <a:pt x="234664" y="2899295"/>
                  </a:lnTo>
                  <a:lnTo>
                    <a:pt x="234161" y="2900180"/>
                  </a:lnTo>
                  <a:lnTo>
                    <a:pt x="233462" y="2901114"/>
                  </a:lnTo>
                  <a:lnTo>
                    <a:pt x="231843" y="2902264"/>
                  </a:lnTo>
                  <a:lnTo>
                    <a:pt x="231275" y="2902919"/>
                  </a:lnTo>
                  <a:lnTo>
                    <a:pt x="229799" y="2905091"/>
                  </a:lnTo>
                  <a:lnTo>
                    <a:pt x="229247" y="2906066"/>
                  </a:lnTo>
                  <a:lnTo>
                    <a:pt x="228542" y="2907021"/>
                  </a:lnTo>
                  <a:lnTo>
                    <a:pt x="226895" y="2908291"/>
                  </a:lnTo>
                  <a:lnTo>
                    <a:pt x="226429" y="2908759"/>
                  </a:lnTo>
                  <a:lnTo>
                    <a:pt x="226072" y="2909214"/>
                  </a:lnTo>
                  <a:lnTo>
                    <a:pt x="224666" y="2910741"/>
                  </a:lnTo>
                  <a:lnTo>
                    <a:pt x="222210" y="2913878"/>
                  </a:lnTo>
                  <a:lnTo>
                    <a:pt x="221663" y="2914409"/>
                  </a:lnTo>
                  <a:lnTo>
                    <a:pt x="219777" y="2915278"/>
                  </a:lnTo>
                  <a:lnTo>
                    <a:pt x="219264" y="2914412"/>
                  </a:lnTo>
                  <a:lnTo>
                    <a:pt x="219801" y="2912798"/>
                  </a:lnTo>
                  <a:lnTo>
                    <a:pt x="221067" y="2911420"/>
                  </a:lnTo>
                  <a:lnTo>
                    <a:pt x="221362" y="2910816"/>
                  </a:lnTo>
                  <a:lnTo>
                    <a:pt x="221318" y="2910312"/>
                  </a:lnTo>
                  <a:lnTo>
                    <a:pt x="221544" y="2908384"/>
                  </a:lnTo>
                  <a:lnTo>
                    <a:pt x="222878" y="2906891"/>
                  </a:lnTo>
                  <a:lnTo>
                    <a:pt x="223446" y="2905227"/>
                  </a:lnTo>
                  <a:lnTo>
                    <a:pt x="223694" y="2901931"/>
                  </a:lnTo>
                  <a:lnTo>
                    <a:pt x="223859" y="2900055"/>
                  </a:lnTo>
                  <a:lnTo>
                    <a:pt x="224056" y="2899251"/>
                  </a:lnTo>
                  <a:lnTo>
                    <a:pt x="225184" y="2896836"/>
                  </a:lnTo>
                  <a:lnTo>
                    <a:pt x="225422" y="2896510"/>
                  </a:lnTo>
                  <a:lnTo>
                    <a:pt x="225772" y="2896648"/>
                  </a:lnTo>
                  <a:lnTo>
                    <a:pt x="228367" y="2897005"/>
                  </a:lnTo>
                  <a:lnTo>
                    <a:pt x="230981" y="2898324"/>
                  </a:lnTo>
                  <a:lnTo>
                    <a:pt x="232593" y="2898174"/>
                  </a:lnTo>
                  <a:lnTo>
                    <a:pt x="233567" y="2897314"/>
                  </a:lnTo>
                  <a:lnTo>
                    <a:pt x="234658" y="2896084"/>
                  </a:lnTo>
                  <a:close/>
                  <a:moveTo>
                    <a:pt x="3419025" y="2894404"/>
                  </a:moveTo>
                  <a:lnTo>
                    <a:pt x="3419557" y="2895844"/>
                  </a:lnTo>
                  <a:lnTo>
                    <a:pt x="3418793" y="2896350"/>
                  </a:lnTo>
                  <a:lnTo>
                    <a:pt x="3418181" y="2897162"/>
                  </a:lnTo>
                  <a:lnTo>
                    <a:pt x="3414899" y="2903871"/>
                  </a:lnTo>
                  <a:lnTo>
                    <a:pt x="3413395" y="2906006"/>
                  </a:lnTo>
                  <a:lnTo>
                    <a:pt x="3412134" y="2907201"/>
                  </a:lnTo>
                  <a:lnTo>
                    <a:pt x="3406272" y="2919817"/>
                  </a:lnTo>
                  <a:lnTo>
                    <a:pt x="3403601" y="2923955"/>
                  </a:lnTo>
                  <a:lnTo>
                    <a:pt x="3400223" y="2925978"/>
                  </a:lnTo>
                  <a:lnTo>
                    <a:pt x="3401626" y="2924409"/>
                  </a:lnTo>
                  <a:lnTo>
                    <a:pt x="3408759" y="2911224"/>
                  </a:lnTo>
                  <a:lnTo>
                    <a:pt x="3409974" y="2907630"/>
                  </a:lnTo>
                  <a:lnTo>
                    <a:pt x="3411600" y="2905975"/>
                  </a:lnTo>
                  <a:lnTo>
                    <a:pt x="3412217" y="2905122"/>
                  </a:lnTo>
                  <a:lnTo>
                    <a:pt x="3412846" y="2902179"/>
                  </a:lnTo>
                  <a:lnTo>
                    <a:pt x="3413316" y="2900682"/>
                  </a:lnTo>
                  <a:lnTo>
                    <a:pt x="3414168" y="2899849"/>
                  </a:lnTo>
                  <a:lnTo>
                    <a:pt x="3417319" y="2895950"/>
                  </a:lnTo>
                  <a:close/>
                  <a:moveTo>
                    <a:pt x="222293" y="2892672"/>
                  </a:moveTo>
                  <a:lnTo>
                    <a:pt x="223393" y="2893351"/>
                  </a:lnTo>
                  <a:lnTo>
                    <a:pt x="222288" y="2897334"/>
                  </a:lnTo>
                  <a:lnTo>
                    <a:pt x="220788" y="2901635"/>
                  </a:lnTo>
                  <a:lnTo>
                    <a:pt x="220905" y="2904211"/>
                  </a:lnTo>
                  <a:lnTo>
                    <a:pt x="221300" y="2905592"/>
                  </a:lnTo>
                  <a:lnTo>
                    <a:pt x="220721" y="2906814"/>
                  </a:lnTo>
                  <a:lnTo>
                    <a:pt x="219956" y="2907882"/>
                  </a:lnTo>
                  <a:lnTo>
                    <a:pt x="219621" y="2908218"/>
                  </a:lnTo>
                  <a:lnTo>
                    <a:pt x="216769" y="2915467"/>
                  </a:lnTo>
                  <a:lnTo>
                    <a:pt x="216693" y="2916782"/>
                  </a:lnTo>
                  <a:lnTo>
                    <a:pt x="216733" y="2917264"/>
                  </a:lnTo>
                  <a:lnTo>
                    <a:pt x="216499" y="2918230"/>
                  </a:lnTo>
                  <a:lnTo>
                    <a:pt x="216138" y="2919320"/>
                  </a:lnTo>
                  <a:lnTo>
                    <a:pt x="215312" y="2921354"/>
                  </a:lnTo>
                  <a:lnTo>
                    <a:pt x="215151" y="2922865"/>
                  </a:lnTo>
                  <a:lnTo>
                    <a:pt x="214763" y="2924337"/>
                  </a:lnTo>
                  <a:lnTo>
                    <a:pt x="214395" y="2925312"/>
                  </a:lnTo>
                  <a:lnTo>
                    <a:pt x="213930" y="2926242"/>
                  </a:lnTo>
                  <a:lnTo>
                    <a:pt x="213302" y="2927172"/>
                  </a:lnTo>
                  <a:lnTo>
                    <a:pt x="212467" y="2928109"/>
                  </a:lnTo>
                  <a:lnTo>
                    <a:pt x="210073" y="2930205"/>
                  </a:lnTo>
                  <a:lnTo>
                    <a:pt x="209405" y="2931179"/>
                  </a:lnTo>
                  <a:lnTo>
                    <a:pt x="202924" y="2934119"/>
                  </a:lnTo>
                  <a:lnTo>
                    <a:pt x="201336" y="2933781"/>
                  </a:lnTo>
                  <a:lnTo>
                    <a:pt x="199211" y="2932618"/>
                  </a:lnTo>
                  <a:lnTo>
                    <a:pt x="197978" y="2930934"/>
                  </a:lnTo>
                  <a:lnTo>
                    <a:pt x="199058" y="2929063"/>
                  </a:lnTo>
                  <a:lnTo>
                    <a:pt x="200628" y="2928404"/>
                  </a:lnTo>
                  <a:lnTo>
                    <a:pt x="202340" y="2927954"/>
                  </a:lnTo>
                  <a:lnTo>
                    <a:pt x="203963" y="2927092"/>
                  </a:lnTo>
                  <a:lnTo>
                    <a:pt x="205279" y="2925179"/>
                  </a:lnTo>
                  <a:lnTo>
                    <a:pt x="206040" y="2924736"/>
                  </a:lnTo>
                  <a:lnTo>
                    <a:pt x="205460" y="2921931"/>
                  </a:lnTo>
                  <a:lnTo>
                    <a:pt x="206682" y="2917785"/>
                  </a:lnTo>
                  <a:lnTo>
                    <a:pt x="210530" y="2909327"/>
                  </a:lnTo>
                  <a:lnTo>
                    <a:pt x="210601" y="2908596"/>
                  </a:lnTo>
                  <a:lnTo>
                    <a:pt x="210527" y="2907849"/>
                  </a:lnTo>
                  <a:lnTo>
                    <a:pt x="210777" y="2907047"/>
                  </a:lnTo>
                  <a:lnTo>
                    <a:pt x="211823" y="2906182"/>
                  </a:lnTo>
                  <a:lnTo>
                    <a:pt x="212632" y="2905357"/>
                  </a:lnTo>
                  <a:lnTo>
                    <a:pt x="213392" y="2903262"/>
                  </a:lnTo>
                  <a:lnTo>
                    <a:pt x="214193" y="2902338"/>
                  </a:lnTo>
                  <a:lnTo>
                    <a:pt x="215615" y="2901058"/>
                  </a:lnTo>
                  <a:lnTo>
                    <a:pt x="216440" y="2899634"/>
                  </a:lnTo>
                  <a:lnTo>
                    <a:pt x="216691" y="2898069"/>
                  </a:lnTo>
                  <a:lnTo>
                    <a:pt x="216375" y="2896406"/>
                  </a:lnTo>
                  <a:lnTo>
                    <a:pt x="218033" y="2894778"/>
                  </a:lnTo>
                  <a:lnTo>
                    <a:pt x="220251" y="2893340"/>
                  </a:lnTo>
                  <a:close/>
                  <a:moveTo>
                    <a:pt x="5171579" y="2882588"/>
                  </a:moveTo>
                  <a:lnTo>
                    <a:pt x="5172906" y="2883551"/>
                  </a:lnTo>
                  <a:lnTo>
                    <a:pt x="5172380" y="2885284"/>
                  </a:lnTo>
                  <a:lnTo>
                    <a:pt x="5174337" y="2886382"/>
                  </a:lnTo>
                  <a:lnTo>
                    <a:pt x="5174949" y="2887787"/>
                  </a:lnTo>
                  <a:lnTo>
                    <a:pt x="5175052" y="2889719"/>
                  </a:lnTo>
                  <a:lnTo>
                    <a:pt x="5175481" y="2892384"/>
                  </a:lnTo>
                  <a:lnTo>
                    <a:pt x="5176391" y="2891728"/>
                  </a:lnTo>
                  <a:lnTo>
                    <a:pt x="5176657" y="2891464"/>
                  </a:lnTo>
                  <a:lnTo>
                    <a:pt x="5176429" y="2895239"/>
                  </a:lnTo>
                  <a:lnTo>
                    <a:pt x="5173364" y="2897645"/>
                  </a:lnTo>
                  <a:lnTo>
                    <a:pt x="5166393" y="2900335"/>
                  </a:lnTo>
                  <a:lnTo>
                    <a:pt x="5161473" y="2905094"/>
                  </a:lnTo>
                  <a:lnTo>
                    <a:pt x="5160661" y="2905578"/>
                  </a:lnTo>
                  <a:lnTo>
                    <a:pt x="5157063" y="2906954"/>
                  </a:lnTo>
                  <a:lnTo>
                    <a:pt x="5156000" y="2906267"/>
                  </a:lnTo>
                  <a:lnTo>
                    <a:pt x="5154996" y="2905174"/>
                  </a:lnTo>
                  <a:lnTo>
                    <a:pt x="5153940" y="2904267"/>
                  </a:lnTo>
                  <a:lnTo>
                    <a:pt x="5151850" y="2903423"/>
                  </a:lnTo>
                  <a:lnTo>
                    <a:pt x="5150495" y="2903138"/>
                  </a:lnTo>
                  <a:lnTo>
                    <a:pt x="5149267" y="2902421"/>
                  </a:lnTo>
                  <a:lnTo>
                    <a:pt x="5147549" y="2900297"/>
                  </a:lnTo>
                  <a:lnTo>
                    <a:pt x="5147644" y="2899098"/>
                  </a:lnTo>
                  <a:lnTo>
                    <a:pt x="5149689" y="2899145"/>
                  </a:lnTo>
                  <a:lnTo>
                    <a:pt x="5153451" y="2900028"/>
                  </a:lnTo>
                  <a:lnTo>
                    <a:pt x="5155028" y="2899608"/>
                  </a:lnTo>
                  <a:lnTo>
                    <a:pt x="5158782" y="2895892"/>
                  </a:lnTo>
                  <a:lnTo>
                    <a:pt x="5160394" y="2895345"/>
                  </a:lnTo>
                  <a:lnTo>
                    <a:pt x="5164136" y="2895255"/>
                  </a:lnTo>
                  <a:lnTo>
                    <a:pt x="5165795" y="2894203"/>
                  </a:lnTo>
                  <a:lnTo>
                    <a:pt x="5166973" y="2892308"/>
                  </a:lnTo>
                  <a:lnTo>
                    <a:pt x="5169571" y="2885600"/>
                  </a:lnTo>
                  <a:lnTo>
                    <a:pt x="5169955" y="2883063"/>
                  </a:lnTo>
                  <a:close/>
                  <a:moveTo>
                    <a:pt x="219480" y="2881870"/>
                  </a:moveTo>
                  <a:lnTo>
                    <a:pt x="220162" y="2883039"/>
                  </a:lnTo>
                  <a:lnTo>
                    <a:pt x="220261" y="2884559"/>
                  </a:lnTo>
                  <a:lnTo>
                    <a:pt x="219976" y="2886247"/>
                  </a:lnTo>
                  <a:lnTo>
                    <a:pt x="219047" y="2889365"/>
                  </a:lnTo>
                  <a:lnTo>
                    <a:pt x="218185" y="2891433"/>
                  </a:lnTo>
                  <a:lnTo>
                    <a:pt x="217220" y="2892556"/>
                  </a:lnTo>
                  <a:lnTo>
                    <a:pt x="216391" y="2891275"/>
                  </a:lnTo>
                  <a:lnTo>
                    <a:pt x="212920" y="2898833"/>
                  </a:lnTo>
                  <a:lnTo>
                    <a:pt x="211713" y="2900227"/>
                  </a:lnTo>
                  <a:lnTo>
                    <a:pt x="209721" y="2901737"/>
                  </a:lnTo>
                  <a:lnTo>
                    <a:pt x="208493" y="2903008"/>
                  </a:lnTo>
                  <a:lnTo>
                    <a:pt x="208097" y="2902789"/>
                  </a:lnTo>
                  <a:lnTo>
                    <a:pt x="208624" y="2899820"/>
                  </a:lnTo>
                  <a:lnTo>
                    <a:pt x="209389" y="2899381"/>
                  </a:lnTo>
                  <a:lnTo>
                    <a:pt x="209258" y="2898357"/>
                  </a:lnTo>
                  <a:lnTo>
                    <a:pt x="209397" y="2896741"/>
                  </a:lnTo>
                  <a:lnTo>
                    <a:pt x="209866" y="2895365"/>
                  </a:lnTo>
                  <a:lnTo>
                    <a:pt x="210705" y="2895090"/>
                  </a:lnTo>
                  <a:lnTo>
                    <a:pt x="211112" y="2894501"/>
                  </a:lnTo>
                  <a:lnTo>
                    <a:pt x="212405" y="2891174"/>
                  </a:lnTo>
                  <a:lnTo>
                    <a:pt x="213194" y="2890043"/>
                  </a:lnTo>
                  <a:lnTo>
                    <a:pt x="214862" y="2888099"/>
                  </a:lnTo>
                  <a:lnTo>
                    <a:pt x="218554" y="2882521"/>
                  </a:lnTo>
                  <a:close/>
                  <a:moveTo>
                    <a:pt x="3303264" y="2879614"/>
                  </a:moveTo>
                  <a:lnTo>
                    <a:pt x="3304290" y="2879908"/>
                  </a:lnTo>
                  <a:lnTo>
                    <a:pt x="3304408" y="2881065"/>
                  </a:lnTo>
                  <a:lnTo>
                    <a:pt x="3304577" y="2882106"/>
                  </a:lnTo>
                  <a:lnTo>
                    <a:pt x="3304854" y="2882959"/>
                  </a:lnTo>
                  <a:lnTo>
                    <a:pt x="3305280" y="2883569"/>
                  </a:lnTo>
                  <a:lnTo>
                    <a:pt x="3305458" y="2884224"/>
                  </a:lnTo>
                  <a:lnTo>
                    <a:pt x="3304586" y="2884607"/>
                  </a:lnTo>
                  <a:lnTo>
                    <a:pt x="3303910" y="2885308"/>
                  </a:lnTo>
                  <a:lnTo>
                    <a:pt x="3302837" y="2887282"/>
                  </a:lnTo>
                  <a:lnTo>
                    <a:pt x="3304568" y="2885553"/>
                  </a:lnTo>
                  <a:lnTo>
                    <a:pt x="3305534" y="2884978"/>
                  </a:lnTo>
                  <a:lnTo>
                    <a:pt x="3306668" y="2885365"/>
                  </a:lnTo>
                  <a:lnTo>
                    <a:pt x="3305230" y="2887973"/>
                  </a:lnTo>
                  <a:lnTo>
                    <a:pt x="3304207" y="2890800"/>
                  </a:lnTo>
                  <a:lnTo>
                    <a:pt x="3303689" y="2894223"/>
                  </a:lnTo>
                  <a:lnTo>
                    <a:pt x="3304137" y="2898524"/>
                  </a:lnTo>
                  <a:lnTo>
                    <a:pt x="3304172" y="2902515"/>
                  </a:lnTo>
                  <a:lnTo>
                    <a:pt x="3303717" y="2907740"/>
                  </a:lnTo>
                  <a:lnTo>
                    <a:pt x="3302677" y="2911886"/>
                  </a:lnTo>
                  <a:lnTo>
                    <a:pt x="3300970" y="2912687"/>
                  </a:lnTo>
                  <a:lnTo>
                    <a:pt x="3301737" y="2911151"/>
                  </a:lnTo>
                  <a:lnTo>
                    <a:pt x="3302205" y="2908510"/>
                  </a:lnTo>
                  <a:lnTo>
                    <a:pt x="3302397" y="2905526"/>
                  </a:lnTo>
                  <a:lnTo>
                    <a:pt x="3302234" y="2897312"/>
                  </a:lnTo>
                  <a:lnTo>
                    <a:pt x="3302218" y="2891388"/>
                  </a:lnTo>
                  <a:lnTo>
                    <a:pt x="3302193" y="2890233"/>
                  </a:lnTo>
                  <a:lnTo>
                    <a:pt x="3301455" y="2886825"/>
                  </a:lnTo>
                  <a:lnTo>
                    <a:pt x="3301139" y="2884105"/>
                  </a:lnTo>
                  <a:lnTo>
                    <a:pt x="3301173" y="2882985"/>
                  </a:lnTo>
                  <a:lnTo>
                    <a:pt x="3301666" y="2882302"/>
                  </a:lnTo>
                  <a:lnTo>
                    <a:pt x="3302546" y="2881997"/>
                  </a:lnTo>
                  <a:close/>
                  <a:moveTo>
                    <a:pt x="156208" y="2871269"/>
                  </a:moveTo>
                  <a:lnTo>
                    <a:pt x="157560" y="2871445"/>
                  </a:lnTo>
                  <a:lnTo>
                    <a:pt x="157924" y="2872655"/>
                  </a:lnTo>
                  <a:lnTo>
                    <a:pt x="156939" y="2874130"/>
                  </a:lnTo>
                  <a:lnTo>
                    <a:pt x="156159" y="2875783"/>
                  </a:lnTo>
                  <a:lnTo>
                    <a:pt x="155177" y="2875430"/>
                  </a:lnTo>
                  <a:lnTo>
                    <a:pt x="153800" y="2875608"/>
                  </a:lnTo>
                  <a:lnTo>
                    <a:pt x="153295" y="2874546"/>
                  </a:lnTo>
                  <a:lnTo>
                    <a:pt x="154802" y="2873483"/>
                  </a:lnTo>
                  <a:lnTo>
                    <a:pt x="156079" y="2872302"/>
                  </a:lnTo>
                  <a:close/>
                  <a:moveTo>
                    <a:pt x="32390" y="2867767"/>
                  </a:moveTo>
                  <a:lnTo>
                    <a:pt x="33076" y="2867909"/>
                  </a:lnTo>
                  <a:lnTo>
                    <a:pt x="34031" y="2868972"/>
                  </a:lnTo>
                  <a:lnTo>
                    <a:pt x="34630" y="2869443"/>
                  </a:lnTo>
                  <a:lnTo>
                    <a:pt x="34810" y="2870015"/>
                  </a:lnTo>
                  <a:lnTo>
                    <a:pt x="34517" y="2870698"/>
                  </a:lnTo>
                  <a:lnTo>
                    <a:pt x="33730" y="2871464"/>
                  </a:lnTo>
                  <a:lnTo>
                    <a:pt x="34535" y="2873369"/>
                  </a:lnTo>
                  <a:lnTo>
                    <a:pt x="35048" y="2874015"/>
                  </a:lnTo>
                  <a:lnTo>
                    <a:pt x="35329" y="2875287"/>
                  </a:lnTo>
                  <a:lnTo>
                    <a:pt x="35632" y="2875709"/>
                  </a:lnTo>
                  <a:lnTo>
                    <a:pt x="35944" y="2875628"/>
                  </a:lnTo>
                  <a:lnTo>
                    <a:pt x="36290" y="2875453"/>
                  </a:lnTo>
                  <a:lnTo>
                    <a:pt x="36691" y="2875603"/>
                  </a:lnTo>
                  <a:lnTo>
                    <a:pt x="38417" y="2877536"/>
                  </a:lnTo>
                  <a:lnTo>
                    <a:pt x="38485" y="2878760"/>
                  </a:lnTo>
                  <a:lnTo>
                    <a:pt x="37307" y="2880353"/>
                  </a:lnTo>
                  <a:lnTo>
                    <a:pt x="36159" y="2880818"/>
                  </a:lnTo>
                  <a:lnTo>
                    <a:pt x="35115" y="2880379"/>
                  </a:lnTo>
                  <a:lnTo>
                    <a:pt x="33324" y="2878983"/>
                  </a:lnTo>
                  <a:lnTo>
                    <a:pt x="31313" y="2878814"/>
                  </a:lnTo>
                  <a:lnTo>
                    <a:pt x="30945" y="2878123"/>
                  </a:lnTo>
                  <a:lnTo>
                    <a:pt x="31291" y="2876008"/>
                  </a:lnTo>
                  <a:lnTo>
                    <a:pt x="29743" y="2877981"/>
                  </a:lnTo>
                  <a:lnTo>
                    <a:pt x="29938" y="2879896"/>
                  </a:lnTo>
                  <a:lnTo>
                    <a:pt x="31645" y="2883181"/>
                  </a:lnTo>
                  <a:lnTo>
                    <a:pt x="31876" y="2885224"/>
                  </a:lnTo>
                  <a:lnTo>
                    <a:pt x="31262" y="2885053"/>
                  </a:lnTo>
                  <a:lnTo>
                    <a:pt x="30339" y="2883652"/>
                  </a:lnTo>
                  <a:lnTo>
                    <a:pt x="29629" y="2882013"/>
                  </a:lnTo>
                  <a:lnTo>
                    <a:pt x="29122" y="2883583"/>
                  </a:lnTo>
                  <a:lnTo>
                    <a:pt x="29465" y="2886144"/>
                  </a:lnTo>
                  <a:lnTo>
                    <a:pt x="29151" y="2887841"/>
                  </a:lnTo>
                  <a:lnTo>
                    <a:pt x="26810" y="2887275"/>
                  </a:lnTo>
                  <a:lnTo>
                    <a:pt x="26911" y="2888093"/>
                  </a:lnTo>
                  <a:lnTo>
                    <a:pt x="26874" y="2888925"/>
                  </a:lnTo>
                  <a:lnTo>
                    <a:pt x="26590" y="2890588"/>
                  </a:lnTo>
                  <a:lnTo>
                    <a:pt x="25398" y="2889019"/>
                  </a:lnTo>
                  <a:lnTo>
                    <a:pt x="24841" y="2886693"/>
                  </a:lnTo>
                  <a:lnTo>
                    <a:pt x="24291" y="2882280"/>
                  </a:lnTo>
                  <a:lnTo>
                    <a:pt x="25447" y="2881934"/>
                  </a:lnTo>
                  <a:lnTo>
                    <a:pt x="26619" y="2881196"/>
                  </a:lnTo>
                  <a:lnTo>
                    <a:pt x="27248" y="2880308"/>
                  </a:lnTo>
                  <a:lnTo>
                    <a:pt x="26775" y="2879494"/>
                  </a:lnTo>
                  <a:lnTo>
                    <a:pt x="26352" y="2878385"/>
                  </a:lnTo>
                  <a:lnTo>
                    <a:pt x="26903" y="2876737"/>
                  </a:lnTo>
                  <a:lnTo>
                    <a:pt x="27716" y="2875030"/>
                  </a:lnTo>
                  <a:lnTo>
                    <a:pt x="28373" y="2872498"/>
                  </a:lnTo>
                  <a:lnTo>
                    <a:pt x="29147" y="2871248"/>
                  </a:lnTo>
                  <a:lnTo>
                    <a:pt x="31666" y="2868384"/>
                  </a:lnTo>
                  <a:close/>
                  <a:moveTo>
                    <a:pt x="4708662" y="2862619"/>
                  </a:moveTo>
                  <a:lnTo>
                    <a:pt x="4710359" y="2864166"/>
                  </a:lnTo>
                  <a:lnTo>
                    <a:pt x="4711969" y="2866137"/>
                  </a:lnTo>
                  <a:lnTo>
                    <a:pt x="4711672" y="2867620"/>
                  </a:lnTo>
                  <a:lnTo>
                    <a:pt x="4710245" y="2867888"/>
                  </a:lnTo>
                  <a:lnTo>
                    <a:pt x="4709437" y="2867177"/>
                  </a:lnTo>
                  <a:close/>
                  <a:moveTo>
                    <a:pt x="172344" y="2862463"/>
                  </a:moveTo>
                  <a:lnTo>
                    <a:pt x="173558" y="2862698"/>
                  </a:lnTo>
                  <a:lnTo>
                    <a:pt x="176080" y="2868862"/>
                  </a:lnTo>
                  <a:lnTo>
                    <a:pt x="176507" y="2872222"/>
                  </a:lnTo>
                  <a:lnTo>
                    <a:pt x="176888" y="2873813"/>
                  </a:lnTo>
                  <a:lnTo>
                    <a:pt x="178377" y="2875831"/>
                  </a:lnTo>
                  <a:lnTo>
                    <a:pt x="178802" y="2877546"/>
                  </a:lnTo>
                  <a:lnTo>
                    <a:pt x="179188" y="2880794"/>
                  </a:lnTo>
                  <a:lnTo>
                    <a:pt x="181860" y="2892022"/>
                  </a:lnTo>
                  <a:lnTo>
                    <a:pt x="182047" y="2893803"/>
                  </a:lnTo>
                  <a:lnTo>
                    <a:pt x="181730" y="2895206"/>
                  </a:lnTo>
                  <a:lnTo>
                    <a:pt x="180947" y="2896788"/>
                  </a:lnTo>
                  <a:lnTo>
                    <a:pt x="180053" y="2898300"/>
                  </a:lnTo>
                  <a:lnTo>
                    <a:pt x="178034" y="2902390"/>
                  </a:lnTo>
                  <a:lnTo>
                    <a:pt x="176269" y="2905013"/>
                  </a:lnTo>
                  <a:lnTo>
                    <a:pt x="174016" y="2906985"/>
                  </a:lnTo>
                  <a:lnTo>
                    <a:pt x="171204" y="2907905"/>
                  </a:lnTo>
                  <a:lnTo>
                    <a:pt x="171693" y="2906383"/>
                  </a:lnTo>
                  <a:lnTo>
                    <a:pt x="172188" y="2905165"/>
                  </a:lnTo>
                  <a:lnTo>
                    <a:pt x="172193" y="2904260"/>
                  </a:lnTo>
                  <a:lnTo>
                    <a:pt x="171242" y="2903688"/>
                  </a:lnTo>
                  <a:lnTo>
                    <a:pt x="172542" y="2902370"/>
                  </a:lnTo>
                  <a:lnTo>
                    <a:pt x="173154" y="2900691"/>
                  </a:lnTo>
                  <a:lnTo>
                    <a:pt x="173026" y="2899441"/>
                  </a:lnTo>
                  <a:lnTo>
                    <a:pt x="172096" y="2899455"/>
                  </a:lnTo>
                  <a:lnTo>
                    <a:pt x="170698" y="2899716"/>
                  </a:lnTo>
                  <a:lnTo>
                    <a:pt x="170040" y="2898544"/>
                  </a:lnTo>
                  <a:lnTo>
                    <a:pt x="170038" y="2896665"/>
                  </a:lnTo>
                  <a:lnTo>
                    <a:pt x="170591" y="2894797"/>
                  </a:lnTo>
                  <a:lnTo>
                    <a:pt x="169032" y="2894334"/>
                  </a:lnTo>
                  <a:lnTo>
                    <a:pt x="168642" y="2892608"/>
                  </a:lnTo>
                  <a:lnTo>
                    <a:pt x="169298" y="2890326"/>
                  </a:lnTo>
                  <a:lnTo>
                    <a:pt x="170889" y="2888171"/>
                  </a:lnTo>
                  <a:lnTo>
                    <a:pt x="168495" y="2887684"/>
                  </a:lnTo>
                  <a:lnTo>
                    <a:pt x="167849" y="2884636"/>
                  </a:lnTo>
                  <a:lnTo>
                    <a:pt x="167961" y="2878033"/>
                  </a:lnTo>
                  <a:lnTo>
                    <a:pt x="168592" y="2877935"/>
                  </a:lnTo>
                  <a:lnTo>
                    <a:pt x="169105" y="2878092"/>
                  </a:lnTo>
                  <a:lnTo>
                    <a:pt x="169537" y="2878478"/>
                  </a:lnTo>
                  <a:lnTo>
                    <a:pt x="169906" y="2879088"/>
                  </a:lnTo>
                  <a:lnTo>
                    <a:pt x="169757" y="2877238"/>
                  </a:lnTo>
                  <a:lnTo>
                    <a:pt x="168000" y="2873856"/>
                  </a:lnTo>
                  <a:lnTo>
                    <a:pt x="167481" y="2871905"/>
                  </a:lnTo>
                  <a:lnTo>
                    <a:pt x="168250" y="2871473"/>
                  </a:lnTo>
                  <a:lnTo>
                    <a:pt x="168084" y="2869344"/>
                  </a:lnTo>
                  <a:lnTo>
                    <a:pt x="168301" y="2867974"/>
                  </a:lnTo>
                  <a:lnTo>
                    <a:pt x="169175" y="2867008"/>
                  </a:lnTo>
                  <a:lnTo>
                    <a:pt x="170977" y="2866091"/>
                  </a:lnTo>
                  <a:lnTo>
                    <a:pt x="171271" y="2863645"/>
                  </a:lnTo>
                  <a:close/>
                  <a:moveTo>
                    <a:pt x="169618" y="2856267"/>
                  </a:moveTo>
                  <a:lnTo>
                    <a:pt x="170366" y="2858334"/>
                  </a:lnTo>
                  <a:lnTo>
                    <a:pt x="170934" y="2859869"/>
                  </a:lnTo>
                  <a:lnTo>
                    <a:pt x="169315" y="2861316"/>
                  </a:lnTo>
                  <a:lnTo>
                    <a:pt x="167991" y="2863207"/>
                  </a:lnTo>
                  <a:lnTo>
                    <a:pt x="166918" y="2862587"/>
                  </a:lnTo>
                  <a:lnTo>
                    <a:pt x="166573" y="2860581"/>
                  </a:lnTo>
                  <a:lnTo>
                    <a:pt x="167997" y="2857568"/>
                  </a:lnTo>
                  <a:close/>
                  <a:moveTo>
                    <a:pt x="4966233" y="2852321"/>
                  </a:moveTo>
                  <a:lnTo>
                    <a:pt x="4967481" y="2854172"/>
                  </a:lnTo>
                  <a:lnTo>
                    <a:pt x="4967496" y="2856964"/>
                  </a:lnTo>
                  <a:lnTo>
                    <a:pt x="4966515" y="2859329"/>
                  </a:lnTo>
                  <a:lnTo>
                    <a:pt x="4964799" y="2859908"/>
                  </a:lnTo>
                  <a:lnTo>
                    <a:pt x="4964105" y="2859229"/>
                  </a:lnTo>
                  <a:lnTo>
                    <a:pt x="4963244" y="2857893"/>
                  </a:lnTo>
                  <a:lnTo>
                    <a:pt x="4962536" y="2856372"/>
                  </a:lnTo>
                  <a:lnTo>
                    <a:pt x="4962331" y="2855177"/>
                  </a:lnTo>
                  <a:lnTo>
                    <a:pt x="4962916" y="2854364"/>
                  </a:lnTo>
                  <a:close/>
                  <a:moveTo>
                    <a:pt x="4968330" y="2844611"/>
                  </a:moveTo>
                  <a:lnTo>
                    <a:pt x="4968724" y="2844959"/>
                  </a:lnTo>
                  <a:lnTo>
                    <a:pt x="4968887" y="2845478"/>
                  </a:lnTo>
                  <a:lnTo>
                    <a:pt x="4968668" y="2845925"/>
                  </a:lnTo>
                  <a:lnTo>
                    <a:pt x="4967786" y="2846750"/>
                  </a:lnTo>
                  <a:lnTo>
                    <a:pt x="4965785" y="2849460"/>
                  </a:lnTo>
                  <a:lnTo>
                    <a:pt x="4964950" y="2852018"/>
                  </a:lnTo>
                  <a:lnTo>
                    <a:pt x="4963811" y="2853226"/>
                  </a:lnTo>
                  <a:lnTo>
                    <a:pt x="4962402" y="2853833"/>
                  </a:lnTo>
                  <a:lnTo>
                    <a:pt x="4961143" y="2853365"/>
                  </a:lnTo>
                  <a:lnTo>
                    <a:pt x="4960948" y="2852749"/>
                  </a:lnTo>
                  <a:lnTo>
                    <a:pt x="4960795" y="2850707"/>
                  </a:lnTo>
                  <a:lnTo>
                    <a:pt x="4960026" y="2848676"/>
                  </a:lnTo>
                  <a:lnTo>
                    <a:pt x="4960134" y="2847784"/>
                  </a:lnTo>
                  <a:lnTo>
                    <a:pt x="4960915" y="2846068"/>
                  </a:lnTo>
                  <a:lnTo>
                    <a:pt x="4962083" y="2845213"/>
                  </a:lnTo>
                  <a:lnTo>
                    <a:pt x="4962456" y="2846281"/>
                  </a:lnTo>
                  <a:lnTo>
                    <a:pt x="4962550" y="2846718"/>
                  </a:lnTo>
                  <a:lnTo>
                    <a:pt x="4963261" y="2846010"/>
                  </a:lnTo>
                  <a:lnTo>
                    <a:pt x="4964090" y="2845711"/>
                  </a:lnTo>
                  <a:lnTo>
                    <a:pt x="4964857" y="2846082"/>
                  </a:lnTo>
                  <a:lnTo>
                    <a:pt x="4965336" y="2847364"/>
                  </a:lnTo>
                  <a:lnTo>
                    <a:pt x="4966730" y="2846177"/>
                  </a:lnTo>
                  <a:lnTo>
                    <a:pt x="4967247" y="2845962"/>
                  </a:lnTo>
                  <a:lnTo>
                    <a:pt x="4967539" y="2845748"/>
                  </a:lnTo>
                  <a:lnTo>
                    <a:pt x="4967668" y="2844976"/>
                  </a:lnTo>
                  <a:lnTo>
                    <a:pt x="4967848" y="2844679"/>
                  </a:lnTo>
                  <a:close/>
                  <a:moveTo>
                    <a:pt x="3256892" y="2841821"/>
                  </a:moveTo>
                  <a:lnTo>
                    <a:pt x="3257117" y="2842717"/>
                  </a:lnTo>
                  <a:lnTo>
                    <a:pt x="3257151" y="2843476"/>
                  </a:lnTo>
                  <a:lnTo>
                    <a:pt x="3257036" y="2844170"/>
                  </a:lnTo>
                  <a:lnTo>
                    <a:pt x="3256801" y="2844864"/>
                  </a:lnTo>
                  <a:lnTo>
                    <a:pt x="3257178" y="2848636"/>
                  </a:lnTo>
                  <a:lnTo>
                    <a:pt x="3256945" y="2853138"/>
                  </a:lnTo>
                  <a:lnTo>
                    <a:pt x="3255825" y="2860699"/>
                  </a:lnTo>
                  <a:lnTo>
                    <a:pt x="3254638" y="2864931"/>
                  </a:lnTo>
                  <a:lnTo>
                    <a:pt x="3253086" y="2867849"/>
                  </a:lnTo>
                  <a:lnTo>
                    <a:pt x="3240641" y="2883249"/>
                  </a:lnTo>
                  <a:lnTo>
                    <a:pt x="3237745" y="2885383"/>
                  </a:lnTo>
                  <a:lnTo>
                    <a:pt x="3235993" y="2886119"/>
                  </a:lnTo>
                  <a:lnTo>
                    <a:pt x="3234480" y="2886060"/>
                  </a:lnTo>
                  <a:lnTo>
                    <a:pt x="3233489" y="2885631"/>
                  </a:lnTo>
                  <a:lnTo>
                    <a:pt x="3233228" y="2885369"/>
                  </a:lnTo>
                  <a:lnTo>
                    <a:pt x="3233216" y="2884776"/>
                  </a:lnTo>
                  <a:lnTo>
                    <a:pt x="3232632" y="2881817"/>
                  </a:lnTo>
                  <a:lnTo>
                    <a:pt x="3232586" y="2881090"/>
                  </a:lnTo>
                  <a:lnTo>
                    <a:pt x="3233955" y="2877137"/>
                  </a:lnTo>
                  <a:lnTo>
                    <a:pt x="3234084" y="2875763"/>
                  </a:lnTo>
                  <a:lnTo>
                    <a:pt x="3233256" y="2874337"/>
                  </a:lnTo>
                  <a:lnTo>
                    <a:pt x="3233090" y="2873682"/>
                  </a:lnTo>
                  <a:lnTo>
                    <a:pt x="3234369" y="2871621"/>
                  </a:lnTo>
                  <a:lnTo>
                    <a:pt x="3235999" y="2870499"/>
                  </a:lnTo>
                  <a:lnTo>
                    <a:pt x="3242273" y="2868442"/>
                  </a:lnTo>
                  <a:lnTo>
                    <a:pt x="3243253" y="2867493"/>
                  </a:lnTo>
                  <a:lnTo>
                    <a:pt x="3243561" y="2866295"/>
                  </a:lnTo>
                  <a:lnTo>
                    <a:pt x="3243203" y="2865328"/>
                  </a:lnTo>
                  <a:lnTo>
                    <a:pt x="3241988" y="2864121"/>
                  </a:lnTo>
                  <a:lnTo>
                    <a:pt x="3241553" y="2863285"/>
                  </a:lnTo>
                  <a:lnTo>
                    <a:pt x="3241704" y="2862735"/>
                  </a:lnTo>
                  <a:lnTo>
                    <a:pt x="3242150" y="2862144"/>
                  </a:lnTo>
                  <a:lnTo>
                    <a:pt x="3242563" y="2861955"/>
                  </a:lnTo>
                  <a:lnTo>
                    <a:pt x="3244393" y="2862255"/>
                  </a:lnTo>
                  <a:lnTo>
                    <a:pt x="3248047" y="2862623"/>
                  </a:lnTo>
                  <a:lnTo>
                    <a:pt x="3249853" y="2862301"/>
                  </a:lnTo>
                  <a:lnTo>
                    <a:pt x="3250684" y="2861748"/>
                  </a:lnTo>
                  <a:lnTo>
                    <a:pt x="3252119" y="2860310"/>
                  </a:lnTo>
                  <a:lnTo>
                    <a:pt x="3252827" y="2859890"/>
                  </a:lnTo>
                  <a:lnTo>
                    <a:pt x="3253432" y="2859241"/>
                  </a:lnTo>
                  <a:lnTo>
                    <a:pt x="3254088" y="2856889"/>
                  </a:lnTo>
                  <a:lnTo>
                    <a:pt x="3255022" y="2855285"/>
                  </a:lnTo>
                  <a:lnTo>
                    <a:pt x="3255527" y="2853107"/>
                  </a:lnTo>
                  <a:lnTo>
                    <a:pt x="3255810" y="2850607"/>
                  </a:lnTo>
                  <a:lnTo>
                    <a:pt x="3255706" y="2848666"/>
                  </a:lnTo>
                  <a:lnTo>
                    <a:pt x="3255388" y="2846313"/>
                  </a:lnTo>
                  <a:lnTo>
                    <a:pt x="3255640" y="2844442"/>
                  </a:lnTo>
                  <a:lnTo>
                    <a:pt x="3256220" y="2842983"/>
                  </a:lnTo>
                  <a:close/>
                  <a:moveTo>
                    <a:pt x="3308273" y="2836753"/>
                  </a:moveTo>
                  <a:lnTo>
                    <a:pt x="3310115" y="2836906"/>
                  </a:lnTo>
                  <a:lnTo>
                    <a:pt x="3311219" y="2839081"/>
                  </a:lnTo>
                  <a:lnTo>
                    <a:pt x="3313154" y="2846266"/>
                  </a:lnTo>
                  <a:lnTo>
                    <a:pt x="3314348" y="2849736"/>
                  </a:lnTo>
                  <a:lnTo>
                    <a:pt x="3315797" y="2852575"/>
                  </a:lnTo>
                  <a:lnTo>
                    <a:pt x="3315442" y="2853845"/>
                  </a:lnTo>
                  <a:lnTo>
                    <a:pt x="3315823" y="2855200"/>
                  </a:lnTo>
                  <a:lnTo>
                    <a:pt x="3316498" y="2856702"/>
                  </a:lnTo>
                  <a:lnTo>
                    <a:pt x="3317018" y="2858424"/>
                  </a:lnTo>
                  <a:lnTo>
                    <a:pt x="3316983" y="2860060"/>
                  </a:lnTo>
                  <a:lnTo>
                    <a:pt x="3316668" y="2861517"/>
                  </a:lnTo>
                  <a:lnTo>
                    <a:pt x="3316628" y="2862956"/>
                  </a:lnTo>
                  <a:lnTo>
                    <a:pt x="3317410" y="2864511"/>
                  </a:lnTo>
                  <a:lnTo>
                    <a:pt x="3316855" y="2865196"/>
                  </a:lnTo>
                  <a:lnTo>
                    <a:pt x="3316198" y="2865655"/>
                  </a:lnTo>
                  <a:lnTo>
                    <a:pt x="3315436" y="2865734"/>
                  </a:lnTo>
                  <a:lnTo>
                    <a:pt x="3314579" y="2865317"/>
                  </a:lnTo>
                  <a:lnTo>
                    <a:pt x="3314032" y="2867255"/>
                  </a:lnTo>
                  <a:lnTo>
                    <a:pt x="3313562" y="2867896"/>
                  </a:lnTo>
                  <a:lnTo>
                    <a:pt x="3312779" y="2868151"/>
                  </a:lnTo>
                  <a:lnTo>
                    <a:pt x="3313020" y="2867307"/>
                  </a:lnTo>
                  <a:lnTo>
                    <a:pt x="3311725" y="2867134"/>
                  </a:lnTo>
                  <a:lnTo>
                    <a:pt x="3310926" y="2868597"/>
                  </a:lnTo>
                  <a:lnTo>
                    <a:pt x="3310318" y="2870648"/>
                  </a:lnTo>
                  <a:lnTo>
                    <a:pt x="3309595" y="2872223"/>
                  </a:lnTo>
                  <a:lnTo>
                    <a:pt x="3306925" y="2874249"/>
                  </a:lnTo>
                  <a:lnTo>
                    <a:pt x="3303959" y="2875360"/>
                  </a:lnTo>
                  <a:lnTo>
                    <a:pt x="3303900" y="2873979"/>
                  </a:lnTo>
                  <a:lnTo>
                    <a:pt x="3303445" y="2870799"/>
                  </a:lnTo>
                  <a:lnTo>
                    <a:pt x="3303475" y="2869615"/>
                  </a:lnTo>
                  <a:lnTo>
                    <a:pt x="3305868" y="2860192"/>
                  </a:lnTo>
                  <a:lnTo>
                    <a:pt x="3305949" y="2857839"/>
                  </a:lnTo>
                  <a:lnTo>
                    <a:pt x="3304645" y="2857214"/>
                  </a:lnTo>
                  <a:lnTo>
                    <a:pt x="3304959" y="2855783"/>
                  </a:lnTo>
                  <a:lnTo>
                    <a:pt x="3305488" y="2854401"/>
                  </a:lnTo>
                  <a:lnTo>
                    <a:pt x="3305603" y="2853261"/>
                  </a:lnTo>
                  <a:lnTo>
                    <a:pt x="3304660" y="2852563"/>
                  </a:lnTo>
                  <a:lnTo>
                    <a:pt x="3304756" y="2851816"/>
                  </a:lnTo>
                  <a:lnTo>
                    <a:pt x="3304691" y="2849530"/>
                  </a:lnTo>
                  <a:lnTo>
                    <a:pt x="3303498" y="2849868"/>
                  </a:lnTo>
                  <a:lnTo>
                    <a:pt x="3303611" y="2848368"/>
                  </a:lnTo>
                  <a:lnTo>
                    <a:pt x="3304571" y="2845728"/>
                  </a:lnTo>
                  <a:lnTo>
                    <a:pt x="3304521" y="2843222"/>
                  </a:lnTo>
                  <a:lnTo>
                    <a:pt x="3304729" y="2841639"/>
                  </a:lnTo>
                  <a:lnTo>
                    <a:pt x="3305320" y="2839209"/>
                  </a:lnTo>
                  <a:lnTo>
                    <a:pt x="3306436" y="2837793"/>
                  </a:lnTo>
                  <a:close/>
                  <a:moveTo>
                    <a:pt x="3361707" y="2835446"/>
                  </a:moveTo>
                  <a:lnTo>
                    <a:pt x="3361810" y="2835749"/>
                  </a:lnTo>
                  <a:lnTo>
                    <a:pt x="3361463" y="2836437"/>
                  </a:lnTo>
                  <a:lnTo>
                    <a:pt x="3359802" y="2838269"/>
                  </a:lnTo>
                  <a:lnTo>
                    <a:pt x="3358354" y="2839298"/>
                  </a:lnTo>
                  <a:lnTo>
                    <a:pt x="3357455" y="2839511"/>
                  </a:lnTo>
                  <a:lnTo>
                    <a:pt x="3355229" y="2841559"/>
                  </a:lnTo>
                  <a:lnTo>
                    <a:pt x="3354778" y="2841693"/>
                  </a:lnTo>
                  <a:lnTo>
                    <a:pt x="3355061" y="2840561"/>
                  </a:lnTo>
                  <a:lnTo>
                    <a:pt x="3355143" y="2839420"/>
                  </a:lnTo>
                  <a:lnTo>
                    <a:pt x="3355258" y="2839024"/>
                  </a:lnTo>
                  <a:lnTo>
                    <a:pt x="3355383" y="2838686"/>
                  </a:lnTo>
                  <a:lnTo>
                    <a:pt x="3355777" y="2838346"/>
                  </a:lnTo>
                  <a:lnTo>
                    <a:pt x="3356324" y="2838406"/>
                  </a:lnTo>
                  <a:lnTo>
                    <a:pt x="3361339" y="2835528"/>
                  </a:lnTo>
                  <a:close/>
                  <a:moveTo>
                    <a:pt x="160374" y="2831290"/>
                  </a:moveTo>
                  <a:lnTo>
                    <a:pt x="163666" y="2832730"/>
                  </a:lnTo>
                  <a:lnTo>
                    <a:pt x="164918" y="2834105"/>
                  </a:lnTo>
                  <a:lnTo>
                    <a:pt x="164843" y="2836378"/>
                  </a:lnTo>
                  <a:lnTo>
                    <a:pt x="164700" y="2837745"/>
                  </a:lnTo>
                  <a:lnTo>
                    <a:pt x="164807" y="2839489"/>
                  </a:lnTo>
                  <a:lnTo>
                    <a:pt x="164617" y="2840774"/>
                  </a:lnTo>
                  <a:lnTo>
                    <a:pt x="163584" y="2840799"/>
                  </a:lnTo>
                  <a:lnTo>
                    <a:pt x="162941" y="2839913"/>
                  </a:lnTo>
                  <a:lnTo>
                    <a:pt x="162591" y="2837660"/>
                  </a:lnTo>
                  <a:lnTo>
                    <a:pt x="161885" y="2837155"/>
                  </a:lnTo>
                  <a:lnTo>
                    <a:pt x="159880" y="2838573"/>
                  </a:lnTo>
                  <a:lnTo>
                    <a:pt x="159066" y="2838556"/>
                  </a:lnTo>
                  <a:lnTo>
                    <a:pt x="160266" y="2834968"/>
                  </a:lnTo>
                  <a:lnTo>
                    <a:pt x="160140" y="2832628"/>
                  </a:lnTo>
                  <a:close/>
                  <a:moveTo>
                    <a:pt x="3428979" y="2831206"/>
                  </a:moveTo>
                  <a:lnTo>
                    <a:pt x="3430021" y="2832292"/>
                  </a:lnTo>
                  <a:lnTo>
                    <a:pt x="3430711" y="2832553"/>
                  </a:lnTo>
                  <a:lnTo>
                    <a:pt x="3431058" y="2832610"/>
                  </a:lnTo>
                  <a:lnTo>
                    <a:pt x="3431661" y="2833243"/>
                  </a:lnTo>
                  <a:lnTo>
                    <a:pt x="3432629" y="2834726"/>
                  </a:lnTo>
                  <a:lnTo>
                    <a:pt x="3432753" y="2836132"/>
                  </a:lnTo>
                  <a:lnTo>
                    <a:pt x="3432183" y="2837125"/>
                  </a:lnTo>
                  <a:lnTo>
                    <a:pt x="3430317" y="2839395"/>
                  </a:lnTo>
                  <a:lnTo>
                    <a:pt x="3429857" y="2839038"/>
                  </a:lnTo>
                  <a:lnTo>
                    <a:pt x="3429838" y="2837249"/>
                  </a:lnTo>
                  <a:lnTo>
                    <a:pt x="3429484" y="2835688"/>
                  </a:lnTo>
                  <a:lnTo>
                    <a:pt x="3428888" y="2834330"/>
                  </a:lnTo>
                  <a:lnTo>
                    <a:pt x="3428462" y="2832917"/>
                  </a:lnTo>
                  <a:lnTo>
                    <a:pt x="3428549" y="2831673"/>
                  </a:lnTo>
                  <a:close/>
                  <a:moveTo>
                    <a:pt x="160503" y="2826160"/>
                  </a:moveTo>
                  <a:lnTo>
                    <a:pt x="161502" y="2826661"/>
                  </a:lnTo>
                  <a:lnTo>
                    <a:pt x="164073" y="2829071"/>
                  </a:lnTo>
                  <a:lnTo>
                    <a:pt x="166762" y="2830141"/>
                  </a:lnTo>
                  <a:lnTo>
                    <a:pt x="167207" y="2830797"/>
                  </a:lnTo>
                  <a:lnTo>
                    <a:pt x="167538" y="2833050"/>
                  </a:lnTo>
                  <a:lnTo>
                    <a:pt x="167943" y="2833836"/>
                  </a:lnTo>
                  <a:lnTo>
                    <a:pt x="168959" y="2834313"/>
                  </a:lnTo>
                  <a:lnTo>
                    <a:pt x="168270" y="2835091"/>
                  </a:lnTo>
                  <a:lnTo>
                    <a:pt x="167527" y="2835606"/>
                  </a:lnTo>
                  <a:lnTo>
                    <a:pt x="166759" y="2835925"/>
                  </a:lnTo>
                  <a:lnTo>
                    <a:pt x="166000" y="2836086"/>
                  </a:lnTo>
                  <a:lnTo>
                    <a:pt x="166129" y="2835121"/>
                  </a:lnTo>
                  <a:lnTo>
                    <a:pt x="166172" y="2834161"/>
                  </a:lnTo>
                  <a:lnTo>
                    <a:pt x="166085" y="2833291"/>
                  </a:lnTo>
                  <a:lnTo>
                    <a:pt x="165828" y="2832591"/>
                  </a:lnTo>
                  <a:lnTo>
                    <a:pt x="165244" y="2832001"/>
                  </a:lnTo>
                  <a:lnTo>
                    <a:pt x="164781" y="2832111"/>
                  </a:lnTo>
                  <a:lnTo>
                    <a:pt x="164295" y="2832392"/>
                  </a:lnTo>
                  <a:lnTo>
                    <a:pt x="163658" y="2832320"/>
                  </a:lnTo>
                  <a:lnTo>
                    <a:pt x="163364" y="2831878"/>
                  </a:lnTo>
                  <a:lnTo>
                    <a:pt x="162707" y="2830115"/>
                  </a:lnTo>
                  <a:lnTo>
                    <a:pt x="162583" y="2829483"/>
                  </a:lnTo>
                  <a:lnTo>
                    <a:pt x="162288" y="2828665"/>
                  </a:lnTo>
                  <a:lnTo>
                    <a:pt x="160899" y="2827140"/>
                  </a:lnTo>
                  <a:close/>
                  <a:moveTo>
                    <a:pt x="208304" y="2821943"/>
                  </a:moveTo>
                  <a:lnTo>
                    <a:pt x="209725" y="2822332"/>
                  </a:lnTo>
                  <a:lnTo>
                    <a:pt x="211000" y="2823031"/>
                  </a:lnTo>
                  <a:lnTo>
                    <a:pt x="212732" y="2825909"/>
                  </a:lnTo>
                  <a:lnTo>
                    <a:pt x="216731" y="2828247"/>
                  </a:lnTo>
                  <a:lnTo>
                    <a:pt x="217789" y="2831399"/>
                  </a:lnTo>
                  <a:lnTo>
                    <a:pt x="219382" y="2838930"/>
                  </a:lnTo>
                  <a:lnTo>
                    <a:pt x="222447" y="2846020"/>
                  </a:lnTo>
                  <a:lnTo>
                    <a:pt x="223476" y="2847611"/>
                  </a:lnTo>
                  <a:lnTo>
                    <a:pt x="225917" y="2849287"/>
                  </a:lnTo>
                  <a:lnTo>
                    <a:pt x="226290" y="2850407"/>
                  </a:lnTo>
                  <a:lnTo>
                    <a:pt x="226259" y="2855600"/>
                  </a:lnTo>
                  <a:lnTo>
                    <a:pt x="226131" y="2856272"/>
                  </a:lnTo>
                  <a:lnTo>
                    <a:pt x="225926" y="2856973"/>
                  </a:lnTo>
                  <a:lnTo>
                    <a:pt x="224501" y="2866274"/>
                  </a:lnTo>
                  <a:lnTo>
                    <a:pt x="223278" y="2870409"/>
                  </a:lnTo>
                  <a:lnTo>
                    <a:pt x="221300" y="2875235"/>
                  </a:lnTo>
                  <a:lnTo>
                    <a:pt x="219162" y="2879258"/>
                  </a:lnTo>
                  <a:lnTo>
                    <a:pt x="216495" y="2883428"/>
                  </a:lnTo>
                  <a:lnTo>
                    <a:pt x="209619" y="2892565"/>
                  </a:lnTo>
                  <a:lnTo>
                    <a:pt x="208942" y="2892931"/>
                  </a:lnTo>
                  <a:lnTo>
                    <a:pt x="208341" y="2892159"/>
                  </a:lnTo>
                  <a:lnTo>
                    <a:pt x="206821" y="2896302"/>
                  </a:lnTo>
                  <a:lnTo>
                    <a:pt x="205722" y="2897545"/>
                  </a:lnTo>
                  <a:lnTo>
                    <a:pt x="203511" y="2898878"/>
                  </a:lnTo>
                  <a:lnTo>
                    <a:pt x="204002" y="2899062"/>
                  </a:lnTo>
                  <a:lnTo>
                    <a:pt x="204395" y="2899346"/>
                  </a:lnTo>
                  <a:lnTo>
                    <a:pt x="204663" y="2899775"/>
                  </a:lnTo>
                  <a:lnTo>
                    <a:pt x="204810" y="2900411"/>
                  </a:lnTo>
                  <a:lnTo>
                    <a:pt x="204028" y="2901299"/>
                  </a:lnTo>
                  <a:lnTo>
                    <a:pt x="202371" y="2903579"/>
                  </a:lnTo>
                  <a:lnTo>
                    <a:pt x="201635" y="2904250"/>
                  </a:lnTo>
                  <a:lnTo>
                    <a:pt x="200834" y="2904223"/>
                  </a:lnTo>
                  <a:lnTo>
                    <a:pt x="195108" y="2901182"/>
                  </a:lnTo>
                  <a:lnTo>
                    <a:pt x="193660" y="2900889"/>
                  </a:lnTo>
                  <a:lnTo>
                    <a:pt x="191828" y="2901106"/>
                  </a:lnTo>
                  <a:lnTo>
                    <a:pt x="191729" y="2900288"/>
                  </a:lnTo>
                  <a:lnTo>
                    <a:pt x="193128" y="2898838"/>
                  </a:lnTo>
                  <a:lnTo>
                    <a:pt x="194352" y="2897330"/>
                  </a:lnTo>
                  <a:lnTo>
                    <a:pt x="195403" y="2895775"/>
                  </a:lnTo>
                  <a:lnTo>
                    <a:pt x="196274" y="2894185"/>
                  </a:lnTo>
                  <a:lnTo>
                    <a:pt x="197053" y="2892270"/>
                  </a:lnTo>
                  <a:lnTo>
                    <a:pt x="198202" y="2888582"/>
                  </a:lnTo>
                  <a:lnTo>
                    <a:pt x="198978" y="2886714"/>
                  </a:lnTo>
                  <a:lnTo>
                    <a:pt x="200215" y="2885031"/>
                  </a:lnTo>
                  <a:lnTo>
                    <a:pt x="203144" y="2882680"/>
                  </a:lnTo>
                  <a:lnTo>
                    <a:pt x="204319" y="2881115"/>
                  </a:lnTo>
                  <a:lnTo>
                    <a:pt x="205637" y="2878897"/>
                  </a:lnTo>
                  <a:lnTo>
                    <a:pt x="206653" y="2878109"/>
                  </a:lnTo>
                  <a:lnTo>
                    <a:pt x="207723" y="2877867"/>
                  </a:lnTo>
                  <a:lnTo>
                    <a:pt x="209198" y="2877339"/>
                  </a:lnTo>
                  <a:lnTo>
                    <a:pt x="212614" y="2873678"/>
                  </a:lnTo>
                  <a:lnTo>
                    <a:pt x="213117" y="2873050"/>
                  </a:lnTo>
                  <a:lnTo>
                    <a:pt x="214159" y="2871429"/>
                  </a:lnTo>
                  <a:lnTo>
                    <a:pt x="215159" y="2869484"/>
                  </a:lnTo>
                  <a:lnTo>
                    <a:pt x="215391" y="2868807"/>
                  </a:lnTo>
                  <a:lnTo>
                    <a:pt x="215269" y="2868013"/>
                  </a:lnTo>
                  <a:lnTo>
                    <a:pt x="214850" y="2867191"/>
                  </a:lnTo>
                  <a:lnTo>
                    <a:pt x="214263" y="2866823"/>
                  </a:lnTo>
                  <a:lnTo>
                    <a:pt x="213635" y="2867405"/>
                  </a:lnTo>
                  <a:lnTo>
                    <a:pt x="212443" y="2871282"/>
                  </a:lnTo>
                  <a:lnTo>
                    <a:pt x="211506" y="2873205"/>
                  </a:lnTo>
                  <a:lnTo>
                    <a:pt x="210279" y="2873610"/>
                  </a:lnTo>
                  <a:lnTo>
                    <a:pt x="209328" y="2872544"/>
                  </a:lnTo>
                  <a:lnTo>
                    <a:pt x="208853" y="2871218"/>
                  </a:lnTo>
                  <a:lnTo>
                    <a:pt x="208308" y="2870248"/>
                  </a:lnTo>
                  <a:lnTo>
                    <a:pt x="207164" y="2870257"/>
                  </a:lnTo>
                  <a:lnTo>
                    <a:pt x="207177" y="2871941"/>
                  </a:lnTo>
                  <a:lnTo>
                    <a:pt x="206580" y="2874515"/>
                  </a:lnTo>
                  <a:lnTo>
                    <a:pt x="205487" y="2876677"/>
                  </a:lnTo>
                  <a:lnTo>
                    <a:pt x="204009" y="2877102"/>
                  </a:lnTo>
                  <a:lnTo>
                    <a:pt x="202853" y="2877634"/>
                  </a:lnTo>
                  <a:lnTo>
                    <a:pt x="201418" y="2879569"/>
                  </a:lnTo>
                  <a:lnTo>
                    <a:pt x="198931" y="2883772"/>
                  </a:lnTo>
                  <a:lnTo>
                    <a:pt x="196505" y="2887213"/>
                  </a:lnTo>
                  <a:lnTo>
                    <a:pt x="195862" y="2888723"/>
                  </a:lnTo>
                  <a:lnTo>
                    <a:pt x="195531" y="2892042"/>
                  </a:lnTo>
                  <a:lnTo>
                    <a:pt x="195195" y="2893112"/>
                  </a:lnTo>
                  <a:lnTo>
                    <a:pt x="194603" y="2893753"/>
                  </a:lnTo>
                  <a:lnTo>
                    <a:pt x="193729" y="2893674"/>
                  </a:lnTo>
                  <a:lnTo>
                    <a:pt x="193386" y="2893013"/>
                  </a:lnTo>
                  <a:lnTo>
                    <a:pt x="193421" y="2891893"/>
                  </a:lnTo>
                  <a:lnTo>
                    <a:pt x="193591" y="2890563"/>
                  </a:lnTo>
                  <a:lnTo>
                    <a:pt x="193611" y="2889315"/>
                  </a:lnTo>
                  <a:lnTo>
                    <a:pt x="190915" y="2891471"/>
                  </a:lnTo>
                  <a:lnTo>
                    <a:pt x="188514" y="2891749"/>
                  </a:lnTo>
                  <a:lnTo>
                    <a:pt x="186533" y="2890536"/>
                  </a:lnTo>
                  <a:lnTo>
                    <a:pt x="185058" y="2888187"/>
                  </a:lnTo>
                  <a:lnTo>
                    <a:pt x="181931" y="2881177"/>
                  </a:lnTo>
                  <a:lnTo>
                    <a:pt x="181266" y="2878492"/>
                  </a:lnTo>
                  <a:lnTo>
                    <a:pt x="180861" y="2877465"/>
                  </a:lnTo>
                  <a:lnTo>
                    <a:pt x="181374" y="2877237"/>
                  </a:lnTo>
                  <a:lnTo>
                    <a:pt x="181810" y="2876992"/>
                  </a:lnTo>
                  <a:lnTo>
                    <a:pt x="182238" y="2876804"/>
                  </a:lnTo>
                  <a:lnTo>
                    <a:pt x="182722" y="2876772"/>
                  </a:lnTo>
                  <a:lnTo>
                    <a:pt x="183088" y="2876045"/>
                  </a:lnTo>
                  <a:lnTo>
                    <a:pt x="181852" y="2874617"/>
                  </a:lnTo>
                  <a:lnTo>
                    <a:pt x="181515" y="2873192"/>
                  </a:lnTo>
                  <a:lnTo>
                    <a:pt x="181472" y="2869703"/>
                  </a:lnTo>
                  <a:lnTo>
                    <a:pt x="181630" y="2868061"/>
                  </a:lnTo>
                  <a:lnTo>
                    <a:pt x="182226" y="2865351"/>
                  </a:lnTo>
                  <a:lnTo>
                    <a:pt x="183130" y="2862945"/>
                  </a:lnTo>
                  <a:lnTo>
                    <a:pt x="184222" y="2862247"/>
                  </a:lnTo>
                  <a:lnTo>
                    <a:pt x="185402" y="2863203"/>
                  </a:lnTo>
                  <a:lnTo>
                    <a:pt x="188171" y="2866925"/>
                  </a:lnTo>
                  <a:lnTo>
                    <a:pt x="188994" y="2867172"/>
                  </a:lnTo>
                  <a:lnTo>
                    <a:pt x="188839" y="2865907"/>
                  </a:lnTo>
                  <a:lnTo>
                    <a:pt x="187509" y="2862250"/>
                  </a:lnTo>
                  <a:lnTo>
                    <a:pt x="190127" y="2862041"/>
                  </a:lnTo>
                  <a:lnTo>
                    <a:pt x="192955" y="2860950"/>
                  </a:lnTo>
                  <a:lnTo>
                    <a:pt x="194275" y="2860778"/>
                  </a:lnTo>
                  <a:lnTo>
                    <a:pt x="197209" y="2858374"/>
                  </a:lnTo>
                  <a:lnTo>
                    <a:pt x="198669" y="2858099"/>
                  </a:lnTo>
                  <a:lnTo>
                    <a:pt x="199836" y="2855684"/>
                  </a:lnTo>
                  <a:lnTo>
                    <a:pt x="202657" y="2854994"/>
                  </a:lnTo>
                  <a:lnTo>
                    <a:pt x="207982" y="2855479"/>
                  </a:lnTo>
                  <a:lnTo>
                    <a:pt x="207958" y="2853520"/>
                  </a:lnTo>
                  <a:lnTo>
                    <a:pt x="207476" y="2850729"/>
                  </a:lnTo>
                  <a:lnTo>
                    <a:pt x="206726" y="2848127"/>
                  </a:lnTo>
                  <a:lnTo>
                    <a:pt x="205600" y="2846230"/>
                  </a:lnTo>
                  <a:lnTo>
                    <a:pt x="204945" y="2843606"/>
                  </a:lnTo>
                  <a:lnTo>
                    <a:pt x="203139" y="2839250"/>
                  </a:lnTo>
                  <a:lnTo>
                    <a:pt x="202605" y="2840483"/>
                  </a:lnTo>
                  <a:lnTo>
                    <a:pt x="202277" y="2841422"/>
                  </a:lnTo>
                  <a:lnTo>
                    <a:pt x="202154" y="2842235"/>
                  </a:lnTo>
                  <a:lnTo>
                    <a:pt x="202220" y="2843063"/>
                  </a:lnTo>
                  <a:lnTo>
                    <a:pt x="202138" y="2843640"/>
                  </a:lnTo>
                  <a:lnTo>
                    <a:pt x="201984" y="2844344"/>
                  </a:lnTo>
                  <a:lnTo>
                    <a:pt x="202062" y="2844796"/>
                  </a:lnTo>
                  <a:lnTo>
                    <a:pt x="203211" y="2844420"/>
                  </a:lnTo>
                  <a:lnTo>
                    <a:pt x="203716" y="2844551"/>
                  </a:lnTo>
                  <a:lnTo>
                    <a:pt x="204108" y="2844898"/>
                  </a:lnTo>
                  <a:lnTo>
                    <a:pt x="204270" y="2845404"/>
                  </a:lnTo>
                  <a:lnTo>
                    <a:pt x="204455" y="2846624"/>
                  </a:lnTo>
                  <a:lnTo>
                    <a:pt x="205375" y="2848512"/>
                  </a:lnTo>
                  <a:lnTo>
                    <a:pt x="205669" y="2849582"/>
                  </a:lnTo>
                  <a:lnTo>
                    <a:pt x="205737" y="2852107"/>
                  </a:lnTo>
                  <a:lnTo>
                    <a:pt x="205994" y="2853057"/>
                  </a:lnTo>
                  <a:lnTo>
                    <a:pt x="206776" y="2853990"/>
                  </a:lnTo>
                  <a:lnTo>
                    <a:pt x="206443" y="2854655"/>
                  </a:lnTo>
                  <a:lnTo>
                    <a:pt x="204030" y="2853582"/>
                  </a:lnTo>
                  <a:lnTo>
                    <a:pt x="202788" y="2853424"/>
                  </a:lnTo>
                  <a:lnTo>
                    <a:pt x="201405" y="2853645"/>
                  </a:lnTo>
                  <a:lnTo>
                    <a:pt x="200604" y="2853891"/>
                  </a:lnTo>
                  <a:lnTo>
                    <a:pt x="198967" y="2854656"/>
                  </a:lnTo>
                  <a:lnTo>
                    <a:pt x="198096" y="2855247"/>
                  </a:lnTo>
                  <a:lnTo>
                    <a:pt x="197666" y="2855667"/>
                  </a:lnTo>
                  <a:lnTo>
                    <a:pt x="196549" y="2856939"/>
                  </a:lnTo>
                  <a:lnTo>
                    <a:pt x="195965" y="2857492"/>
                  </a:lnTo>
                  <a:lnTo>
                    <a:pt x="193516" y="2858763"/>
                  </a:lnTo>
                  <a:lnTo>
                    <a:pt x="189528" y="2860183"/>
                  </a:lnTo>
                  <a:lnTo>
                    <a:pt x="186326" y="2860312"/>
                  </a:lnTo>
                  <a:lnTo>
                    <a:pt x="186207" y="2857772"/>
                  </a:lnTo>
                  <a:lnTo>
                    <a:pt x="186270" y="2856694"/>
                  </a:lnTo>
                  <a:lnTo>
                    <a:pt x="184178" y="2855753"/>
                  </a:lnTo>
                  <a:lnTo>
                    <a:pt x="183540" y="2854598"/>
                  </a:lnTo>
                  <a:lnTo>
                    <a:pt x="183784" y="2853152"/>
                  </a:lnTo>
                  <a:lnTo>
                    <a:pt x="184445" y="2851064"/>
                  </a:lnTo>
                  <a:lnTo>
                    <a:pt x="185912" y="2847429"/>
                  </a:lnTo>
                  <a:lnTo>
                    <a:pt x="187077" y="2845765"/>
                  </a:lnTo>
                  <a:lnTo>
                    <a:pt x="189357" y="2844038"/>
                  </a:lnTo>
                  <a:lnTo>
                    <a:pt x="190249" y="2842913"/>
                  </a:lnTo>
                  <a:lnTo>
                    <a:pt x="191363" y="2841773"/>
                  </a:lnTo>
                  <a:lnTo>
                    <a:pt x="192681" y="2841501"/>
                  </a:lnTo>
                  <a:lnTo>
                    <a:pt x="193585" y="2842067"/>
                  </a:lnTo>
                  <a:lnTo>
                    <a:pt x="193453" y="2843420"/>
                  </a:lnTo>
                  <a:lnTo>
                    <a:pt x="196006" y="2842497"/>
                  </a:lnTo>
                  <a:lnTo>
                    <a:pt x="197781" y="2840662"/>
                  </a:lnTo>
                  <a:lnTo>
                    <a:pt x="199125" y="2838265"/>
                  </a:lnTo>
                  <a:lnTo>
                    <a:pt x="200378" y="2835642"/>
                  </a:lnTo>
                  <a:lnTo>
                    <a:pt x="201351" y="2833030"/>
                  </a:lnTo>
                  <a:lnTo>
                    <a:pt x="202036" y="2831743"/>
                  </a:lnTo>
                  <a:lnTo>
                    <a:pt x="203668" y="2830997"/>
                  </a:lnTo>
                  <a:lnTo>
                    <a:pt x="204558" y="2829411"/>
                  </a:lnTo>
                  <a:lnTo>
                    <a:pt x="205287" y="2827526"/>
                  </a:lnTo>
                  <a:lnTo>
                    <a:pt x="205682" y="2826212"/>
                  </a:lnTo>
                  <a:lnTo>
                    <a:pt x="205801" y="2824832"/>
                  </a:lnTo>
                  <a:lnTo>
                    <a:pt x="205780" y="2823728"/>
                  </a:lnTo>
                  <a:lnTo>
                    <a:pt x="206109" y="2822814"/>
                  </a:lnTo>
                  <a:lnTo>
                    <a:pt x="207278" y="2821980"/>
                  </a:lnTo>
                  <a:close/>
                  <a:moveTo>
                    <a:pt x="3272358" y="2820085"/>
                  </a:moveTo>
                  <a:lnTo>
                    <a:pt x="3275291" y="2822169"/>
                  </a:lnTo>
                  <a:lnTo>
                    <a:pt x="3277813" y="2824302"/>
                  </a:lnTo>
                  <a:lnTo>
                    <a:pt x="3278453" y="2826312"/>
                  </a:lnTo>
                  <a:lnTo>
                    <a:pt x="3277499" y="2827677"/>
                  </a:lnTo>
                  <a:lnTo>
                    <a:pt x="3275752" y="2826287"/>
                  </a:lnTo>
                  <a:lnTo>
                    <a:pt x="3274353" y="2824298"/>
                  </a:lnTo>
                  <a:lnTo>
                    <a:pt x="3272258" y="2824130"/>
                  </a:lnTo>
                  <a:lnTo>
                    <a:pt x="3271337" y="2826396"/>
                  </a:lnTo>
                  <a:lnTo>
                    <a:pt x="3271919" y="2830359"/>
                  </a:lnTo>
                  <a:lnTo>
                    <a:pt x="3273335" y="2833736"/>
                  </a:lnTo>
                  <a:lnTo>
                    <a:pt x="3274330" y="2834662"/>
                  </a:lnTo>
                  <a:lnTo>
                    <a:pt x="3276900" y="2833883"/>
                  </a:lnTo>
                  <a:lnTo>
                    <a:pt x="3278908" y="2834165"/>
                  </a:lnTo>
                  <a:lnTo>
                    <a:pt x="3280046" y="2833494"/>
                  </a:lnTo>
                  <a:lnTo>
                    <a:pt x="3280559" y="2833762"/>
                  </a:lnTo>
                  <a:lnTo>
                    <a:pt x="3282842" y="2839149"/>
                  </a:lnTo>
                  <a:lnTo>
                    <a:pt x="3285146" y="2842141"/>
                  </a:lnTo>
                  <a:lnTo>
                    <a:pt x="3287854" y="2843880"/>
                  </a:lnTo>
                  <a:lnTo>
                    <a:pt x="3290784" y="2844081"/>
                  </a:lnTo>
                  <a:lnTo>
                    <a:pt x="3293713" y="2842495"/>
                  </a:lnTo>
                  <a:lnTo>
                    <a:pt x="3295095" y="2842614"/>
                  </a:lnTo>
                  <a:lnTo>
                    <a:pt x="3296508" y="2844727"/>
                  </a:lnTo>
                  <a:lnTo>
                    <a:pt x="3296815" y="2845859"/>
                  </a:lnTo>
                  <a:lnTo>
                    <a:pt x="3297011" y="2848069"/>
                  </a:lnTo>
                  <a:lnTo>
                    <a:pt x="3297353" y="2849274"/>
                  </a:lnTo>
                  <a:lnTo>
                    <a:pt x="3297690" y="2849784"/>
                  </a:lnTo>
                  <a:lnTo>
                    <a:pt x="3298644" y="2850577"/>
                  </a:lnTo>
                  <a:lnTo>
                    <a:pt x="3299097" y="2851109"/>
                  </a:lnTo>
                  <a:lnTo>
                    <a:pt x="3297676" y="2851647"/>
                  </a:lnTo>
                  <a:lnTo>
                    <a:pt x="3297506" y="2851556"/>
                  </a:lnTo>
                  <a:lnTo>
                    <a:pt x="3297211" y="2853286"/>
                  </a:lnTo>
                  <a:lnTo>
                    <a:pt x="3297241" y="2854232"/>
                  </a:lnTo>
                  <a:lnTo>
                    <a:pt x="3297655" y="2854536"/>
                  </a:lnTo>
                  <a:lnTo>
                    <a:pt x="3301248" y="2852750"/>
                  </a:lnTo>
                  <a:lnTo>
                    <a:pt x="3301081" y="2854468"/>
                  </a:lnTo>
                  <a:lnTo>
                    <a:pt x="3300361" y="2855566"/>
                  </a:lnTo>
                  <a:lnTo>
                    <a:pt x="3299439" y="2856425"/>
                  </a:lnTo>
                  <a:lnTo>
                    <a:pt x="3298670" y="2857425"/>
                  </a:lnTo>
                  <a:lnTo>
                    <a:pt x="3298218" y="2859064"/>
                  </a:lnTo>
                  <a:lnTo>
                    <a:pt x="3298310" y="2862429"/>
                  </a:lnTo>
                  <a:lnTo>
                    <a:pt x="3298136" y="2864152"/>
                  </a:lnTo>
                  <a:lnTo>
                    <a:pt x="3296033" y="2875322"/>
                  </a:lnTo>
                  <a:lnTo>
                    <a:pt x="3296437" y="2885236"/>
                  </a:lnTo>
                  <a:lnTo>
                    <a:pt x="3294822" y="2902226"/>
                  </a:lnTo>
                  <a:lnTo>
                    <a:pt x="3295634" y="2907133"/>
                  </a:lnTo>
                  <a:lnTo>
                    <a:pt x="3294811" y="2906945"/>
                  </a:lnTo>
                  <a:lnTo>
                    <a:pt x="3294385" y="2906031"/>
                  </a:lnTo>
                  <a:lnTo>
                    <a:pt x="3294349" y="2904793"/>
                  </a:lnTo>
                  <a:lnTo>
                    <a:pt x="3294695" y="2903605"/>
                  </a:lnTo>
                  <a:lnTo>
                    <a:pt x="3294292" y="2903717"/>
                  </a:lnTo>
                  <a:lnTo>
                    <a:pt x="3294429" y="2902200"/>
                  </a:lnTo>
                  <a:lnTo>
                    <a:pt x="3294309" y="2897452"/>
                  </a:lnTo>
                  <a:lnTo>
                    <a:pt x="3294754" y="2892021"/>
                  </a:lnTo>
                  <a:lnTo>
                    <a:pt x="3294556" y="2888896"/>
                  </a:lnTo>
                  <a:lnTo>
                    <a:pt x="3295027" y="2885116"/>
                  </a:lnTo>
                  <a:lnTo>
                    <a:pt x="3294650" y="2881640"/>
                  </a:lnTo>
                  <a:lnTo>
                    <a:pt x="3296741" y="2861158"/>
                  </a:lnTo>
                  <a:lnTo>
                    <a:pt x="3296514" y="2856498"/>
                  </a:lnTo>
                  <a:lnTo>
                    <a:pt x="3295613" y="2852378"/>
                  </a:lnTo>
                  <a:lnTo>
                    <a:pt x="3293718" y="2851774"/>
                  </a:lnTo>
                  <a:lnTo>
                    <a:pt x="3294111" y="2849727"/>
                  </a:lnTo>
                  <a:lnTo>
                    <a:pt x="3294159" y="2848053"/>
                  </a:lnTo>
                  <a:lnTo>
                    <a:pt x="3293627" y="2847358"/>
                  </a:lnTo>
                  <a:lnTo>
                    <a:pt x="3292313" y="2848293"/>
                  </a:lnTo>
                  <a:lnTo>
                    <a:pt x="3292325" y="2848525"/>
                  </a:lnTo>
                  <a:lnTo>
                    <a:pt x="3292407" y="2848958"/>
                  </a:lnTo>
                  <a:lnTo>
                    <a:pt x="3292447" y="2849446"/>
                  </a:lnTo>
                  <a:lnTo>
                    <a:pt x="3292339" y="2849835"/>
                  </a:lnTo>
                  <a:lnTo>
                    <a:pt x="3291651" y="2850646"/>
                  </a:lnTo>
                  <a:lnTo>
                    <a:pt x="3291254" y="2850927"/>
                  </a:lnTo>
                  <a:lnTo>
                    <a:pt x="3290748" y="2851124"/>
                  </a:lnTo>
                  <a:lnTo>
                    <a:pt x="3290499" y="2851788"/>
                  </a:lnTo>
                  <a:lnTo>
                    <a:pt x="3290445" y="2853173"/>
                  </a:lnTo>
                  <a:lnTo>
                    <a:pt x="3291138" y="2866069"/>
                  </a:lnTo>
                  <a:lnTo>
                    <a:pt x="3291360" y="2867316"/>
                  </a:lnTo>
                  <a:lnTo>
                    <a:pt x="3291789" y="2867787"/>
                  </a:lnTo>
                  <a:lnTo>
                    <a:pt x="3292462" y="2867507"/>
                  </a:lnTo>
                  <a:lnTo>
                    <a:pt x="3293030" y="2867086"/>
                  </a:lnTo>
                  <a:lnTo>
                    <a:pt x="3293442" y="2866506"/>
                  </a:lnTo>
                  <a:lnTo>
                    <a:pt x="3293648" y="2865793"/>
                  </a:lnTo>
                  <a:lnTo>
                    <a:pt x="3294047" y="2865682"/>
                  </a:lnTo>
                  <a:lnTo>
                    <a:pt x="3293874" y="2867183"/>
                  </a:lnTo>
                  <a:lnTo>
                    <a:pt x="3293710" y="2867731"/>
                  </a:lnTo>
                  <a:lnTo>
                    <a:pt x="3293393" y="2868179"/>
                  </a:lnTo>
                  <a:lnTo>
                    <a:pt x="3294145" y="2868579"/>
                  </a:lnTo>
                  <a:lnTo>
                    <a:pt x="3294421" y="2868667"/>
                  </a:lnTo>
                  <a:lnTo>
                    <a:pt x="3294217" y="2871177"/>
                  </a:lnTo>
                  <a:lnTo>
                    <a:pt x="3293058" y="2876063"/>
                  </a:lnTo>
                  <a:lnTo>
                    <a:pt x="3293264" y="2878734"/>
                  </a:lnTo>
                  <a:lnTo>
                    <a:pt x="3293189" y="2879488"/>
                  </a:lnTo>
                  <a:lnTo>
                    <a:pt x="3292696" y="2882173"/>
                  </a:lnTo>
                  <a:lnTo>
                    <a:pt x="3292779" y="2883500"/>
                  </a:lnTo>
                  <a:lnTo>
                    <a:pt x="3292098" y="2897607"/>
                  </a:lnTo>
                  <a:lnTo>
                    <a:pt x="3290569" y="2907754"/>
                  </a:lnTo>
                  <a:lnTo>
                    <a:pt x="3290269" y="2905369"/>
                  </a:lnTo>
                  <a:lnTo>
                    <a:pt x="3291765" y="2891134"/>
                  </a:lnTo>
                  <a:lnTo>
                    <a:pt x="3291556" y="2874106"/>
                  </a:lnTo>
                  <a:lnTo>
                    <a:pt x="3290991" y="2872129"/>
                  </a:lnTo>
                  <a:lnTo>
                    <a:pt x="3290124" y="2869526"/>
                  </a:lnTo>
                  <a:lnTo>
                    <a:pt x="3288951" y="2867386"/>
                  </a:lnTo>
                  <a:lnTo>
                    <a:pt x="3287834" y="2866636"/>
                  </a:lnTo>
                  <a:lnTo>
                    <a:pt x="3287057" y="2867625"/>
                  </a:lnTo>
                  <a:lnTo>
                    <a:pt x="3286479" y="2869609"/>
                  </a:lnTo>
                  <a:lnTo>
                    <a:pt x="3284965" y="2877731"/>
                  </a:lnTo>
                  <a:lnTo>
                    <a:pt x="3283392" y="2897098"/>
                  </a:lnTo>
                  <a:lnTo>
                    <a:pt x="3283053" y="2898157"/>
                  </a:lnTo>
                  <a:lnTo>
                    <a:pt x="3282293" y="2899194"/>
                  </a:lnTo>
                  <a:lnTo>
                    <a:pt x="3279375" y="2909331"/>
                  </a:lnTo>
                  <a:lnTo>
                    <a:pt x="3277415" y="2911491"/>
                  </a:lnTo>
                  <a:lnTo>
                    <a:pt x="3274687" y="2911834"/>
                  </a:lnTo>
                  <a:lnTo>
                    <a:pt x="3271021" y="2910764"/>
                  </a:lnTo>
                  <a:lnTo>
                    <a:pt x="3269759" y="2909678"/>
                  </a:lnTo>
                  <a:lnTo>
                    <a:pt x="3269013" y="2909465"/>
                  </a:lnTo>
                  <a:lnTo>
                    <a:pt x="3268513" y="2910312"/>
                  </a:lnTo>
                  <a:lnTo>
                    <a:pt x="3265280" y="2920762"/>
                  </a:lnTo>
                  <a:lnTo>
                    <a:pt x="3264342" y="2921812"/>
                  </a:lnTo>
                  <a:lnTo>
                    <a:pt x="3264456" y="2922347"/>
                  </a:lnTo>
                  <a:lnTo>
                    <a:pt x="3264231" y="2922931"/>
                  </a:lnTo>
                  <a:lnTo>
                    <a:pt x="3263745" y="2923446"/>
                  </a:lnTo>
                  <a:lnTo>
                    <a:pt x="3263074" y="2923763"/>
                  </a:lnTo>
                  <a:lnTo>
                    <a:pt x="3263448" y="2920548"/>
                  </a:lnTo>
                  <a:lnTo>
                    <a:pt x="3268085" y="2905393"/>
                  </a:lnTo>
                  <a:lnTo>
                    <a:pt x="3270328" y="2893198"/>
                  </a:lnTo>
                  <a:lnTo>
                    <a:pt x="3270851" y="2891083"/>
                  </a:lnTo>
                  <a:lnTo>
                    <a:pt x="3272892" y="2885837"/>
                  </a:lnTo>
                  <a:lnTo>
                    <a:pt x="3272602" y="2883845"/>
                  </a:lnTo>
                  <a:lnTo>
                    <a:pt x="3271000" y="2883088"/>
                  </a:lnTo>
                  <a:lnTo>
                    <a:pt x="3269092" y="2883182"/>
                  </a:lnTo>
                  <a:lnTo>
                    <a:pt x="3267864" y="2883763"/>
                  </a:lnTo>
                  <a:lnTo>
                    <a:pt x="3266243" y="2886741"/>
                  </a:lnTo>
                  <a:lnTo>
                    <a:pt x="3261701" y="2902886"/>
                  </a:lnTo>
                  <a:lnTo>
                    <a:pt x="3257536" y="2913025"/>
                  </a:lnTo>
                  <a:lnTo>
                    <a:pt x="3256724" y="2916314"/>
                  </a:lnTo>
                  <a:lnTo>
                    <a:pt x="3256630" y="2917313"/>
                  </a:lnTo>
                  <a:lnTo>
                    <a:pt x="3256845" y="2919433"/>
                  </a:lnTo>
                  <a:lnTo>
                    <a:pt x="3256265" y="2920304"/>
                  </a:lnTo>
                  <a:lnTo>
                    <a:pt x="3255426" y="2920856"/>
                  </a:lnTo>
                  <a:lnTo>
                    <a:pt x="3254850" y="2922019"/>
                  </a:lnTo>
                  <a:lnTo>
                    <a:pt x="3254151" y="2920174"/>
                  </a:lnTo>
                  <a:lnTo>
                    <a:pt x="3253133" y="2918882"/>
                  </a:lnTo>
                  <a:lnTo>
                    <a:pt x="3252242" y="2917988"/>
                  </a:lnTo>
                  <a:lnTo>
                    <a:pt x="3251929" y="2917322"/>
                  </a:lnTo>
                  <a:lnTo>
                    <a:pt x="3250760" y="2915899"/>
                  </a:lnTo>
                  <a:lnTo>
                    <a:pt x="3249264" y="2915407"/>
                  </a:lnTo>
                  <a:lnTo>
                    <a:pt x="3245928" y="2915899"/>
                  </a:lnTo>
                  <a:lnTo>
                    <a:pt x="3246256" y="2911420"/>
                  </a:lnTo>
                  <a:lnTo>
                    <a:pt x="3246706" y="2909498"/>
                  </a:lnTo>
                  <a:lnTo>
                    <a:pt x="3248635" y="2907529"/>
                  </a:lnTo>
                  <a:lnTo>
                    <a:pt x="3255866" y="2883791"/>
                  </a:lnTo>
                  <a:lnTo>
                    <a:pt x="3263889" y="2869782"/>
                  </a:lnTo>
                  <a:lnTo>
                    <a:pt x="3264632" y="2866489"/>
                  </a:lnTo>
                  <a:lnTo>
                    <a:pt x="3264751" y="2862081"/>
                  </a:lnTo>
                  <a:lnTo>
                    <a:pt x="3264263" y="2851316"/>
                  </a:lnTo>
                  <a:lnTo>
                    <a:pt x="3263209" y="2845835"/>
                  </a:lnTo>
                  <a:lnTo>
                    <a:pt x="3260988" y="2841409"/>
                  </a:lnTo>
                  <a:lnTo>
                    <a:pt x="3261161" y="2841145"/>
                  </a:lnTo>
                  <a:lnTo>
                    <a:pt x="3261270" y="2840895"/>
                  </a:lnTo>
                  <a:lnTo>
                    <a:pt x="3261403" y="2840679"/>
                  </a:lnTo>
                  <a:lnTo>
                    <a:pt x="3261645" y="2840530"/>
                  </a:lnTo>
                  <a:lnTo>
                    <a:pt x="3261397" y="2840059"/>
                  </a:lnTo>
                  <a:lnTo>
                    <a:pt x="3260889" y="2838812"/>
                  </a:lnTo>
                  <a:lnTo>
                    <a:pt x="3260645" y="2838344"/>
                  </a:lnTo>
                  <a:lnTo>
                    <a:pt x="3261428" y="2837289"/>
                  </a:lnTo>
                  <a:lnTo>
                    <a:pt x="3262014" y="2837640"/>
                  </a:lnTo>
                  <a:lnTo>
                    <a:pt x="3264188" y="2842143"/>
                  </a:lnTo>
                  <a:lnTo>
                    <a:pt x="3264595" y="2842764"/>
                  </a:lnTo>
                  <a:lnTo>
                    <a:pt x="3265384" y="2843295"/>
                  </a:lnTo>
                  <a:lnTo>
                    <a:pt x="3265369" y="2845150"/>
                  </a:lnTo>
                  <a:lnTo>
                    <a:pt x="3265593" y="2847008"/>
                  </a:lnTo>
                  <a:lnTo>
                    <a:pt x="3266380" y="2850435"/>
                  </a:lnTo>
                  <a:lnTo>
                    <a:pt x="3266548" y="2852332"/>
                  </a:lnTo>
                  <a:lnTo>
                    <a:pt x="3266096" y="2856179"/>
                  </a:lnTo>
                  <a:lnTo>
                    <a:pt x="3266109" y="2857497"/>
                  </a:lnTo>
                  <a:lnTo>
                    <a:pt x="3266069" y="2858106"/>
                  </a:lnTo>
                  <a:lnTo>
                    <a:pt x="3265871" y="2859025"/>
                  </a:lnTo>
                  <a:lnTo>
                    <a:pt x="3265727" y="2860150"/>
                  </a:lnTo>
                  <a:lnTo>
                    <a:pt x="3265853" y="2861395"/>
                  </a:lnTo>
                  <a:lnTo>
                    <a:pt x="3266831" y="2863872"/>
                  </a:lnTo>
                  <a:lnTo>
                    <a:pt x="3267170" y="2864930"/>
                  </a:lnTo>
                  <a:lnTo>
                    <a:pt x="3267345" y="2866586"/>
                  </a:lnTo>
                  <a:lnTo>
                    <a:pt x="3267156" y="2871184"/>
                  </a:lnTo>
                  <a:lnTo>
                    <a:pt x="3266894" y="2872764"/>
                  </a:lnTo>
                  <a:lnTo>
                    <a:pt x="3264890" y="2879094"/>
                  </a:lnTo>
                  <a:lnTo>
                    <a:pt x="3263922" y="2880754"/>
                  </a:lnTo>
                  <a:lnTo>
                    <a:pt x="3263684" y="2881691"/>
                  </a:lnTo>
                  <a:lnTo>
                    <a:pt x="3263862" y="2883230"/>
                  </a:lnTo>
                  <a:lnTo>
                    <a:pt x="3264222" y="2884595"/>
                  </a:lnTo>
                  <a:lnTo>
                    <a:pt x="3264529" y="2885124"/>
                  </a:lnTo>
                  <a:lnTo>
                    <a:pt x="3264897" y="2885007"/>
                  </a:lnTo>
                  <a:lnTo>
                    <a:pt x="3265422" y="2884423"/>
                  </a:lnTo>
                  <a:lnTo>
                    <a:pt x="3265695" y="2883678"/>
                  </a:lnTo>
                  <a:lnTo>
                    <a:pt x="3265856" y="2881395"/>
                  </a:lnTo>
                  <a:lnTo>
                    <a:pt x="3266067" y="2880317"/>
                  </a:lnTo>
                  <a:lnTo>
                    <a:pt x="3266620" y="2879118"/>
                  </a:lnTo>
                  <a:lnTo>
                    <a:pt x="3267323" y="2878077"/>
                  </a:lnTo>
                  <a:lnTo>
                    <a:pt x="3268964" y="2876518"/>
                  </a:lnTo>
                  <a:lnTo>
                    <a:pt x="3271577" y="2874796"/>
                  </a:lnTo>
                  <a:lnTo>
                    <a:pt x="3272597" y="2873767"/>
                  </a:lnTo>
                  <a:lnTo>
                    <a:pt x="3273388" y="2872157"/>
                  </a:lnTo>
                  <a:lnTo>
                    <a:pt x="3273099" y="2871062"/>
                  </a:lnTo>
                  <a:lnTo>
                    <a:pt x="3272699" y="2858091"/>
                  </a:lnTo>
                  <a:lnTo>
                    <a:pt x="3273512" y="2852619"/>
                  </a:lnTo>
                  <a:lnTo>
                    <a:pt x="3273312" y="2848096"/>
                  </a:lnTo>
                  <a:lnTo>
                    <a:pt x="3272619" y="2843233"/>
                  </a:lnTo>
                  <a:lnTo>
                    <a:pt x="3270144" y="2831941"/>
                  </a:lnTo>
                  <a:lnTo>
                    <a:pt x="3269846" y="2829710"/>
                  </a:lnTo>
                  <a:lnTo>
                    <a:pt x="3268358" y="2823900"/>
                  </a:lnTo>
                  <a:lnTo>
                    <a:pt x="3269310" y="2821282"/>
                  </a:lnTo>
                  <a:close/>
                  <a:moveTo>
                    <a:pt x="175334" y="2819252"/>
                  </a:moveTo>
                  <a:lnTo>
                    <a:pt x="177068" y="2819338"/>
                  </a:lnTo>
                  <a:lnTo>
                    <a:pt x="178537" y="2820236"/>
                  </a:lnTo>
                  <a:lnTo>
                    <a:pt x="179606" y="2821355"/>
                  </a:lnTo>
                  <a:lnTo>
                    <a:pt x="179005" y="2823171"/>
                  </a:lnTo>
                  <a:lnTo>
                    <a:pt x="179153" y="2824784"/>
                  </a:lnTo>
                  <a:lnTo>
                    <a:pt x="179899" y="2827544"/>
                  </a:lnTo>
                  <a:lnTo>
                    <a:pt x="179971" y="2834815"/>
                  </a:lnTo>
                  <a:lnTo>
                    <a:pt x="180308" y="2836534"/>
                  </a:lnTo>
                  <a:lnTo>
                    <a:pt x="180911" y="2837673"/>
                  </a:lnTo>
                  <a:lnTo>
                    <a:pt x="181338" y="2838919"/>
                  </a:lnTo>
                  <a:lnTo>
                    <a:pt x="181121" y="2840968"/>
                  </a:lnTo>
                  <a:lnTo>
                    <a:pt x="180047" y="2844776"/>
                  </a:lnTo>
                  <a:lnTo>
                    <a:pt x="179214" y="2846591"/>
                  </a:lnTo>
                  <a:lnTo>
                    <a:pt x="178291" y="2847070"/>
                  </a:lnTo>
                  <a:lnTo>
                    <a:pt x="176777" y="2846564"/>
                  </a:lnTo>
                  <a:lnTo>
                    <a:pt x="176035" y="2846068"/>
                  </a:lnTo>
                  <a:lnTo>
                    <a:pt x="175034" y="2843025"/>
                  </a:lnTo>
                  <a:lnTo>
                    <a:pt x="174989" y="2842716"/>
                  </a:lnTo>
                  <a:lnTo>
                    <a:pt x="174136" y="2841571"/>
                  </a:lnTo>
                  <a:lnTo>
                    <a:pt x="174004" y="2839882"/>
                  </a:lnTo>
                  <a:lnTo>
                    <a:pt x="174398" y="2836449"/>
                  </a:lnTo>
                  <a:lnTo>
                    <a:pt x="174239" y="2834309"/>
                  </a:lnTo>
                  <a:lnTo>
                    <a:pt x="173895" y="2832736"/>
                  </a:lnTo>
                  <a:lnTo>
                    <a:pt x="173839" y="2831215"/>
                  </a:lnTo>
                  <a:lnTo>
                    <a:pt x="174525" y="2829243"/>
                  </a:lnTo>
                  <a:lnTo>
                    <a:pt x="174827" y="2828040"/>
                  </a:lnTo>
                  <a:lnTo>
                    <a:pt x="174149" y="2827982"/>
                  </a:lnTo>
                  <a:lnTo>
                    <a:pt x="172595" y="2828646"/>
                  </a:lnTo>
                  <a:lnTo>
                    <a:pt x="172189" y="2828062"/>
                  </a:lnTo>
                  <a:lnTo>
                    <a:pt x="172466" y="2827393"/>
                  </a:lnTo>
                  <a:lnTo>
                    <a:pt x="173113" y="2826866"/>
                  </a:lnTo>
                  <a:lnTo>
                    <a:pt x="173825" y="2826688"/>
                  </a:lnTo>
                  <a:lnTo>
                    <a:pt x="173673" y="2825154"/>
                  </a:lnTo>
                  <a:lnTo>
                    <a:pt x="172722" y="2824073"/>
                  </a:lnTo>
                  <a:lnTo>
                    <a:pt x="172233" y="2822769"/>
                  </a:lnTo>
                  <a:lnTo>
                    <a:pt x="173472" y="2820542"/>
                  </a:lnTo>
                  <a:close/>
                  <a:moveTo>
                    <a:pt x="160759" y="2817784"/>
                  </a:moveTo>
                  <a:lnTo>
                    <a:pt x="162199" y="2817972"/>
                  </a:lnTo>
                  <a:lnTo>
                    <a:pt x="163898" y="2818673"/>
                  </a:lnTo>
                  <a:lnTo>
                    <a:pt x="165302" y="2819637"/>
                  </a:lnTo>
                  <a:lnTo>
                    <a:pt x="165872" y="2820613"/>
                  </a:lnTo>
                  <a:lnTo>
                    <a:pt x="166632" y="2822830"/>
                  </a:lnTo>
                  <a:lnTo>
                    <a:pt x="167067" y="2826076"/>
                  </a:lnTo>
                  <a:lnTo>
                    <a:pt x="166556" y="2828515"/>
                  </a:lnTo>
                  <a:lnTo>
                    <a:pt x="164449" y="2828339"/>
                  </a:lnTo>
                  <a:lnTo>
                    <a:pt x="162317" y="2826410"/>
                  </a:lnTo>
                  <a:lnTo>
                    <a:pt x="161129" y="2824092"/>
                  </a:lnTo>
                  <a:lnTo>
                    <a:pt x="160679" y="2821257"/>
                  </a:lnTo>
                  <a:close/>
                  <a:moveTo>
                    <a:pt x="3378543" y="2816804"/>
                  </a:moveTo>
                  <a:lnTo>
                    <a:pt x="3378800" y="2816827"/>
                  </a:lnTo>
                  <a:lnTo>
                    <a:pt x="3379262" y="2817230"/>
                  </a:lnTo>
                  <a:lnTo>
                    <a:pt x="3379394" y="2817844"/>
                  </a:lnTo>
                  <a:lnTo>
                    <a:pt x="3379201" y="2818308"/>
                  </a:lnTo>
                  <a:lnTo>
                    <a:pt x="3379100" y="2819356"/>
                  </a:lnTo>
                  <a:lnTo>
                    <a:pt x="3379366" y="2822908"/>
                  </a:lnTo>
                  <a:lnTo>
                    <a:pt x="3378590" y="2824333"/>
                  </a:lnTo>
                  <a:lnTo>
                    <a:pt x="3377684" y="2824210"/>
                  </a:lnTo>
                  <a:lnTo>
                    <a:pt x="3377312" y="2823343"/>
                  </a:lnTo>
                  <a:lnTo>
                    <a:pt x="3377051" y="2822405"/>
                  </a:lnTo>
                  <a:lnTo>
                    <a:pt x="3377275" y="2821538"/>
                  </a:lnTo>
                  <a:lnTo>
                    <a:pt x="3377848" y="2820574"/>
                  </a:lnTo>
                  <a:lnTo>
                    <a:pt x="3378173" y="2819741"/>
                  </a:lnTo>
                  <a:lnTo>
                    <a:pt x="3378095" y="2819119"/>
                  </a:lnTo>
                  <a:lnTo>
                    <a:pt x="3377938" y="2818359"/>
                  </a:lnTo>
                  <a:lnTo>
                    <a:pt x="3377990" y="2817558"/>
                  </a:lnTo>
                  <a:lnTo>
                    <a:pt x="3378313" y="2816986"/>
                  </a:lnTo>
                  <a:close/>
                  <a:moveTo>
                    <a:pt x="5027577" y="2816741"/>
                  </a:moveTo>
                  <a:lnTo>
                    <a:pt x="5029095" y="2817249"/>
                  </a:lnTo>
                  <a:lnTo>
                    <a:pt x="5028948" y="2818673"/>
                  </a:lnTo>
                  <a:lnTo>
                    <a:pt x="5028368" y="2819107"/>
                  </a:lnTo>
                  <a:lnTo>
                    <a:pt x="5027868" y="2819835"/>
                  </a:lnTo>
                  <a:lnTo>
                    <a:pt x="5027829" y="2820632"/>
                  </a:lnTo>
                  <a:lnTo>
                    <a:pt x="5028621" y="2821256"/>
                  </a:lnTo>
                  <a:lnTo>
                    <a:pt x="5029437" y="2822040"/>
                  </a:lnTo>
                  <a:lnTo>
                    <a:pt x="5029716" y="2823291"/>
                  </a:lnTo>
                  <a:lnTo>
                    <a:pt x="5029829" y="2824640"/>
                  </a:lnTo>
                  <a:lnTo>
                    <a:pt x="5030139" y="2825707"/>
                  </a:lnTo>
                  <a:lnTo>
                    <a:pt x="5029675" y="2826308"/>
                  </a:lnTo>
                  <a:lnTo>
                    <a:pt x="5028114" y="2826742"/>
                  </a:lnTo>
                  <a:lnTo>
                    <a:pt x="5026215" y="2826405"/>
                  </a:lnTo>
                  <a:lnTo>
                    <a:pt x="5024716" y="2824675"/>
                  </a:lnTo>
                  <a:lnTo>
                    <a:pt x="5024639" y="2822866"/>
                  </a:lnTo>
                  <a:lnTo>
                    <a:pt x="5026105" y="2819885"/>
                  </a:lnTo>
                  <a:lnTo>
                    <a:pt x="5025951" y="2818566"/>
                  </a:lnTo>
                  <a:lnTo>
                    <a:pt x="5026001" y="2817189"/>
                  </a:lnTo>
                  <a:close/>
                  <a:moveTo>
                    <a:pt x="4714548" y="2814931"/>
                  </a:moveTo>
                  <a:lnTo>
                    <a:pt x="4714368" y="2818526"/>
                  </a:lnTo>
                  <a:lnTo>
                    <a:pt x="4713293" y="2821834"/>
                  </a:lnTo>
                  <a:lnTo>
                    <a:pt x="4710256" y="2826512"/>
                  </a:lnTo>
                  <a:lnTo>
                    <a:pt x="4710731" y="2828917"/>
                  </a:lnTo>
                  <a:lnTo>
                    <a:pt x="4707798" y="2829325"/>
                  </a:lnTo>
                  <a:lnTo>
                    <a:pt x="4708147" y="2825434"/>
                  </a:lnTo>
                  <a:lnTo>
                    <a:pt x="4708701" y="2821033"/>
                  </a:lnTo>
                  <a:lnTo>
                    <a:pt x="4712024" y="2815419"/>
                  </a:lnTo>
                  <a:close/>
                  <a:moveTo>
                    <a:pt x="3298795" y="2813733"/>
                  </a:moveTo>
                  <a:lnTo>
                    <a:pt x="3299630" y="2814475"/>
                  </a:lnTo>
                  <a:lnTo>
                    <a:pt x="3299156" y="2815709"/>
                  </a:lnTo>
                  <a:lnTo>
                    <a:pt x="3297493" y="2816431"/>
                  </a:lnTo>
                  <a:lnTo>
                    <a:pt x="3295793" y="2816622"/>
                  </a:lnTo>
                  <a:lnTo>
                    <a:pt x="3295194" y="2816427"/>
                  </a:lnTo>
                  <a:lnTo>
                    <a:pt x="3294245" y="2815735"/>
                  </a:lnTo>
                  <a:lnTo>
                    <a:pt x="3293859" y="2815784"/>
                  </a:lnTo>
                  <a:lnTo>
                    <a:pt x="3293067" y="2815689"/>
                  </a:lnTo>
                  <a:lnTo>
                    <a:pt x="3293569" y="2815197"/>
                  </a:lnTo>
                  <a:lnTo>
                    <a:pt x="3297168" y="2814178"/>
                  </a:lnTo>
                  <a:lnTo>
                    <a:pt x="3297886" y="2813812"/>
                  </a:lnTo>
                  <a:close/>
                  <a:moveTo>
                    <a:pt x="197373" y="2813097"/>
                  </a:moveTo>
                  <a:lnTo>
                    <a:pt x="198375" y="2813187"/>
                  </a:lnTo>
                  <a:lnTo>
                    <a:pt x="199463" y="2813906"/>
                  </a:lnTo>
                  <a:lnTo>
                    <a:pt x="200755" y="2815439"/>
                  </a:lnTo>
                  <a:lnTo>
                    <a:pt x="201363" y="2816427"/>
                  </a:lnTo>
                  <a:lnTo>
                    <a:pt x="201760" y="2817640"/>
                  </a:lnTo>
                  <a:lnTo>
                    <a:pt x="201809" y="2819017"/>
                  </a:lnTo>
                  <a:lnTo>
                    <a:pt x="201485" y="2820177"/>
                  </a:lnTo>
                  <a:lnTo>
                    <a:pt x="200333" y="2821753"/>
                  </a:lnTo>
                  <a:lnTo>
                    <a:pt x="199781" y="2823017"/>
                  </a:lnTo>
                  <a:lnTo>
                    <a:pt x="199555" y="2824229"/>
                  </a:lnTo>
                  <a:lnTo>
                    <a:pt x="199637" y="2825746"/>
                  </a:lnTo>
                  <a:lnTo>
                    <a:pt x="199338" y="2826934"/>
                  </a:lnTo>
                  <a:lnTo>
                    <a:pt x="198887" y="2827843"/>
                  </a:lnTo>
                  <a:lnTo>
                    <a:pt x="197640" y="2829524"/>
                  </a:lnTo>
                  <a:lnTo>
                    <a:pt x="196855" y="2830762"/>
                  </a:lnTo>
                  <a:lnTo>
                    <a:pt x="196022" y="2833178"/>
                  </a:lnTo>
                  <a:lnTo>
                    <a:pt x="195055" y="2838055"/>
                  </a:lnTo>
                  <a:lnTo>
                    <a:pt x="193988" y="2839388"/>
                  </a:lnTo>
                  <a:lnTo>
                    <a:pt x="192385" y="2839187"/>
                  </a:lnTo>
                  <a:lnTo>
                    <a:pt x="187980" y="2836673"/>
                  </a:lnTo>
                  <a:lnTo>
                    <a:pt x="186927" y="2835554"/>
                  </a:lnTo>
                  <a:lnTo>
                    <a:pt x="185928" y="2836509"/>
                  </a:lnTo>
                  <a:lnTo>
                    <a:pt x="185472" y="2836356"/>
                  </a:lnTo>
                  <a:lnTo>
                    <a:pt x="185338" y="2835493"/>
                  </a:lnTo>
                  <a:lnTo>
                    <a:pt x="185294" y="2834280"/>
                  </a:lnTo>
                  <a:lnTo>
                    <a:pt x="185087" y="2833504"/>
                  </a:lnTo>
                  <a:lnTo>
                    <a:pt x="184379" y="2831751"/>
                  </a:lnTo>
                  <a:lnTo>
                    <a:pt x="184321" y="2830741"/>
                  </a:lnTo>
                  <a:lnTo>
                    <a:pt x="184989" y="2828411"/>
                  </a:lnTo>
                  <a:lnTo>
                    <a:pt x="186184" y="2826019"/>
                  </a:lnTo>
                  <a:lnTo>
                    <a:pt x="187656" y="2823879"/>
                  </a:lnTo>
                  <a:lnTo>
                    <a:pt x="189158" y="2822323"/>
                  </a:lnTo>
                  <a:lnTo>
                    <a:pt x="194900" y="2819918"/>
                  </a:lnTo>
                  <a:lnTo>
                    <a:pt x="196495" y="2818599"/>
                  </a:lnTo>
                  <a:lnTo>
                    <a:pt x="197116" y="2817423"/>
                  </a:lnTo>
                  <a:lnTo>
                    <a:pt x="197286" y="2816367"/>
                  </a:lnTo>
                  <a:lnTo>
                    <a:pt x="197045" y="2814225"/>
                  </a:lnTo>
                  <a:close/>
                  <a:moveTo>
                    <a:pt x="3247339" y="2811855"/>
                  </a:moveTo>
                  <a:lnTo>
                    <a:pt x="3247639" y="2812009"/>
                  </a:lnTo>
                  <a:lnTo>
                    <a:pt x="3248008" y="2812567"/>
                  </a:lnTo>
                  <a:lnTo>
                    <a:pt x="3248454" y="2813003"/>
                  </a:lnTo>
                  <a:lnTo>
                    <a:pt x="3248542" y="2813255"/>
                  </a:lnTo>
                  <a:lnTo>
                    <a:pt x="3249329" y="2814740"/>
                  </a:lnTo>
                  <a:lnTo>
                    <a:pt x="3249560" y="2815037"/>
                  </a:lnTo>
                  <a:lnTo>
                    <a:pt x="3249902" y="2814962"/>
                  </a:lnTo>
                  <a:lnTo>
                    <a:pt x="3250274" y="2814774"/>
                  </a:lnTo>
                  <a:lnTo>
                    <a:pt x="3251032" y="2814674"/>
                  </a:lnTo>
                  <a:lnTo>
                    <a:pt x="3251429" y="2814378"/>
                  </a:lnTo>
                  <a:lnTo>
                    <a:pt x="3251909" y="2814519"/>
                  </a:lnTo>
                  <a:lnTo>
                    <a:pt x="3252581" y="2815750"/>
                  </a:lnTo>
                  <a:lnTo>
                    <a:pt x="3252466" y="2815284"/>
                  </a:lnTo>
                  <a:lnTo>
                    <a:pt x="3252527" y="2815171"/>
                  </a:lnTo>
                  <a:lnTo>
                    <a:pt x="3252710" y="2815323"/>
                  </a:lnTo>
                  <a:lnTo>
                    <a:pt x="3252975" y="2815642"/>
                  </a:lnTo>
                  <a:lnTo>
                    <a:pt x="3254716" y="2818759"/>
                  </a:lnTo>
                  <a:lnTo>
                    <a:pt x="3255337" y="2820428"/>
                  </a:lnTo>
                  <a:lnTo>
                    <a:pt x="3254904" y="2821365"/>
                  </a:lnTo>
                  <a:lnTo>
                    <a:pt x="3255793" y="2822389"/>
                  </a:lnTo>
                  <a:lnTo>
                    <a:pt x="3256138" y="2823386"/>
                  </a:lnTo>
                  <a:lnTo>
                    <a:pt x="3256567" y="2826832"/>
                  </a:lnTo>
                  <a:lnTo>
                    <a:pt x="3256172" y="2827188"/>
                  </a:lnTo>
                  <a:lnTo>
                    <a:pt x="3254852" y="2826856"/>
                  </a:lnTo>
                  <a:lnTo>
                    <a:pt x="3254217" y="2828326"/>
                  </a:lnTo>
                  <a:lnTo>
                    <a:pt x="3253865" y="2830907"/>
                  </a:lnTo>
                  <a:lnTo>
                    <a:pt x="3253293" y="2832594"/>
                  </a:lnTo>
                  <a:lnTo>
                    <a:pt x="3252010" y="2831422"/>
                  </a:lnTo>
                  <a:lnTo>
                    <a:pt x="3251446" y="2829891"/>
                  </a:lnTo>
                  <a:lnTo>
                    <a:pt x="3251515" y="2828865"/>
                  </a:lnTo>
                  <a:lnTo>
                    <a:pt x="3251778" y="2828076"/>
                  </a:lnTo>
                  <a:lnTo>
                    <a:pt x="3251827" y="2826802"/>
                  </a:lnTo>
                  <a:lnTo>
                    <a:pt x="3251574" y="2823898"/>
                  </a:lnTo>
                  <a:lnTo>
                    <a:pt x="3251417" y="2823508"/>
                  </a:lnTo>
                  <a:lnTo>
                    <a:pt x="3251335" y="2821026"/>
                  </a:lnTo>
                  <a:lnTo>
                    <a:pt x="3250049" y="2819143"/>
                  </a:lnTo>
                  <a:lnTo>
                    <a:pt x="3247465" y="2817136"/>
                  </a:lnTo>
                  <a:lnTo>
                    <a:pt x="3248094" y="2816345"/>
                  </a:lnTo>
                  <a:lnTo>
                    <a:pt x="3248440" y="2816169"/>
                  </a:lnTo>
                  <a:lnTo>
                    <a:pt x="3248234" y="2815382"/>
                  </a:lnTo>
                  <a:lnTo>
                    <a:pt x="3247569" y="2815079"/>
                  </a:lnTo>
                  <a:lnTo>
                    <a:pt x="3247163" y="2814489"/>
                  </a:lnTo>
                  <a:lnTo>
                    <a:pt x="3247006" y="2813657"/>
                  </a:lnTo>
                  <a:lnTo>
                    <a:pt x="3247083" y="2812601"/>
                  </a:lnTo>
                  <a:close/>
                  <a:moveTo>
                    <a:pt x="3229647" y="2811248"/>
                  </a:moveTo>
                  <a:lnTo>
                    <a:pt x="3232072" y="2812589"/>
                  </a:lnTo>
                  <a:lnTo>
                    <a:pt x="3232912" y="2814212"/>
                  </a:lnTo>
                  <a:lnTo>
                    <a:pt x="3233074" y="2816266"/>
                  </a:lnTo>
                  <a:lnTo>
                    <a:pt x="3232738" y="2818451"/>
                  </a:lnTo>
                  <a:lnTo>
                    <a:pt x="3232497" y="2818874"/>
                  </a:lnTo>
                  <a:lnTo>
                    <a:pt x="3231838" y="2819283"/>
                  </a:lnTo>
                  <a:lnTo>
                    <a:pt x="3231619" y="2819838"/>
                  </a:lnTo>
                  <a:lnTo>
                    <a:pt x="3231647" y="2820277"/>
                  </a:lnTo>
                  <a:lnTo>
                    <a:pt x="3231836" y="2821683"/>
                  </a:lnTo>
                  <a:lnTo>
                    <a:pt x="3231839" y="2822165"/>
                  </a:lnTo>
                  <a:lnTo>
                    <a:pt x="3231461" y="2823506"/>
                  </a:lnTo>
                  <a:lnTo>
                    <a:pt x="3231081" y="2824021"/>
                  </a:lnTo>
                  <a:lnTo>
                    <a:pt x="3229630" y="2824295"/>
                  </a:lnTo>
                  <a:lnTo>
                    <a:pt x="3227808" y="2823602"/>
                  </a:lnTo>
                  <a:lnTo>
                    <a:pt x="3226423" y="2821174"/>
                  </a:lnTo>
                  <a:lnTo>
                    <a:pt x="3225588" y="2818069"/>
                  </a:lnTo>
                  <a:lnTo>
                    <a:pt x="3225413" y="2815313"/>
                  </a:lnTo>
                  <a:lnTo>
                    <a:pt x="3225585" y="2814656"/>
                  </a:lnTo>
                  <a:lnTo>
                    <a:pt x="3226440" y="2812403"/>
                  </a:lnTo>
                  <a:lnTo>
                    <a:pt x="3226852" y="2811844"/>
                  </a:lnTo>
                  <a:lnTo>
                    <a:pt x="3228735" y="2811284"/>
                  </a:lnTo>
                  <a:close/>
                  <a:moveTo>
                    <a:pt x="4708877" y="2803660"/>
                  </a:moveTo>
                  <a:lnTo>
                    <a:pt x="4709690" y="2804987"/>
                  </a:lnTo>
                  <a:lnTo>
                    <a:pt x="4710071" y="2805277"/>
                  </a:lnTo>
                  <a:lnTo>
                    <a:pt x="4710402" y="2805654"/>
                  </a:lnTo>
                  <a:lnTo>
                    <a:pt x="4710754" y="2805867"/>
                  </a:lnTo>
                  <a:lnTo>
                    <a:pt x="4711207" y="2805682"/>
                  </a:lnTo>
                  <a:lnTo>
                    <a:pt x="4711045" y="2806747"/>
                  </a:lnTo>
                  <a:lnTo>
                    <a:pt x="4709639" y="2810608"/>
                  </a:lnTo>
                  <a:lnTo>
                    <a:pt x="4708855" y="2811742"/>
                  </a:lnTo>
                  <a:lnTo>
                    <a:pt x="4703082" y="2813894"/>
                  </a:lnTo>
                  <a:lnTo>
                    <a:pt x="4702927" y="2812433"/>
                  </a:lnTo>
                  <a:lnTo>
                    <a:pt x="4703216" y="2810573"/>
                  </a:lnTo>
                  <a:lnTo>
                    <a:pt x="4704162" y="2807703"/>
                  </a:lnTo>
                  <a:lnTo>
                    <a:pt x="4705278" y="2806573"/>
                  </a:lnTo>
                  <a:lnTo>
                    <a:pt x="4707980" y="2804999"/>
                  </a:lnTo>
                  <a:close/>
                  <a:moveTo>
                    <a:pt x="4716482" y="2802437"/>
                  </a:moveTo>
                  <a:lnTo>
                    <a:pt x="4717450" y="2803950"/>
                  </a:lnTo>
                  <a:lnTo>
                    <a:pt x="4717237" y="2806110"/>
                  </a:lnTo>
                  <a:lnTo>
                    <a:pt x="4716205" y="2809206"/>
                  </a:lnTo>
                  <a:lnTo>
                    <a:pt x="4713510" y="2811092"/>
                  </a:lnTo>
                  <a:lnTo>
                    <a:pt x="4712176" y="2809286"/>
                  </a:lnTo>
                  <a:lnTo>
                    <a:pt x="4712679" y="2806746"/>
                  </a:lnTo>
                  <a:close/>
                  <a:moveTo>
                    <a:pt x="3230918" y="2801187"/>
                  </a:moveTo>
                  <a:lnTo>
                    <a:pt x="3231697" y="2802078"/>
                  </a:lnTo>
                  <a:lnTo>
                    <a:pt x="3233288" y="2803446"/>
                  </a:lnTo>
                  <a:lnTo>
                    <a:pt x="3234112" y="2804306"/>
                  </a:lnTo>
                  <a:lnTo>
                    <a:pt x="3234694" y="2805557"/>
                  </a:lnTo>
                  <a:lnTo>
                    <a:pt x="3235172" y="2806832"/>
                  </a:lnTo>
                  <a:lnTo>
                    <a:pt x="3237270" y="2810620"/>
                  </a:lnTo>
                  <a:lnTo>
                    <a:pt x="3238608" y="2813918"/>
                  </a:lnTo>
                  <a:lnTo>
                    <a:pt x="3238712" y="2816019"/>
                  </a:lnTo>
                  <a:lnTo>
                    <a:pt x="3237777" y="2817253"/>
                  </a:lnTo>
                  <a:lnTo>
                    <a:pt x="3235997" y="2817968"/>
                  </a:lnTo>
                  <a:lnTo>
                    <a:pt x="3235417" y="2817558"/>
                  </a:lnTo>
                  <a:lnTo>
                    <a:pt x="3235088" y="2816363"/>
                  </a:lnTo>
                  <a:lnTo>
                    <a:pt x="3234871" y="2814343"/>
                  </a:lnTo>
                  <a:lnTo>
                    <a:pt x="3234453" y="2813209"/>
                  </a:lnTo>
                  <a:lnTo>
                    <a:pt x="3233175" y="2810401"/>
                  </a:lnTo>
                  <a:lnTo>
                    <a:pt x="3232736" y="2809198"/>
                  </a:lnTo>
                  <a:lnTo>
                    <a:pt x="3231417" y="2807261"/>
                  </a:lnTo>
                  <a:lnTo>
                    <a:pt x="3227957" y="2809505"/>
                  </a:lnTo>
                  <a:lnTo>
                    <a:pt x="3226289" y="2808914"/>
                  </a:lnTo>
                  <a:lnTo>
                    <a:pt x="3226431" y="2807792"/>
                  </a:lnTo>
                  <a:lnTo>
                    <a:pt x="3227088" y="2805462"/>
                  </a:lnTo>
                  <a:lnTo>
                    <a:pt x="3227710" y="2803922"/>
                  </a:lnTo>
                  <a:lnTo>
                    <a:pt x="3228026" y="2803406"/>
                  </a:lnTo>
                  <a:lnTo>
                    <a:pt x="3228594" y="2803420"/>
                  </a:lnTo>
                  <a:lnTo>
                    <a:pt x="3229719" y="2804155"/>
                  </a:lnTo>
                  <a:lnTo>
                    <a:pt x="3229799" y="2802585"/>
                  </a:lnTo>
                  <a:lnTo>
                    <a:pt x="3230242" y="2801478"/>
                  </a:lnTo>
                  <a:close/>
                  <a:moveTo>
                    <a:pt x="223783" y="2800943"/>
                  </a:moveTo>
                  <a:lnTo>
                    <a:pt x="223582" y="2802644"/>
                  </a:lnTo>
                  <a:lnTo>
                    <a:pt x="222272" y="2805469"/>
                  </a:lnTo>
                  <a:lnTo>
                    <a:pt x="221806" y="2807795"/>
                  </a:lnTo>
                  <a:lnTo>
                    <a:pt x="221787" y="2816936"/>
                  </a:lnTo>
                  <a:lnTo>
                    <a:pt x="221452" y="2818649"/>
                  </a:lnTo>
                  <a:lnTo>
                    <a:pt x="220949" y="2819650"/>
                  </a:lnTo>
                  <a:lnTo>
                    <a:pt x="220080" y="2820365"/>
                  </a:lnTo>
                  <a:lnTo>
                    <a:pt x="218629" y="2821241"/>
                  </a:lnTo>
                  <a:lnTo>
                    <a:pt x="218623" y="2822308"/>
                  </a:lnTo>
                  <a:lnTo>
                    <a:pt x="218025" y="2823395"/>
                  </a:lnTo>
                  <a:lnTo>
                    <a:pt x="217125" y="2824138"/>
                  </a:lnTo>
                  <a:lnTo>
                    <a:pt x="216225" y="2824184"/>
                  </a:lnTo>
                  <a:lnTo>
                    <a:pt x="215302" y="2823500"/>
                  </a:lnTo>
                  <a:lnTo>
                    <a:pt x="213719" y="2821138"/>
                  </a:lnTo>
                  <a:lnTo>
                    <a:pt x="212862" y="2820342"/>
                  </a:lnTo>
                  <a:lnTo>
                    <a:pt x="210006" y="2819133"/>
                  </a:lnTo>
                  <a:lnTo>
                    <a:pt x="208951" y="2819078"/>
                  </a:lnTo>
                  <a:lnTo>
                    <a:pt x="206602" y="2819623"/>
                  </a:lnTo>
                  <a:lnTo>
                    <a:pt x="205841" y="2819003"/>
                  </a:lnTo>
                  <a:lnTo>
                    <a:pt x="206279" y="2813869"/>
                  </a:lnTo>
                  <a:lnTo>
                    <a:pt x="210586" y="2810533"/>
                  </a:lnTo>
                  <a:lnTo>
                    <a:pt x="215365" y="2807759"/>
                  </a:lnTo>
                  <a:lnTo>
                    <a:pt x="217248" y="2804318"/>
                  </a:lnTo>
                  <a:lnTo>
                    <a:pt x="219124" y="2802815"/>
                  </a:lnTo>
                  <a:lnTo>
                    <a:pt x="221807" y="2801342"/>
                  </a:lnTo>
                  <a:close/>
                  <a:moveTo>
                    <a:pt x="4917367" y="2800280"/>
                  </a:moveTo>
                  <a:lnTo>
                    <a:pt x="4918270" y="2800650"/>
                  </a:lnTo>
                  <a:lnTo>
                    <a:pt x="4918104" y="2801910"/>
                  </a:lnTo>
                  <a:lnTo>
                    <a:pt x="4917884" y="2802753"/>
                  </a:lnTo>
                  <a:lnTo>
                    <a:pt x="4916464" y="2803443"/>
                  </a:lnTo>
                  <a:lnTo>
                    <a:pt x="4915166" y="2803816"/>
                  </a:lnTo>
                  <a:lnTo>
                    <a:pt x="4914910" y="2803089"/>
                  </a:lnTo>
                  <a:lnTo>
                    <a:pt x="4916503" y="2801819"/>
                  </a:lnTo>
                  <a:lnTo>
                    <a:pt x="4916170" y="2800807"/>
                  </a:lnTo>
                  <a:lnTo>
                    <a:pt x="4916568" y="2800404"/>
                  </a:lnTo>
                  <a:close/>
                  <a:moveTo>
                    <a:pt x="4802344" y="2798017"/>
                  </a:moveTo>
                  <a:lnTo>
                    <a:pt x="4803096" y="2798375"/>
                  </a:lnTo>
                  <a:lnTo>
                    <a:pt x="4804089" y="2798515"/>
                  </a:lnTo>
                  <a:lnTo>
                    <a:pt x="4804689" y="2798784"/>
                  </a:lnTo>
                  <a:lnTo>
                    <a:pt x="4804400" y="2799379"/>
                  </a:lnTo>
                  <a:lnTo>
                    <a:pt x="4803902" y="2800317"/>
                  </a:lnTo>
                  <a:lnTo>
                    <a:pt x="4803368" y="2801428"/>
                  </a:lnTo>
                  <a:lnTo>
                    <a:pt x="4803626" y="2802132"/>
                  </a:lnTo>
                  <a:lnTo>
                    <a:pt x="4803255" y="2803423"/>
                  </a:lnTo>
                  <a:lnTo>
                    <a:pt x="4802499" y="2803806"/>
                  </a:lnTo>
                  <a:lnTo>
                    <a:pt x="4801798" y="2803902"/>
                  </a:lnTo>
                  <a:lnTo>
                    <a:pt x="4802186" y="2803238"/>
                  </a:lnTo>
                  <a:lnTo>
                    <a:pt x="4802683" y="2802447"/>
                  </a:lnTo>
                  <a:lnTo>
                    <a:pt x="4802127" y="2802395"/>
                  </a:lnTo>
                  <a:lnTo>
                    <a:pt x="4801423" y="2802936"/>
                  </a:lnTo>
                  <a:lnTo>
                    <a:pt x="4800732" y="2803273"/>
                  </a:lnTo>
                  <a:lnTo>
                    <a:pt x="4799904" y="2802869"/>
                  </a:lnTo>
                  <a:lnTo>
                    <a:pt x="4799420" y="2801881"/>
                  </a:lnTo>
                  <a:lnTo>
                    <a:pt x="4799550" y="2800513"/>
                  </a:lnTo>
                  <a:lnTo>
                    <a:pt x="4800059" y="2799665"/>
                  </a:lnTo>
                  <a:lnTo>
                    <a:pt x="4801059" y="2798916"/>
                  </a:lnTo>
                  <a:lnTo>
                    <a:pt x="4801517" y="2799186"/>
                  </a:lnTo>
                  <a:lnTo>
                    <a:pt x="4801739" y="2798637"/>
                  </a:lnTo>
                  <a:close/>
                  <a:moveTo>
                    <a:pt x="5023601" y="2796005"/>
                  </a:moveTo>
                  <a:lnTo>
                    <a:pt x="5023905" y="2797038"/>
                  </a:lnTo>
                  <a:lnTo>
                    <a:pt x="5024325" y="2796987"/>
                  </a:lnTo>
                  <a:lnTo>
                    <a:pt x="5024780" y="2797343"/>
                  </a:lnTo>
                  <a:lnTo>
                    <a:pt x="5026379" y="2798818"/>
                  </a:lnTo>
                  <a:lnTo>
                    <a:pt x="5026882" y="2799756"/>
                  </a:lnTo>
                  <a:lnTo>
                    <a:pt x="5027066" y="2800859"/>
                  </a:lnTo>
                  <a:lnTo>
                    <a:pt x="5027125" y="2802229"/>
                  </a:lnTo>
                  <a:lnTo>
                    <a:pt x="5027908" y="2803172"/>
                  </a:lnTo>
                  <a:lnTo>
                    <a:pt x="5027191" y="2805488"/>
                  </a:lnTo>
                  <a:lnTo>
                    <a:pt x="5025905" y="2807985"/>
                  </a:lnTo>
                  <a:lnTo>
                    <a:pt x="5021888" y="2813605"/>
                  </a:lnTo>
                  <a:lnTo>
                    <a:pt x="5021223" y="2815103"/>
                  </a:lnTo>
                  <a:lnTo>
                    <a:pt x="5020929" y="2816098"/>
                  </a:lnTo>
                  <a:lnTo>
                    <a:pt x="5020863" y="2816777"/>
                  </a:lnTo>
                  <a:lnTo>
                    <a:pt x="5021165" y="2817548"/>
                  </a:lnTo>
                  <a:lnTo>
                    <a:pt x="5021981" y="2818816"/>
                  </a:lnTo>
                  <a:lnTo>
                    <a:pt x="5022302" y="2819863"/>
                  </a:lnTo>
                  <a:lnTo>
                    <a:pt x="5021682" y="2820331"/>
                  </a:lnTo>
                  <a:lnTo>
                    <a:pt x="5019835" y="2820902"/>
                  </a:lnTo>
                  <a:lnTo>
                    <a:pt x="5017799" y="2823887"/>
                  </a:lnTo>
                  <a:lnTo>
                    <a:pt x="5016609" y="2825149"/>
                  </a:lnTo>
                  <a:lnTo>
                    <a:pt x="5014802" y="2825542"/>
                  </a:lnTo>
                  <a:lnTo>
                    <a:pt x="5015125" y="2823907"/>
                  </a:lnTo>
                  <a:lnTo>
                    <a:pt x="5015575" y="2822747"/>
                  </a:lnTo>
                  <a:lnTo>
                    <a:pt x="5016262" y="2821830"/>
                  </a:lnTo>
                  <a:lnTo>
                    <a:pt x="5017296" y="2820951"/>
                  </a:lnTo>
                  <a:lnTo>
                    <a:pt x="5017412" y="2820576"/>
                  </a:lnTo>
                  <a:lnTo>
                    <a:pt x="5016854" y="2820352"/>
                  </a:lnTo>
                  <a:lnTo>
                    <a:pt x="5016015" y="2820339"/>
                  </a:lnTo>
                  <a:lnTo>
                    <a:pt x="5014649" y="2820724"/>
                  </a:lnTo>
                  <a:lnTo>
                    <a:pt x="5013866" y="2820437"/>
                  </a:lnTo>
                  <a:lnTo>
                    <a:pt x="5012227" y="2819561"/>
                  </a:lnTo>
                  <a:lnTo>
                    <a:pt x="5011928" y="2819642"/>
                  </a:lnTo>
                  <a:lnTo>
                    <a:pt x="5011198" y="2820258"/>
                  </a:lnTo>
                  <a:lnTo>
                    <a:pt x="5010669" y="2820267"/>
                  </a:lnTo>
                  <a:lnTo>
                    <a:pt x="5010295" y="2819844"/>
                  </a:lnTo>
                  <a:lnTo>
                    <a:pt x="5009361" y="2818942"/>
                  </a:lnTo>
                  <a:lnTo>
                    <a:pt x="5008480" y="2818246"/>
                  </a:lnTo>
                  <a:lnTo>
                    <a:pt x="5008269" y="2818432"/>
                  </a:lnTo>
                  <a:lnTo>
                    <a:pt x="5008137" y="2816700"/>
                  </a:lnTo>
                  <a:lnTo>
                    <a:pt x="5010284" y="2815656"/>
                  </a:lnTo>
                  <a:lnTo>
                    <a:pt x="5010421" y="2813854"/>
                  </a:lnTo>
                  <a:lnTo>
                    <a:pt x="5011464" y="2813374"/>
                  </a:lnTo>
                  <a:lnTo>
                    <a:pt x="5012825" y="2812375"/>
                  </a:lnTo>
                  <a:lnTo>
                    <a:pt x="5013994" y="2812194"/>
                  </a:lnTo>
                  <a:lnTo>
                    <a:pt x="5014477" y="2814179"/>
                  </a:lnTo>
                  <a:lnTo>
                    <a:pt x="5015137" y="2815737"/>
                  </a:lnTo>
                  <a:lnTo>
                    <a:pt x="5016652" y="2815621"/>
                  </a:lnTo>
                  <a:lnTo>
                    <a:pt x="5018268" y="2814702"/>
                  </a:lnTo>
                  <a:lnTo>
                    <a:pt x="5019199" y="2813837"/>
                  </a:lnTo>
                  <a:lnTo>
                    <a:pt x="5020680" y="2811005"/>
                  </a:lnTo>
                  <a:lnTo>
                    <a:pt x="5021128" y="2809152"/>
                  </a:lnTo>
                  <a:lnTo>
                    <a:pt x="5020756" y="2807531"/>
                  </a:lnTo>
                  <a:lnTo>
                    <a:pt x="5019871" y="2805698"/>
                  </a:lnTo>
                  <a:lnTo>
                    <a:pt x="5019633" y="2803964"/>
                  </a:lnTo>
                  <a:lnTo>
                    <a:pt x="5019965" y="2802499"/>
                  </a:lnTo>
                  <a:lnTo>
                    <a:pt x="5020764" y="2801447"/>
                  </a:lnTo>
                  <a:lnTo>
                    <a:pt x="5020858" y="2802796"/>
                  </a:lnTo>
                  <a:lnTo>
                    <a:pt x="5020799" y="2803292"/>
                  </a:lnTo>
                  <a:lnTo>
                    <a:pt x="5022153" y="2803255"/>
                  </a:lnTo>
                  <a:lnTo>
                    <a:pt x="5022702" y="2800694"/>
                  </a:lnTo>
                  <a:lnTo>
                    <a:pt x="5023019" y="2797478"/>
                  </a:lnTo>
                  <a:close/>
                  <a:moveTo>
                    <a:pt x="4922001" y="2794405"/>
                  </a:moveTo>
                  <a:lnTo>
                    <a:pt x="4923578" y="2794628"/>
                  </a:lnTo>
                  <a:lnTo>
                    <a:pt x="4925211" y="2795608"/>
                  </a:lnTo>
                  <a:lnTo>
                    <a:pt x="4926116" y="2796319"/>
                  </a:lnTo>
                  <a:lnTo>
                    <a:pt x="4925623" y="2797247"/>
                  </a:lnTo>
                  <a:lnTo>
                    <a:pt x="4923998" y="2797288"/>
                  </a:lnTo>
                  <a:lnTo>
                    <a:pt x="4922329" y="2798272"/>
                  </a:lnTo>
                  <a:lnTo>
                    <a:pt x="4920009" y="2798932"/>
                  </a:lnTo>
                  <a:lnTo>
                    <a:pt x="4918503" y="2798314"/>
                  </a:lnTo>
                  <a:lnTo>
                    <a:pt x="4918046" y="2797278"/>
                  </a:lnTo>
                  <a:lnTo>
                    <a:pt x="4920035" y="2795606"/>
                  </a:lnTo>
                  <a:lnTo>
                    <a:pt x="4920706" y="2795118"/>
                  </a:lnTo>
                  <a:close/>
                  <a:moveTo>
                    <a:pt x="30098" y="2792824"/>
                  </a:moveTo>
                  <a:lnTo>
                    <a:pt x="32500" y="2793961"/>
                  </a:lnTo>
                  <a:lnTo>
                    <a:pt x="36201" y="2797384"/>
                  </a:lnTo>
                  <a:lnTo>
                    <a:pt x="34354" y="2797029"/>
                  </a:lnTo>
                  <a:lnTo>
                    <a:pt x="30656" y="2794836"/>
                  </a:lnTo>
                  <a:lnTo>
                    <a:pt x="28887" y="2795652"/>
                  </a:lnTo>
                  <a:lnTo>
                    <a:pt x="30079" y="2795595"/>
                  </a:lnTo>
                  <a:lnTo>
                    <a:pt x="30945" y="2795985"/>
                  </a:lnTo>
                  <a:lnTo>
                    <a:pt x="31269" y="2796937"/>
                  </a:lnTo>
                  <a:lnTo>
                    <a:pt x="30842" y="2798545"/>
                  </a:lnTo>
                  <a:lnTo>
                    <a:pt x="32266" y="2798733"/>
                  </a:lnTo>
                  <a:lnTo>
                    <a:pt x="35324" y="2800337"/>
                  </a:lnTo>
                  <a:lnTo>
                    <a:pt x="36119" y="2800337"/>
                  </a:lnTo>
                  <a:lnTo>
                    <a:pt x="37478" y="2799255"/>
                  </a:lnTo>
                  <a:lnTo>
                    <a:pt x="39394" y="2798941"/>
                  </a:lnTo>
                  <a:lnTo>
                    <a:pt x="41142" y="2799220"/>
                  </a:lnTo>
                  <a:lnTo>
                    <a:pt x="41987" y="2799935"/>
                  </a:lnTo>
                  <a:lnTo>
                    <a:pt x="42007" y="2802094"/>
                  </a:lnTo>
                  <a:lnTo>
                    <a:pt x="41708" y="2803776"/>
                  </a:lnTo>
                  <a:lnTo>
                    <a:pt x="40655" y="2805401"/>
                  </a:lnTo>
                  <a:lnTo>
                    <a:pt x="38433" y="2807373"/>
                  </a:lnTo>
                  <a:lnTo>
                    <a:pt x="38240" y="2809020"/>
                  </a:lnTo>
                  <a:lnTo>
                    <a:pt x="36956" y="2809419"/>
                  </a:lnTo>
                  <a:lnTo>
                    <a:pt x="35371" y="2809051"/>
                  </a:lnTo>
                  <a:lnTo>
                    <a:pt x="34277" y="2808385"/>
                  </a:lnTo>
                  <a:lnTo>
                    <a:pt x="33490" y="2806918"/>
                  </a:lnTo>
                  <a:lnTo>
                    <a:pt x="32377" y="2803486"/>
                  </a:lnTo>
                  <a:lnTo>
                    <a:pt x="31378" y="2802336"/>
                  </a:lnTo>
                  <a:lnTo>
                    <a:pt x="31182" y="2802815"/>
                  </a:lnTo>
                  <a:lnTo>
                    <a:pt x="31211" y="2802925"/>
                  </a:lnTo>
                  <a:lnTo>
                    <a:pt x="31323" y="2802955"/>
                  </a:lnTo>
                  <a:lnTo>
                    <a:pt x="31370" y="2803200"/>
                  </a:lnTo>
                  <a:lnTo>
                    <a:pt x="29888" y="2804900"/>
                  </a:lnTo>
                  <a:lnTo>
                    <a:pt x="30841" y="2808528"/>
                  </a:lnTo>
                  <a:lnTo>
                    <a:pt x="28566" y="2809337"/>
                  </a:lnTo>
                  <a:lnTo>
                    <a:pt x="27111" y="2808800"/>
                  </a:lnTo>
                  <a:lnTo>
                    <a:pt x="26700" y="2807223"/>
                  </a:lnTo>
                  <a:lnTo>
                    <a:pt x="26806" y="2802231"/>
                  </a:lnTo>
                  <a:lnTo>
                    <a:pt x="28214" y="2800631"/>
                  </a:lnTo>
                  <a:lnTo>
                    <a:pt x="27327" y="2795584"/>
                  </a:lnTo>
                  <a:lnTo>
                    <a:pt x="28058" y="2793338"/>
                  </a:lnTo>
                  <a:close/>
                  <a:moveTo>
                    <a:pt x="228780" y="2785267"/>
                  </a:moveTo>
                  <a:lnTo>
                    <a:pt x="231607" y="2785702"/>
                  </a:lnTo>
                  <a:lnTo>
                    <a:pt x="236871" y="2788537"/>
                  </a:lnTo>
                  <a:lnTo>
                    <a:pt x="238160" y="2788711"/>
                  </a:lnTo>
                  <a:lnTo>
                    <a:pt x="239710" y="2788609"/>
                  </a:lnTo>
                  <a:lnTo>
                    <a:pt x="241062" y="2788885"/>
                  </a:lnTo>
                  <a:lnTo>
                    <a:pt x="241728" y="2790222"/>
                  </a:lnTo>
                  <a:lnTo>
                    <a:pt x="238565" y="2791655"/>
                  </a:lnTo>
                  <a:lnTo>
                    <a:pt x="237202" y="2792820"/>
                  </a:lnTo>
                  <a:lnTo>
                    <a:pt x="236686" y="2794371"/>
                  </a:lnTo>
                  <a:lnTo>
                    <a:pt x="234166" y="2796931"/>
                  </a:lnTo>
                  <a:lnTo>
                    <a:pt x="232839" y="2799838"/>
                  </a:lnTo>
                  <a:lnTo>
                    <a:pt x="231805" y="2801251"/>
                  </a:lnTo>
                  <a:lnTo>
                    <a:pt x="228623" y="2797646"/>
                  </a:lnTo>
                  <a:lnTo>
                    <a:pt x="226739" y="2797479"/>
                  </a:lnTo>
                  <a:lnTo>
                    <a:pt x="218513" y="2801013"/>
                  </a:lnTo>
                  <a:lnTo>
                    <a:pt x="217638" y="2801055"/>
                  </a:lnTo>
                  <a:lnTo>
                    <a:pt x="216554" y="2801384"/>
                  </a:lnTo>
                  <a:lnTo>
                    <a:pt x="215769" y="2802987"/>
                  </a:lnTo>
                  <a:lnTo>
                    <a:pt x="215070" y="2805678"/>
                  </a:lnTo>
                  <a:lnTo>
                    <a:pt x="213795" y="2807183"/>
                  </a:lnTo>
                  <a:lnTo>
                    <a:pt x="212835" y="2807564"/>
                  </a:lnTo>
                  <a:lnTo>
                    <a:pt x="211895" y="2807570"/>
                  </a:lnTo>
                  <a:lnTo>
                    <a:pt x="210667" y="2807962"/>
                  </a:lnTo>
                  <a:lnTo>
                    <a:pt x="208443" y="2809442"/>
                  </a:lnTo>
                  <a:lnTo>
                    <a:pt x="206320" y="2811194"/>
                  </a:lnTo>
                  <a:lnTo>
                    <a:pt x="207123" y="2808771"/>
                  </a:lnTo>
                  <a:lnTo>
                    <a:pt x="209070" y="2804621"/>
                  </a:lnTo>
                  <a:lnTo>
                    <a:pt x="211343" y="2800511"/>
                  </a:lnTo>
                  <a:lnTo>
                    <a:pt x="214032" y="2797067"/>
                  </a:lnTo>
                  <a:lnTo>
                    <a:pt x="216486" y="2791173"/>
                  </a:lnTo>
                  <a:lnTo>
                    <a:pt x="217685" y="2788954"/>
                  </a:lnTo>
                  <a:lnTo>
                    <a:pt x="218637" y="2787831"/>
                  </a:lnTo>
                  <a:lnTo>
                    <a:pt x="221099" y="2786384"/>
                  </a:lnTo>
                  <a:lnTo>
                    <a:pt x="222211" y="2786217"/>
                  </a:lnTo>
                  <a:lnTo>
                    <a:pt x="225197" y="2786368"/>
                  </a:lnTo>
                  <a:lnTo>
                    <a:pt x="226151" y="2785757"/>
                  </a:lnTo>
                  <a:lnTo>
                    <a:pt x="227107" y="2785298"/>
                  </a:lnTo>
                  <a:close/>
                  <a:moveTo>
                    <a:pt x="26741" y="2777321"/>
                  </a:moveTo>
                  <a:lnTo>
                    <a:pt x="28168" y="2777438"/>
                  </a:lnTo>
                  <a:lnTo>
                    <a:pt x="32012" y="2778411"/>
                  </a:lnTo>
                  <a:lnTo>
                    <a:pt x="33163" y="2779537"/>
                  </a:lnTo>
                  <a:lnTo>
                    <a:pt x="32983" y="2780579"/>
                  </a:lnTo>
                  <a:lnTo>
                    <a:pt x="31968" y="2780404"/>
                  </a:lnTo>
                  <a:lnTo>
                    <a:pt x="32015" y="2780572"/>
                  </a:lnTo>
                  <a:lnTo>
                    <a:pt x="33252" y="2781433"/>
                  </a:lnTo>
                  <a:lnTo>
                    <a:pt x="35635" y="2782478"/>
                  </a:lnTo>
                  <a:lnTo>
                    <a:pt x="36501" y="2783101"/>
                  </a:lnTo>
                  <a:lnTo>
                    <a:pt x="36965" y="2783827"/>
                  </a:lnTo>
                  <a:lnTo>
                    <a:pt x="36497" y="2784465"/>
                  </a:lnTo>
                  <a:lnTo>
                    <a:pt x="35320" y="2784479"/>
                  </a:lnTo>
                  <a:lnTo>
                    <a:pt x="34723" y="2784326"/>
                  </a:lnTo>
                  <a:lnTo>
                    <a:pt x="33238" y="2784157"/>
                  </a:lnTo>
                  <a:lnTo>
                    <a:pt x="30489" y="2783328"/>
                  </a:lnTo>
                  <a:lnTo>
                    <a:pt x="28471" y="2782093"/>
                  </a:lnTo>
                  <a:lnTo>
                    <a:pt x="27034" y="2780816"/>
                  </a:lnTo>
                  <a:lnTo>
                    <a:pt x="26277" y="2778929"/>
                  </a:lnTo>
                  <a:close/>
                  <a:moveTo>
                    <a:pt x="3418775" y="2772968"/>
                  </a:moveTo>
                  <a:lnTo>
                    <a:pt x="3419502" y="2773310"/>
                  </a:lnTo>
                  <a:lnTo>
                    <a:pt x="3420442" y="2774703"/>
                  </a:lnTo>
                  <a:lnTo>
                    <a:pt x="3420565" y="2776031"/>
                  </a:lnTo>
                  <a:lnTo>
                    <a:pt x="3420478" y="2776302"/>
                  </a:lnTo>
                  <a:lnTo>
                    <a:pt x="3420419" y="2776554"/>
                  </a:lnTo>
                  <a:lnTo>
                    <a:pt x="3420468" y="2776977"/>
                  </a:lnTo>
                  <a:lnTo>
                    <a:pt x="3420689" y="2777345"/>
                  </a:lnTo>
                  <a:lnTo>
                    <a:pt x="3421462" y="2778955"/>
                  </a:lnTo>
                  <a:lnTo>
                    <a:pt x="3421700" y="2779728"/>
                  </a:lnTo>
                  <a:lnTo>
                    <a:pt x="3421616" y="2780277"/>
                  </a:lnTo>
                  <a:lnTo>
                    <a:pt x="3421885" y="2781339"/>
                  </a:lnTo>
                  <a:lnTo>
                    <a:pt x="3422610" y="2782983"/>
                  </a:lnTo>
                  <a:lnTo>
                    <a:pt x="3423780" y="2786090"/>
                  </a:lnTo>
                  <a:lnTo>
                    <a:pt x="3423926" y="2788119"/>
                  </a:lnTo>
                  <a:lnTo>
                    <a:pt x="3423392" y="2790390"/>
                  </a:lnTo>
                  <a:lnTo>
                    <a:pt x="3422966" y="2790708"/>
                  </a:lnTo>
                  <a:lnTo>
                    <a:pt x="3422884" y="2789298"/>
                  </a:lnTo>
                  <a:lnTo>
                    <a:pt x="3422443" y="2787950"/>
                  </a:lnTo>
                  <a:lnTo>
                    <a:pt x="3421685" y="2786695"/>
                  </a:lnTo>
                  <a:lnTo>
                    <a:pt x="3421187" y="2784857"/>
                  </a:lnTo>
                  <a:lnTo>
                    <a:pt x="3420857" y="2782480"/>
                  </a:lnTo>
                  <a:lnTo>
                    <a:pt x="3420664" y="2779098"/>
                  </a:lnTo>
                  <a:close/>
                  <a:moveTo>
                    <a:pt x="5043141" y="2768738"/>
                  </a:moveTo>
                  <a:lnTo>
                    <a:pt x="5045051" y="2769516"/>
                  </a:lnTo>
                  <a:lnTo>
                    <a:pt x="5046409" y="2769716"/>
                  </a:lnTo>
                  <a:lnTo>
                    <a:pt x="5047206" y="2769942"/>
                  </a:lnTo>
                  <a:lnTo>
                    <a:pt x="5047611" y="2769870"/>
                  </a:lnTo>
                  <a:lnTo>
                    <a:pt x="5048029" y="2769608"/>
                  </a:lnTo>
                  <a:lnTo>
                    <a:pt x="5048483" y="2769498"/>
                  </a:lnTo>
                  <a:lnTo>
                    <a:pt x="5049007" y="2769923"/>
                  </a:lnTo>
                  <a:lnTo>
                    <a:pt x="5049187" y="2770395"/>
                  </a:lnTo>
                  <a:lnTo>
                    <a:pt x="5049234" y="2770896"/>
                  </a:lnTo>
                  <a:lnTo>
                    <a:pt x="5049329" y="2771367"/>
                  </a:lnTo>
                  <a:lnTo>
                    <a:pt x="5049666" y="2771803"/>
                  </a:lnTo>
                  <a:lnTo>
                    <a:pt x="5051243" y="2772741"/>
                  </a:lnTo>
                  <a:lnTo>
                    <a:pt x="5052492" y="2772902"/>
                  </a:lnTo>
                  <a:lnTo>
                    <a:pt x="5053614" y="2772455"/>
                  </a:lnTo>
                  <a:lnTo>
                    <a:pt x="5054832" y="2771572"/>
                  </a:lnTo>
                  <a:lnTo>
                    <a:pt x="5055170" y="2773134"/>
                  </a:lnTo>
                  <a:lnTo>
                    <a:pt x="5054510" y="2773780"/>
                  </a:lnTo>
                  <a:lnTo>
                    <a:pt x="5052379" y="2774414"/>
                  </a:lnTo>
                  <a:lnTo>
                    <a:pt x="5052080" y="2775083"/>
                  </a:lnTo>
                  <a:lnTo>
                    <a:pt x="5052118" y="2776018"/>
                  </a:lnTo>
                  <a:lnTo>
                    <a:pt x="5052030" y="2777062"/>
                  </a:lnTo>
                  <a:lnTo>
                    <a:pt x="5050605" y="2778881"/>
                  </a:lnTo>
                  <a:lnTo>
                    <a:pt x="5050449" y="2779696"/>
                  </a:lnTo>
                  <a:lnTo>
                    <a:pt x="5050434" y="2780616"/>
                  </a:lnTo>
                  <a:lnTo>
                    <a:pt x="5050124" y="2781796"/>
                  </a:lnTo>
                  <a:lnTo>
                    <a:pt x="5049543" y="2782766"/>
                  </a:lnTo>
                  <a:lnTo>
                    <a:pt x="5047451" y="2784797"/>
                  </a:lnTo>
                  <a:lnTo>
                    <a:pt x="5045961" y="2787540"/>
                  </a:lnTo>
                  <a:lnTo>
                    <a:pt x="5045427" y="2788235"/>
                  </a:lnTo>
                  <a:lnTo>
                    <a:pt x="5045264" y="2788680"/>
                  </a:lnTo>
                  <a:lnTo>
                    <a:pt x="5044892" y="2792019"/>
                  </a:lnTo>
                  <a:lnTo>
                    <a:pt x="5044649" y="2792245"/>
                  </a:lnTo>
                  <a:lnTo>
                    <a:pt x="5044232" y="2792207"/>
                  </a:lnTo>
                  <a:lnTo>
                    <a:pt x="5043624" y="2792428"/>
                  </a:lnTo>
                  <a:lnTo>
                    <a:pt x="5042040" y="2792022"/>
                  </a:lnTo>
                  <a:lnTo>
                    <a:pt x="5039950" y="2789812"/>
                  </a:lnTo>
                  <a:lnTo>
                    <a:pt x="5037791" y="2787075"/>
                  </a:lnTo>
                  <a:lnTo>
                    <a:pt x="5035960" y="2785091"/>
                  </a:lnTo>
                  <a:lnTo>
                    <a:pt x="5036354" y="2784107"/>
                  </a:lnTo>
                  <a:lnTo>
                    <a:pt x="5038123" y="2783225"/>
                  </a:lnTo>
                  <a:lnTo>
                    <a:pt x="5038641" y="2782184"/>
                  </a:lnTo>
                  <a:lnTo>
                    <a:pt x="5037980" y="2782378"/>
                  </a:lnTo>
                  <a:lnTo>
                    <a:pt x="5037281" y="2782333"/>
                  </a:lnTo>
                  <a:lnTo>
                    <a:pt x="5036560" y="2782043"/>
                  </a:lnTo>
                  <a:lnTo>
                    <a:pt x="5035847" y="2781516"/>
                  </a:lnTo>
                  <a:lnTo>
                    <a:pt x="5035934" y="2780974"/>
                  </a:lnTo>
                  <a:lnTo>
                    <a:pt x="5035884" y="2780542"/>
                  </a:lnTo>
                  <a:lnTo>
                    <a:pt x="5035781" y="2780129"/>
                  </a:lnTo>
                  <a:lnTo>
                    <a:pt x="5035727" y="2779645"/>
                  </a:lnTo>
                  <a:lnTo>
                    <a:pt x="5035466" y="2779913"/>
                  </a:lnTo>
                  <a:lnTo>
                    <a:pt x="5034824" y="2780305"/>
                  </a:lnTo>
                  <a:lnTo>
                    <a:pt x="5034547" y="2780551"/>
                  </a:lnTo>
                  <a:lnTo>
                    <a:pt x="5034643" y="2778481"/>
                  </a:lnTo>
                  <a:lnTo>
                    <a:pt x="5036159" y="2777479"/>
                  </a:lnTo>
                  <a:lnTo>
                    <a:pt x="5038238" y="2777212"/>
                  </a:lnTo>
                  <a:lnTo>
                    <a:pt x="5040043" y="2777351"/>
                  </a:lnTo>
                  <a:lnTo>
                    <a:pt x="5040049" y="2778286"/>
                  </a:lnTo>
                  <a:lnTo>
                    <a:pt x="5042082" y="2779538"/>
                  </a:lnTo>
                  <a:lnTo>
                    <a:pt x="5041726" y="2777970"/>
                  </a:lnTo>
                  <a:lnTo>
                    <a:pt x="5040861" y="2776783"/>
                  </a:lnTo>
                  <a:lnTo>
                    <a:pt x="5039948" y="2775812"/>
                  </a:lnTo>
                  <a:lnTo>
                    <a:pt x="5039462" y="2774893"/>
                  </a:lnTo>
                  <a:lnTo>
                    <a:pt x="5039668" y="2773742"/>
                  </a:lnTo>
                  <a:lnTo>
                    <a:pt x="5040400" y="2773380"/>
                  </a:lnTo>
                  <a:lnTo>
                    <a:pt x="5041243" y="2773117"/>
                  </a:lnTo>
                  <a:lnTo>
                    <a:pt x="5041750" y="2772272"/>
                  </a:lnTo>
                  <a:lnTo>
                    <a:pt x="5041171" y="2772013"/>
                  </a:lnTo>
                  <a:lnTo>
                    <a:pt x="5039677" y="2770963"/>
                  </a:lnTo>
                  <a:lnTo>
                    <a:pt x="5041879" y="2769164"/>
                  </a:lnTo>
                  <a:close/>
                  <a:moveTo>
                    <a:pt x="130311" y="2753658"/>
                  </a:moveTo>
                  <a:lnTo>
                    <a:pt x="131155" y="2755429"/>
                  </a:lnTo>
                  <a:lnTo>
                    <a:pt x="130487" y="2757345"/>
                  </a:lnTo>
                  <a:lnTo>
                    <a:pt x="129899" y="2758489"/>
                  </a:lnTo>
                  <a:lnTo>
                    <a:pt x="129290" y="2757500"/>
                  </a:lnTo>
                  <a:lnTo>
                    <a:pt x="128571" y="2755797"/>
                  </a:lnTo>
                  <a:lnTo>
                    <a:pt x="128800" y="2753800"/>
                  </a:lnTo>
                  <a:close/>
                  <a:moveTo>
                    <a:pt x="3308195" y="2750442"/>
                  </a:moveTo>
                  <a:lnTo>
                    <a:pt x="3309043" y="2750449"/>
                  </a:lnTo>
                  <a:lnTo>
                    <a:pt x="3310946" y="2750786"/>
                  </a:lnTo>
                  <a:lnTo>
                    <a:pt x="3311287" y="2750788"/>
                  </a:lnTo>
                  <a:lnTo>
                    <a:pt x="3311718" y="2751033"/>
                  </a:lnTo>
                  <a:lnTo>
                    <a:pt x="3311539" y="2751414"/>
                  </a:lnTo>
                  <a:lnTo>
                    <a:pt x="3310957" y="2751579"/>
                  </a:lnTo>
                  <a:lnTo>
                    <a:pt x="3310584" y="2751790"/>
                  </a:lnTo>
                  <a:lnTo>
                    <a:pt x="3310400" y="2751993"/>
                  </a:lnTo>
                  <a:lnTo>
                    <a:pt x="3310128" y="2751924"/>
                  </a:lnTo>
                  <a:lnTo>
                    <a:pt x="3309826" y="2751809"/>
                  </a:lnTo>
                  <a:lnTo>
                    <a:pt x="3309562" y="2752033"/>
                  </a:lnTo>
                  <a:lnTo>
                    <a:pt x="3309517" y="2752685"/>
                  </a:lnTo>
                  <a:lnTo>
                    <a:pt x="3309305" y="2753674"/>
                  </a:lnTo>
                  <a:lnTo>
                    <a:pt x="3308572" y="2754527"/>
                  </a:lnTo>
                  <a:lnTo>
                    <a:pt x="3308122" y="2754815"/>
                  </a:lnTo>
                  <a:lnTo>
                    <a:pt x="3307668" y="2755012"/>
                  </a:lnTo>
                  <a:lnTo>
                    <a:pt x="3306716" y="2755234"/>
                  </a:lnTo>
                  <a:lnTo>
                    <a:pt x="3305227" y="2755204"/>
                  </a:lnTo>
                  <a:lnTo>
                    <a:pt x="3305091" y="2754827"/>
                  </a:lnTo>
                  <a:lnTo>
                    <a:pt x="3305378" y="2753934"/>
                  </a:lnTo>
                  <a:lnTo>
                    <a:pt x="3305687" y="2753427"/>
                  </a:lnTo>
                  <a:lnTo>
                    <a:pt x="3306051" y="2753405"/>
                  </a:lnTo>
                  <a:lnTo>
                    <a:pt x="3306058" y="2753111"/>
                  </a:lnTo>
                  <a:lnTo>
                    <a:pt x="3305987" y="2752595"/>
                  </a:lnTo>
                  <a:lnTo>
                    <a:pt x="3306185" y="2752227"/>
                  </a:lnTo>
                  <a:lnTo>
                    <a:pt x="3307438" y="2750783"/>
                  </a:lnTo>
                  <a:close/>
                  <a:moveTo>
                    <a:pt x="143910" y="2744704"/>
                  </a:moveTo>
                  <a:lnTo>
                    <a:pt x="146605" y="2746722"/>
                  </a:lnTo>
                  <a:lnTo>
                    <a:pt x="147951" y="2748307"/>
                  </a:lnTo>
                  <a:lnTo>
                    <a:pt x="148621" y="2750044"/>
                  </a:lnTo>
                  <a:lnTo>
                    <a:pt x="149855" y="2751405"/>
                  </a:lnTo>
                  <a:lnTo>
                    <a:pt x="151503" y="2755241"/>
                  </a:lnTo>
                  <a:lnTo>
                    <a:pt x="154086" y="2757854"/>
                  </a:lnTo>
                  <a:lnTo>
                    <a:pt x="154975" y="2759594"/>
                  </a:lnTo>
                  <a:lnTo>
                    <a:pt x="156328" y="2763770"/>
                  </a:lnTo>
                  <a:lnTo>
                    <a:pt x="159199" y="2768420"/>
                  </a:lnTo>
                  <a:lnTo>
                    <a:pt x="160112" y="2772265"/>
                  </a:lnTo>
                  <a:lnTo>
                    <a:pt x="164054" y="2778845"/>
                  </a:lnTo>
                  <a:lnTo>
                    <a:pt x="165337" y="2782747"/>
                  </a:lnTo>
                  <a:lnTo>
                    <a:pt x="165736" y="2785919"/>
                  </a:lnTo>
                  <a:lnTo>
                    <a:pt x="166046" y="2786724"/>
                  </a:lnTo>
                  <a:lnTo>
                    <a:pt x="166202" y="2787534"/>
                  </a:lnTo>
                  <a:lnTo>
                    <a:pt x="165578" y="2789671"/>
                  </a:lnTo>
                  <a:lnTo>
                    <a:pt x="165500" y="2790966"/>
                  </a:lnTo>
                  <a:lnTo>
                    <a:pt x="166094" y="2804181"/>
                  </a:lnTo>
                  <a:lnTo>
                    <a:pt x="165940" y="2807757"/>
                  </a:lnTo>
                  <a:lnTo>
                    <a:pt x="165936" y="2807770"/>
                  </a:lnTo>
                  <a:lnTo>
                    <a:pt x="165308" y="2809862"/>
                  </a:lnTo>
                  <a:lnTo>
                    <a:pt x="164018" y="2812183"/>
                  </a:lnTo>
                  <a:lnTo>
                    <a:pt x="162347" y="2813936"/>
                  </a:lnTo>
                  <a:lnTo>
                    <a:pt x="160607" y="2814283"/>
                  </a:lnTo>
                  <a:lnTo>
                    <a:pt x="159864" y="2813494"/>
                  </a:lnTo>
                  <a:lnTo>
                    <a:pt x="159679" y="2812263"/>
                  </a:lnTo>
                  <a:lnTo>
                    <a:pt x="159623" y="2811010"/>
                  </a:lnTo>
                  <a:lnTo>
                    <a:pt x="159254" y="2810119"/>
                  </a:lnTo>
                  <a:lnTo>
                    <a:pt x="158346" y="2809985"/>
                  </a:lnTo>
                  <a:lnTo>
                    <a:pt x="157278" y="2810516"/>
                  </a:lnTo>
                  <a:lnTo>
                    <a:pt x="156267" y="2811190"/>
                  </a:lnTo>
                  <a:lnTo>
                    <a:pt x="155544" y="2811470"/>
                  </a:lnTo>
                  <a:lnTo>
                    <a:pt x="153801" y="2810702"/>
                  </a:lnTo>
                  <a:lnTo>
                    <a:pt x="152428" y="2809733"/>
                  </a:lnTo>
                  <a:lnTo>
                    <a:pt x="151785" y="2808829"/>
                  </a:lnTo>
                  <a:lnTo>
                    <a:pt x="151396" y="2807971"/>
                  </a:lnTo>
                  <a:lnTo>
                    <a:pt x="150579" y="2801844"/>
                  </a:lnTo>
                  <a:lnTo>
                    <a:pt x="150662" y="2799750"/>
                  </a:lnTo>
                  <a:lnTo>
                    <a:pt x="151403" y="2798045"/>
                  </a:lnTo>
                  <a:lnTo>
                    <a:pt x="149501" y="2795490"/>
                  </a:lnTo>
                  <a:lnTo>
                    <a:pt x="148716" y="2793933"/>
                  </a:lnTo>
                  <a:lnTo>
                    <a:pt x="148707" y="2792648"/>
                  </a:lnTo>
                  <a:lnTo>
                    <a:pt x="149691" y="2790813"/>
                  </a:lnTo>
                  <a:lnTo>
                    <a:pt x="150314" y="2789398"/>
                  </a:lnTo>
                  <a:lnTo>
                    <a:pt x="150387" y="2788153"/>
                  </a:lnTo>
                  <a:lnTo>
                    <a:pt x="149741" y="2786852"/>
                  </a:lnTo>
                  <a:lnTo>
                    <a:pt x="147999" y="2785663"/>
                  </a:lnTo>
                  <a:lnTo>
                    <a:pt x="147643" y="2784773"/>
                  </a:lnTo>
                  <a:lnTo>
                    <a:pt x="148296" y="2782920"/>
                  </a:lnTo>
                  <a:lnTo>
                    <a:pt x="148431" y="2782011"/>
                  </a:lnTo>
                  <a:lnTo>
                    <a:pt x="147947" y="2781392"/>
                  </a:lnTo>
                  <a:lnTo>
                    <a:pt x="146643" y="2780738"/>
                  </a:lnTo>
                  <a:lnTo>
                    <a:pt x="146703" y="2780430"/>
                  </a:lnTo>
                  <a:lnTo>
                    <a:pt x="146674" y="2779601"/>
                  </a:lnTo>
                  <a:lnTo>
                    <a:pt x="146548" y="2778662"/>
                  </a:lnTo>
                  <a:lnTo>
                    <a:pt x="146337" y="2777991"/>
                  </a:lnTo>
                  <a:lnTo>
                    <a:pt x="141486" y="2774323"/>
                  </a:lnTo>
                  <a:lnTo>
                    <a:pt x="141233" y="2773275"/>
                  </a:lnTo>
                  <a:lnTo>
                    <a:pt x="141411" y="2767413"/>
                  </a:lnTo>
                  <a:lnTo>
                    <a:pt x="140992" y="2764330"/>
                  </a:lnTo>
                  <a:lnTo>
                    <a:pt x="140949" y="2762444"/>
                  </a:lnTo>
                  <a:lnTo>
                    <a:pt x="141302" y="2760914"/>
                  </a:lnTo>
                  <a:lnTo>
                    <a:pt x="142437" y="2760101"/>
                  </a:lnTo>
                  <a:lnTo>
                    <a:pt x="143948" y="2760320"/>
                  </a:lnTo>
                  <a:lnTo>
                    <a:pt x="146474" y="2761626"/>
                  </a:lnTo>
                  <a:lnTo>
                    <a:pt x="145531" y="2759705"/>
                  </a:lnTo>
                  <a:lnTo>
                    <a:pt x="144361" y="2759138"/>
                  </a:lnTo>
                  <a:lnTo>
                    <a:pt x="142893" y="2759040"/>
                  </a:lnTo>
                  <a:lnTo>
                    <a:pt x="141061" y="2758551"/>
                  </a:lnTo>
                  <a:lnTo>
                    <a:pt x="140214" y="2758007"/>
                  </a:lnTo>
                  <a:lnTo>
                    <a:pt x="139734" y="2757380"/>
                  </a:lnTo>
                  <a:lnTo>
                    <a:pt x="139504" y="2756584"/>
                  </a:lnTo>
                  <a:lnTo>
                    <a:pt x="138944" y="2753130"/>
                  </a:lnTo>
                  <a:lnTo>
                    <a:pt x="138622" y="2752772"/>
                  </a:lnTo>
                  <a:lnTo>
                    <a:pt x="138088" y="2752493"/>
                  </a:lnTo>
                  <a:lnTo>
                    <a:pt x="137717" y="2752065"/>
                  </a:lnTo>
                  <a:lnTo>
                    <a:pt x="137890" y="2751272"/>
                  </a:lnTo>
                  <a:lnTo>
                    <a:pt x="139123" y="2749061"/>
                  </a:lnTo>
                  <a:lnTo>
                    <a:pt x="140696" y="2746681"/>
                  </a:lnTo>
                  <a:lnTo>
                    <a:pt x="142377" y="2744946"/>
                  </a:lnTo>
                  <a:close/>
                  <a:moveTo>
                    <a:pt x="4845" y="2743264"/>
                  </a:moveTo>
                  <a:lnTo>
                    <a:pt x="5361" y="2743314"/>
                  </a:lnTo>
                  <a:lnTo>
                    <a:pt x="6015" y="2743566"/>
                  </a:lnTo>
                  <a:lnTo>
                    <a:pt x="12924" y="2749320"/>
                  </a:lnTo>
                  <a:lnTo>
                    <a:pt x="13303" y="2749956"/>
                  </a:lnTo>
                  <a:lnTo>
                    <a:pt x="13903" y="2751287"/>
                  </a:lnTo>
                  <a:lnTo>
                    <a:pt x="12626" y="2751714"/>
                  </a:lnTo>
                  <a:lnTo>
                    <a:pt x="7281" y="2749535"/>
                  </a:lnTo>
                  <a:lnTo>
                    <a:pt x="6212" y="2748630"/>
                  </a:lnTo>
                  <a:close/>
                  <a:moveTo>
                    <a:pt x="3302623" y="2738433"/>
                  </a:moveTo>
                  <a:lnTo>
                    <a:pt x="3304116" y="2739225"/>
                  </a:lnTo>
                  <a:lnTo>
                    <a:pt x="3303921" y="2740717"/>
                  </a:lnTo>
                  <a:lnTo>
                    <a:pt x="3301981" y="2743217"/>
                  </a:lnTo>
                  <a:lnTo>
                    <a:pt x="3300228" y="2744735"/>
                  </a:lnTo>
                  <a:lnTo>
                    <a:pt x="3299535" y="2744899"/>
                  </a:lnTo>
                  <a:lnTo>
                    <a:pt x="3297001" y="2744791"/>
                  </a:lnTo>
                  <a:lnTo>
                    <a:pt x="3296442" y="2744893"/>
                  </a:lnTo>
                  <a:lnTo>
                    <a:pt x="3296171" y="2744527"/>
                  </a:lnTo>
                  <a:lnTo>
                    <a:pt x="3296367" y="2743855"/>
                  </a:lnTo>
                  <a:lnTo>
                    <a:pt x="3297059" y="2742757"/>
                  </a:lnTo>
                  <a:lnTo>
                    <a:pt x="3300704" y="2738964"/>
                  </a:lnTo>
                  <a:close/>
                  <a:moveTo>
                    <a:pt x="163394" y="2735436"/>
                  </a:moveTo>
                  <a:lnTo>
                    <a:pt x="164601" y="2735782"/>
                  </a:lnTo>
                  <a:lnTo>
                    <a:pt x="165217" y="2736863"/>
                  </a:lnTo>
                  <a:lnTo>
                    <a:pt x="166070" y="2739032"/>
                  </a:lnTo>
                  <a:lnTo>
                    <a:pt x="166293" y="2740170"/>
                  </a:lnTo>
                  <a:lnTo>
                    <a:pt x="165216" y="2741003"/>
                  </a:lnTo>
                  <a:lnTo>
                    <a:pt x="164372" y="2742008"/>
                  </a:lnTo>
                  <a:lnTo>
                    <a:pt x="163762" y="2743217"/>
                  </a:lnTo>
                  <a:lnTo>
                    <a:pt x="163438" y="2744633"/>
                  </a:lnTo>
                  <a:lnTo>
                    <a:pt x="163610" y="2745972"/>
                  </a:lnTo>
                  <a:lnTo>
                    <a:pt x="164349" y="2746676"/>
                  </a:lnTo>
                  <a:lnTo>
                    <a:pt x="165287" y="2747256"/>
                  </a:lnTo>
                  <a:lnTo>
                    <a:pt x="167237" y="2749934"/>
                  </a:lnTo>
                  <a:lnTo>
                    <a:pt x="167628" y="2751059"/>
                  </a:lnTo>
                  <a:lnTo>
                    <a:pt x="167337" y="2752406"/>
                  </a:lnTo>
                  <a:lnTo>
                    <a:pt x="166612" y="2753396"/>
                  </a:lnTo>
                  <a:lnTo>
                    <a:pt x="165890" y="2754108"/>
                  </a:lnTo>
                  <a:lnTo>
                    <a:pt x="165327" y="2755047"/>
                  </a:lnTo>
                  <a:lnTo>
                    <a:pt x="165078" y="2756699"/>
                  </a:lnTo>
                  <a:lnTo>
                    <a:pt x="164280" y="2757185"/>
                  </a:lnTo>
                  <a:lnTo>
                    <a:pt x="164268" y="2758888"/>
                  </a:lnTo>
                  <a:lnTo>
                    <a:pt x="164026" y="2760533"/>
                  </a:lnTo>
                  <a:lnTo>
                    <a:pt x="163110" y="2764239"/>
                  </a:lnTo>
                  <a:lnTo>
                    <a:pt x="161685" y="2763428"/>
                  </a:lnTo>
                  <a:lnTo>
                    <a:pt x="159534" y="2759658"/>
                  </a:lnTo>
                  <a:lnTo>
                    <a:pt x="155471" y="2756572"/>
                  </a:lnTo>
                  <a:lnTo>
                    <a:pt x="154228" y="2753098"/>
                  </a:lnTo>
                  <a:lnTo>
                    <a:pt x="152340" y="2751414"/>
                  </a:lnTo>
                  <a:lnTo>
                    <a:pt x="151988" y="2749772"/>
                  </a:lnTo>
                  <a:lnTo>
                    <a:pt x="152259" y="2747060"/>
                  </a:lnTo>
                  <a:lnTo>
                    <a:pt x="152217" y="2746003"/>
                  </a:lnTo>
                  <a:lnTo>
                    <a:pt x="152043" y="2745234"/>
                  </a:lnTo>
                  <a:lnTo>
                    <a:pt x="151518" y="2743876"/>
                  </a:lnTo>
                  <a:lnTo>
                    <a:pt x="151393" y="2742955"/>
                  </a:lnTo>
                  <a:lnTo>
                    <a:pt x="154933" y="2741686"/>
                  </a:lnTo>
                  <a:lnTo>
                    <a:pt x="160149" y="2740537"/>
                  </a:lnTo>
                  <a:lnTo>
                    <a:pt x="161358" y="2740026"/>
                  </a:lnTo>
                  <a:lnTo>
                    <a:pt x="161844" y="2738092"/>
                  </a:lnTo>
                  <a:lnTo>
                    <a:pt x="162504" y="2736379"/>
                  </a:lnTo>
                  <a:close/>
                  <a:moveTo>
                    <a:pt x="4902014" y="2731327"/>
                  </a:moveTo>
                  <a:lnTo>
                    <a:pt x="4903285" y="2731480"/>
                  </a:lnTo>
                  <a:lnTo>
                    <a:pt x="4903018" y="2732739"/>
                  </a:lnTo>
                  <a:lnTo>
                    <a:pt x="4902979" y="2733149"/>
                  </a:lnTo>
                  <a:lnTo>
                    <a:pt x="4903010" y="2733497"/>
                  </a:lnTo>
                  <a:lnTo>
                    <a:pt x="4902963" y="2733791"/>
                  </a:lnTo>
                  <a:lnTo>
                    <a:pt x="4902679" y="2734001"/>
                  </a:lnTo>
                  <a:lnTo>
                    <a:pt x="4903104" y="2734233"/>
                  </a:lnTo>
                  <a:lnTo>
                    <a:pt x="4903437" y="2734484"/>
                  </a:lnTo>
                  <a:lnTo>
                    <a:pt x="4903794" y="2734651"/>
                  </a:lnTo>
                  <a:lnTo>
                    <a:pt x="4904301" y="2734657"/>
                  </a:lnTo>
                  <a:lnTo>
                    <a:pt x="4903476" y="2737394"/>
                  </a:lnTo>
                  <a:lnTo>
                    <a:pt x="4903393" y="2738715"/>
                  </a:lnTo>
                  <a:lnTo>
                    <a:pt x="4904061" y="2739381"/>
                  </a:lnTo>
                  <a:lnTo>
                    <a:pt x="4903896" y="2741237"/>
                  </a:lnTo>
                  <a:lnTo>
                    <a:pt x="4901966" y="2745652"/>
                  </a:lnTo>
                  <a:lnTo>
                    <a:pt x="4900913" y="2745027"/>
                  </a:lnTo>
                  <a:lnTo>
                    <a:pt x="4900000" y="2744674"/>
                  </a:lnTo>
                  <a:lnTo>
                    <a:pt x="4899381" y="2744843"/>
                  </a:lnTo>
                  <a:lnTo>
                    <a:pt x="4899198" y="2745743"/>
                  </a:lnTo>
                  <a:lnTo>
                    <a:pt x="4897136" y="2745905"/>
                  </a:lnTo>
                  <a:lnTo>
                    <a:pt x="4896371" y="2745210"/>
                  </a:lnTo>
                  <a:lnTo>
                    <a:pt x="4895930" y="2741680"/>
                  </a:lnTo>
                  <a:lnTo>
                    <a:pt x="4895605" y="2741203"/>
                  </a:lnTo>
                  <a:lnTo>
                    <a:pt x="4895055" y="2740719"/>
                  </a:lnTo>
                  <a:lnTo>
                    <a:pt x="4894526" y="2739984"/>
                  </a:lnTo>
                  <a:lnTo>
                    <a:pt x="4894257" y="2738742"/>
                  </a:lnTo>
                  <a:lnTo>
                    <a:pt x="4894519" y="2738031"/>
                  </a:lnTo>
                  <a:lnTo>
                    <a:pt x="4895173" y="2738085"/>
                  </a:lnTo>
                  <a:lnTo>
                    <a:pt x="4895974" y="2738620"/>
                  </a:lnTo>
                  <a:lnTo>
                    <a:pt x="4896618" y="2739320"/>
                  </a:lnTo>
                  <a:lnTo>
                    <a:pt x="4897505" y="2738088"/>
                  </a:lnTo>
                  <a:lnTo>
                    <a:pt x="4899181" y="2734725"/>
                  </a:lnTo>
                  <a:lnTo>
                    <a:pt x="4899527" y="2733050"/>
                  </a:lnTo>
                  <a:lnTo>
                    <a:pt x="4900370" y="2731957"/>
                  </a:lnTo>
                  <a:close/>
                  <a:moveTo>
                    <a:pt x="3215795" y="2729458"/>
                  </a:moveTo>
                  <a:lnTo>
                    <a:pt x="3216440" y="2729832"/>
                  </a:lnTo>
                  <a:lnTo>
                    <a:pt x="3217085" y="2730740"/>
                  </a:lnTo>
                  <a:lnTo>
                    <a:pt x="3218081" y="2732570"/>
                  </a:lnTo>
                  <a:lnTo>
                    <a:pt x="3219161" y="2734060"/>
                  </a:lnTo>
                  <a:lnTo>
                    <a:pt x="3220035" y="2736200"/>
                  </a:lnTo>
                  <a:lnTo>
                    <a:pt x="3220650" y="2738616"/>
                  </a:lnTo>
                  <a:lnTo>
                    <a:pt x="3220752" y="2740673"/>
                  </a:lnTo>
                  <a:lnTo>
                    <a:pt x="3219921" y="2741931"/>
                  </a:lnTo>
                  <a:lnTo>
                    <a:pt x="3217242" y="2740552"/>
                  </a:lnTo>
                  <a:lnTo>
                    <a:pt x="3216436" y="2741830"/>
                  </a:lnTo>
                  <a:lnTo>
                    <a:pt x="3216683" y="2743765"/>
                  </a:lnTo>
                  <a:lnTo>
                    <a:pt x="3218013" y="2748952"/>
                  </a:lnTo>
                  <a:lnTo>
                    <a:pt x="3217966" y="2750749"/>
                  </a:lnTo>
                  <a:lnTo>
                    <a:pt x="3216989" y="2750444"/>
                  </a:lnTo>
                  <a:lnTo>
                    <a:pt x="3215283" y="2748789"/>
                  </a:lnTo>
                  <a:lnTo>
                    <a:pt x="3213698" y="2746811"/>
                  </a:lnTo>
                  <a:lnTo>
                    <a:pt x="3213090" y="2745497"/>
                  </a:lnTo>
                  <a:lnTo>
                    <a:pt x="3213720" y="2745012"/>
                  </a:lnTo>
                  <a:lnTo>
                    <a:pt x="3214660" y="2745230"/>
                  </a:lnTo>
                  <a:lnTo>
                    <a:pt x="3215349" y="2745037"/>
                  </a:lnTo>
                  <a:lnTo>
                    <a:pt x="3215146" y="2742111"/>
                  </a:lnTo>
                  <a:lnTo>
                    <a:pt x="3215497" y="2741323"/>
                  </a:lnTo>
                  <a:lnTo>
                    <a:pt x="3215899" y="2740723"/>
                  </a:lnTo>
                  <a:lnTo>
                    <a:pt x="3215976" y="2740063"/>
                  </a:lnTo>
                  <a:lnTo>
                    <a:pt x="3215430" y="2739078"/>
                  </a:lnTo>
                  <a:lnTo>
                    <a:pt x="3214872" y="2739503"/>
                  </a:lnTo>
                  <a:lnTo>
                    <a:pt x="3213970" y="2741013"/>
                  </a:lnTo>
                  <a:lnTo>
                    <a:pt x="3213219" y="2740689"/>
                  </a:lnTo>
                  <a:lnTo>
                    <a:pt x="3213082" y="2739563"/>
                  </a:lnTo>
                  <a:lnTo>
                    <a:pt x="3213321" y="2737641"/>
                  </a:lnTo>
                  <a:lnTo>
                    <a:pt x="3213314" y="2736083"/>
                  </a:lnTo>
                  <a:lnTo>
                    <a:pt x="3213736" y="2734039"/>
                  </a:lnTo>
                  <a:lnTo>
                    <a:pt x="3214419" y="2732200"/>
                  </a:lnTo>
                  <a:lnTo>
                    <a:pt x="3215188" y="2731281"/>
                  </a:lnTo>
                  <a:lnTo>
                    <a:pt x="3215381" y="2730816"/>
                  </a:lnTo>
                  <a:lnTo>
                    <a:pt x="3215513" y="2730002"/>
                  </a:lnTo>
                  <a:close/>
                  <a:moveTo>
                    <a:pt x="174906" y="2727423"/>
                  </a:moveTo>
                  <a:lnTo>
                    <a:pt x="175564" y="2728254"/>
                  </a:lnTo>
                  <a:lnTo>
                    <a:pt x="176127" y="2730427"/>
                  </a:lnTo>
                  <a:lnTo>
                    <a:pt x="178075" y="2733757"/>
                  </a:lnTo>
                  <a:lnTo>
                    <a:pt x="178501" y="2736375"/>
                  </a:lnTo>
                  <a:lnTo>
                    <a:pt x="178862" y="2737202"/>
                  </a:lnTo>
                  <a:lnTo>
                    <a:pt x="180402" y="2738852"/>
                  </a:lnTo>
                  <a:lnTo>
                    <a:pt x="180688" y="2739273"/>
                  </a:lnTo>
                  <a:lnTo>
                    <a:pt x="180400" y="2740311"/>
                  </a:lnTo>
                  <a:lnTo>
                    <a:pt x="180577" y="2741170"/>
                  </a:lnTo>
                  <a:lnTo>
                    <a:pt x="181381" y="2742661"/>
                  </a:lnTo>
                  <a:lnTo>
                    <a:pt x="182797" y="2748747"/>
                  </a:lnTo>
                  <a:lnTo>
                    <a:pt x="184184" y="2750588"/>
                  </a:lnTo>
                  <a:lnTo>
                    <a:pt x="184360" y="2751562"/>
                  </a:lnTo>
                  <a:lnTo>
                    <a:pt x="184492" y="2753424"/>
                  </a:lnTo>
                  <a:lnTo>
                    <a:pt x="184782" y="2754335"/>
                  </a:lnTo>
                  <a:lnTo>
                    <a:pt x="185798" y="2755686"/>
                  </a:lnTo>
                  <a:lnTo>
                    <a:pt x="186158" y="2756446"/>
                  </a:lnTo>
                  <a:lnTo>
                    <a:pt x="186825" y="2762621"/>
                  </a:lnTo>
                  <a:lnTo>
                    <a:pt x="186635" y="2764089"/>
                  </a:lnTo>
                  <a:lnTo>
                    <a:pt x="186832" y="2765053"/>
                  </a:lnTo>
                  <a:lnTo>
                    <a:pt x="187771" y="2775187"/>
                  </a:lnTo>
                  <a:lnTo>
                    <a:pt x="191467" y="2787790"/>
                  </a:lnTo>
                  <a:lnTo>
                    <a:pt x="191643" y="2788968"/>
                  </a:lnTo>
                  <a:lnTo>
                    <a:pt x="191547" y="2790302"/>
                  </a:lnTo>
                  <a:lnTo>
                    <a:pt x="190266" y="2790217"/>
                  </a:lnTo>
                  <a:lnTo>
                    <a:pt x="189247" y="2789797"/>
                  </a:lnTo>
                  <a:lnTo>
                    <a:pt x="188398" y="2789096"/>
                  </a:lnTo>
                  <a:lnTo>
                    <a:pt x="186379" y="2786113"/>
                  </a:lnTo>
                  <a:lnTo>
                    <a:pt x="185501" y="2785913"/>
                  </a:lnTo>
                  <a:lnTo>
                    <a:pt x="184198" y="2787103"/>
                  </a:lnTo>
                  <a:lnTo>
                    <a:pt x="185513" y="2787418"/>
                  </a:lnTo>
                  <a:lnTo>
                    <a:pt x="186090" y="2787295"/>
                  </a:lnTo>
                  <a:lnTo>
                    <a:pt x="186759" y="2789371"/>
                  </a:lnTo>
                  <a:lnTo>
                    <a:pt x="188186" y="2790584"/>
                  </a:lnTo>
                  <a:lnTo>
                    <a:pt x="191821" y="2792148"/>
                  </a:lnTo>
                  <a:lnTo>
                    <a:pt x="192681" y="2793422"/>
                  </a:lnTo>
                  <a:lnTo>
                    <a:pt x="193454" y="2795733"/>
                  </a:lnTo>
                  <a:lnTo>
                    <a:pt x="193926" y="2798260"/>
                  </a:lnTo>
                  <a:lnTo>
                    <a:pt x="193896" y="2800176"/>
                  </a:lnTo>
                  <a:lnTo>
                    <a:pt x="193476" y="2802580"/>
                  </a:lnTo>
                  <a:lnTo>
                    <a:pt x="194693" y="2805051"/>
                  </a:lnTo>
                  <a:lnTo>
                    <a:pt x="195375" y="2808320"/>
                  </a:lnTo>
                  <a:lnTo>
                    <a:pt x="193231" y="2811203"/>
                  </a:lnTo>
                  <a:lnTo>
                    <a:pt x="192775" y="2814958"/>
                  </a:lnTo>
                  <a:lnTo>
                    <a:pt x="190994" y="2818027"/>
                  </a:lnTo>
                  <a:lnTo>
                    <a:pt x="188235" y="2818751"/>
                  </a:lnTo>
                  <a:lnTo>
                    <a:pt x="188934" y="2814811"/>
                  </a:lnTo>
                  <a:lnTo>
                    <a:pt x="188558" y="2813084"/>
                  </a:lnTo>
                  <a:lnTo>
                    <a:pt x="189691" y="2811673"/>
                  </a:lnTo>
                  <a:lnTo>
                    <a:pt x="189973" y="2808903"/>
                  </a:lnTo>
                  <a:lnTo>
                    <a:pt x="188825" y="2807849"/>
                  </a:lnTo>
                  <a:lnTo>
                    <a:pt x="187154" y="2809441"/>
                  </a:lnTo>
                  <a:lnTo>
                    <a:pt x="185106" y="2810896"/>
                  </a:lnTo>
                  <a:lnTo>
                    <a:pt x="184316" y="2810138"/>
                  </a:lnTo>
                  <a:lnTo>
                    <a:pt x="183733" y="2807368"/>
                  </a:lnTo>
                  <a:lnTo>
                    <a:pt x="182830" y="2807668"/>
                  </a:lnTo>
                  <a:lnTo>
                    <a:pt x="182354" y="2809091"/>
                  </a:lnTo>
                  <a:lnTo>
                    <a:pt x="181971" y="2810819"/>
                  </a:lnTo>
                  <a:lnTo>
                    <a:pt x="181314" y="2812082"/>
                  </a:lnTo>
                  <a:lnTo>
                    <a:pt x="181297" y="2815025"/>
                  </a:lnTo>
                  <a:lnTo>
                    <a:pt x="180216" y="2817029"/>
                  </a:lnTo>
                  <a:lnTo>
                    <a:pt x="178897" y="2817370"/>
                  </a:lnTo>
                  <a:lnTo>
                    <a:pt x="178137" y="2815359"/>
                  </a:lnTo>
                  <a:lnTo>
                    <a:pt x="176352" y="2815702"/>
                  </a:lnTo>
                  <a:lnTo>
                    <a:pt x="174948" y="2815229"/>
                  </a:lnTo>
                  <a:lnTo>
                    <a:pt x="174368" y="2813863"/>
                  </a:lnTo>
                  <a:lnTo>
                    <a:pt x="175037" y="2811566"/>
                  </a:lnTo>
                  <a:lnTo>
                    <a:pt x="175032" y="2810187"/>
                  </a:lnTo>
                  <a:lnTo>
                    <a:pt x="174448" y="2804948"/>
                  </a:lnTo>
                  <a:lnTo>
                    <a:pt x="174411" y="2803160"/>
                  </a:lnTo>
                  <a:lnTo>
                    <a:pt x="174834" y="2803271"/>
                  </a:lnTo>
                  <a:lnTo>
                    <a:pt x="175556" y="2803111"/>
                  </a:lnTo>
                  <a:lnTo>
                    <a:pt x="175952" y="2803081"/>
                  </a:lnTo>
                  <a:lnTo>
                    <a:pt x="174628" y="2800728"/>
                  </a:lnTo>
                  <a:lnTo>
                    <a:pt x="175006" y="2799997"/>
                  </a:lnTo>
                  <a:lnTo>
                    <a:pt x="176156" y="2799779"/>
                  </a:lnTo>
                  <a:lnTo>
                    <a:pt x="175668" y="2798905"/>
                  </a:lnTo>
                  <a:lnTo>
                    <a:pt x="174758" y="2798915"/>
                  </a:lnTo>
                  <a:lnTo>
                    <a:pt x="173672" y="2799091"/>
                  </a:lnTo>
                  <a:lnTo>
                    <a:pt x="172673" y="2798706"/>
                  </a:lnTo>
                  <a:lnTo>
                    <a:pt x="172272" y="2797965"/>
                  </a:lnTo>
                  <a:lnTo>
                    <a:pt x="171327" y="2794548"/>
                  </a:lnTo>
                  <a:lnTo>
                    <a:pt x="171495" y="2794040"/>
                  </a:lnTo>
                  <a:lnTo>
                    <a:pt x="171918" y="2793421"/>
                  </a:lnTo>
                  <a:lnTo>
                    <a:pt x="172261" y="2792838"/>
                  </a:lnTo>
                  <a:lnTo>
                    <a:pt x="172170" y="2792452"/>
                  </a:lnTo>
                  <a:lnTo>
                    <a:pt x="170075" y="2792153"/>
                  </a:lnTo>
                  <a:lnTo>
                    <a:pt x="169852" y="2791174"/>
                  </a:lnTo>
                  <a:lnTo>
                    <a:pt x="169988" y="2788746"/>
                  </a:lnTo>
                  <a:lnTo>
                    <a:pt x="169863" y="2787760"/>
                  </a:lnTo>
                  <a:lnTo>
                    <a:pt x="171796" y="2785283"/>
                  </a:lnTo>
                  <a:lnTo>
                    <a:pt x="172926" y="2783616"/>
                  </a:lnTo>
                  <a:lnTo>
                    <a:pt x="173385" y="2782380"/>
                  </a:lnTo>
                  <a:lnTo>
                    <a:pt x="172720" y="2781852"/>
                  </a:lnTo>
                  <a:lnTo>
                    <a:pt x="171378" y="2781716"/>
                  </a:lnTo>
                  <a:lnTo>
                    <a:pt x="170052" y="2781145"/>
                  </a:lnTo>
                  <a:lnTo>
                    <a:pt x="169437" y="2779335"/>
                  </a:lnTo>
                  <a:lnTo>
                    <a:pt x="169983" y="2778494"/>
                  </a:lnTo>
                  <a:lnTo>
                    <a:pt x="172709" y="2775924"/>
                  </a:lnTo>
                  <a:lnTo>
                    <a:pt x="173780" y="2774484"/>
                  </a:lnTo>
                  <a:lnTo>
                    <a:pt x="174397" y="2772587"/>
                  </a:lnTo>
                  <a:lnTo>
                    <a:pt x="174120" y="2771480"/>
                  </a:lnTo>
                  <a:lnTo>
                    <a:pt x="173226" y="2770793"/>
                  </a:lnTo>
                  <a:lnTo>
                    <a:pt x="172007" y="2770153"/>
                  </a:lnTo>
                  <a:lnTo>
                    <a:pt x="172926" y="2769586"/>
                  </a:lnTo>
                  <a:lnTo>
                    <a:pt x="173788" y="2769400"/>
                  </a:lnTo>
                  <a:lnTo>
                    <a:pt x="175416" y="2769335"/>
                  </a:lnTo>
                  <a:lnTo>
                    <a:pt x="174430" y="2767440"/>
                  </a:lnTo>
                  <a:lnTo>
                    <a:pt x="173737" y="2766895"/>
                  </a:lnTo>
                  <a:lnTo>
                    <a:pt x="172647" y="2767019"/>
                  </a:lnTo>
                  <a:lnTo>
                    <a:pt x="173024" y="2766298"/>
                  </a:lnTo>
                  <a:lnTo>
                    <a:pt x="173572" y="2766339"/>
                  </a:lnTo>
                  <a:lnTo>
                    <a:pt x="175261" y="2765912"/>
                  </a:lnTo>
                  <a:lnTo>
                    <a:pt x="174280" y="2764217"/>
                  </a:lnTo>
                  <a:lnTo>
                    <a:pt x="172862" y="2764754"/>
                  </a:lnTo>
                  <a:lnTo>
                    <a:pt x="171277" y="2765948"/>
                  </a:lnTo>
                  <a:lnTo>
                    <a:pt x="169820" y="2766208"/>
                  </a:lnTo>
                  <a:lnTo>
                    <a:pt x="167140" y="2765083"/>
                  </a:lnTo>
                  <a:lnTo>
                    <a:pt x="166367" y="2763874"/>
                  </a:lnTo>
                  <a:lnTo>
                    <a:pt x="166942" y="2761682"/>
                  </a:lnTo>
                  <a:lnTo>
                    <a:pt x="169496" y="2760177"/>
                  </a:lnTo>
                  <a:lnTo>
                    <a:pt x="173199" y="2760783"/>
                  </a:lnTo>
                  <a:lnTo>
                    <a:pt x="176586" y="2762661"/>
                  </a:lnTo>
                  <a:lnTo>
                    <a:pt x="178191" y="2764979"/>
                  </a:lnTo>
                  <a:lnTo>
                    <a:pt x="178988" y="2764491"/>
                  </a:lnTo>
                  <a:lnTo>
                    <a:pt x="178254" y="2761637"/>
                  </a:lnTo>
                  <a:lnTo>
                    <a:pt x="176074" y="2759725"/>
                  </a:lnTo>
                  <a:lnTo>
                    <a:pt x="173295" y="2758619"/>
                  </a:lnTo>
                  <a:lnTo>
                    <a:pt x="170761" y="2758188"/>
                  </a:lnTo>
                  <a:lnTo>
                    <a:pt x="168541" y="2758523"/>
                  </a:lnTo>
                  <a:lnTo>
                    <a:pt x="167430" y="2758221"/>
                  </a:lnTo>
                  <a:lnTo>
                    <a:pt x="166964" y="2756902"/>
                  </a:lnTo>
                  <a:lnTo>
                    <a:pt x="167406" y="2755242"/>
                  </a:lnTo>
                  <a:lnTo>
                    <a:pt x="169315" y="2752329"/>
                  </a:lnTo>
                  <a:lnTo>
                    <a:pt x="169736" y="2750682"/>
                  </a:lnTo>
                  <a:lnTo>
                    <a:pt x="166884" y="2746579"/>
                  </a:lnTo>
                  <a:lnTo>
                    <a:pt x="165041" y="2745248"/>
                  </a:lnTo>
                  <a:lnTo>
                    <a:pt x="164852" y="2744344"/>
                  </a:lnTo>
                  <a:lnTo>
                    <a:pt x="165633" y="2742445"/>
                  </a:lnTo>
                  <a:lnTo>
                    <a:pt x="166638" y="2741029"/>
                  </a:lnTo>
                  <a:lnTo>
                    <a:pt x="167725" y="2739772"/>
                  </a:lnTo>
                  <a:lnTo>
                    <a:pt x="168566" y="2738337"/>
                  </a:lnTo>
                  <a:lnTo>
                    <a:pt x="168805" y="2736442"/>
                  </a:lnTo>
                  <a:lnTo>
                    <a:pt x="168303" y="2735111"/>
                  </a:lnTo>
                  <a:lnTo>
                    <a:pt x="165587" y="2732045"/>
                  </a:lnTo>
                  <a:lnTo>
                    <a:pt x="168082" y="2729284"/>
                  </a:lnTo>
                  <a:lnTo>
                    <a:pt x="169380" y="2728122"/>
                  </a:lnTo>
                  <a:lnTo>
                    <a:pt x="170516" y="2727967"/>
                  </a:lnTo>
                  <a:lnTo>
                    <a:pt x="171891" y="2728061"/>
                  </a:lnTo>
                  <a:close/>
                  <a:moveTo>
                    <a:pt x="3398887" y="2724150"/>
                  </a:moveTo>
                  <a:lnTo>
                    <a:pt x="3399748" y="2724351"/>
                  </a:lnTo>
                  <a:lnTo>
                    <a:pt x="3401410" y="2726341"/>
                  </a:lnTo>
                  <a:lnTo>
                    <a:pt x="3402171" y="2728207"/>
                  </a:lnTo>
                  <a:lnTo>
                    <a:pt x="3402947" y="2728691"/>
                  </a:lnTo>
                  <a:lnTo>
                    <a:pt x="3403831" y="2729058"/>
                  </a:lnTo>
                  <a:lnTo>
                    <a:pt x="3404322" y="2730156"/>
                  </a:lnTo>
                  <a:lnTo>
                    <a:pt x="3404086" y="2731151"/>
                  </a:lnTo>
                  <a:lnTo>
                    <a:pt x="3403631" y="2731707"/>
                  </a:lnTo>
                  <a:lnTo>
                    <a:pt x="3403707" y="2732645"/>
                  </a:lnTo>
                  <a:lnTo>
                    <a:pt x="3404293" y="2733643"/>
                  </a:lnTo>
                  <a:lnTo>
                    <a:pt x="3405545" y="2734470"/>
                  </a:lnTo>
                  <a:lnTo>
                    <a:pt x="3405774" y="2734989"/>
                  </a:lnTo>
                  <a:lnTo>
                    <a:pt x="3405723" y="2735533"/>
                  </a:lnTo>
                  <a:lnTo>
                    <a:pt x="3405951" y="2735838"/>
                  </a:lnTo>
                  <a:lnTo>
                    <a:pt x="3406270" y="2736128"/>
                  </a:lnTo>
                  <a:lnTo>
                    <a:pt x="3406253" y="2736619"/>
                  </a:lnTo>
                  <a:lnTo>
                    <a:pt x="3405956" y="2736914"/>
                  </a:lnTo>
                  <a:lnTo>
                    <a:pt x="3405158" y="2737170"/>
                  </a:lnTo>
                  <a:lnTo>
                    <a:pt x="3403921" y="2736809"/>
                  </a:lnTo>
                  <a:lnTo>
                    <a:pt x="3403144" y="2735830"/>
                  </a:lnTo>
                  <a:lnTo>
                    <a:pt x="3402244" y="2734055"/>
                  </a:lnTo>
                  <a:lnTo>
                    <a:pt x="3401815" y="2733043"/>
                  </a:lnTo>
                  <a:lnTo>
                    <a:pt x="3400534" y="2730923"/>
                  </a:lnTo>
                  <a:lnTo>
                    <a:pt x="3400141" y="2730050"/>
                  </a:lnTo>
                  <a:lnTo>
                    <a:pt x="3400013" y="2729530"/>
                  </a:lnTo>
                  <a:lnTo>
                    <a:pt x="3399223" y="2728494"/>
                  </a:lnTo>
                  <a:lnTo>
                    <a:pt x="3398290" y="2726627"/>
                  </a:lnTo>
                  <a:lnTo>
                    <a:pt x="3398080" y="2725542"/>
                  </a:lnTo>
                  <a:lnTo>
                    <a:pt x="3398297" y="2724973"/>
                  </a:lnTo>
                  <a:close/>
                  <a:moveTo>
                    <a:pt x="2278" y="2723535"/>
                  </a:moveTo>
                  <a:lnTo>
                    <a:pt x="3937" y="2723744"/>
                  </a:lnTo>
                  <a:lnTo>
                    <a:pt x="5172" y="2725217"/>
                  </a:lnTo>
                  <a:lnTo>
                    <a:pt x="6249" y="2727088"/>
                  </a:lnTo>
                  <a:lnTo>
                    <a:pt x="7449" y="2728459"/>
                  </a:lnTo>
                  <a:lnTo>
                    <a:pt x="12302" y="2731340"/>
                  </a:lnTo>
                  <a:lnTo>
                    <a:pt x="14080" y="2731705"/>
                  </a:lnTo>
                  <a:lnTo>
                    <a:pt x="14725" y="2731578"/>
                  </a:lnTo>
                  <a:lnTo>
                    <a:pt x="16330" y="2730982"/>
                  </a:lnTo>
                  <a:lnTo>
                    <a:pt x="17154" y="2730880"/>
                  </a:lnTo>
                  <a:lnTo>
                    <a:pt x="18187" y="2731278"/>
                  </a:lnTo>
                  <a:lnTo>
                    <a:pt x="20384" y="2733801"/>
                  </a:lnTo>
                  <a:lnTo>
                    <a:pt x="31004" y="2739034"/>
                  </a:lnTo>
                  <a:lnTo>
                    <a:pt x="32270" y="2738685"/>
                  </a:lnTo>
                  <a:lnTo>
                    <a:pt x="33549" y="2737846"/>
                  </a:lnTo>
                  <a:lnTo>
                    <a:pt x="38816" y="2736925"/>
                  </a:lnTo>
                  <a:lnTo>
                    <a:pt x="39126" y="2737034"/>
                  </a:lnTo>
                  <a:lnTo>
                    <a:pt x="39675" y="2737546"/>
                  </a:lnTo>
                  <a:lnTo>
                    <a:pt x="39993" y="2737633"/>
                  </a:lnTo>
                  <a:lnTo>
                    <a:pt x="40413" y="2737481"/>
                  </a:lnTo>
                  <a:lnTo>
                    <a:pt x="41523" y="2736808"/>
                  </a:lnTo>
                  <a:lnTo>
                    <a:pt x="44268" y="2736880"/>
                  </a:lnTo>
                  <a:lnTo>
                    <a:pt x="47950" y="2738931"/>
                  </a:lnTo>
                  <a:lnTo>
                    <a:pt x="48710" y="2738939"/>
                  </a:lnTo>
                  <a:lnTo>
                    <a:pt x="49578" y="2738587"/>
                  </a:lnTo>
                  <a:lnTo>
                    <a:pt x="50390" y="2738419"/>
                  </a:lnTo>
                  <a:lnTo>
                    <a:pt x="50983" y="2739003"/>
                  </a:lnTo>
                  <a:lnTo>
                    <a:pt x="51015" y="2739462"/>
                  </a:lnTo>
                  <a:lnTo>
                    <a:pt x="49784" y="2745521"/>
                  </a:lnTo>
                  <a:lnTo>
                    <a:pt x="48942" y="2747194"/>
                  </a:lnTo>
                  <a:lnTo>
                    <a:pt x="47399" y="2747289"/>
                  </a:lnTo>
                  <a:lnTo>
                    <a:pt x="47000" y="2748008"/>
                  </a:lnTo>
                  <a:lnTo>
                    <a:pt x="49922" y="2751436"/>
                  </a:lnTo>
                  <a:lnTo>
                    <a:pt x="50506" y="2752705"/>
                  </a:lnTo>
                  <a:lnTo>
                    <a:pt x="50458" y="2753236"/>
                  </a:lnTo>
                  <a:lnTo>
                    <a:pt x="50138" y="2755147"/>
                  </a:lnTo>
                  <a:lnTo>
                    <a:pt x="50213" y="2756000"/>
                  </a:lnTo>
                  <a:lnTo>
                    <a:pt x="50661" y="2756623"/>
                  </a:lnTo>
                  <a:lnTo>
                    <a:pt x="51807" y="2757269"/>
                  </a:lnTo>
                  <a:lnTo>
                    <a:pt x="52118" y="2758079"/>
                  </a:lnTo>
                  <a:lnTo>
                    <a:pt x="51974" y="2759220"/>
                  </a:lnTo>
                  <a:lnTo>
                    <a:pt x="50798" y="2764248"/>
                  </a:lnTo>
                  <a:lnTo>
                    <a:pt x="50879" y="2765181"/>
                  </a:lnTo>
                  <a:lnTo>
                    <a:pt x="51113" y="2765816"/>
                  </a:lnTo>
                  <a:lnTo>
                    <a:pt x="51020" y="2766211"/>
                  </a:lnTo>
                  <a:lnTo>
                    <a:pt x="50102" y="2766437"/>
                  </a:lnTo>
                  <a:lnTo>
                    <a:pt x="49306" y="2766280"/>
                  </a:lnTo>
                  <a:lnTo>
                    <a:pt x="48690" y="2765723"/>
                  </a:lnTo>
                  <a:lnTo>
                    <a:pt x="48296" y="2764900"/>
                  </a:lnTo>
                  <a:lnTo>
                    <a:pt x="48165" y="2763941"/>
                  </a:lnTo>
                  <a:lnTo>
                    <a:pt x="47569" y="2762516"/>
                  </a:lnTo>
                  <a:lnTo>
                    <a:pt x="44675" y="2760716"/>
                  </a:lnTo>
                  <a:lnTo>
                    <a:pt x="43688" y="2759537"/>
                  </a:lnTo>
                  <a:lnTo>
                    <a:pt x="42998" y="2758054"/>
                  </a:lnTo>
                  <a:lnTo>
                    <a:pt x="42096" y="2756862"/>
                  </a:lnTo>
                  <a:lnTo>
                    <a:pt x="39747" y="2755054"/>
                  </a:lnTo>
                  <a:lnTo>
                    <a:pt x="38650" y="2754653"/>
                  </a:lnTo>
                  <a:lnTo>
                    <a:pt x="36002" y="2754213"/>
                  </a:lnTo>
                  <a:lnTo>
                    <a:pt x="34842" y="2753771"/>
                  </a:lnTo>
                  <a:lnTo>
                    <a:pt x="29241" y="2750406"/>
                  </a:lnTo>
                  <a:lnTo>
                    <a:pt x="29447" y="2751740"/>
                  </a:lnTo>
                  <a:lnTo>
                    <a:pt x="31348" y="2753853"/>
                  </a:lnTo>
                  <a:lnTo>
                    <a:pt x="31447" y="2754867"/>
                  </a:lnTo>
                  <a:lnTo>
                    <a:pt x="30605" y="2756510"/>
                  </a:lnTo>
                  <a:lnTo>
                    <a:pt x="30076" y="2757894"/>
                  </a:lnTo>
                  <a:lnTo>
                    <a:pt x="29821" y="2759163"/>
                  </a:lnTo>
                  <a:lnTo>
                    <a:pt x="29768" y="2760464"/>
                  </a:lnTo>
                  <a:lnTo>
                    <a:pt x="32130" y="2758369"/>
                  </a:lnTo>
                  <a:lnTo>
                    <a:pt x="32835" y="2757879"/>
                  </a:lnTo>
                  <a:lnTo>
                    <a:pt x="33799" y="2757544"/>
                  </a:lnTo>
                  <a:lnTo>
                    <a:pt x="35775" y="2757348"/>
                  </a:lnTo>
                  <a:lnTo>
                    <a:pt x="36600" y="2757043"/>
                  </a:lnTo>
                  <a:lnTo>
                    <a:pt x="37906" y="2757339"/>
                  </a:lnTo>
                  <a:lnTo>
                    <a:pt x="41278" y="2762928"/>
                  </a:lnTo>
                  <a:lnTo>
                    <a:pt x="44690" y="2766191"/>
                  </a:lnTo>
                  <a:lnTo>
                    <a:pt x="45886" y="2768093"/>
                  </a:lnTo>
                  <a:lnTo>
                    <a:pt x="46523" y="2768725"/>
                  </a:lnTo>
                  <a:lnTo>
                    <a:pt x="46981" y="2769385"/>
                  </a:lnTo>
                  <a:lnTo>
                    <a:pt x="47285" y="2771240"/>
                  </a:lnTo>
                  <a:lnTo>
                    <a:pt x="47445" y="2771724"/>
                  </a:lnTo>
                  <a:lnTo>
                    <a:pt x="47595" y="2772490"/>
                  </a:lnTo>
                  <a:lnTo>
                    <a:pt x="46570" y="2773299"/>
                  </a:lnTo>
                  <a:lnTo>
                    <a:pt x="45377" y="2773863"/>
                  </a:lnTo>
                  <a:lnTo>
                    <a:pt x="45015" y="2773824"/>
                  </a:lnTo>
                  <a:lnTo>
                    <a:pt x="43869" y="2774882"/>
                  </a:lnTo>
                  <a:lnTo>
                    <a:pt x="44153" y="2774890"/>
                  </a:lnTo>
                  <a:lnTo>
                    <a:pt x="44268" y="2775388"/>
                  </a:lnTo>
                  <a:lnTo>
                    <a:pt x="44214" y="2776080"/>
                  </a:lnTo>
                  <a:lnTo>
                    <a:pt x="43953" y="2776670"/>
                  </a:lnTo>
                  <a:lnTo>
                    <a:pt x="43283" y="2777089"/>
                  </a:lnTo>
                  <a:lnTo>
                    <a:pt x="41350" y="2777493"/>
                  </a:lnTo>
                  <a:lnTo>
                    <a:pt x="38230" y="2778697"/>
                  </a:lnTo>
                  <a:lnTo>
                    <a:pt x="36712" y="2778700"/>
                  </a:lnTo>
                  <a:lnTo>
                    <a:pt x="30658" y="2775350"/>
                  </a:lnTo>
                  <a:lnTo>
                    <a:pt x="29708" y="2774254"/>
                  </a:lnTo>
                  <a:lnTo>
                    <a:pt x="29376" y="2771894"/>
                  </a:lnTo>
                  <a:lnTo>
                    <a:pt x="29404" y="2769517"/>
                  </a:lnTo>
                  <a:lnTo>
                    <a:pt x="29234" y="2767430"/>
                  </a:lnTo>
                  <a:lnTo>
                    <a:pt x="28611" y="2765843"/>
                  </a:lnTo>
                  <a:lnTo>
                    <a:pt x="27259" y="2764970"/>
                  </a:lnTo>
                  <a:lnTo>
                    <a:pt x="26358" y="2764689"/>
                  </a:lnTo>
                  <a:lnTo>
                    <a:pt x="25978" y="2764648"/>
                  </a:lnTo>
                  <a:lnTo>
                    <a:pt x="25393" y="2764722"/>
                  </a:lnTo>
                  <a:lnTo>
                    <a:pt x="25666" y="2765643"/>
                  </a:lnTo>
                  <a:lnTo>
                    <a:pt x="26102" y="2766605"/>
                  </a:lnTo>
                  <a:lnTo>
                    <a:pt x="26760" y="2767435"/>
                  </a:lnTo>
                  <a:lnTo>
                    <a:pt x="27707" y="2767936"/>
                  </a:lnTo>
                  <a:lnTo>
                    <a:pt x="27381" y="2768523"/>
                  </a:lnTo>
                  <a:lnTo>
                    <a:pt x="20859" y="2768173"/>
                  </a:lnTo>
                  <a:lnTo>
                    <a:pt x="20495" y="2768826"/>
                  </a:lnTo>
                  <a:lnTo>
                    <a:pt x="22385" y="2769650"/>
                  </a:lnTo>
                  <a:lnTo>
                    <a:pt x="24368" y="2769688"/>
                  </a:lnTo>
                  <a:lnTo>
                    <a:pt x="26050" y="2770059"/>
                  </a:lnTo>
                  <a:lnTo>
                    <a:pt x="27049" y="2771886"/>
                  </a:lnTo>
                  <a:lnTo>
                    <a:pt x="27434" y="2772915"/>
                  </a:lnTo>
                  <a:lnTo>
                    <a:pt x="27501" y="2773422"/>
                  </a:lnTo>
                  <a:lnTo>
                    <a:pt x="27298" y="2774316"/>
                  </a:lnTo>
                  <a:lnTo>
                    <a:pt x="26807" y="2774633"/>
                  </a:lnTo>
                  <a:lnTo>
                    <a:pt x="25982" y="2774731"/>
                  </a:lnTo>
                  <a:lnTo>
                    <a:pt x="25489" y="2775255"/>
                  </a:lnTo>
                  <a:lnTo>
                    <a:pt x="24999" y="2775511"/>
                  </a:lnTo>
                  <a:lnTo>
                    <a:pt x="24576" y="2775677"/>
                  </a:lnTo>
                  <a:lnTo>
                    <a:pt x="24308" y="2775895"/>
                  </a:lnTo>
                  <a:lnTo>
                    <a:pt x="23942" y="2776941"/>
                  </a:lnTo>
                  <a:lnTo>
                    <a:pt x="24346" y="2777121"/>
                  </a:lnTo>
                  <a:lnTo>
                    <a:pt x="24987" y="2777059"/>
                  </a:lnTo>
                  <a:lnTo>
                    <a:pt x="25311" y="2777367"/>
                  </a:lnTo>
                  <a:lnTo>
                    <a:pt x="25014" y="2780588"/>
                  </a:lnTo>
                  <a:lnTo>
                    <a:pt x="25224" y="2781226"/>
                  </a:lnTo>
                  <a:lnTo>
                    <a:pt x="32384" y="2785496"/>
                  </a:lnTo>
                  <a:lnTo>
                    <a:pt x="34290" y="2786107"/>
                  </a:lnTo>
                  <a:lnTo>
                    <a:pt x="34868" y="2786647"/>
                  </a:lnTo>
                  <a:lnTo>
                    <a:pt x="34731" y="2787838"/>
                  </a:lnTo>
                  <a:lnTo>
                    <a:pt x="32478" y="2787120"/>
                  </a:lnTo>
                  <a:lnTo>
                    <a:pt x="30028" y="2785807"/>
                  </a:lnTo>
                  <a:lnTo>
                    <a:pt x="27445" y="2785086"/>
                  </a:lnTo>
                  <a:lnTo>
                    <a:pt x="24807" y="2786199"/>
                  </a:lnTo>
                  <a:lnTo>
                    <a:pt x="24518" y="2784944"/>
                  </a:lnTo>
                  <a:lnTo>
                    <a:pt x="23899" y="2784253"/>
                  </a:lnTo>
                  <a:lnTo>
                    <a:pt x="23037" y="2783914"/>
                  </a:lnTo>
                  <a:lnTo>
                    <a:pt x="22013" y="2783737"/>
                  </a:lnTo>
                  <a:lnTo>
                    <a:pt x="22755" y="2784232"/>
                  </a:lnTo>
                  <a:lnTo>
                    <a:pt x="23278" y="2784960"/>
                  </a:lnTo>
                  <a:lnTo>
                    <a:pt x="24025" y="2786680"/>
                  </a:lnTo>
                  <a:lnTo>
                    <a:pt x="20883" y="2788440"/>
                  </a:lnTo>
                  <a:lnTo>
                    <a:pt x="19892" y="2789422"/>
                  </a:lnTo>
                  <a:lnTo>
                    <a:pt x="23341" y="2791025"/>
                  </a:lnTo>
                  <a:lnTo>
                    <a:pt x="24640" y="2792219"/>
                  </a:lnTo>
                  <a:lnTo>
                    <a:pt x="25424" y="2794390"/>
                  </a:lnTo>
                  <a:lnTo>
                    <a:pt x="25478" y="2796848"/>
                  </a:lnTo>
                  <a:lnTo>
                    <a:pt x="25082" y="2800104"/>
                  </a:lnTo>
                  <a:lnTo>
                    <a:pt x="24149" y="2802488"/>
                  </a:lnTo>
                  <a:lnTo>
                    <a:pt x="22587" y="2802326"/>
                  </a:lnTo>
                  <a:lnTo>
                    <a:pt x="22959" y="2803979"/>
                  </a:lnTo>
                  <a:lnTo>
                    <a:pt x="23243" y="2807995"/>
                  </a:lnTo>
                  <a:lnTo>
                    <a:pt x="23989" y="2809229"/>
                  </a:lnTo>
                  <a:lnTo>
                    <a:pt x="24906" y="2810284"/>
                  </a:lnTo>
                  <a:lnTo>
                    <a:pt x="24170" y="2810970"/>
                  </a:lnTo>
                  <a:lnTo>
                    <a:pt x="22678" y="2811289"/>
                  </a:lnTo>
                  <a:lnTo>
                    <a:pt x="21349" y="2811214"/>
                  </a:lnTo>
                  <a:lnTo>
                    <a:pt x="20989" y="2811869"/>
                  </a:lnTo>
                  <a:lnTo>
                    <a:pt x="21332" y="2812460"/>
                  </a:lnTo>
                  <a:lnTo>
                    <a:pt x="21741" y="2812951"/>
                  </a:lnTo>
                  <a:lnTo>
                    <a:pt x="22780" y="2813722"/>
                  </a:lnTo>
                  <a:lnTo>
                    <a:pt x="23068" y="2814306"/>
                  </a:lnTo>
                  <a:lnTo>
                    <a:pt x="22965" y="2815165"/>
                  </a:lnTo>
                  <a:lnTo>
                    <a:pt x="22933" y="2816065"/>
                  </a:lnTo>
                  <a:lnTo>
                    <a:pt x="23445" y="2816793"/>
                  </a:lnTo>
                  <a:lnTo>
                    <a:pt x="24449" y="2816710"/>
                  </a:lnTo>
                  <a:lnTo>
                    <a:pt x="25622" y="2816118"/>
                  </a:lnTo>
                  <a:lnTo>
                    <a:pt x="26674" y="2815981"/>
                  </a:lnTo>
                  <a:lnTo>
                    <a:pt x="27311" y="2817262"/>
                  </a:lnTo>
                  <a:lnTo>
                    <a:pt x="26343" y="2818760"/>
                  </a:lnTo>
                  <a:lnTo>
                    <a:pt x="27204" y="2819946"/>
                  </a:lnTo>
                  <a:lnTo>
                    <a:pt x="30107" y="2821668"/>
                  </a:lnTo>
                  <a:lnTo>
                    <a:pt x="28121" y="2823356"/>
                  </a:lnTo>
                  <a:lnTo>
                    <a:pt x="28585" y="2825131"/>
                  </a:lnTo>
                  <a:lnTo>
                    <a:pt x="29878" y="2826930"/>
                  </a:lnTo>
                  <a:lnTo>
                    <a:pt x="30400" y="2828691"/>
                  </a:lnTo>
                  <a:lnTo>
                    <a:pt x="26273" y="2832256"/>
                  </a:lnTo>
                  <a:lnTo>
                    <a:pt x="25199" y="2833491"/>
                  </a:lnTo>
                  <a:lnTo>
                    <a:pt x="26760" y="2834115"/>
                  </a:lnTo>
                  <a:lnTo>
                    <a:pt x="28011" y="2835383"/>
                  </a:lnTo>
                  <a:lnTo>
                    <a:pt x="28009" y="2836861"/>
                  </a:lnTo>
                  <a:lnTo>
                    <a:pt x="25794" y="2838095"/>
                  </a:lnTo>
                  <a:lnTo>
                    <a:pt x="26784" y="2838487"/>
                  </a:lnTo>
                  <a:lnTo>
                    <a:pt x="27878" y="2838299"/>
                  </a:lnTo>
                  <a:lnTo>
                    <a:pt x="28799" y="2838340"/>
                  </a:lnTo>
                  <a:lnTo>
                    <a:pt x="29291" y="2839361"/>
                  </a:lnTo>
                  <a:lnTo>
                    <a:pt x="30369" y="2837354"/>
                  </a:lnTo>
                  <a:lnTo>
                    <a:pt x="30979" y="2835847"/>
                  </a:lnTo>
                  <a:lnTo>
                    <a:pt x="31654" y="2834656"/>
                  </a:lnTo>
                  <a:lnTo>
                    <a:pt x="32918" y="2833625"/>
                  </a:lnTo>
                  <a:lnTo>
                    <a:pt x="34180" y="2833407"/>
                  </a:lnTo>
                  <a:lnTo>
                    <a:pt x="36738" y="2834431"/>
                  </a:lnTo>
                  <a:lnTo>
                    <a:pt x="39551" y="2834913"/>
                  </a:lnTo>
                  <a:lnTo>
                    <a:pt x="39339" y="2836267"/>
                  </a:lnTo>
                  <a:lnTo>
                    <a:pt x="38171" y="2837535"/>
                  </a:lnTo>
                  <a:lnTo>
                    <a:pt x="35485" y="2837592"/>
                  </a:lnTo>
                  <a:lnTo>
                    <a:pt x="34053" y="2838396"/>
                  </a:lnTo>
                  <a:lnTo>
                    <a:pt x="32688" y="2839817"/>
                  </a:lnTo>
                  <a:lnTo>
                    <a:pt x="31708" y="2841566"/>
                  </a:lnTo>
                  <a:lnTo>
                    <a:pt x="32792" y="2841088"/>
                  </a:lnTo>
                  <a:lnTo>
                    <a:pt x="33704" y="2841154"/>
                  </a:lnTo>
                  <a:lnTo>
                    <a:pt x="35524" y="2842146"/>
                  </a:lnTo>
                  <a:lnTo>
                    <a:pt x="34434" y="2843516"/>
                  </a:lnTo>
                  <a:lnTo>
                    <a:pt x="33735" y="2843653"/>
                  </a:lnTo>
                  <a:lnTo>
                    <a:pt x="33170" y="2843230"/>
                  </a:lnTo>
                  <a:lnTo>
                    <a:pt x="32461" y="2842949"/>
                  </a:lnTo>
                  <a:lnTo>
                    <a:pt x="30781" y="2842923"/>
                  </a:lnTo>
                  <a:lnTo>
                    <a:pt x="30057" y="2843077"/>
                  </a:lnTo>
                  <a:lnTo>
                    <a:pt x="29045" y="2843534"/>
                  </a:lnTo>
                  <a:lnTo>
                    <a:pt x="29382" y="2841934"/>
                  </a:lnTo>
                  <a:lnTo>
                    <a:pt x="29443" y="2840702"/>
                  </a:lnTo>
                  <a:lnTo>
                    <a:pt x="28999" y="2840256"/>
                  </a:lnTo>
                  <a:lnTo>
                    <a:pt x="27826" y="2841021"/>
                  </a:lnTo>
                  <a:lnTo>
                    <a:pt x="28237" y="2842401"/>
                  </a:lnTo>
                  <a:lnTo>
                    <a:pt x="26944" y="2846486"/>
                  </a:lnTo>
                  <a:lnTo>
                    <a:pt x="26948" y="2848435"/>
                  </a:lnTo>
                  <a:lnTo>
                    <a:pt x="28501" y="2847846"/>
                  </a:lnTo>
                  <a:lnTo>
                    <a:pt x="30258" y="2852859"/>
                  </a:lnTo>
                  <a:lnTo>
                    <a:pt x="31779" y="2853855"/>
                  </a:lnTo>
                  <a:lnTo>
                    <a:pt x="30801" y="2851123"/>
                  </a:lnTo>
                  <a:lnTo>
                    <a:pt x="30694" y="2849624"/>
                  </a:lnTo>
                  <a:lnTo>
                    <a:pt x="31609" y="2848424"/>
                  </a:lnTo>
                  <a:lnTo>
                    <a:pt x="32153" y="2848453"/>
                  </a:lnTo>
                  <a:lnTo>
                    <a:pt x="32528" y="2849054"/>
                  </a:lnTo>
                  <a:lnTo>
                    <a:pt x="33010" y="2850179"/>
                  </a:lnTo>
                  <a:lnTo>
                    <a:pt x="35481" y="2849470"/>
                  </a:lnTo>
                  <a:lnTo>
                    <a:pt x="36562" y="2849422"/>
                  </a:lnTo>
                  <a:lnTo>
                    <a:pt x="37878" y="2850019"/>
                  </a:lnTo>
                  <a:lnTo>
                    <a:pt x="38842" y="2851028"/>
                  </a:lnTo>
                  <a:lnTo>
                    <a:pt x="38843" y="2852247"/>
                  </a:lnTo>
                  <a:lnTo>
                    <a:pt x="38638" y="2853439"/>
                  </a:lnTo>
                  <a:lnTo>
                    <a:pt x="39919" y="2855222"/>
                  </a:lnTo>
                  <a:lnTo>
                    <a:pt x="40027" y="2856853"/>
                  </a:lnTo>
                  <a:lnTo>
                    <a:pt x="38209" y="2858258"/>
                  </a:lnTo>
                  <a:lnTo>
                    <a:pt x="36399" y="2858008"/>
                  </a:lnTo>
                  <a:lnTo>
                    <a:pt x="34578" y="2857200"/>
                  </a:lnTo>
                  <a:lnTo>
                    <a:pt x="32714" y="2856994"/>
                  </a:lnTo>
                  <a:lnTo>
                    <a:pt x="32391" y="2857592"/>
                  </a:lnTo>
                  <a:lnTo>
                    <a:pt x="35557" y="2859441"/>
                  </a:lnTo>
                  <a:lnTo>
                    <a:pt x="36827" y="2860693"/>
                  </a:lnTo>
                  <a:lnTo>
                    <a:pt x="37564" y="2862396"/>
                  </a:lnTo>
                  <a:lnTo>
                    <a:pt x="40227" y="2862348"/>
                  </a:lnTo>
                  <a:lnTo>
                    <a:pt x="41493" y="2862790"/>
                  </a:lnTo>
                  <a:lnTo>
                    <a:pt x="41893" y="2864054"/>
                  </a:lnTo>
                  <a:lnTo>
                    <a:pt x="41213" y="2865540"/>
                  </a:lnTo>
                  <a:lnTo>
                    <a:pt x="39905" y="2866923"/>
                  </a:lnTo>
                  <a:lnTo>
                    <a:pt x="38473" y="2867973"/>
                  </a:lnTo>
                  <a:lnTo>
                    <a:pt x="37426" y="2868429"/>
                  </a:lnTo>
                  <a:lnTo>
                    <a:pt x="36439" y="2868211"/>
                  </a:lnTo>
                  <a:lnTo>
                    <a:pt x="33760" y="2866672"/>
                  </a:lnTo>
                  <a:lnTo>
                    <a:pt x="33089" y="2865912"/>
                  </a:lnTo>
                  <a:lnTo>
                    <a:pt x="33149" y="2864343"/>
                  </a:lnTo>
                  <a:lnTo>
                    <a:pt x="33814" y="2862987"/>
                  </a:lnTo>
                  <a:lnTo>
                    <a:pt x="34143" y="2861826"/>
                  </a:lnTo>
                  <a:lnTo>
                    <a:pt x="33195" y="2860807"/>
                  </a:lnTo>
                  <a:lnTo>
                    <a:pt x="31741" y="2864500"/>
                  </a:lnTo>
                  <a:lnTo>
                    <a:pt x="29283" y="2867430"/>
                  </a:lnTo>
                  <a:lnTo>
                    <a:pt x="27033" y="2868382"/>
                  </a:lnTo>
                  <a:lnTo>
                    <a:pt x="26218" y="2866153"/>
                  </a:lnTo>
                  <a:lnTo>
                    <a:pt x="26631" y="2864486"/>
                  </a:lnTo>
                  <a:lnTo>
                    <a:pt x="28156" y="2861156"/>
                  </a:lnTo>
                  <a:lnTo>
                    <a:pt x="28584" y="2859770"/>
                  </a:lnTo>
                  <a:lnTo>
                    <a:pt x="28542" y="2858310"/>
                  </a:lnTo>
                  <a:lnTo>
                    <a:pt x="28210" y="2856634"/>
                  </a:lnTo>
                  <a:lnTo>
                    <a:pt x="27171" y="2853757"/>
                  </a:lnTo>
                  <a:lnTo>
                    <a:pt x="25501" y="2861675"/>
                  </a:lnTo>
                  <a:lnTo>
                    <a:pt x="24038" y="2865174"/>
                  </a:lnTo>
                  <a:lnTo>
                    <a:pt x="21960" y="2865396"/>
                  </a:lnTo>
                  <a:lnTo>
                    <a:pt x="21392" y="2864091"/>
                  </a:lnTo>
                  <a:lnTo>
                    <a:pt x="21403" y="2862224"/>
                  </a:lnTo>
                  <a:lnTo>
                    <a:pt x="21750" y="2860377"/>
                  </a:lnTo>
                  <a:lnTo>
                    <a:pt x="22206" y="2859100"/>
                  </a:lnTo>
                  <a:lnTo>
                    <a:pt x="22623" y="2857505"/>
                  </a:lnTo>
                  <a:lnTo>
                    <a:pt x="22410" y="2854100"/>
                  </a:lnTo>
                  <a:lnTo>
                    <a:pt x="22913" y="2852051"/>
                  </a:lnTo>
                  <a:lnTo>
                    <a:pt x="22525" y="2851823"/>
                  </a:lnTo>
                  <a:lnTo>
                    <a:pt x="20495" y="2854960"/>
                  </a:lnTo>
                  <a:lnTo>
                    <a:pt x="19278" y="2853922"/>
                  </a:lnTo>
                  <a:lnTo>
                    <a:pt x="18679" y="2850921"/>
                  </a:lnTo>
                  <a:lnTo>
                    <a:pt x="18473" y="2848181"/>
                  </a:lnTo>
                  <a:lnTo>
                    <a:pt x="18624" y="2846568"/>
                  </a:lnTo>
                  <a:lnTo>
                    <a:pt x="18933" y="2844888"/>
                  </a:lnTo>
                  <a:lnTo>
                    <a:pt x="19009" y="2843447"/>
                  </a:lnTo>
                  <a:lnTo>
                    <a:pt x="17769" y="2841484"/>
                  </a:lnTo>
                  <a:lnTo>
                    <a:pt x="17803" y="2840044"/>
                  </a:lnTo>
                  <a:lnTo>
                    <a:pt x="18059" y="2838466"/>
                  </a:lnTo>
                  <a:lnTo>
                    <a:pt x="18035" y="2837059"/>
                  </a:lnTo>
                  <a:lnTo>
                    <a:pt x="17163" y="2837339"/>
                  </a:lnTo>
                  <a:lnTo>
                    <a:pt x="16490" y="2837101"/>
                  </a:lnTo>
                  <a:lnTo>
                    <a:pt x="15998" y="2836501"/>
                  </a:lnTo>
                  <a:lnTo>
                    <a:pt x="15685" y="2835671"/>
                  </a:lnTo>
                  <a:lnTo>
                    <a:pt x="17051" y="2834800"/>
                  </a:lnTo>
                  <a:lnTo>
                    <a:pt x="18322" y="2833692"/>
                  </a:lnTo>
                  <a:lnTo>
                    <a:pt x="16896" y="2833650"/>
                  </a:lnTo>
                  <a:lnTo>
                    <a:pt x="16252" y="2833373"/>
                  </a:lnTo>
                  <a:lnTo>
                    <a:pt x="15980" y="2832778"/>
                  </a:lnTo>
                  <a:lnTo>
                    <a:pt x="16212" y="2832538"/>
                  </a:lnTo>
                  <a:lnTo>
                    <a:pt x="17118" y="2829567"/>
                  </a:lnTo>
                  <a:lnTo>
                    <a:pt x="17149" y="2829132"/>
                  </a:lnTo>
                  <a:lnTo>
                    <a:pt x="18575" y="2828105"/>
                  </a:lnTo>
                  <a:lnTo>
                    <a:pt x="20092" y="2828914"/>
                  </a:lnTo>
                  <a:lnTo>
                    <a:pt x="21368" y="2830468"/>
                  </a:lnTo>
                  <a:lnTo>
                    <a:pt x="22072" y="2831648"/>
                  </a:lnTo>
                  <a:lnTo>
                    <a:pt x="22473" y="2829748"/>
                  </a:lnTo>
                  <a:lnTo>
                    <a:pt x="22139" y="2827919"/>
                  </a:lnTo>
                  <a:lnTo>
                    <a:pt x="21371" y="2826418"/>
                  </a:lnTo>
                  <a:lnTo>
                    <a:pt x="20488" y="2825523"/>
                  </a:lnTo>
                  <a:lnTo>
                    <a:pt x="19619" y="2825366"/>
                  </a:lnTo>
                  <a:lnTo>
                    <a:pt x="18703" y="2825459"/>
                  </a:lnTo>
                  <a:lnTo>
                    <a:pt x="17957" y="2825250"/>
                  </a:lnTo>
                  <a:lnTo>
                    <a:pt x="17578" y="2824199"/>
                  </a:lnTo>
                  <a:lnTo>
                    <a:pt x="17402" y="2820890"/>
                  </a:lnTo>
                  <a:lnTo>
                    <a:pt x="17277" y="2820506"/>
                  </a:lnTo>
                  <a:lnTo>
                    <a:pt x="17760" y="2818157"/>
                  </a:lnTo>
                  <a:lnTo>
                    <a:pt x="16955" y="2816174"/>
                  </a:lnTo>
                  <a:lnTo>
                    <a:pt x="14554" y="2813241"/>
                  </a:lnTo>
                  <a:lnTo>
                    <a:pt x="13661" y="2811422"/>
                  </a:lnTo>
                  <a:lnTo>
                    <a:pt x="10153" y="2801120"/>
                  </a:lnTo>
                  <a:lnTo>
                    <a:pt x="9921" y="2799540"/>
                  </a:lnTo>
                  <a:lnTo>
                    <a:pt x="10264" y="2798522"/>
                  </a:lnTo>
                  <a:lnTo>
                    <a:pt x="10926" y="2797328"/>
                  </a:lnTo>
                  <a:lnTo>
                    <a:pt x="11383" y="2796228"/>
                  </a:lnTo>
                  <a:lnTo>
                    <a:pt x="11119" y="2795479"/>
                  </a:lnTo>
                  <a:lnTo>
                    <a:pt x="10388" y="2794906"/>
                  </a:lnTo>
                  <a:lnTo>
                    <a:pt x="10315" y="2794406"/>
                  </a:lnTo>
                  <a:lnTo>
                    <a:pt x="11419" y="2792615"/>
                  </a:lnTo>
                  <a:lnTo>
                    <a:pt x="10921" y="2792021"/>
                  </a:lnTo>
                  <a:lnTo>
                    <a:pt x="8448" y="2786833"/>
                  </a:lnTo>
                  <a:lnTo>
                    <a:pt x="7044" y="2779094"/>
                  </a:lnTo>
                  <a:lnTo>
                    <a:pt x="9842" y="2777581"/>
                  </a:lnTo>
                  <a:lnTo>
                    <a:pt x="10982" y="2777552"/>
                  </a:lnTo>
                  <a:lnTo>
                    <a:pt x="12036" y="2778544"/>
                  </a:lnTo>
                  <a:lnTo>
                    <a:pt x="12445" y="2779538"/>
                  </a:lnTo>
                  <a:lnTo>
                    <a:pt x="13273" y="2783715"/>
                  </a:lnTo>
                  <a:lnTo>
                    <a:pt x="13991" y="2783274"/>
                  </a:lnTo>
                  <a:lnTo>
                    <a:pt x="13545" y="2778860"/>
                  </a:lnTo>
                  <a:lnTo>
                    <a:pt x="13118" y="2777529"/>
                  </a:lnTo>
                  <a:lnTo>
                    <a:pt x="14252" y="2777262"/>
                  </a:lnTo>
                  <a:lnTo>
                    <a:pt x="15078" y="2781323"/>
                  </a:lnTo>
                  <a:lnTo>
                    <a:pt x="15283" y="2783375"/>
                  </a:lnTo>
                  <a:lnTo>
                    <a:pt x="15498" y="2784448"/>
                  </a:lnTo>
                  <a:lnTo>
                    <a:pt x="15943" y="2785317"/>
                  </a:lnTo>
                  <a:lnTo>
                    <a:pt x="16119" y="2784458"/>
                  </a:lnTo>
                  <a:lnTo>
                    <a:pt x="16196" y="2783752"/>
                  </a:lnTo>
                  <a:lnTo>
                    <a:pt x="16155" y="2783162"/>
                  </a:lnTo>
                  <a:lnTo>
                    <a:pt x="15975" y="2782654"/>
                  </a:lnTo>
                  <a:lnTo>
                    <a:pt x="16305" y="2782059"/>
                  </a:lnTo>
                  <a:lnTo>
                    <a:pt x="17427" y="2780383"/>
                  </a:lnTo>
                  <a:lnTo>
                    <a:pt x="16819" y="2778260"/>
                  </a:lnTo>
                  <a:lnTo>
                    <a:pt x="14607" y="2774860"/>
                  </a:lnTo>
                  <a:lnTo>
                    <a:pt x="14259" y="2772890"/>
                  </a:lnTo>
                  <a:lnTo>
                    <a:pt x="14402" y="2768761"/>
                  </a:lnTo>
                  <a:lnTo>
                    <a:pt x="13633" y="2767309"/>
                  </a:lnTo>
                  <a:lnTo>
                    <a:pt x="12816" y="2771414"/>
                  </a:lnTo>
                  <a:lnTo>
                    <a:pt x="12172" y="2773357"/>
                  </a:lnTo>
                  <a:lnTo>
                    <a:pt x="11286" y="2773809"/>
                  </a:lnTo>
                  <a:lnTo>
                    <a:pt x="9677" y="2773836"/>
                  </a:lnTo>
                  <a:lnTo>
                    <a:pt x="6896" y="2776085"/>
                  </a:lnTo>
                  <a:lnTo>
                    <a:pt x="5440" y="2775517"/>
                  </a:lnTo>
                  <a:lnTo>
                    <a:pt x="5210" y="2774807"/>
                  </a:lnTo>
                  <a:lnTo>
                    <a:pt x="4589" y="2771432"/>
                  </a:lnTo>
                  <a:lnTo>
                    <a:pt x="4633" y="2771153"/>
                  </a:lnTo>
                  <a:lnTo>
                    <a:pt x="4873" y="2770232"/>
                  </a:lnTo>
                  <a:lnTo>
                    <a:pt x="4902" y="2769954"/>
                  </a:lnTo>
                  <a:lnTo>
                    <a:pt x="4638" y="2769435"/>
                  </a:lnTo>
                  <a:lnTo>
                    <a:pt x="3909" y="2768432"/>
                  </a:lnTo>
                  <a:lnTo>
                    <a:pt x="3738" y="2767906"/>
                  </a:lnTo>
                  <a:lnTo>
                    <a:pt x="3614" y="2766324"/>
                  </a:lnTo>
                  <a:lnTo>
                    <a:pt x="3697" y="2764324"/>
                  </a:lnTo>
                  <a:lnTo>
                    <a:pt x="4438" y="2762631"/>
                  </a:lnTo>
                  <a:lnTo>
                    <a:pt x="6286" y="2761993"/>
                  </a:lnTo>
                  <a:lnTo>
                    <a:pt x="3581" y="2757994"/>
                  </a:lnTo>
                  <a:lnTo>
                    <a:pt x="3178" y="2756094"/>
                  </a:lnTo>
                  <a:lnTo>
                    <a:pt x="3082" y="2753817"/>
                  </a:lnTo>
                  <a:lnTo>
                    <a:pt x="3159" y="2752672"/>
                  </a:lnTo>
                  <a:lnTo>
                    <a:pt x="3782" y="2750509"/>
                  </a:lnTo>
                  <a:lnTo>
                    <a:pt x="4026" y="2750575"/>
                  </a:lnTo>
                  <a:lnTo>
                    <a:pt x="4931" y="2750209"/>
                  </a:lnTo>
                  <a:lnTo>
                    <a:pt x="5820" y="2750219"/>
                  </a:lnTo>
                  <a:lnTo>
                    <a:pt x="7114" y="2751693"/>
                  </a:lnTo>
                  <a:lnTo>
                    <a:pt x="7643" y="2751858"/>
                  </a:lnTo>
                  <a:lnTo>
                    <a:pt x="8486" y="2751600"/>
                  </a:lnTo>
                  <a:lnTo>
                    <a:pt x="9223" y="2751861"/>
                  </a:lnTo>
                  <a:lnTo>
                    <a:pt x="9845" y="2752400"/>
                  </a:lnTo>
                  <a:lnTo>
                    <a:pt x="10314" y="2753001"/>
                  </a:lnTo>
                  <a:lnTo>
                    <a:pt x="11262" y="2756333"/>
                  </a:lnTo>
                  <a:lnTo>
                    <a:pt x="12048" y="2757464"/>
                  </a:lnTo>
                  <a:lnTo>
                    <a:pt x="13448" y="2756648"/>
                  </a:lnTo>
                  <a:lnTo>
                    <a:pt x="12952" y="2755968"/>
                  </a:lnTo>
                  <a:lnTo>
                    <a:pt x="12687" y="2755116"/>
                  </a:lnTo>
                  <a:lnTo>
                    <a:pt x="12685" y="2754091"/>
                  </a:lnTo>
                  <a:lnTo>
                    <a:pt x="12993" y="2752889"/>
                  </a:lnTo>
                  <a:lnTo>
                    <a:pt x="14613" y="2758226"/>
                  </a:lnTo>
                  <a:lnTo>
                    <a:pt x="15053" y="2757287"/>
                  </a:lnTo>
                  <a:lnTo>
                    <a:pt x="15244" y="2756446"/>
                  </a:lnTo>
                  <a:lnTo>
                    <a:pt x="15190" y="2755675"/>
                  </a:lnTo>
                  <a:lnTo>
                    <a:pt x="14892" y="2754990"/>
                  </a:lnTo>
                  <a:lnTo>
                    <a:pt x="15291" y="2754280"/>
                  </a:lnTo>
                  <a:lnTo>
                    <a:pt x="16245" y="2754389"/>
                  </a:lnTo>
                  <a:lnTo>
                    <a:pt x="17678" y="2754144"/>
                  </a:lnTo>
                  <a:lnTo>
                    <a:pt x="19027" y="2753560"/>
                  </a:lnTo>
                  <a:lnTo>
                    <a:pt x="19733" y="2752677"/>
                  </a:lnTo>
                  <a:lnTo>
                    <a:pt x="19158" y="2751659"/>
                  </a:lnTo>
                  <a:lnTo>
                    <a:pt x="15870" y="2750679"/>
                  </a:lnTo>
                  <a:lnTo>
                    <a:pt x="15166" y="2749441"/>
                  </a:lnTo>
                  <a:lnTo>
                    <a:pt x="14519" y="2746301"/>
                  </a:lnTo>
                  <a:lnTo>
                    <a:pt x="12631" y="2744598"/>
                  </a:lnTo>
                  <a:lnTo>
                    <a:pt x="8164" y="2742167"/>
                  </a:lnTo>
                  <a:lnTo>
                    <a:pt x="8952" y="2741345"/>
                  </a:lnTo>
                  <a:lnTo>
                    <a:pt x="9345" y="2741068"/>
                  </a:lnTo>
                  <a:lnTo>
                    <a:pt x="8183" y="2740835"/>
                  </a:lnTo>
                  <a:lnTo>
                    <a:pt x="5917" y="2739963"/>
                  </a:lnTo>
                  <a:lnTo>
                    <a:pt x="4730" y="2740072"/>
                  </a:lnTo>
                  <a:lnTo>
                    <a:pt x="4809" y="2738286"/>
                  </a:lnTo>
                  <a:lnTo>
                    <a:pt x="3846" y="2737906"/>
                  </a:lnTo>
                  <a:lnTo>
                    <a:pt x="2466" y="2738074"/>
                  </a:lnTo>
                  <a:lnTo>
                    <a:pt x="1298" y="2737974"/>
                  </a:lnTo>
                  <a:lnTo>
                    <a:pt x="395" y="2737009"/>
                  </a:lnTo>
                  <a:lnTo>
                    <a:pt x="0" y="2735646"/>
                  </a:lnTo>
                  <a:lnTo>
                    <a:pt x="434" y="2734216"/>
                  </a:lnTo>
                  <a:lnTo>
                    <a:pt x="1985" y="2733069"/>
                  </a:lnTo>
                  <a:lnTo>
                    <a:pt x="1162" y="2731944"/>
                  </a:lnTo>
                  <a:lnTo>
                    <a:pt x="637" y="2730082"/>
                  </a:lnTo>
                  <a:lnTo>
                    <a:pt x="541" y="2728452"/>
                  </a:lnTo>
                  <a:lnTo>
                    <a:pt x="1028" y="2728020"/>
                  </a:lnTo>
                  <a:lnTo>
                    <a:pt x="2181" y="2728085"/>
                  </a:lnTo>
                  <a:lnTo>
                    <a:pt x="2436" y="2726738"/>
                  </a:lnTo>
                  <a:close/>
                  <a:moveTo>
                    <a:pt x="146630" y="2723082"/>
                  </a:moveTo>
                  <a:lnTo>
                    <a:pt x="149995" y="2723302"/>
                  </a:lnTo>
                  <a:lnTo>
                    <a:pt x="152777" y="2726207"/>
                  </a:lnTo>
                  <a:lnTo>
                    <a:pt x="154571" y="2731026"/>
                  </a:lnTo>
                  <a:lnTo>
                    <a:pt x="155578" y="2733222"/>
                  </a:lnTo>
                  <a:lnTo>
                    <a:pt x="153220" y="2735200"/>
                  </a:lnTo>
                  <a:lnTo>
                    <a:pt x="150327" y="2732509"/>
                  </a:lnTo>
                  <a:lnTo>
                    <a:pt x="150922" y="2729283"/>
                  </a:lnTo>
                  <a:lnTo>
                    <a:pt x="148192" y="2728868"/>
                  </a:lnTo>
                  <a:lnTo>
                    <a:pt x="145728" y="2725865"/>
                  </a:lnTo>
                  <a:close/>
                  <a:moveTo>
                    <a:pt x="4886694" y="2717737"/>
                  </a:moveTo>
                  <a:lnTo>
                    <a:pt x="4888385" y="2718531"/>
                  </a:lnTo>
                  <a:lnTo>
                    <a:pt x="4888883" y="2720135"/>
                  </a:lnTo>
                  <a:lnTo>
                    <a:pt x="4888865" y="2721138"/>
                  </a:lnTo>
                  <a:lnTo>
                    <a:pt x="4888646" y="2722072"/>
                  </a:lnTo>
                  <a:lnTo>
                    <a:pt x="4888560" y="2723456"/>
                  </a:lnTo>
                  <a:lnTo>
                    <a:pt x="4888901" y="2724893"/>
                  </a:lnTo>
                  <a:lnTo>
                    <a:pt x="4889688" y="2725367"/>
                  </a:lnTo>
                  <a:lnTo>
                    <a:pt x="4890831" y="2725722"/>
                  </a:lnTo>
                  <a:lnTo>
                    <a:pt x="4892265" y="2726783"/>
                  </a:lnTo>
                  <a:lnTo>
                    <a:pt x="4891065" y="2727653"/>
                  </a:lnTo>
                  <a:lnTo>
                    <a:pt x="4889730" y="2727953"/>
                  </a:lnTo>
                  <a:lnTo>
                    <a:pt x="4886793" y="2727954"/>
                  </a:lnTo>
                  <a:lnTo>
                    <a:pt x="4886749" y="2726529"/>
                  </a:lnTo>
                  <a:lnTo>
                    <a:pt x="4886168" y="2725782"/>
                  </a:lnTo>
                  <a:lnTo>
                    <a:pt x="4883950" y="2724916"/>
                  </a:lnTo>
                  <a:lnTo>
                    <a:pt x="4882916" y="2724088"/>
                  </a:lnTo>
                  <a:lnTo>
                    <a:pt x="4883215" y="2723339"/>
                  </a:lnTo>
                  <a:lnTo>
                    <a:pt x="4884617" y="2722152"/>
                  </a:lnTo>
                  <a:lnTo>
                    <a:pt x="4885657" y="2718746"/>
                  </a:lnTo>
                  <a:close/>
                  <a:moveTo>
                    <a:pt x="164798" y="2702543"/>
                  </a:moveTo>
                  <a:lnTo>
                    <a:pt x="168836" y="2703978"/>
                  </a:lnTo>
                  <a:lnTo>
                    <a:pt x="170109" y="2704007"/>
                  </a:lnTo>
                  <a:lnTo>
                    <a:pt x="171788" y="2702581"/>
                  </a:lnTo>
                  <a:lnTo>
                    <a:pt x="173164" y="2703949"/>
                  </a:lnTo>
                  <a:lnTo>
                    <a:pt x="174937" y="2707998"/>
                  </a:lnTo>
                  <a:lnTo>
                    <a:pt x="175433" y="2713557"/>
                  </a:lnTo>
                  <a:lnTo>
                    <a:pt x="175656" y="2714501"/>
                  </a:lnTo>
                  <a:lnTo>
                    <a:pt x="176132" y="2715738"/>
                  </a:lnTo>
                  <a:lnTo>
                    <a:pt x="176221" y="2718136"/>
                  </a:lnTo>
                  <a:lnTo>
                    <a:pt x="175864" y="2720777"/>
                  </a:lnTo>
                  <a:lnTo>
                    <a:pt x="174991" y="2722789"/>
                  </a:lnTo>
                  <a:lnTo>
                    <a:pt x="173429" y="2723970"/>
                  </a:lnTo>
                  <a:lnTo>
                    <a:pt x="169898" y="2724850"/>
                  </a:lnTo>
                  <a:lnTo>
                    <a:pt x="168358" y="2725456"/>
                  </a:lnTo>
                  <a:lnTo>
                    <a:pt x="165465" y="2727218"/>
                  </a:lnTo>
                  <a:lnTo>
                    <a:pt x="164579" y="2728035"/>
                  </a:lnTo>
                  <a:lnTo>
                    <a:pt x="163898" y="2728922"/>
                  </a:lnTo>
                  <a:lnTo>
                    <a:pt x="163186" y="2729685"/>
                  </a:lnTo>
                  <a:lnTo>
                    <a:pt x="162188" y="2730116"/>
                  </a:lnTo>
                  <a:lnTo>
                    <a:pt x="161534" y="2729945"/>
                  </a:lnTo>
                  <a:lnTo>
                    <a:pt x="159606" y="2728848"/>
                  </a:lnTo>
                  <a:lnTo>
                    <a:pt x="159142" y="2728385"/>
                  </a:lnTo>
                  <a:lnTo>
                    <a:pt x="159163" y="2727506"/>
                  </a:lnTo>
                  <a:lnTo>
                    <a:pt x="159704" y="2725013"/>
                  </a:lnTo>
                  <a:lnTo>
                    <a:pt x="159892" y="2724515"/>
                  </a:lnTo>
                  <a:lnTo>
                    <a:pt x="158432" y="2724754"/>
                  </a:lnTo>
                  <a:lnTo>
                    <a:pt x="156607" y="2725563"/>
                  </a:lnTo>
                  <a:lnTo>
                    <a:pt x="155425" y="2725498"/>
                  </a:lnTo>
                  <a:lnTo>
                    <a:pt x="155907" y="2723104"/>
                  </a:lnTo>
                  <a:lnTo>
                    <a:pt x="156441" y="2721851"/>
                  </a:lnTo>
                  <a:lnTo>
                    <a:pt x="156682" y="2721681"/>
                  </a:lnTo>
                  <a:lnTo>
                    <a:pt x="157081" y="2721898"/>
                  </a:lnTo>
                  <a:lnTo>
                    <a:pt x="158100" y="2721783"/>
                  </a:lnTo>
                  <a:lnTo>
                    <a:pt x="158947" y="2721420"/>
                  </a:lnTo>
                  <a:lnTo>
                    <a:pt x="159680" y="2720983"/>
                  </a:lnTo>
                  <a:lnTo>
                    <a:pt x="164832" y="2717106"/>
                  </a:lnTo>
                  <a:lnTo>
                    <a:pt x="166107" y="2716705"/>
                  </a:lnTo>
                  <a:lnTo>
                    <a:pt x="168095" y="2717149"/>
                  </a:lnTo>
                  <a:lnTo>
                    <a:pt x="169993" y="2718227"/>
                  </a:lnTo>
                  <a:lnTo>
                    <a:pt x="170373" y="2717512"/>
                  </a:lnTo>
                  <a:lnTo>
                    <a:pt x="169793" y="2716839"/>
                  </a:lnTo>
                  <a:lnTo>
                    <a:pt x="169702" y="2716189"/>
                  </a:lnTo>
                  <a:lnTo>
                    <a:pt x="170111" y="2715653"/>
                  </a:lnTo>
                  <a:lnTo>
                    <a:pt x="171042" y="2715322"/>
                  </a:lnTo>
                  <a:lnTo>
                    <a:pt x="170617" y="2714579"/>
                  </a:lnTo>
                  <a:lnTo>
                    <a:pt x="169869" y="2714390"/>
                  </a:lnTo>
                  <a:lnTo>
                    <a:pt x="168031" y="2714389"/>
                  </a:lnTo>
                  <a:lnTo>
                    <a:pt x="165390" y="2713070"/>
                  </a:lnTo>
                  <a:lnTo>
                    <a:pt x="164268" y="2713179"/>
                  </a:lnTo>
                  <a:lnTo>
                    <a:pt x="162734" y="2714665"/>
                  </a:lnTo>
                  <a:lnTo>
                    <a:pt x="160990" y="2717160"/>
                  </a:lnTo>
                  <a:lnTo>
                    <a:pt x="159235" y="2719325"/>
                  </a:lnTo>
                  <a:lnTo>
                    <a:pt x="157687" y="2719815"/>
                  </a:lnTo>
                  <a:lnTo>
                    <a:pt x="155977" y="2718479"/>
                  </a:lnTo>
                  <a:lnTo>
                    <a:pt x="155211" y="2716965"/>
                  </a:lnTo>
                  <a:lnTo>
                    <a:pt x="154851" y="2712564"/>
                  </a:lnTo>
                  <a:lnTo>
                    <a:pt x="154417" y="2710376"/>
                  </a:lnTo>
                  <a:lnTo>
                    <a:pt x="153928" y="2709295"/>
                  </a:lnTo>
                  <a:lnTo>
                    <a:pt x="153253" y="2709072"/>
                  </a:lnTo>
                  <a:lnTo>
                    <a:pt x="152322" y="2709568"/>
                  </a:lnTo>
                  <a:lnTo>
                    <a:pt x="151395" y="2709894"/>
                  </a:lnTo>
                  <a:lnTo>
                    <a:pt x="151015" y="2709480"/>
                  </a:lnTo>
                  <a:lnTo>
                    <a:pt x="151710" y="2707785"/>
                  </a:lnTo>
                  <a:lnTo>
                    <a:pt x="150508" y="2707926"/>
                  </a:lnTo>
                  <a:lnTo>
                    <a:pt x="149355" y="2708927"/>
                  </a:lnTo>
                  <a:lnTo>
                    <a:pt x="148195" y="2710159"/>
                  </a:lnTo>
                  <a:lnTo>
                    <a:pt x="146987" y="2711030"/>
                  </a:lnTo>
                  <a:lnTo>
                    <a:pt x="146849" y="2712784"/>
                  </a:lnTo>
                  <a:lnTo>
                    <a:pt x="147337" y="2713973"/>
                  </a:lnTo>
                  <a:lnTo>
                    <a:pt x="148052" y="2715006"/>
                  </a:lnTo>
                  <a:lnTo>
                    <a:pt x="148568" y="2716328"/>
                  </a:lnTo>
                  <a:lnTo>
                    <a:pt x="148576" y="2718016"/>
                  </a:lnTo>
                  <a:lnTo>
                    <a:pt x="148070" y="2719717"/>
                  </a:lnTo>
                  <a:lnTo>
                    <a:pt x="147057" y="2720787"/>
                  </a:lnTo>
                  <a:lnTo>
                    <a:pt x="145545" y="2720612"/>
                  </a:lnTo>
                  <a:lnTo>
                    <a:pt x="145298" y="2720250"/>
                  </a:lnTo>
                  <a:lnTo>
                    <a:pt x="144527" y="2718303"/>
                  </a:lnTo>
                  <a:lnTo>
                    <a:pt x="143649" y="2717829"/>
                  </a:lnTo>
                  <a:lnTo>
                    <a:pt x="143111" y="2717309"/>
                  </a:lnTo>
                  <a:lnTo>
                    <a:pt x="142944" y="2716617"/>
                  </a:lnTo>
                  <a:lnTo>
                    <a:pt x="143661" y="2715324"/>
                  </a:lnTo>
                  <a:lnTo>
                    <a:pt x="144906" y="2713720"/>
                  </a:lnTo>
                  <a:lnTo>
                    <a:pt x="145836" y="2712201"/>
                  </a:lnTo>
                  <a:lnTo>
                    <a:pt x="145623" y="2711185"/>
                  </a:lnTo>
                  <a:lnTo>
                    <a:pt x="145751" y="2710303"/>
                  </a:lnTo>
                  <a:lnTo>
                    <a:pt x="146941" y="2708883"/>
                  </a:lnTo>
                  <a:lnTo>
                    <a:pt x="148484" y="2707676"/>
                  </a:lnTo>
                  <a:lnTo>
                    <a:pt x="149667" y="2707396"/>
                  </a:lnTo>
                  <a:lnTo>
                    <a:pt x="150123" y="2707191"/>
                  </a:lnTo>
                  <a:lnTo>
                    <a:pt x="151451" y="2705696"/>
                  </a:lnTo>
                  <a:lnTo>
                    <a:pt x="152075" y="2705264"/>
                  </a:lnTo>
                  <a:lnTo>
                    <a:pt x="152597" y="2705338"/>
                  </a:lnTo>
                  <a:lnTo>
                    <a:pt x="153211" y="2705614"/>
                  </a:lnTo>
                  <a:lnTo>
                    <a:pt x="153636" y="2705935"/>
                  </a:lnTo>
                  <a:lnTo>
                    <a:pt x="153590" y="2706135"/>
                  </a:lnTo>
                  <a:lnTo>
                    <a:pt x="154932" y="2705550"/>
                  </a:lnTo>
                  <a:lnTo>
                    <a:pt x="156394" y="2704669"/>
                  </a:lnTo>
                  <a:lnTo>
                    <a:pt x="157828" y="2704020"/>
                  </a:lnTo>
                  <a:lnTo>
                    <a:pt x="159121" y="2704140"/>
                  </a:lnTo>
                  <a:lnTo>
                    <a:pt x="160286" y="2704464"/>
                  </a:lnTo>
                  <a:lnTo>
                    <a:pt x="164321" y="2703747"/>
                  </a:lnTo>
                  <a:close/>
                  <a:moveTo>
                    <a:pt x="3384552" y="2702407"/>
                  </a:moveTo>
                  <a:lnTo>
                    <a:pt x="3385164" y="2702693"/>
                  </a:lnTo>
                  <a:lnTo>
                    <a:pt x="3385855" y="2703187"/>
                  </a:lnTo>
                  <a:lnTo>
                    <a:pt x="3386526" y="2703404"/>
                  </a:lnTo>
                  <a:lnTo>
                    <a:pt x="3387109" y="2703853"/>
                  </a:lnTo>
                  <a:lnTo>
                    <a:pt x="3389268" y="2704939"/>
                  </a:lnTo>
                  <a:lnTo>
                    <a:pt x="3390240" y="2705805"/>
                  </a:lnTo>
                  <a:lnTo>
                    <a:pt x="3390608" y="2706267"/>
                  </a:lnTo>
                  <a:lnTo>
                    <a:pt x="3391012" y="2706712"/>
                  </a:lnTo>
                  <a:lnTo>
                    <a:pt x="3391701" y="2707655"/>
                  </a:lnTo>
                  <a:lnTo>
                    <a:pt x="3392129" y="2708750"/>
                  </a:lnTo>
                  <a:lnTo>
                    <a:pt x="3392215" y="2709660"/>
                  </a:lnTo>
                  <a:lnTo>
                    <a:pt x="3392208" y="2710391"/>
                  </a:lnTo>
                  <a:lnTo>
                    <a:pt x="3392534" y="2711262"/>
                  </a:lnTo>
                  <a:lnTo>
                    <a:pt x="3393113" y="2712202"/>
                  </a:lnTo>
                  <a:lnTo>
                    <a:pt x="3393846" y="2713214"/>
                  </a:lnTo>
                  <a:lnTo>
                    <a:pt x="3394543" y="2714392"/>
                  </a:lnTo>
                  <a:lnTo>
                    <a:pt x="3394493" y="2715514"/>
                  </a:lnTo>
                  <a:lnTo>
                    <a:pt x="3393753" y="2716137"/>
                  </a:lnTo>
                  <a:lnTo>
                    <a:pt x="3393088" y="2715826"/>
                  </a:lnTo>
                  <a:lnTo>
                    <a:pt x="3392150" y="2713979"/>
                  </a:lnTo>
                  <a:lnTo>
                    <a:pt x="3391640" y="2713264"/>
                  </a:lnTo>
                  <a:lnTo>
                    <a:pt x="3390801" y="2712430"/>
                  </a:lnTo>
                  <a:lnTo>
                    <a:pt x="3389913" y="2710986"/>
                  </a:lnTo>
                  <a:lnTo>
                    <a:pt x="3389585" y="2710162"/>
                  </a:lnTo>
                  <a:lnTo>
                    <a:pt x="3388048" y="2708243"/>
                  </a:lnTo>
                  <a:lnTo>
                    <a:pt x="3387223" y="2706853"/>
                  </a:lnTo>
                  <a:lnTo>
                    <a:pt x="3386658" y="2705722"/>
                  </a:lnTo>
                  <a:lnTo>
                    <a:pt x="3386008" y="2704837"/>
                  </a:lnTo>
                  <a:lnTo>
                    <a:pt x="3385257" y="2704189"/>
                  </a:lnTo>
                  <a:lnTo>
                    <a:pt x="3384560" y="2703197"/>
                  </a:lnTo>
                  <a:close/>
                  <a:moveTo>
                    <a:pt x="186661" y="2698983"/>
                  </a:moveTo>
                  <a:lnTo>
                    <a:pt x="187521" y="2699295"/>
                  </a:lnTo>
                  <a:lnTo>
                    <a:pt x="188005" y="2699917"/>
                  </a:lnTo>
                  <a:lnTo>
                    <a:pt x="187746" y="2700661"/>
                  </a:lnTo>
                  <a:lnTo>
                    <a:pt x="188954" y="2702279"/>
                  </a:lnTo>
                  <a:lnTo>
                    <a:pt x="189283" y="2704842"/>
                  </a:lnTo>
                  <a:lnTo>
                    <a:pt x="188660" y="2706924"/>
                  </a:lnTo>
                  <a:lnTo>
                    <a:pt x="184385" y="2707146"/>
                  </a:lnTo>
                  <a:lnTo>
                    <a:pt x="183403" y="2706872"/>
                  </a:lnTo>
                  <a:lnTo>
                    <a:pt x="182832" y="2706012"/>
                  </a:lnTo>
                  <a:lnTo>
                    <a:pt x="182779" y="2704734"/>
                  </a:lnTo>
                  <a:lnTo>
                    <a:pt x="182927" y="2703355"/>
                  </a:lnTo>
                  <a:lnTo>
                    <a:pt x="182930" y="2702231"/>
                  </a:lnTo>
                  <a:lnTo>
                    <a:pt x="185008" y="2699766"/>
                  </a:lnTo>
                  <a:lnTo>
                    <a:pt x="185801" y="2699140"/>
                  </a:lnTo>
                  <a:close/>
                  <a:moveTo>
                    <a:pt x="190263" y="2683681"/>
                  </a:moveTo>
                  <a:lnTo>
                    <a:pt x="191701" y="2684728"/>
                  </a:lnTo>
                  <a:lnTo>
                    <a:pt x="191984" y="2687467"/>
                  </a:lnTo>
                  <a:lnTo>
                    <a:pt x="189648" y="2690238"/>
                  </a:lnTo>
                  <a:lnTo>
                    <a:pt x="186510" y="2691621"/>
                  </a:lnTo>
                  <a:lnTo>
                    <a:pt x="184417" y="2690191"/>
                  </a:lnTo>
                  <a:lnTo>
                    <a:pt x="184258" y="2689318"/>
                  </a:lnTo>
                  <a:lnTo>
                    <a:pt x="184248" y="2688903"/>
                  </a:lnTo>
                  <a:lnTo>
                    <a:pt x="184269" y="2688577"/>
                  </a:lnTo>
                  <a:lnTo>
                    <a:pt x="184310" y="2688513"/>
                  </a:lnTo>
                  <a:lnTo>
                    <a:pt x="184346" y="2688456"/>
                  </a:lnTo>
                  <a:lnTo>
                    <a:pt x="184352" y="2688388"/>
                  </a:lnTo>
                  <a:lnTo>
                    <a:pt x="184386" y="2688105"/>
                  </a:lnTo>
                  <a:lnTo>
                    <a:pt x="185649" y="2685704"/>
                  </a:lnTo>
                  <a:lnTo>
                    <a:pt x="187932" y="2684109"/>
                  </a:lnTo>
                  <a:close/>
                  <a:moveTo>
                    <a:pt x="158114" y="2680352"/>
                  </a:moveTo>
                  <a:lnTo>
                    <a:pt x="159216" y="2680931"/>
                  </a:lnTo>
                  <a:lnTo>
                    <a:pt x="161165" y="2687419"/>
                  </a:lnTo>
                  <a:lnTo>
                    <a:pt x="161488" y="2691071"/>
                  </a:lnTo>
                  <a:lnTo>
                    <a:pt x="159870" y="2693453"/>
                  </a:lnTo>
                  <a:lnTo>
                    <a:pt x="158542" y="2693393"/>
                  </a:lnTo>
                  <a:lnTo>
                    <a:pt x="157284" y="2692397"/>
                  </a:lnTo>
                  <a:lnTo>
                    <a:pt x="156524" y="2690906"/>
                  </a:lnTo>
                  <a:lnTo>
                    <a:pt x="156676" y="2689380"/>
                  </a:lnTo>
                  <a:lnTo>
                    <a:pt x="156092" y="2688998"/>
                  </a:lnTo>
                  <a:lnTo>
                    <a:pt x="154623" y="2684947"/>
                  </a:lnTo>
                  <a:lnTo>
                    <a:pt x="154420" y="2683329"/>
                  </a:lnTo>
                  <a:lnTo>
                    <a:pt x="155682" y="2682402"/>
                  </a:lnTo>
                  <a:lnTo>
                    <a:pt x="156924" y="2681124"/>
                  </a:lnTo>
                  <a:close/>
                  <a:moveTo>
                    <a:pt x="182944" y="2679644"/>
                  </a:moveTo>
                  <a:lnTo>
                    <a:pt x="183796" y="2680233"/>
                  </a:lnTo>
                  <a:lnTo>
                    <a:pt x="184511" y="2683264"/>
                  </a:lnTo>
                  <a:lnTo>
                    <a:pt x="184612" y="2684213"/>
                  </a:lnTo>
                  <a:lnTo>
                    <a:pt x="184274" y="2687283"/>
                  </a:lnTo>
                  <a:lnTo>
                    <a:pt x="184327" y="2688102"/>
                  </a:lnTo>
                  <a:lnTo>
                    <a:pt x="184285" y="2688427"/>
                  </a:lnTo>
                  <a:lnTo>
                    <a:pt x="184203" y="2688549"/>
                  </a:lnTo>
                  <a:lnTo>
                    <a:pt x="183932" y="2688671"/>
                  </a:lnTo>
                  <a:lnTo>
                    <a:pt x="183239" y="2689158"/>
                  </a:lnTo>
                  <a:lnTo>
                    <a:pt x="182911" y="2689335"/>
                  </a:lnTo>
                  <a:lnTo>
                    <a:pt x="182447" y="2689486"/>
                  </a:lnTo>
                  <a:lnTo>
                    <a:pt x="182313" y="2689917"/>
                  </a:lnTo>
                  <a:lnTo>
                    <a:pt x="182238" y="2690596"/>
                  </a:lnTo>
                  <a:lnTo>
                    <a:pt x="181233" y="2688570"/>
                  </a:lnTo>
                  <a:lnTo>
                    <a:pt x="180406" y="2683420"/>
                  </a:lnTo>
                  <a:lnTo>
                    <a:pt x="179684" y="2681403"/>
                  </a:lnTo>
                  <a:lnTo>
                    <a:pt x="180785" y="2680299"/>
                  </a:lnTo>
                  <a:lnTo>
                    <a:pt x="181908" y="2679694"/>
                  </a:lnTo>
                  <a:close/>
                  <a:moveTo>
                    <a:pt x="171840" y="2663042"/>
                  </a:moveTo>
                  <a:lnTo>
                    <a:pt x="171829" y="2663971"/>
                  </a:lnTo>
                  <a:lnTo>
                    <a:pt x="172620" y="2663492"/>
                  </a:lnTo>
                  <a:lnTo>
                    <a:pt x="172520" y="2664025"/>
                  </a:lnTo>
                  <a:lnTo>
                    <a:pt x="172319" y="2664526"/>
                  </a:lnTo>
                  <a:lnTo>
                    <a:pt x="172276" y="2664963"/>
                  </a:lnTo>
                  <a:lnTo>
                    <a:pt x="172631" y="2665291"/>
                  </a:lnTo>
                  <a:lnTo>
                    <a:pt x="172121" y="2665891"/>
                  </a:lnTo>
                  <a:lnTo>
                    <a:pt x="171894" y="2666100"/>
                  </a:lnTo>
                  <a:lnTo>
                    <a:pt x="171512" y="2666378"/>
                  </a:lnTo>
                  <a:lnTo>
                    <a:pt x="170749" y="2668313"/>
                  </a:lnTo>
                  <a:lnTo>
                    <a:pt x="169101" y="2668391"/>
                  </a:lnTo>
                  <a:lnTo>
                    <a:pt x="167455" y="2667519"/>
                  </a:lnTo>
                  <a:lnTo>
                    <a:pt x="166691" y="2666616"/>
                  </a:lnTo>
                  <a:lnTo>
                    <a:pt x="167170" y="2664470"/>
                  </a:lnTo>
                  <a:lnTo>
                    <a:pt x="168579" y="2663680"/>
                  </a:lnTo>
                  <a:lnTo>
                    <a:pt x="170333" y="2663458"/>
                  </a:lnTo>
                  <a:close/>
                  <a:moveTo>
                    <a:pt x="4857932" y="2658616"/>
                  </a:moveTo>
                  <a:lnTo>
                    <a:pt x="4859172" y="2659933"/>
                  </a:lnTo>
                  <a:lnTo>
                    <a:pt x="4859229" y="2661574"/>
                  </a:lnTo>
                  <a:lnTo>
                    <a:pt x="4857922" y="2662068"/>
                  </a:lnTo>
                  <a:lnTo>
                    <a:pt x="4856315" y="2662188"/>
                  </a:lnTo>
                  <a:lnTo>
                    <a:pt x="4855458" y="2662690"/>
                  </a:lnTo>
                  <a:lnTo>
                    <a:pt x="4856438" y="2663081"/>
                  </a:lnTo>
                  <a:lnTo>
                    <a:pt x="4858788" y="2663353"/>
                  </a:lnTo>
                  <a:lnTo>
                    <a:pt x="4859166" y="2663233"/>
                  </a:lnTo>
                  <a:lnTo>
                    <a:pt x="4859723" y="2664276"/>
                  </a:lnTo>
                  <a:lnTo>
                    <a:pt x="4860214" y="2665606"/>
                  </a:lnTo>
                  <a:lnTo>
                    <a:pt x="4860429" y="2666847"/>
                  </a:lnTo>
                  <a:lnTo>
                    <a:pt x="4860163" y="2667642"/>
                  </a:lnTo>
                  <a:lnTo>
                    <a:pt x="4858049" y="2668197"/>
                  </a:lnTo>
                  <a:lnTo>
                    <a:pt x="4855413" y="2670149"/>
                  </a:lnTo>
                  <a:lnTo>
                    <a:pt x="4856719" y="2670709"/>
                  </a:lnTo>
                  <a:lnTo>
                    <a:pt x="4859138" y="2670765"/>
                  </a:lnTo>
                  <a:lnTo>
                    <a:pt x="4860313" y="2671046"/>
                  </a:lnTo>
                  <a:lnTo>
                    <a:pt x="4861543" y="2669524"/>
                  </a:lnTo>
                  <a:lnTo>
                    <a:pt x="4862331" y="2671154"/>
                  </a:lnTo>
                  <a:lnTo>
                    <a:pt x="4863001" y="2673768"/>
                  </a:lnTo>
                  <a:lnTo>
                    <a:pt x="4863868" y="2675189"/>
                  </a:lnTo>
                  <a:lnTo>
                    <a:pt x="4864098" y="2676745"/>
                  </a:lnTo>
                  <a:lnTo>
                    <a:pt x="4865062" y="2679318"/>
                  </a:lnTo>
                  <a:lnTo>
                    <a:pt x="4865258" y="2680661"/>
                  </a:lnTo>
                  <a:lnTo>
                    <a:pt x="4864966" y="2682081"/>
                  </a:lnTo>
                  <a:lnTo>
                    <a:pt x="4864289" y="2682119"/>
                  </a:lnTo>
                  <a:lnTo>
                    <a:pt x="4863390" y="2681716"/>
                  </a:lnTo>
                  <a:lnTo>
                    <a:pt x="4861280" y="2681884"/>
                  </a:lnTo>
                  <a:lnTo>
                    <a:pt x="4860903" y="2682190"/>
                  </a:lnTo>
                  <a:lnTo>
                    <a:pt x="4861286" y="2683134"/>
                  </a:lnTo>
                  <a:lnTo>
                    <a:pt x="4862063" y="2684516"/>
                  </a:lnTo>
                  <a:lnTo>
                    <a:pt x="4862602" y="2684969"/>
                  </a:lnTo>
                  <a:lnTo>
                    <a:pt x="4863297" y="2684809"/>
                  </a:lnTo>
                  <a:lnTo>
                    <a:pt x="4863638" y="2684866"/>
                  </a:lnTo>
                  <a:lnTo>
                    <a:pt x="4863766" y="2685435"/>
                  </a:lnTo>
                  <a:lnTo>
                    <a:pt x="4863683" y="2686160"/>
                  </a:lnTo>
                  <a:lnTo>
                    <a:pt x="4863405" y="2686674"/>
                  </a:lnTo>
                  <a:lnTo>
                    <a:pt x="4862300" y="2687435"/>
                  </a:lnTo>
                  <a:lnTo>
                    <a:pt x="4861702" y="2687611"/>
                  </a:lnTo>
                  <a:lnTo>
                    <a:pt x="4860949" y="2687560"/>
                  </a:lnTo>
                  <a:lnTo>
                    <a:pt x="4861517" y="2688439"/>
                  </a:lnTo>
                  <a:lnTo>
                    <a:pt x="4862380" y="2689525"/>
                  </a:lnTo>
                  <a:lnTo>
                    <a:pt x="4863341" y="2690423"/>
                  </a:lnTo>
                  <a:lnTo>
                    <a:pt x="4864185" y="2690729"/>
                  </a:lnTo>
                  <a:lnTo>
                    <a:pt x="4863304" y="2692025"/>
                  </a:lnTo>
                  <a:lnTo>
                    <a:pt x="4861421" y="2692004"/>
                  </a:lnTo>
                  <a:lnTo>
                    <a:pt x="4859286" y="2691623"/>
                  </a:lnTo>
                  <a:lnTo>
                    <a:pt x="4857631" y="2691859"/>
                  </a:lnTo>
                  <a:lnTo>
                    <a:pt x="4850076" y="2695202"/>
                  </a:lnTo>
                  <a:lnTo>
                    <a:pt x="4847236" y="2698559"/>
                  </a:lnTo>
                  <a:lnTo>
                    <a:pt x="4846079" y="2699273"/>
                  </a:lnTo>
                  <a:lnTo>
                    <a:pt x="4845509" y="2699404"/>
                  </a:lnTo>
                  <a:lnTo>
                    <a:pt x="4844778" y="2699431"/>
                  </a:lnTo>
                  <a:lnTo>
                    <a:pt x="4842774" y="2699067"/>
                  </a:lnTo>
                  <a:lnTo>
                    <a:pt x="4841859" y="2699053"/>
                  </a:lnTo>
                  <a:lnTo>
                    <a:pt x="4840916" y="2699481"/>
                  </a:lnTo>
                  <a:lnTo>
                    <a:pt x="4841534" y="2699774"/>
                  </a:lnTo>
                  <a:lnTo>
                    <a:pt x="4842903" y="2700800"/>
                  </a:lnTo>
                  <a:lnTo>
                    <a:pt x="4841561" y="2702251"/>
                  </a:lnTo>
                  <a:lnTo>
                    <a:pt x="4839674" y="2702109"/>
                  </a:lnTo>
                  <a:lnTo>
                    <a:pt x="4837565" y="2701500"/>
                  </a:lnTo>
                  <a:lnTo>
                    <a:pt x="4835551" y="2701541"/>
                  </a:lnTo>
                  <a:lnTo>
                    <a:pt x="4836037" y="2702277"/>
                  </a:lnTo>
                  <a:lnTo>
                    <a:pt x="4836326" y="2702940"/>
                  </a:lnTo>
                  <a:lnTo>
                    <a:pt x="4836533" y="2703570"/>
                  </a:lnTo>
                  <a:lnTo>
                    <a:pt x="4836817" y="2704221"/>
                  </a:lnTo>
                  <a:lnTo>
                    <a:pt x="4835737" y="2703819"/>
                  </a:lnTo>
                  <a:lnTo>
                    <a:pt x="4834835" y="2703903"/>
                  </a:lnTo>
                  <a:lnTo>
                    <a:pt x="4834057" y="2704325"/>
                  </a:lnTo>
                  <a:lnTo>
                    <a:pt x="4833370" y="2704972"/>
                  </a:lnTo>
                  <a:lnTo>
                    <a:pt x="4833740" y="2705533"/>
                  </a:lnTo>
                  <a:lnTo>
                    <a:pt x="4834250" y="2706014"/>
                  </a:lnTo>
                  <a:lnTo>
                    <a:pt x="4835213" y="2708331"/>
                  </a:lnTo>
                  <a:lnTo>
                    <a:pt x="4835868" y="2709601"/>
                  </a:lnTo>
                  <a:lnTo>
                    <a:pt x="4836745" y="2709047"/>
                  </a:lnTo>
                  <a:lnTo>
                    <a:pt x="4839796" y="2707891"/>
                  </a:lnTo>
                  <a:lnTo>
                    <a:pt x="4840827" y="2707844"/>
                  </a:lnTo>
                  <a:lnTo>
                    <a:pt x="4842907" y="2710321"/>
                  </a:lnTo>
                  <a:lnTo>
                    <a:pt x="4843258" y="2710682"/>
                  </a:lnTo>
                  <a:lnTo>
                    <a:pt x="4843302" y="2711402"/>
                  </a:lnTo>
                  <a:lnTo>
                    <a:pt x="4843027" y="2711981"/>
                  </a:lnTo>
                  <a:lnTo>
                    <a:pt x="4842516" y="2712435"/>
                  </a:lnTo>
                  <a:lnTo>
                    <a:pt x="4841829" y="2712732"/>
                  </a:lnTo>
                  <a:lnTo>
                    <a:pt x="4842634" y="2713102"/>
                  </a:lnTo>
                  <a:lnTo>
                    <a:pt x="4844905" y="2713176"/>
                  </a:lnTo>
                  <a:lnTo>
                    <a:pt x="4844351" y="2714195"/>
                  </a:lnTo>
                  <a:lnTo>
                    <a:pt x="4842781" y="2715803"/>
                  </a:lnTo>
                  <a:lnTo>
                    <a:pt x="4842379" y="2716946"/>
                  </a:lnTo>
                  <a:lnTo>
                    <a:pt x="4845026" y="2716577"/>
                  </a:lnTo>
                  <a:lnTo>
                    <a:pt x="4846457" y="2716026"/>
                  </a:lnTo>
                  <a:lnTo>
                    <a:pt x="4847015" y="2716323"/>
                  </a:lnTo>
                  <a:lnTo>
                    <a:pt x="4847580" y="2716847"/>
                  </a:lnTo>
                  <a:lnTo>
                    <a:pt x="4848232" y="2717295"/>
                  </a:lnTo>
                  <a:lnTo>
                    <a:pt x="4851475" y="2719003"/>
                  </a:lnTo>
                  <a:lnTo>
                    <a:pt x="4852937" y="2719312"/>
                  </a:lnTo>
                  <a:lnTo>
                    <a:pt x="4854093" y="2718557"/>
                  </a:lnTo>
                  <a:lnTo>
                    <a:pt x="4852674" y="2717507"/>
                  </a:lnTo>
                  <a:lnTo>
                    <a:pt x="4852107" y="2717244"/>
                  </a:lnTo>
                  <a:lnTo>
                    <a:pt x="4852037" y="2717087"/>
                  </a:lnTo>
                  <a:lnTo>
                    <a:pt x="4851790" y="2716634"/>
                  </a:lnTo>
                  <a:lnTo>
                    <a:pt x="4851390" y="2716018"/>
                  </a:lnTo>
                  <a:lnTo>
                    <a:pt x="4850871" y="2715374"/>
                  </a:lnTo>
                  <a:lnTo>
                    <a:pt x="4853342" y="2713154"/>
                  </a:lnTo>
                  <a:lnTo>
                    <a:pt x="4854148" y="2711586"/>
                  </a:lnTo>
                  <a:lnTo>
                    <a:pt x="4854454" y="2709441"/>
                  </a:lnTo>
                  <a:lnTo>
                    <a:pt x="4855056" y="2708026"/>
                  </a:lnTo>
                  <a:lnTo>
                    <a:pt x="4859807" y="2705984"/>
                  </a:lnTo>
                  <a:lnTo>
                    <a:pt x="4860499" y="2705873"/>
                  </a:lnTo>
                  <a:lnTo>
                    <a:pt x="4861643" y="2705959"/>
                  </a:lnTo>
                  <a:lnTo>
                    <a:pt x="4863733" y="2706426"/>
                  </a:lnTo>
                  <a:lnTo>
                    <a:pt x="4865005" y="2707059"/>
                  </a:lnTo>
                  <a:lnTo>
                    <a:pt x="4865176" y="2707500"/>
                  </a:lnTo>
                  <a:lnTo>
                    <a:pt x="4864935" y="2707991"/>
                  </a:lnTo>
                  <a:lnTo>
                    <a:pt x="4864976" y="2708755"/>
                  </a:lnTo>
                  <a:lnTo>
                    <a:pt x="4865171" y="2709489"/>
                  </a:lnTo>
                  <a:lnTo>
                    <a:pt x="4865624" y="2710727"/>
                  </a:lnTo>
                  <a:lnTo>
                    <a:pt x="4866418" y="2711649"/>
                  </a:lnTo>
                  <a:lnTo>
                    <a:pt x="4867625" y="2711431"/>
                  </a:lnTo>
                  <a:lnTo>
                    <a:pt x="4868192" y="2711802"/>
                  </a:lnTo>
                  <a:lnTo>
                    <a:pt x="4868692" y="2713216"/>
                  </a:lnTo>
                  <a:lnTo>
                    <a:pt x="4869050" y="2714838"/>
                  </a:lnTo>
                  <a:lnTo>
                    <a:pt x="4869181" y="2715839"/>
                  </a:lnTo>
                  <a:lnTo>
                    <a:pt x="4870361" y="2716841"/>
                  </a:lnTo>
                  <a:lnTo>
                    <a:pt x="4870583" y="2718431"/>
                  </a:lnTo>
                  <a:lnTo>
                    <a:pt x="4870164" y="2720084"/>
                  </a:lnTo>
                  <a:lnTo>
                    <a:pt x="4869432" y="2721281"/>
                  </a:lnTo>
                  <a:lnTo>
                    <a:pt x="4868833" y="2721191"/>
                  </a:lnTo>
                  <a:lnTo>
                    <a:pt x="4867881" y="2720908"/>
                  </a:lnTo>
                  <a:lnTo>
                    <a:pt x="4867258" y="2721012"/>
                  </a:lnTo>
                  <a:lnTo>
                    <a:pt x="4867668" y="2722072"/>
                  </a:lnTo>
                  <a:lnTo>
                    <a:pt x="4868444" y="2722759"/>
                  </a:lnTo>
                  <a:lnTo>
                    <a:pt x="4869387" y="2723027"/>
                  </a:lnTo>
                  <a:lnTo>
                    <a:pt x="4870301" y="2723013"/>
                  </a:lnTo>
                  <a:lnTo>
                    <a:pt x="4870981" y="2722845"/>
                  </a:lnTo>
                  <a:lnTo>
                    <a:pt x="4870743" y="2726710"/>
                  </a:lnTo>
                  <a:lnTo>
                    <a:pt x="4870985" y="2727919"/>
                  </a:lnTo>
                  <a:lnTo>
                    <a:pt x="4871316" y="2729054"/>
                  </a:lnTo>
                  <a:lnTo>
                    <a:pt x="4871515" y="2730108"/>
                  </a:lnTo>
                  <a:lnTo>
                    <a:pt x="4871365" y="2731043"/>
                  </a:lnTo>
                  <a:lnTo>
                    <a:pt x="4871739" y="2731607"/>
                  </a:lnTo>
                  <a:lnTo>
                    <a:pt x="4872561" y="2731809"/>
                  </a:lnTo>
                  <a:lnTo>
                    <a:pt x="4873319" y="2732367"/>
                  </a:lnTo>
                  <a:lnTo>
                    <a:pt x="4874934" y="2733970"/>
                  </a:lnTo>
                  <a:lnTo>
                    <a:pt x="4874318" y="2735159"/>
                  </a:lnTo>
                  <a:lnTo>
                    <a:pt x="4873439" y="2734662"/>
                  </a:lnTo>
                  <a:lnTo>
                    <a:pt x="4872519" y="2733667"/>
                  </a:lnTo>
                  <a:lnTo>
                    <a:pt x="4871767" y="2733348"/>
                  </a:lnTo>
                  <a:lnTo>
                    <a:pt x="4871520" y="2734331"/>
                  </a:lnTo>
                  <a:lnTo>
                    <a:pt x="4871891" y="2735959"/>
                  </a:lnTo>
                  <a:lnTo>
                    <a:pt x="4872627" y="2737616"/>
                  </a:lnTo>
                  <a:lnTo>
                    <a:pt x="4873485" y="2738650"/>
                  </a:lnTo>
                  <a:lnTo>
                    <a:pt x="4873681" y="2737913"/>
                  </a:lnTo>
                  <a:lnTo>
                    <a:pt x="4873891" y="2737501"/>
                  </a:lnTo>
                  <a:lnTo>
                    <a:pt x="4874280" y="2737381"/>
                  </a:lnTo>
                  <a:lnTo>
                    <a:pt x="4875035" y="2737518"/>
                  </a:lnTo>
                  <a:lnTo>
                    <a:pt x="4874639" y="2738622"/>
                  </a:lnTo>
                  <a:lnTo>
                    <a:pt x="4874545" y="2739868"/>
                  </a:lnTo>
                  <a:lnTo>
                    <a:pt x="4874846" y="2741226"/>
                  </a:lnTo>
                  <a:lnTo>
                    <a:pt x="4875645" y="2742689"/>
                  </a:lnTo>
                  <a:lnTo>
                    <a:pt x="4872794" y="2740244"/>
                  </a:lnTo>
                  <a:lnTo>
                    <a:pt x="4872184" y="2740645"/>
                  </a:lnTo>
                  <a:lnTo>
                    <a:pt x="4871714" y="2742703"/>
                  </a:lnTo>
                  <a:lnTo>
                    <a:pt x="4871732" y="2744559"/>
                  </a:lnTo>
                  <a:lnTo>
                    <a:pt x="4872612" y="2748654"/>
                  </a:lnTo>
                  <a:lnTo>
                    <a:pt x="4872936" y="2754801"/>
                  </a:lnTo>
                  <a:lnTo>
                    <a:pt x="4872730" y="2757338"/>
                  </a:lnTo>
                  <a:lnTo>
                    <a:pt x="4872856" y="2757708"/>
                  </a:lnTo>
                  <a:lnTo>
                    <a:pt x="4872415" y="2759444"/>
                  </a:lnTo>
                  <a:lnTo>
                    <a:pt x="4872858" y="2761937"/>
                  </a:lnTo>
                  <a:lnTo>
                    <a:pt x="4872885" y="2763974"/>
                  </a:lnTo>
                  <a:lnTo>
                    <a:pt x="4871215" y="2764334"/>
                  </a:lnTo>
                  <a:lnTo>
                    <a:pt x="4871137" y="2763415"/>
                  </a:lnTo>
                  <a:lnTo>
                    <a:pt x="4870902" y="2762488"/>
                  </a:lnTo>
                  <a:lnTo>
                    <a:pt x="4870513" y="2761563"/>
                  </a:lnTo>
                  <a:lnTo>
                    <a:pt x="4869969" y="2760641"/>
                  </a:lnTo>
                  <a:lnTo>
                    <a:pt x="4869630" y="2762324"/>
                  </a:lnTo>
                  <a:lnTo>
                    <a:pt x="4868772" y="2762528"/>
                  </a:lnTo>
                  <a:lnTo>
                    <a:pt x="4866482" y="2761324"/>
                  </a:lnTo>
                  <a:lnTo>
                    <a:pt x="4865710" y="2758906"/>
                  </a:lnTo>
                  <a:lnTo>
                    <a:pt x="4865572" y="2758298"/>
                  </a:lnTo>
                  <a:lnTo>
                    <a:pt x="4863468" y="2756082"/>
                  </a:lnTo>
                  <a:lnTo>
                    <a:pt x="4862323" y="2753462"/>
                  </a:lnTo>
                  <a:lnTo>
                    <a:pt x="4861553" y="2750696"/>
                  </a:lnTo>
                  <a:lnTo>
                    <a:pt x="4860547" y="2748062"/>
                  </a:lnTo>
                  <a:lnTo>
                    <a:pt x="4859310" y="2749375"/>
                  </a:lnTo>
                  <a:lnTo>
                    <a:pt x="4858798" y="2750919"/>
                  </a:lnTo>
                  <a:lnTo>
                    <a:pt x="4858942" y="2752832"/>
                  </a:lnTo>
                  <a:lnTo>
                    <a:pt x="4859641" y="2755238"/>
                  </a:lnTo>
                  <a:lnTo>
                    <a:pt x="4860844" y="2754466"/>
                  </a:lnTo>
                  <a:lnTo>
                    <a:pt x="4862121" y="2755450"/>
                  </a:lnTo>
                  <a:lnTo>
                    <a:pt x="4863269" y="2757367"/>
                  </a:lnTo>
                  <a:lnTo>
                    <a:pt x="4864083" y="2759376"/>
                  </a:lnTo>
                  <a:lnTo>
                    <a:pt x="4864212" y="2760127"/>
                  </a:lnTo>
                  <a:lnTo>
                    <a:pt x="4864356" y="2762445"/>
                  </a:lnTo>
                  <a:lnTo>
                    <a:pt x="4864773" y="2762806"/>
                  </a:lnTo>
                  <a:lnTo>
                    <a:pt x="4865781" y="2763169"/>
                  </a:lnTo>
                  <a:lnTo>
                    <a:pt x="4866123" y="2763426"/>
                  </a:lnTo>
                  <a:lnTo>
                    <a:pt x="4866386" y="2764013"/>
                  </a:lnTo>
                  <a:lnTo>
                    <a:pt x="4866668" y="2765069"/>
                  </a:lnTo>
                  <a:lnTo>
                    <a:pt x="4867003" y="2765633"/>
                  </a:lnTo>
                  <a:lnTo>
                    <a:pt x="4868313" y="2767256"/>
                  </a:lnTo>
                  <a:lnTo>
                    <a:pt x="4869411" y="2768370"/>
                  </a:lnTo>
                  <a:lnTo>
                    <a:pt x="4870603" y="2769015"/>
                  </a:lnTo>
                  <a:lnTo>
                    <a:pt x="4872216" y="2769224"/>
                  </a:lnTo>
                  <a:lnTo>
                    <a:pt x="4873699" y="2768387"/>
                  </a:lnTo>
                  <a:lnTo>
                    <a:pt x="4874526" y="2768363"/>
                  </a:lnTo>
                  <a:lnTo>
                    <a:pt x="4874914" y="2769519"/>
                  </a:lnTo>
                  <a:lnTo>
                    <a:pt x="4874936" y="2772951"/>
                  </a:lnTo>
                  <a:lnTo>
                    <a:pt x="4874690" y="2773868"/>
                  </a:lnTo>
                  <a:lnTo>
                    <a:pt x="4874704" y="2774341"/>
                  </a:lnTo>
                  <a:lnTo>
                    <a:pt x="4874204" y="2779458"/>
                  </a:lnTo>
                  <a:lnTo>
                    <a:pt x="4873301" y="2782118"/>
                  </a:lnTo>
                  <a:lnTo>
                    <a:pt x="4873399" y="2783985"/>
                  </a:lnTo>
                  <a:lnTo>
                    <a:pt x="4875000" y="2787697"/>
                  </a:lnTo>
                  <a:lnTo>
                    <a:pt x="4874906" y="2788498"/>
                  </a:lnTo>
                  <a:lnTo>
                    <a:pt x="4870852" y="2791413"/>
                  </a:lnTo>
                  <a:lnTo>
                    <a:pt x="4871293" y="2792092"/>
                  </a:lnTo>
                  <a:lnTo>
                    <a:pt x="4873095" y="2791622"/>
                  </a:lnTo>
                  <a:lnTo>
                    <a:pt x="4874429" y="2790887"/>
                  </a:lnTo>
                  <a:lnTo>
                    <a:pt x="4875267" y="2791110"/>
                  </a:lnTo>
                  <a:lnTo>
                    <a:pt x="4875591" y="2793502"/>
                  </a:lnTo>
                  <a:lnTo>
                    <a:pt x="4875352" y="2797348"/>
                  </a:lnTo>
                  <a:lnTo>
                    <a:pt x="4874591" y="2800731"/>
                  </a:lnTo>
                  <a:lnTo>
                    <a:pt x="4874510" y="2802604"/>
                  </a:lnTo>
                  <a:lnTo>
                    <a:pt x="4874963" y="2807292"/>
                  </a:lnTo>
                  <a:lnTo>
                    <a:pt x="4874765" y="2808848"/>
                  </a:lnTo>
                  <a:lnTo>
                    <a:pt x="4873919" y="2809618"/>
                  </a:lnTo>
                  <a:lnTo>
                    <a:pt x="4872984" y="2809375"/>
                  </a:lnTo>
                  <a:lnTo>
                    <a:pt x="4872057" y="2808826"/>
                  </a:lnTo>
                  <a:lnTo>
                    <a:pt x="4871236" y="2808628"/>
                  </a:lnTo>
                  <a:lnTo>
                    <a:pt x="4868902" y="2811136"/>
                  </a:lnTo>
                  <a:lnTo>
                    <a:pt x="4870958" y="2811882"/>
                  </a:lnTo>
                  <a:lnTo>
                    <a:pt x="4872832" y="2811000"/>
                  </a:lnTo>
                  <a:lnTo>
                    <a:pt x="4874628" y="2810928"/>
                  </a:lnTo>
                  <a:lnTo>
                    <a:pt x="4876477" y="2814124"/>
                  </a:lnTo>
                  <a:lnTo>
                    <a:pt x="4877219" y="2816818"/>
                  </a:lnTo>
                  <a:lnTo>
                    <a:pt x="4877797" y="2820043"/>
                  </a:lnTo>
                  <a:lnTo>
                    <a:pt x="4877945" y="2823107"/>
                  </a:lnTo>
                  <a:lnTo>
                    <a:pt x="4877401" y="2825278"/>
                  </a:lnTo>
                  <a:lnTo>
                    <a:pt x="4878879" y="2827102"/>
                  </a:lnTo>
                  <a:lnTo>
                    <a:pt x="4879105" y="2829939"/>
                  </a:lnTo>
                  <a:lnTo>
                    <a:pt x="4878009" y="2838814"/>
                  </a:lnTo>
                  <a:lnTo>
                    <a:pt x="4877632" y="2839821"/>
                  </a:lnTo>
                  <a:lnTo>
                    <a:pt x="4876868" y="2840316"/>
                  </a:lnTo>
                  <a:lnTo>
                    <a:pt x="4875897" y="2840498"/>
                  </a:lnTo>
                  <a:lnTo>
                    <a:pt x="4875012" y="2840898"/>
                  </a:lnTo>
                  <a:lnTo>
                    <a:pt x="4874517" y="2842032"/>
                  </a:lnTo>
                  <a:lnTo>
                    <a:pt x="4876479" y="2842175"/>
                  </a:lnTo>
                  <a:lnTo>
                    <a:pt x="4877503" y="2842656"/>
                  </a:lnTo>
                  <a:lnTo>
                    <a:pt x="4877838" y="2843855"/>
                  </a:lnTo>
                  <a:lnTo>
                    <a:pt x="4877748" y="2846122"/>
                  </a:lnTo>
                  <a:lnTo>
                    <a:pt x="4876786" y="2850996"/>
                  </a:lnTo>
                  <a:lnTo>
                    <a:pt x="4876648" y="2852464"/>
                  </a:lnTo>
                  <a:lnTo>
                    <a:pt x="4876810" y="2854257"/>
                  </a:lnTo>
                  <a:lnTo>
                    <a:pt x="4879153" y="2862755"/>
                  </a:lnTo>
                  <a:lnTo>
                    <a:pt x="4879803" y="2864414"/>
                  </a:lnTo>
                  <a:lnTo>
                    <a:pt x="4880730" y="2865991"/>
                  </a:lnTo>
                  <a:lnTo>
                    <a:pt x="4880668" y="2864226"/>
                  </a:lnTo>
                  <a:lnTo>
                    <a:pt x="4880854" y="2861765"/>
                  </a:lnTo>
                  <a:lnTo>
                    <a:pt x="4881410" y="2860083"/>
                  </a:lnTo>
                  <a:lnTo>
                    <a:pt x="4882509" y="2860676"/>
                  </a:lnTo>
                  <a:lnTo>
                    <a:pt x="4883187" y="2862396"/>
                  </a:lnTo>
                  <a:lnTo>
                    <a:pt x="4884337" y="2866538"/>
                  </a:lnTo>
                  <a:lnTo>
                    <a:pt x="4885118" y="2867524"/>
                  </a:lnTo>
                  <a:lnTo>
                    <a:pt x="4885485" y="2868101"/>
                  </a:lnTo>
                  <a:lnTo>
                    <a:pt x="4884923" y="2869139"/>
                  </a:lnTo>
                  <a:lnTo>
                    <a:pt x="4884715" y="2869824"/>
                  </a:lnTo>
                  <a:lnTo>
                    <a:pt x="4884713" y="2870460"/>
                  </a:lnTo>
                  <a:lnTo>
                    <a:pt x="4885154" y="2871484"/>
                  </a:lnTo>
                  <a:lnTo>
                    <a:pt x="4885647" y="2871821"/>
                  </a:lnTo>
                  <a:lnTo>
                    <a:pt x="4886076" y="2871887"/>
                  </a:lnTo>
                  <a:lnTo>
                    <a:pt x="4886344" y="2872133"/>
                  </a:lnTo>
                  <a:lnTo>
                    <a:pt x="4886635" y="2873550"/>
                  </a:lnTo>
                  <a:lnTo>
                    <a:pt x="4886711" y="2875028"/>
                  </a:lnTo>
                  <a:lnTo>
                    <a:pt x="4886604" y="2876412"/>
                  </a:lnTo>
                  <a:lnTo>
                    <a:pt x="4886384" y="2877566"/>
                  </a:lnTo>
                  <a:lnTo>
                    <a:pt x="4883581" y="2883630"/>
                  </a:lnTo>
                  <a:lnTo>
                    <a:pt x="4883236" y="2886150"/>
                  </a:lnTo>
                  <a:lnTo>
                    <a:pt x="4884484" y="2885793"/>
                  </a:lnTo>
                  <a:lnTo>
                    <a:pt x="4888130" y="2883780"/>
                  </a:lnTo>
                  <a:lnTo>
                    <a:pt x="4889012" y="2883500"/>
                  </a:lnTo>
                  <a:lnTo>
                    <a:pt x="4889853" y="2884117"/>
                  </a:lnTo>
                  <a:lnTo>
                    <a:pt x="4890619" y="2883783"/>
                  </a:lnTo>
                  <a:lnTo>
                    <a:pt x="4891276" y="2883266"/>
                  </a:lnTo>
                  <a:lnTo>
                    <a:pt x="4891783" y="2883369"/>
                  </a:lnTo>
                  <a:lnTo>
                    <a:pt x="4893691" y="2886403"/>
                  </a:lnTo>
                  <a:lnTo>
                    <a:pt x="4893817" y="2886976"/>
                  </a:lnTo>
                  <a:lnTo>
                    <a:pt x="4894257" y="2887936"/>
                  </a:lnTo>
                  <a:lnTo>
                    <a:pt x="4896013" y="2894532"/>
                  </a:lnTo>
                  <a:lnTo>
                    <a:pt x="4897328" y="2897625"/>
                  </a:lnTo>
                  <a:lnTo>
                    <a:pt x="4897656" y="2898918"/>
                  </a:lnTo>
                  <a:lnTo>
                    <a:pt x="4898030" y="2903123"/>
                  </a:lnTo>
                  <a:lnTo>
                    <a:pt x="4898651" y="2901607"/>
                  </a:lnTo>
                  <a:lnTo>
                    <a:pt x="4898736" y="2899622"/>
                  </a:lnTo>
                  <a:lnTo>
                    <a:pt x="4898362" y="2895529"/>
                  </a:lnTo>
                  <a:lnTo>
                    <a:pt x="4898405" y="2888428"/>
                  </a:lnTo>
                  <a:lnTo>
                    <a:pt x="4897321" y="2884686"/>
                  </a:lnTo>
                  <a:lnTo>
                    <a:pt x="4897422" y="2868389"/>
                  </a:lnTo>
                  <a:lnTo>
                    <a:pt x="4898098" y="2865945"/>
                  </a:lnTo>
                  <a:lnTo>
                    <a:pt x="4897949" y="2865235"/>
                  </a:lnTo>
                  <a:lnTo>
                    <a:pt x="4897677" y="2864388"/>
                  </a:lnTo>
                  <a:lnTo>
                    <a:pt x="4897687" y="2863331"/>
                  </a:lnTo>
                  <a:lnTo>
                    <a:pt x="4897918" y="2862355"/>
                  </a:lnTo>
                  <a:lnTo>
                    <a:pt x="4899044" y="2860285"/>
                  </a:lnTo>
                  <a:lnTo>
                    <a:pt x="4899204" y="2856259"/>
                  </a:lnTo>
                  <a:lnTo>
                    <a:pt x="4899977" y="2855071"/>
                  </a:lnTo>
                  <a:lnTo>
                    <a:pt x="4905425" y="2858141"/>
                  </a:lnTo>
                  <a:lnTo>
                    <a:pt x="4905386" y="2857192"/>
                  </a:lnTo>
                  <a:lnTo>
                    <a:pt x="4904094" y="2855755"/>
                  </a:lnTo>
                  <a:lnTo>
                    <a:pt x="4902769" y="2854510"/>
                  </a:lnTo>
                  <a:lnTo>
                    <a:pt x="4901983" y="2852967"/>
                  </a:lnTo>
                  <a:lnTo>
                    <a:pt x="4902317" y="2850651"/>
                  </a:lnTo>
                  <a:lnTo>
                    <a:pt x="4903248" y="2850842"/>
                  </a:lnTo>
                  <a:lnTo>
                    <a:pt x="4905907" y="2850831"/>
                  </a:lnTo>
                  <a:lnTo>
                    <a:pt x="4904008" y="2849146"/>
                  </a:lnTo>
                  <a:lnTo>
                    <a:pt x="4902662" y="2848309"/>
                  </a:lnTo>
                  <a:lnTo>
                    <a:pt x="4901814" y="2847231"/>
                  </a:lnTo>
                  <a:lnTo>
                    <a:pt x="4900330" y="2838809"/>
                  </a:lnTo>
                  <a:lnTo>
                    <a:pt x="4900154" y="2835959"/>
                  </a:lnTo>
                  <a:lnTo>
                    <a:pt x="4901038" y="2834079"/>
                  </a:lnTo>
                  <a:lnTo>
                    <a:pt x="4901618" y="2832214"/>
                  </a:lnTo>
                  <a:lnTo>
                    <a:pt x="4900504" y="2826659"/>
                  </a:lnTo>
                  <a:lnTo>
                    <a:pt x="4902193" y="2820865"/>
                  </a:lnTo>
                  <a:lnTo>
                    <a:pt x="4902317" y="2819582"/>
                  </a:lnTo>
                  <a:lnTo>
                    <a:pt x="4902793" y="2818412"/>
                  </a:lnTo>
                  <a:lnTo>
                    <a:pt x="4903532" y="2817468"/>
                  </a:lnTo>
                  <a:lnTo>
                    <a:pt x="4904446" y="2816857"/>
                  </a:lnTo>
                  <a:lnTo>
                    <a:pt x="4904605" y="2817367"/>
                  </a:lnTo>
                  <a:lnTo>
                    <a:pt x="4905117" y="2818574"/>
                  </a:lnTo>
                  <a:lnTo>
                    <a:pt x="4905283" y="2819094"/>
                  </a:lnTo>
                  <a:lnTo>
                    <a:pt x="4906223" y="2818371"/>
                  </a:lnTo>
                  <a:lnTo>
                    <a:pt x="4907142" y="2818276"/>
                  </a:lnTo>
                  <a:lnTo>
                    <a:pt x="4907530" y="2818741"/>
                  </a:lnTo>
                  <a:lnTo>
                    <a:pt x="4906907" y="2819760"/>
                  </a:lnTo>
                  <a:lnTo>
                    <a:pt x="4908158" y="2820269"/>
                  </a:lnTo>
                  <a:lnTo>
                    <a:pt x="4909612" y="2820285"/>
                  </a:lnTo>
                  <a:lnTo>
                    <a:pt x="4911000" y="2820492"/>
                  </a:lnTo>
                  <a:lnTo>
                    <a:pt x="4912056" y="2821540"/>
                  </a:lnTo>
                  <a:lnTo>
                    <a:pt x="4912358" y="2822965"/>
                  </a:lnTo>
                  <a:lnTo>
                    <a:pt x="4912142" y="2826374"/>
                  </a:lnTo>
                  <a:lnTo>
                    <a:pt x="4912231" y="2827936"/>
                  </a:lnTo>
                  <a:lnTo>
                    <a:pt x="4913893" y="2832843"/>
                  </a:lnTo>
                  <a:lnTo>
                    <a:pt x="4914296" y="2834621"/>
                  </a:lnTo>
                  <a:lnTo>
                    <a:pt x="4914446" y="2836317"/>
                  </a:lnTo>
                  <a:lnTo>
                    <a:pt x="4914066" y="2841300"/>
                  </a:lnTo>
                  <a:lnTo>
                    <a:pt x="4915652" y="2838938"/>
                  </a:lnTo>
                  <a:lnTo>
                    <a:pt x="4916110" y="2835719"/>
                  </a:lnTo>
                  <a:lnTo>
                    <a:pt x="4915754" y="2828526"/>
                  </a:lnTo>
                  <a:lnTo>
                    <a:pt x="4916134" y="2827303"/>
                  </a:lnTo>
                  <a:lnTo>
                    <a:pt x="4918085" y="2824109"/>
                  </a:lnTo>
                  <a:lnTo>
                    <a:pt x="4918851" y="2823603"/>
                  </a:lnTo>
                  <a:lnTo>
                    <a:pt x="4919988" y="2824839"/>
                  </a:lnTo>
                  <a:lnTo>
                    <a:pt x="4920247" y="2826586"/>
                  </a:lnTo>
                  <a:lnTo>
                    <a:pt x="4919751" y="2829844"/>
                  </a:lnTo>
                  <a:lnTo>
                    <a:pt x="4922022" y="2829284"/>
                  </a:lnTo>
                  <a:lnTo>
                    <a:pt x="4921745" y="2826387"/>
                  </a:lnTo>
                  <a:lnTo>
                    <a:pt x="4920621" y="2823025"/>
                  </a:lnTo>
                  <a:lnTo>
                    <a:pt x="4920385" y="2821108"/>
                  </a:lnTo>
                  <a:lnTo>
                    <a:pt x="4922410" y="2819921"/>
                  </a:lnTo>
                  <a:lnTo>
                    <a:pt x="4924734" y="2819241"/>
                  </a:lnTo>
                  <a:lnTo>
                    <a:pt x="4927238" y="2819393"/>
                  </a:lnTo>
                  <a:lnTo>
                    <a:pt x="4929823" y="2820683"/>
                  </a:lnTo>
                  <a:lnTo>
                    <a:pt x="4929472" y="2820938"/>
                  </a:lnTo>
                  <a:lnTo>
                    <a:pt x="4930474" y="2821581"/>
                  </a:lnTo>
                  <a:lnTo>
                    <a:pt x="4934279" y="2822419"/>
                  </a:lnTo>
                  <a:lnTo>
                    <a:pt x="4934660" y="2822223"/>
                  </a:lnTo>
                  <a:lnTo>
                    <a:pt x="4934863" y="2821811"/>
                  </a:lnTo>
                  <a:lnTo>
                    <a:pt x="4935216" y="2821361"/>
                  </a:lnTo>
                  <a:lnTo>
                    <a:pt x="4935780" y="2821356"/>
                  </a:lnTo>
                  <a:lnTo>
                    <a:pt x="4936432" y="2821786"/>
                  </a:lnTo>
                  <a:lnTo>
                    <a:pt x="4937015" y="2822300"/>
                  </a:lnTo>
                  <a:lnTo>
                    <a:pt x="4937394" y="2822534"/>
                  </a:lnTo>
                  <a:lnTo>
                    <a:pt x="4938983" y="2822279"/>
                  </a:lnTo>
                  <a:lnTo>
                    <a:pt x="4940374" y="2821360"/>
                  </a:lnTo>
                  <a:lnTo>
                    <a:pt x="4940746" y="2820648"/>
                  </a:lnTo>
                  <a:lnTo>
                    <a:pt x="4940927" y="2819470"/>
                  </a:lnTo>
                  <a:lnTo>
                    <a:pt x="4940947" y="2818202"/>
                  </a:lnTo>
                  <a:lnTo>
                    <a:pt x="4940842" y="2817245"/>
                  </a:lnTo>
                  <a:lnTo>
                    <a:pt x="4939971" y="2816871"/>
                  </a:lnTo>
                  <a:lnTo>
                    <a:pt x="4940852" y="2814949"/>
                  </a:lnTo>
                  <a:lnTo>
                    <a:pt x="4944257" y="2812951"/>
                  </a:lnTo>
                  <a:lnTo>
                    <a:pt x="4945777" y="2811685"/>
                  </a:lnTo>
                  <a:lnTo>
                    <a:pt x="4946225" y="2810842"/>
                  </a:lnTo>
                  <a:lnTo>
                    <a:pt x="4948359" y="2804239"/>
                  </a:lnTo>
                  <a:lnTo>
                    <a:pt x="4948774" y="2804865"/>
                  </a:lnTo>
                  <a:lnTo>
                    <a:pt x="4951675" y="2806628"/>
                  </a:lnTo>
                  <a:lnTo>
                    <a:pt x="4953064" y="2807792"/>
                  </a:lnTo>
                  <a:lnTo>
                    <a:pt x="4954095" y="2809424"/>
                  </a:lnTo>
                  <a:lnTo>
                    <a:pt x="4954396" y="2811287"/>
                  </a:lnTo>
                  <a:lnTo>
                    <a:pt x="4953979" y="2813000"/>
                  </a:lnTo>
                  <a:lnTo>
                    <a:pt x="4953104" y="2814445"/>
                  </a:lnTo>
                  <a:lnTo>
                    <a:pt x="4952031" y="2815494"/>
                  </a:lnTo>
                  <a:lnTo>
                    <a:pt x="4950469" y="2817949"/>
                  </a:lnTo>
                  <a:lnTo>
                    <a:pt x="4948891" y="2824888"/>
                  </a:lnTo>
                  <a:lnTo>
                    <a:pt x="4947015" y="2827566"/>
                  </a:lnTo>
                  <a:lnTo>
                    <a:pt x="4947351" y="2830982"/>
                  </a:lnTo>
                  <a:lnTo>
                    <a:pt x="4943284" y="2836695"/>
                  </a:lnTo>
                  <a:lnTo>
                    <a:pt x="4938135" y="2848613"/>
                  </a:lnTo>
                  <a:lnTo>
                    <a:pt x="4937611" y="2849246"/>
                  </a:lnTo>
                  <a:lnTo>
                    <a:pt x="4936745" y="2849315"/>
                  </a:lnTo>
                  <a:lnTo>
                    <a:pt x="4935798" y="2849010"/>
                  </a:lnTo>
                  <a:lnTo>
                    <a:pt x="4935166" y="2849254"/>
                  </a:lnTo>
                  <a:lnTo>
                    <a:pt x="4935235" y="2850968"/>
                  </a:lnTo>
                  <a:lnTo>
                    <a:pt x="4936547" y="2851754"/>
                  </a:lnTo>
                  <a:lnTo>
                    <a:pt x="4936315" y="2853499"/>
                  </a:lnTo>
                  <a:lnTo>
                    <a:pt x="4934550" y="2856976"/>
                  </a:lnTo>
                  <a:lnTo>
                    <a:pt x="4935835" y="2858132"/>
                  </a:lnTo>
                  <a:lnTo>
                    <a:pt x="4935484" y="2861067"/>
                  </a:lnTo>
                  <a:lnTo>
                    <a:pt x="4933870" y="2866557"/>
                  </a:lnTo>
                  <a:lnTo>
                    <a:pt x="4933863" y="2867551"/>
                  </a:lnTo>
                  <a:lnTo>
                    <a:pt x="4934064" y="2868741"/>
                  </a:lnTo>
                  <a:lnTo>
                    <a:pt x="4934531" y="2870087"/>
                  </a:lnTo>
                  <a:lnTo>
                    <a:pt x="4935345" y="2871578"/>
                  </a:lnTo>
                  <a:lnTo>
                    <a:pt x="4936367" y="2872300"/>
                  </a:lnTo>
                  <a:lnTo>
                    <a:pt x="4936574" y="2870676"/>
                  </a:lnTo>
                  <a:lnTo>
                    <a:pt x="4936249" y="2866761"/>
                  </a:lnTo>
                  <a:lnTo>
                    <a:pt x="4936517" y="2863729"/>
                  </a:lnTo>
                  <a:lnTo>
                    <a:pt x="4937808" y="2858002"/>
                  </a:lnTo>
                  <a:lnTo>
                    <a:pt x="4940037" y="2852412"/>
                  </a:lnTo>
                  <a:lnTo>
                    <a:pt x="4940622" y="2851659"/>
                  </a:lnTo>
                  <a:lnTo>
                    <a:pt x="4941485" y="2850896"/>
                  </a:lnTo>
                  <a:lnTo>
                    <a:pt x="4942232" y="2849958"/>
                  </a:lnTo>
                  <a:lnTo>
                    <a:pt x="4942807" y="2848954"/>
                  </a:lnTo>
                  <a:lnTo>
                    <a:pt x="4943120" y="2848002"/>
                  </a:lnTo>
                  <a:lnTo>
                    <a:pt x="4943799" y="2848315"/>
                  </a:lnTo>
                  <a:lnTo>
                    <a:pt x="4944031" y="2848530"/>
                  </a:lnTo>
                  <a:lnTo>
                    <a:pt x="4944362" y="2848942"/>
                  </a:lnTo>
                  <a:lnTo>
                    <a:pt x="4943599" y="2850072"/>
                  </a:lnTo>
                  <a:lnTo>
                    <a:pt x="4942481" y="2852650"/>
                  </a:lnTo>
                  <a:lnTo>
                    <a:pt x="4941607" y="2853612"/>
                  </a:lnTo>
                  <a:lnTo>
                    <a:pt x="4942054" y="2854297"/>
                  </a:lnTo>
                  <a:lnTo>
                    <a:pt x="4942902" y="2853506"/>
                  </a:lnTo>
                  <a:lnTo>
                    <a:pt x="4943637" y="2852462"/>
                  </a:lnTo>
                  <a:lnTo>
                    <a:pt x="4944151" y="2851233"/>
                  </a:lnTo>
                  <a:lnTo>
                    <a:pt x="4944345" y="2849876"/>
                  </a:lnTo>
                  <a:lnTo>
                    <a:pt x="4945265" y="2850419"/>
                  </a:lnTo>
                  <a:lnTo>
                    <a:pt x="4946275" y="2849882"/>
                  </a:lnTo>
                  <a:lnTo>
                    <a:pt x="4948296" y="2847916"/>
                  </a:lnTo>
                  <a:lnTo>
                    <a:pt x="4948515" y="2848701"/>
                  </a:lnTo>
                  <a:lnTo>
                    <a:pt x="4948578" y="2849510"/>
                  </a:lnTo>
                  <a:lnTo>
                    <a:pt x="4948449" y="2850247"/>
                  </a:lnTo>
                  <a:lnTo>
                    <a:pt x="4948084" y="2850748"/>
                  </a:lnTo>
                  <a:lnTo>
                    <a:pt x="4947841" y="2851396"/>
                  </a:lnTo>
                  <a:lnTo>
                    <a:pt x="4948126" y="2852292"/>
                  </a:lnTo>
                  <a:lnTo>
                    <a:pt x="4948560" y="2853231"/>
                  </a:lnTo>
                  <a:lnTo>
                    <a:pt x="4948774" y="2854009"/>
                  </a:lnTo>
                  <a:lnTo>
                    <a:pt x="4948607" y="2855479"/>
                  </a:lnTo>
                  <a:lnTo>
                    <a:pt x="4947296" y="2859687"/>
                  </a:lnTo>
                  <a:lnTo>
                    <a:pt x="4948497" y="2860350"/>
                  </a:lnTo>
                  <a:lnTo>
                    <a:pt x="4949638" y="2860014"/>
                  </a:lnTo>
                  <a:lnTo>
                    <a:pt x="4951628" y="2858381"/>
                  </a:lnTo>
                  <a:lnTo>
                    <a:pt x="4952281" y="2862435"/>
                  </a:lnTo>
                  <a:lnTo>
                    <a:pt x="4951738" y="2866342"/>
                  </a:lnTo>
                  <a:lnTo>
                    <a:pt x="4950259" y="2869682"/>
                  </a:lnTo>
                  <a:lnTo>
                    <a:pt x="4948108" y="2872045"/>
                  </a:lnTo>
                  <a:lnTo>
                    <a:pt x="4947681" y="2872769"/>
                  </a:lnTo>
                  <a:lnTo>
                    <a:pt x="4947384" y="2874822"/>
                  </a:lnTo>
                  <a:lnTo>
                    <a:pt x="4947112" y="2875440"/>
                  </a:lnTo>
                  <a:lnTo>
                    <a:pt x="4946367" y="2876208"/>
                  </a:lnTo>
                  <a:lnTo>
                    <a:pt x="4946502" y="2876783"/>
                  </a:lnTo>
                  <a:lnTo>
                    <a:pt x="4946958" y="2877487"/>
                  </a:lnTo>
                  <a:lnTo>
                    <a:pt x="4947205" y="2878660"/>
                  </a:lnTo>
                  <a:lnTo>
                    <a:pt x="4946826" y="2882607"/>
                  </a:lnTo>
                  <a:lnTo>
                    <a:pt x="4946988" y="2884190"/>
                  </a:lnTo>
                  <a:lnTo>
                    <a:pt x="4947447" y="2883832"/>
                  </a:lnTo>
                  <a:lnTo>
                    <a:pt x="4948206" y="2882071"/>
                  </a:lnTo>
                  <a:lnTo>
                    <a:pt x="4950053" y="2879688"/>
                  </a:lnTo>
                  <a:lnTo>
                    <a:pt x="4951671" y="2873324"/>
                  </a:lnTo>
                  <a:lnTo>
                    <a:pt x="4953055" y="2870301"/>
                  </a:lnTo>
                  <a:lnTo>
                    <a:pt x="4956906" y="2864806"/>
                  </a:lnTo>
                  <a:lnTo>
                    <a:pt x="4959203" y="2862838"/>
                  </a:lnTo>
                  <a:lnTo>
                    <a:pt x="4962455" y="2861620"/>
                  </a:lnTo>
                  <a:lnTo>
                    <a:pt x="4962879" y="2863341"/>
                  </a:lnTo>
                  <a:lnTo>
                    <a:pt x="4962860" y="2864008"/>
                  </a:lnTo>
                  <a:lnTo>
                    <a:pt x="4963928" y="2863081"/>
                  </a:lnTo>
                  <a:lnTo>
                    <a:pt x="4964614" y="2862756"/>
                  </a:lnTo>
                  <a:lnTo>
                    <a:pt x="4965229" y="2862773"/>
                  </a:lnTo>
                  <a:lnTo>
                    <a:pt x="4965706" y="2862628"/>
                  </a:lnTo>
                  <a:lnTo>
                    <a:pt x="4966929" y="2862559"/>
                  </a:lnTo>
                  <a:lnTo>
                    <a:pt x="4967864" y="2862776"/>
                  </a:lnTo>
                  <a:lnTo>
                    <a:pt x="4967462" y="2863487"/>
                  </a:lnTo>
                  <a:lnTo>
                    <a:pt x="4966702" y="2863922"/>
                  </a:lnTo>
                  <a:lnTo>
                    <a:pt x="4966176" y="2864092"/>
                  </a:lnTo>
                  <a:lnTo>
                    <a:pt x="4965752" y="2864351"/>
                  </a:lnTo>
                  <a:lnTo>
                    <a:pt x="4965293" y="2865071"/>
                  </a:lnTo>
                  <a:lnTo>
                    <a:pt x="4965493" y="2865145"/>
                  </a:lnTo>
                  <a:lnTo>
                    <a:pt x="4965590" y="2865968"/>
                  </a:lnTo>
                  <a:lnTo>
                    <a:pt x="4965555" y="2867020"/>
                  </a:lnTo>
                  <a:lnTo>
                    <a:pt x="4965342" y="2867801"/>
                  </a:lnTo>
                  <a:lnTo>
                    <a:pt x="4966790" y="2867249"/>
                  </a:lnTo>
                  <a:lnTo>
                    <a:pt x="4968280" y="2865416"/>
                  </a:lnTo>
                  <a:lnTo>
                    <a:pt x="4970378" y="2861355"/>
                  </a:lnTo>
                  <a:lnTo>
                    <a:pt x="4970977" y="2862757"/>
                  </a:lnTo>
                  <a:lnTo>
                    <a:pt x="4971314" y="2864966"/>
                  </a:lnTo>
                  <a:lnTo>
                    <a:pt x="4972098" y="2866551"/>
                  </a:lnTo>
                  <a:lnTo>
                    <a:pt x="4973292" y="2865760"/>
                  </a:lnTo>
                  <a:lnTo>
                    <a:pt x="4973631" y="2865429"/>
                  </a:lnTo>
                  <a:lnTo>
                    <a:pt x="4974077" y="2866109"/>
                  </a:lnTo>
                  <a:lnTo>
                    <a:pt x="4974232" y="2867231"/>
                  </a:lnTo>
                  <a:lnTo>
                    <a:pt x="4974920" y="2868316"/>
                  </a:lnTo>
                  <a:lnTo>
                    <a:pt x="4975898" y="2868913"/>
                  </a:lnTo>
                  <a:lnTo>
                    <a:pt x="4976905" y="2868571"/>
                  </a:lnTo>
                  <a:lnTo>
                    <a:pt x="4977241" y="2867441"/>
                  </a:lnTo>
                  <a:lnTo>
                    <a:pt x="4976899" y="2865987"/>
                  </a:lnTo>
                  <a:lnTo>
                    <a:pt x="4976342" y="2864482"/>
                  </a:lnTo>
                  <a:lnTo>
                    <a:pt x="4976044" y="2863250"/>
                  </a:lnTo>
                  <a:lnTo>
                    <a:pt x="4975895" y="2857337"/>
                  </a:lnTo>
                  <a:lnTo>
                    <a:pt x="4976481" y="2854546"/>
                  </a:lnTo>
                  <a:lnTo>
                    <a:pt x="4978135" y="2852818"/>
                  </a:lnTo>
                  <a:lnTo>
                    <a:pt x="4978985" y="2857923"/>
                  </a:lnTo>
                  <a:lnTo>
                    <a:pt x="4979745" y="2860776"/>
                  </a:lnTo>
                  <a:lnTo>
                    <a:pt x="4980745" y="2862060"/>
                  </a:lnTo>
                  <a:lnTo>
                    <a:pt x="4981061" y="2863407"/>
                  </a:lnTo>
                  <a:lnTo>
                    <a:pt x="4981536" y="2864675"/>
                  </a:lnTo>
                  <a:lnTo>
                    <a:pt x="4982240" y="2865814"/>
                  </a:lnTo>
                  <a:lnTo>
                    <a:pt x="4983220" y="2866783"/>
                  </a:lnTo>
                  <a:lnTo>
                    <a:pt x="4983468" y="2863806"/>
                  </a:lnTo>
                  <a:lnTo>
                    <a:pt x="4983345" y="2862191"/>
                  </a:lnTo>
                  <a:lnTo>
                    <a:pt x="4982900" y="2860938"/>
                  </a:lnTo>
                  <a:lnTo>
                    <a:pt x="4982009" y="2859364"/>
                  </a:lnTo>
                  <a:lnTo>
                    <a:pt x="4981614" y="2858053"/>
                  </a:lnTo>
                  <a:lnTo>
                    <a:pt x="4981801" y="2856958"/>
                  </a:lnTo>
                  <a:lnTo>
                    <a:pt x="4982637" y="2856051"/>
                  </a:lnTo>
                  <a:lnTo>
                    <a:pt x="4982324" y="2855796"/>
                  </a:lnTo>
                  <a:lnTo>
                    <a:pt x="4982080" y="2855563"/>
                  </a:lnTo>
                  <a:lnTo>
                    <a:pt x="4981796" y="2855342"/>
                  </a:lnTo>
                  <a:lnTo>
                    <a:pt x="4981388" y="2855120"/>
                  </a:lnTo>
                  <a:lnTo>
                    <a:pt x="4981090" y="2853864"/>
                  </a:lnTo>
                  <a:lnTo>
                    <a:pt x="4980937" y="2852600"/>
                  </a:lnTo>
                  <a:lnTo>
                    <a:pt x="4982838" y="2853815"/>
                  </a:lnTo>
                  <a:lnTo>
                    <a:pt x="4983116" y="2852944"/>
                  </a:lnTo>
                  <a:lnTo>
                    <a:pt x="4982681" y="2851154"/>
                  </a:lnTo>
                  <a:lnTo>
                    <a:pt x="4982457" y="2849634"/>
                  </a:lnTo>
                  <a:lnTo>
                    <a:pt x="4983020" y="2848343"/>
                  </a:lnTo>
                  <a:lnTo>
                    <a:pt x="4985955" y="2845280"/>
                  </a:lnTo>
                  <a:lnTo>
                    <a:pt x="4986353" y="2846757"/>
                  </a:lnTo>
                  <a:lnTo>
                    <a:pt x="4987034" y="2845828"/>
                  </a:lnTo>
                  <a:lnTo>
                    <a:pt x="4987181" y="2845299"/>
                  </a:lnTo>
                  <a:lnTo>
                    <a:pt x="4987912" y="2845603"/>
                  </a:lnTo>
                  <a:lnTo>
                    <a:pt x="4987494" y="2852827"/>
                  </a:lnTo>
                  <a:lnTo>
                    <a:pt x="4987011" y="2854765"/>
                  </a:lnTo>
                  <a:lnTo>
                    <a:pt x="4987380" y="2855324"/>
                  </a:lnTo>
                  <a:lnTo>
                    <a:pt x="4988768" y="2853435"/>
                  </a:lnTo>
                  <a:lnTo>
                    <a:pt x="4990499" y="2848487"/>
                  </a:lnTo>
                  <a:lnTo>
                    <a:pt x="4992400" y="2847913"/>
                  </a:lnTo>
                  <a:lnTo>
                    <a:pt x="4991950" y="2849449"/>
                  </a:lnTo>
                  <a:lnTo>
                    <a:pt x="4991668" y="2857279"/>
                  </a:lnTo>
                  <a:lnTo>
                    <a:pt x="4990711" y="2860438"/>
                  </a:lnTo>
                  <a:lnTo>
                    <a:pt x="4990742" y="2862172"/>
                  </a:lnTo>
                  <a:lnTo>
                    <a:pt x="4991649" y="2860389"/>
                  </a:lnTo>
                  <a:lnTo>
                    <a:pt x="4992990" y="2858655"/>
                  </a:lnTo>
                  <a:lnTo>
                    <a:pt x="4994402" y="2858489"/>
                  </a:lnTo>
                  <a:lnTo>
                    <a:pt x="4995530" y="2861415"/>
                  </a:lnTo>
                  <a:lnTo>
                    <a:pt x="4995445" y="2859090"/>
                  </a:lnTo>
                  <a:lnTo>
                    <a:pt x="4994725" y="2855851"/>
                  </a:lnTo>
                  <a:lnTo>
                    <a:pt x="4994341" y="2853107"/>
                  </a:lnTo>
                  <a:lnTo>
                    <a:pt x="4995283" y="2852260"/>
                  </a:lnTo>
                  <a:lnTo>
                    <a:pt x="4995331" y="2854162"/>
                  </a:lnTo>
                  <a:lnTo>
                    <a:pt x="4996323" y="2853603"/>
                  </a:lnTo>
                  <a:lnTo>
                    <a:pt x="4996993" y="2851462"/>
                  </a:lnTo>
                  <a:lnTo>
                    <a:pt x="4997706" y="2852402"/>
                  </a:lnTo>
                  <a:lnTo>
                    <a:pt x="4998303" y="2854398"/>
                  </a:lnTo>
                  <a:lnTo>
                    <a:pt x="4997911" y="2855511"/>
                  </a:lnTo>
                  <a:lnTo>
                    <a:pt x="4997151" y="2856421"/>
                  </a:lnTo>
                  <a:lnTo>
                    <a:pt x="4996640" y="2857815"/>
                  </a:lnTo>
                  <a:lnTo>
                    <a:pt x="4997516" y="2858055"/>
                  </a:lnTo>
                  <a:lnTo>
                    <a:pt x="4998606" y="2858654"/>
                  </a:lnTo>
                  <a:lnTo>
                    <a:pt x="4999722" y="2859483"/>
                  </a:lnTo>
                  <a:lnTo>
                    <a:pt x="5000670" y="2860386"/>
                  </a:lnTo>
                  <a:lnTo>
                    <a:pt x="5000931" y="2859862"/>
                  </a:lnTo>
                  <a:lnTo>
                    <a:pt x="5000977" y="2859580"/>
                  </a:lnTo>
                  <a:lnTo>
                    <a:pt x="5001004" y="2859129"/>
                  </a:lnTo>
                  <a:lnTo>
                    <a:pt x="4999839" y="2858282"/>
                  </a:lnTo>
                  <a:lnTo>
                    <a:pt x="4999263" y="2857257"/>
                  </a:lnTo>
                  <a:lnTo>
                    <a:pt x="4999293" y="2856225"/>
                  </a:lnTo>
                  <a:lnTo>
                    <a:pt x="5000658" y="2854120"/>
                  </a:lnTo>
                  <a:lnTo>
                    <a:pt x="5000699" y="2852500"/>
                  </a:lnTo>
                  <a:lnTo>
                    <a:pt x="5000525" y="2851028"/>
                  </a:lnTo>
                  <a:lnTo>
                    <a:pt x="5000629" y="2850233"/>
                  </a:lnTo>
                  <a:lnTo>
                    <a:pt x="5000301" y="2849825"/>
                  </a:lnTo>
                  <a:lnTo>
                    <a:pt x="4996738" y="2848400"/>
                  </a:lnTo>
                  <a:lnTo>
                    <a:pt x="4995769" y="2847479"/>
                  </a:lnTo>
                  <a:lnTo>
                    <a:pt x="4994709" y="2846113"/>
                  </a:lnTo>
                  <a:lnTo>
                    <a:pt x="4993835" y="2844641"/>
                  </a:lnTo>
                  <a:lnTo>
                    <a:pt x="4993403" y="2843382"/>
                  </a:lnTo>
                  <a:lnTo>
                    <a:pt x="4987417" y="2840407"/>
                  </a:lnTo>
                  <a:lnTo>
                    <a:pt x="4988921" y="2839132"/>
                  </a:lnTo>
                  <a:lnTo>
                    <a:pt x="4989498" y="2838201"/>
                  </a:lnTo>
                  <a:lnTo>
                    <a:pt x="4989701" y="2836863"/>
                  </a:lnTo>
                  <a:lnTo>
                    <a:pt x="4992202" y="2836525"/>
                  </a:lnTo>
                  <a:lnTo>
                    <a:pt x="4993100" y="2836803"/>
                  </a:lnTo>
                  <a:lnTo>
                    <a:pt x="4992908" y="2838188"/>
                  </a:lnTo>
                  <a:lnTo>
                    <a:pt x="4993696" y="2838459"/>
                  </a:lnTo>
                  <a:lnTo>
                    <a:pt x="4994426" y="2838524"/>
                  </a:lnTo>
                  <a:lnTo>
                    <a:pt x="4995105" y="2838384"/>
                  </a:lnTo>
                  <a:lnTo>
                    <a:pt x="4995709" y="2838045"/>
                  </a:lnTo>
                  <a:lnTo>
                    <a:pt x="4995138" y="2837630"/>
                  </a:lnTo>
                  <a:lnTo>
                    <a:pt x="4993803" y="2836478"/>
                  </a:lnTo>
                  <a:lnTo>
                    <a:pt x="4993242" y="2836083"/>
                  </a:lnTo>
                  <a:lnTo>
                    <a:pt x="4994030" y="2834834"/>
                  </a:lnTo>
                  <a:lnTo>
                    <a:pt x="4994668" y="2833392"/>
                  </a:lnTo>
                  <a:lnTo>
                    <a:pt x="4995582" y="2832346"/>
                  </a:lnTo>
                  <a:lnTo>
                    <a:pt x="4997212" y="2832293"/>
                  </a:lnTo>
                  <a:lnTo>
                    <a:pt x="4996400" y="2832898"/>
                  </a:lnTo>
                  <a:lnTo>
                    <a:pt x="4996772" y="2833455"/>
                  </a:lnTo>
                  <a:lnTo>
                    <a:pt x="4997963" y="2833729"/>
                  </a:lnTo>
                  <a:lnTo>
                    <a:pt x="4999196" y="2834486"/>
                  </a:lnTo>
                  <a:lnTo>
                    <a:pt x="5000384" y="2835608"/>
                  </a:lnTo>
                  <a:lnTo>
                    <a:pt x="5001448" y="2836972"/>
                  </a:lnTo>
                  <a:lnTo>
                    <a:pt x="5002169" y="2838707"/>
                  </a:lnTo>
                  <a:lnTo>
                    <a:pt x="5002139" y="2840267"/>
                  </a:lnTo>
                  <a:lnTo>
                    <a:pt x="5001866" y="2841870"/>
                  </a:lnTo>
                  <a:lnTo>
                    <a:pt x="5001851" y="2843766"/>
                  </a:lnTo>
                  <a:lnTo>
                    <a:pt x="5003172" y="2844546"/>
                  </a:lnTo>
                  <a:lnTo>
                    <a:pt x="5003642" y="2846523"/>
                  </a:lnTo>
                  <a:lnTo>
                    <a:pt x="5003229" y="2848019"/>
                  </a:lnTo>
                  <a:lnTo>
                    <a:pt x="5001904" y="2847346"/>
                  </a:lnTo>
                  <a:lnTo>
                    <a:pt x="5001913" y="2849201"/>
                  </a:lnTo>
                  <a:lnTo>
                    <a:pt x="5002597" y="2851742"/>
                  </a:lnTo>
                  <a:lnTo>
                    <a:pt x="5003776" y="2854137"/>
                  </a:lnTo>
                  <a:lnTo>
                    <a:pt x="5006030" y="2856211"/>
                  </a:lnTo>
                  <a:lnTo>
                    <a:pt x="5008422" y="2859775"/>
                  </a:lnTo>
                  <a:lnTo>
                    <a:pt x="5008969" y="2861058"/>
                  </a:lnTo>
                  <a:lnTo>
                    <a:pt x="5009026" y="2862318"/>
                  </a:lnTo>
                  <a:lnTo>
                    <a:pt x="5008701" y="2863399"/>
                  </a:lnTo>
                  <a:lnTo>
                    <a:pt x="5007715" y="2864649"/>
                  </a:lnTo>
                  <a:lnTo>
                    <a:pt x="5006785" y="2866972"/>
                  </a:lnTo>
                  <a:lnTo>
                    <a:pt x="5006640" y="2868326"/>
                  </a:lnTo>
                  <a:lnTo>
                    <a:pt x="5006818" y="2869661"/>
                  </a:lnTo>
                  <a:lnTo>
                    <a:pt x="5007094" y="2870935"/>
                  </a:lnTo>
                  <a:lnTo>
                    <a:pt x="5007258" y="2872170"/>
                  </a:lnTo>
                  <a:lnTo>
                    <a:pt x="5006377" y="2875490"/>
                  </a:lnTo>
                  <a:lnTo>
                    <a:pt x="5006584" y="2876455"/>
                  </a:lnTo>
                  <a:lnTo>
                    <a:pt x="5007185" y="2876623"/>
                  </a:lnTo>
                  <a:lnTo>
                    <a:pt x="5008866" y="2875380"/>
                  </a:lnTo>
                  <a:lnTo>
                    <a:pt x="5009740" y="2875048"/>
                  </a:lnTo>
                  <a:lnTo>
                    <a:pt x="5010655" y="2878996"/>
                  </a:lnTo>
                  <a:lnTo>
                    <a:pt x="5011846" y="2878022"/>
                  </a:lnTo>
                  <a:lnTo>
                    <a:pt x="5012847" y="2878455"/>
                  </a:lnTo>
                  <a:lnTo>
                    <a:pt x="5013554" y="2879729"/>
                  </a:lnTo>
                  <a:lnTo>
                    <a:pt x="5013882" y="2881311"/>
                  </a:lnTo>
                  <a:lnTo>
                    <a:pt x="5013764" y="2883052"/>
                  </a:lnTo>
                  <a:lnTo>
                    <a:pt x="5012926" y="2885837"/>
                  </a:lnTo>
                  <a:lnTo>
                    <a:pt x="5012847" y="2887631"/>
                  </a:lnTo>
                  <a:lnTo>
                    <a:pt x="5013484" y="2886825"/>
                  </a:lnTo>
                  <a:lnTo>
                    <a:pt x="5014295" y="2883619"/>
                  </a:lnTo>
                  <a:lnTo>
                    <a:pt x="5014856" y="2882448"/>
                  </a:lnTo>
                  <a:lnTo>
                    <a:pt x="5015549" y="2881749"/>
                  </a:lnTo>
                  <a:lnTo>
                    <a:pt x="5017274" y="2880652"/>
                  </a:lnTo>
                  <a:lnTo>
                    <a:pt x="5018027" y="2879272"/>
                  </a:lnTo>
                  <a:lnTo>
                    <a:pt x="5019712" y="2872282"/>
                  </a:lnTo>
                  <a:lnTo>
                    <a:pt x="5019294" y="2871653"/>
                  </a:lnTo>
                  <a:lnTo>
                    <a:pt x="5018210" y="2873055"/>
                  </a:lnTo>
                  <a:lnTo>
                    <a:pt x="5016559" y="2877244"/>
                  </a:lnTo>
                  <a:lnTo>
                    <a:pt x="5015386" y="2877799"/>
                  </a:lnTo>
                  <a:lnTo>
                    <a:pt x="5013589" y="2876328"/>
                  </a:lnTo>
                  <a:lnTo>
                    <a:pt x="5012450" y="2873967"/>
                  </a:lnTo>
                  <a:lnTo>
                    <a:pt x="5011944" y="2871479"/>
                  </a:lnTo>
                  <a:lnTo>
                    <a:pt x="5012049" y="2869630"/>
                  </a:lnTo>
                  <a:lnTo>
                    <a:pt x="5011600" y="2868953"/>
                  </a:lnTo>
                  <a:lnTo>
                    <a:pt x="5010341" y="2870847"/>
                  </a:lnTo>
                  <a:lnTo>
                    <a:pt x="5010092" y="2871081"/>
                  </a:lnTo>
                  <a:lnTo>
                    <a:pt x="5009433" y="2870207"/>
                  </a:lnTo>
                  <a:lnTo>
                    <a:pt x="5009256" y="2869119"/>
                  </a:lnTo>
                  <a:lnTo>
                    <a:pt x="5009417" y="2868134"/>
                  </a:lnTo>
                  <a:lnTo>
                    <a:pt x="5009757" y="2867539"/>
                  </a:lnTo>
                  <a:lnTo>
                    <a:pt x="5010519" y="2866610"/>
                  </a:lnTo>
                  <a:lnTo>
                    <a:pt x="5011078" y="2865283"/>
                  </a:lnTo>
                  <a:lnTo>
                    <a:pt x="5011878" y="2862342"/>
                  </a:lnTo>
                  <a:lnTo>
                    <a:pt x="5016807" y="2851168"/>
                  </a:lnTo>
                  <a:lnTo>
                    <a:pt x="5015930" y="2850810"/>
                  </a:lnTo>
                  <a:lnTo>
                    <a:pt x="5015978" y="2849928"/>
                  </a:lnTo>
                  <a:lnTo>
                    <a:pt x="5013286" y="2848419"/>
                  </a:lnTo>
                  <a:lnTo>
                    <a:pt x="5012112" y="2847498"/>
                  </a:lnTo>
                  <a:lnTo>
                    <a:pt x="5011072" y="2846160"/>
                  </a:lnTo>
                  <a:lnTo>
                    <a:pt x="5012889" y="2846409"/>
                  </a:lnTo>
                  <a:lnTo>
                    <a:pt x="5014923" y="2847059"/>
                  </a:lnTo>
                  <a:lnTo>
                    <a:pt x="5016221" y="2846840"/>
                  </a:lnTo>
                  <a:lnTo>
                    <a:pt x="5015831" y="2844463"/>
                  </a:lnTo>
                  <a:lnTo>
                    <a:pt x="5019884" y="2848231"/>
                  </a:lnTo>
                  <a:lnTo>
                    <a:pt x="5020951" y="2849503"/>
                  </a:lnTo>
                  <a:lnTo>
                    <a:pt x="5021505" y="2851143"/>
                  </a:lnTo>
                  <a:lnTo>
                    <a:pt x="5021527" y="2853136"/>
                  </a:lnTo>
                  <a:lnTo>
                    <a:pt x="5020887" y="2856481"/>
                  </a:lnTo>
                  <a:lnTo>
                    <a:pt x="5021847" y="2856129"/>
                  </a:lnTo>
                  <a:lnTo>
                    <a:pt x="5022495" y="2854786"/>
                  </a:lnTo>
                  <a:lnTo>
                    <a:pt x="5022810" y="2853006"/>
                  </a:lnTo>
                  <a:lnTo>
                    <a:pt x="5022778" y="2851347"/>
                  </a:lnTo>
                  <a:lnTo>
                    <a:pt x="5022081" y="2847138"/>
                  </a:lnTo>
                  <a:lnTo>
                    <a:pt x="5022532" y="2846047"/>
                  </a:lnTo>
                  <a:lnTo>
                    <a:pt x="5023948" y="2844807"/>
                  </a:lnTo>
                  <a:lnTo>
                    <a:pt x="5024321" y="2844994"/>
                  </a:lnTo>
                  <a:lnTo>
                    <a:pt x="5024866" y="2845599"/>
                  </a:lnTo>
                  <a:lnTo>
                    <a:pt x="5025576" y="2846080"/>
                  </a:lnTo>
                  <a:lnTo>
                    <a:pt x="5026452" y="2845889"/>
                  </a:lnTo>
                  <a:lnTo>
                    <a:pt x="5026840" y="2845247"/>
                  </a:lnTo>
                  <a:lnTo>
                    <a:pt x="5027036" y="2844235"/>
                  </a:lnTo>
                  <a:lnTo>
                    <a:pt x="5027003" y="2843157"/>
                  </a:lnTo>
                  <a:lnTo>
                    <a:pt x="5026710" y="2842312"/>
                  </a:lnTo>
                  <a:lnTo>
                    <a:pt x="5025010" y="2839087"/>
                  </a:lnTo>
                  <a:lnTo>
                    <a:pt x="5024586" y="2838751"/>
                  </a:lnTo>
                  <a:lnTo>
                    <a:pt x="5023498" y="2839242"/>
                  </a:lnTo>
                  <a:lnTo>
                    <a:pt x="5022745" y="2838909"/>
                  </a:lnTo>
                  <a:lnTo>
                    <a:pt x="5022147" y="2837927"/>
                  </a:lnTo>
                  <a:lnTo>
                    <a:pt x="5021557" y="2836457"/>
                  </a:lnTo>
                  <a:lnTo>
                    <a:pt x="5021299" y="2835337"/>
                  </a:lnTo>
                  <a:lnTo>
                    <a:pt x="5021177" y="2833898"/>
                  </a:lnTo>
                  <a:lnTo>
                    <a:pt x="5021205" y="2832573"/>
                  </a:lnTo>
                  <a:lnTo>
                    <a:pt x="5021411" y="2831824"/>
                  </a:lnTo>
                  <a:lnTo>
                    <a:pt x="5022353" y="2831315"/>
                  </a:lnTo>
                  <a:lnTo>
                    <a:pt x="5022943" y="2831820"/>
                  </a:lnTo>
                  <a:lnTo>
                    <a:pt x="5023819" y="2833741"/>
                  </a:lnTo>
                  <a:lnTo>
                    <a:pt x="5027521" y="2839151"/>
                  </a:lnTo>
                  <a:lnTo>
                    <a:pt x="5028224" y="2839814"/>
                  </a:lnTo>
                  <a:lnTo>
                    <a:pt x="5028714" y="2840816"/>
                  </a:lnTo>
                  <a:lnTo>
                    <a:pt x="5030086" y="2842358"/>
                  </a:lnTo>
                  <a:lnTo>
                    <a:pt x="5031468" y="2842727"/>
                  </a:lnTo>
                  <a:lnTo>
                    <a:pt x="5032030" y="2840212"/>
                  </a:lnTo>
                  <a:lnTo>
                    <a:pt x="5031937" y="2838982"/>
                  </a:lnTo>
                  <a:lnTo>
                    <a:pt x="5031711" y="2838320"/>
                  </a:lnTo>
                  <a:lnTo>
                    <a:pt x="5030455" y="2836652"/>
                  </a:lnTo>
                  <a:lnTo>
                    <a:pt x="5029839" y="2835500"/>
                  </a:lnTo>
                  <a:lnTo>
                    <a:pt x="5029556" y="2834397"/>
                  </a:lnTo>
                  <a:lnTo>
                    <a:pt x="5029655" y="2833457"/>
                  </a:lnTo>
                  <a:lnTo>
                    <a:pt x="5030170" y="2832757"/>
                  </a:lnTo>
                  <a:lnTo>
                    <a:pt x="5030414" y="2833600"/>
                  </a:lnTo>
                  <a:lnTo>
                    <a:pt x="5030853" y="2834552"/>
                  </a:lnTo>
                  <a:lnTo>
                    <a:pt x="5031459" y="2835378"/>
                  </a:lnTo>
                  <a:lnTo>
                    <a:pt x="5032215" y="2835790"/>
                  </a:lnTo>
                  <a:lnTo>
                    <a:pt x="5032989" y="2835556"/>
                  </a:lnTo>
                  <a:lnTo>
                    <a:pt x="5032885" y="2834719"/>
                  </a:lnTo>
                  <a:lnTo>
                    <a:pt x="5032168" y="2833037"/>
                  </a:lnTo>
                  <a:lnTo>
                    <a:pt x="5032038" y="2832058"/>
                  </a:lnTo>
                  <a:lnTo>
                    <a:pt x="5031665" y="2830639"/>
                  </a:lnTo>
                  <a:lnTo>
                    <a:pt x="5031663" y="2829685"/>
                  </a:lnTo>
                  <a:lnTo>
                    <a:pt x="5031862" y="2828979"/>
                  </a:lnTo>
                  <a:lnTo>
                    <a:pt x="5032592" y="2827654"/>
                  </a:lnTo>
                  <a:lnTo>
                    <a:pt x="5032801" y="2826962"/>
                  </a:lnTo>
                  <a:lnTo>
                    <a:pt x="5032786" y="2826301"/>
                  </a:lnTo>
                  <a:lnTo>
                    <a:pt x="5032682" y="2825434"/>
                  </a:lnTo>
                  <a:lnTo>
                    <a:pt x="5032291" y="2823611"/>
                  </a:lnTo>
                  <a:lnTo>
                    <a:pt x="5032351" y="2823349"/>
                  </a:lnTo>
                  <a:lnTo>
                    <a:pt x="5032554" y="2823094"/>
                  </a:lnTo>
                  <a:lnTo>
                    <a:pt x="5032668" y="2822741"/>
                  </a:lnTo>
                  <a:lnTo>
                    <a:pt x="5032416" y="2822153"/>
                  </a:lnTo>
                  <a:lnTo>
                    <a:pt x="5031834" y="2821448"/>
                  </a:lnTo>
                  <a:lnTo>
                    <a:pt x="5031515" y="2821223"/>
                  </a:lnTo>
                  <a:lnTo>
                    <a:pt x="5031462" y="2821531"/>
                  </a:lnTo>
                  <a:lnTo>
                    <a:pt x="5031247" y="2819495"/>
                  </a:lnTo>
                  <a:lnTo>
                    <a:pt x="5031513" y="2813416"/>
                  </a:lnTo>
                  <a:lnTo>
                    <a:pt x="5031299" y="2809970"/>
                  </a:lnTo>
                  <a:lnTo>
                    <a:pt x="5031399" y="2808140"/>
                  </a:lnTo>
                  <a:lnTo>
                    <a:pt x="5031874" y="2807026"/>
                  </a:lnTo>
                  <a:lnTo>
                    <a:pt x="5032949" y="2805923"/>
                  </a:lnTo>
                  <a:lnTo>
                    <a:pt x="5034609" y="2803370"/>
                  </a:lnTo>
                  <a:lnTo>
                    <a:pt x="5035481" y="2802410"/>
                  </a:lnTo>
                  <a:lnTo>
                    <a:pt x="5036209" y="2802502"/>
                  </a:lnTo>
                  <a:lnTo>
                    <a:pt x="5035306" y="2807774"/>
                  </a:lnTo>
                  <a:lnTo>
                    <a:pt x="5035534" y="2808448"/>
                  </a:lnTo>
                  <a:lnTo>
                    <a:pt x="5036825" y="2811250"/>
                  </a:lnTo>
                  <a:lnTo>
                    <a:pt x="5036922" y="2811844"/>
                  </a:lnTo>
                  <a:lnTo>
                    <a:pt x="5037151" y="2815253"/>
                  </a:lnTo>
                  <a:lnTo>
                    <a:pt x="5037453" y="2813118"/>
                  </a:lnTo>
                  <a:lnTo>
                    <a:pt x="5038446" y="2810723"/>
                  </a:lnTo>
                  <a:lnTo>
                    <a:pt x="5039825" y="2808864"/>
                  </a:lnTo>
                  <a:lnTo>
                    <a:pt x="5041289" y="2808355"/>
                  </a:lnTo>
                  <a:lnTo>
                    <a:pt x="5041200" y="2809939"/>
                  </a:lnTo>
                  <a:lnTo>
                    <a:pt x="5041380" y="2811592"/>
                  </a:lnTo>
                  <a:lnTo>
                    <a:pt x="5042060" y="2812852"/>
                  </a:lnTo>
                  <a:lnTo>
                    <a:pt x="5043458" y="2813253"/>
                  </a:lnTo>
                  <a:lnTo>
                    <a:pt x="5042962" y="2816341"/>
                  </a:lnTo>
                  <a:lnTo>
                    <a:pt x="5042981" y="2816934"/>
                  </a:lnTo>
                  <a:lnTo>
                    <a:pt x="5043882" y="2819018"/>
                  </a:lnTo>
                  <a:lnTo>
                    <a:pt x="5044544" y="2820186"/>
                  </a:lnTo>
                  <a:lnTo>
                    <a:pt x="5045127" y="2820483"/>
                  </a:lnTo>
                  <a:lnTo>
                    <a:pt x="5046835" y="2820162"/>
                  </a:lnTo>
                  <a:lnTo>
                    <a:pt x="5048119" y="2821503"/>
                  </a:lnTo>
                  <a:lnTo>
                    <a:pt x="5048972" y="2823601"/>
                  </a:lnTo>
                  <a:lnTo>
                    <a:pt x="5050157" y="2828165"/>
                  </a:lnTo>
                  <a:lnTo>
                    <a:pt x="5050905" y="2829100"/>
                  </a:lnTo>
                  <a:lnTo>
                    <a:pt x="5051193" y="2828664"/>
                  </a:lnTo>
                  <a:lnTo>
                    <a:pt x="5050530" y="2827168"/>
                  </a:lnTo>
                  <a:lnTo>
                    <a:pt x="5049993" y="2825226"/>
                  </a:lnTo>
                  <a:lnTo>
                    <a:pt x="5050465" y="2823193"/>
                  </a:lnTo>
                  <a:lnTo>
                    <a:pt x="5051244" y="2821171"/>
                  </a:lnTo>
                  <a:lnTo>
                    <a:pt x="5051654" y="2819252"/>
                  </a:lnTo>
                  <a:lnTo>
                    <a:pt x="5049567" y="2818659"/>
                  </a:lnTo>
                  <a:lnTo>
                    <a:pt x="5048712" y="2816506"/>
                  </a:lnTo>
                  <a:lnTo>
                    <a:pt x="5048409" y="2813954"/>
                  </a:lnTo>
                  <a:lnTo>
                    <a:pt x="5047658" y="2810381"/>
                  </a:lnTo>
                  <a:lnTo>
                    <a:pt x="5048591" y="2808734"/>
                  </a:lnTo>
                  <a:lnTo>
                    <a:pt x="5051171" y="2806514"/>
                  </a:lnTo>
                  <a:lnTo>
                    <a:pt x="5051997" y="2808104"/>
                  </a:lnTo>
                  <a:lnTo>
                    <a:pt x="5052803" y="2807748"/>
                  </a:lnTo>
                  <a:lnTo>
                    <a:pt x="5053893" y="2805269"/>
                  </a:lnTo>
                  <a:lnTo>
                    <a:pt x="5055000" y="2806762"/>
                  </a:lnTo>
                  <a:lnTo>
                    <a:pt x="5055650" y="2806464"/>
                  </a:lnTo>
                  <a:lnTo>
                    <a:pt x="5056624" y="2804195"/>
                  </a:lnTo>
                  <a:lnTo>
                    <a:pt x="5057135" y="2805832"/>
                  </a:lnTo>
                  <a:lnTo>
                    <a:pt x="5057396" y="2807249"/>
                  </a:lnTo>
                  <a:lnTo>
                    <a:pt x="5057928" y="2808511"/>
                  </a:lnTo>
                  <a:lnTo>
                    <a:pt x="5059263" y="2809672"/>
                  </a:lnTo>
                  <a:lnTo>
                    <a:pt x="5059050" y="2808068"/>
                  </a:lnTo>
                  <a:lnTo>
                    <a:pt x="5058434" y="2806618"/>
                  </a:lnTo>
                  <a:lnTo>
                    <a:pt x="5057977" y="2805247"/>
                  </a:lnTo>
                  <a:lnTo>
                    <a:pt x="5058233" y="2803814"/>
                  </a:lnTo>
                  <a:lnTo>
                    <a:pt x="5060195" y="2804749"/>
                  </a:lnTo>
                  <a:lnTo>
                    <a:pt x="5061014" y="2805564"/>
                  </a:lnTo>
                  <a:lnTo>
                    <a:pt x="5061136" y="2805334"/>
                  </a:lnTo>
                  <a:lnTo>
                    <a:pt x="5060981" y="2803149"/>
                  </a:lnTo>
                  <a:lnTo>
                    <a:pt x="5060395" y="2801093"/>
                  </a:lnTo>
                  <a:lnTo>
                    <a:pt x="5059419" y="2799236"/>
                  </a:lnTo>
                  <a:lnTo>
                    <a:pt x="5058939" y="2797530"/>
                  </a:lnTo>
                  <a:lnTo>
                    <a:pt x="5061284" y="2794225"/>
                  </a:lnTo>
                  <a:lnTo>
                    <a:pt x="5061595" y="2794176"/>
                  </a:lnTo>
                  <a:lnTo>
                    <a:pt x="5062284" y="2794596"/>
                  </a:lnTo>
                  <a:lnTo>
                    <a:pt x="5062507" y="2793752"/>
                  </a:lnTo>
                  <a:lnTo>
                    <a:pt x="5062405" y="2792670"/>
                  </a:lnTo>
                  <a:lnTo>
                    <a:pt x="5062107" y="2792369"/>
                  </a:lnTo>
                  <a:lnTo>
                    <a:pt x="5062514" y="2791426"/>
                  </a:lnTo>
                  <a:lnTo>
                    <a:pt x="5062455" y="2790833"/>
                  </a:lnTo>
                  <a:lnTo>
                    <a:pt x="5062716" y="2790754"/>
                  </a:lnTo>
                  <a:lnTo>
                    <a:pt x="5064063" y="2791327"/>
                  </a:lnTo>
                  <a:lnTo>
                    <a:pt x="5064842" y="2791341"/>
                  </a:lnTo>
                  <a:lnTo>
                    <a:pt x="5066359" y="2790470"/>
                  </a:lnTo>
                  <a:lnTo>
                    <a:pt x="5067173" y="2790333"/>
                  </a:lnTo>
                  <a:lnTo>
                    <a:pt x="5066509" y="2791173"/>
                  </a:lnTo>
                  <a:lnTo>
                    <a:pt x="5065376" y="2794549"/>
                  </a:lnTo>
                  <a:lnTo>
                    <a:pt x="5067136" y="2794091"/>
                  </a:lnTo>
                  <a:lnTo>
                    <a:pt x="5069730" y="2789686"/>
                  </a:lnTo>
                  <a:lnTo>
                    <a:pt x="5071076" y="2788250"/>
                  </a:lnTo>
                  <a:lnTo>
                    <a:pt x="5072389" y="2788201"/>
                  </a:lnTo>
                  <a:lnTo>
                    <a:pt x="5075737" y="2788751"/>
                  </a:lnTo>
                  <a:lnTo>
                    <a:pt x="5076891" y="2788527"/>
                  </a:lnTo>
                  <a:lnTo>
                    <a:pt x="5077779" y="2788140"/>
                  </a:lnTo>
                  <a:lnTo>
                    <a:pt x="5080739" y="2787504"/>
                  </a:lnTo>
                  <a:lnTo>
                    <a:pt x="5081823" y="2787520"/>
                  </a:lnTo>
                  <a:lnTo>
                    <a:pt x="5082768" y="2786367"/>
                  </a:lnTo>
                  <a:lnTo>
                    <a:pt x="5084211" y="2786113"/>
                  </a:lnTo>
                  <a:lnTo>
                    <a:pt x="5086929" y="2786370"/>
                  </a:lnTo>
                  <a:lnTo>
                    <a:pt x="5090104" y="2785195"/>
                  </a:lnTo>
                  <a:lnTo>
                    <a:pt x="5091428" y="2785184"/>
                  </a:lnTo>
                  <a:lnTo>
                    <a:pt x="5091307" y="2786720"/>
                  </a:lnTo>
                  <a:lnTo>
                    <a:pt x="5093553" y="2787287"/>
                  </a:lnTo>
                  <a:lnTo>
                    <a:pt x="5095710" y="2786392"/>
                  </a:lnTo>
                  <a:lnTo>
                    <a:pt x="5097478" y="2785287"/>
                  </a:lnTo>
                  <a:lnTo>
                    <a:pt x="5098563" y="2785248"/>
                  </a:lnTo>
                  <a:lnTo>
                    <a:pt x="5099157" y="2785932"/>
                  </a:lnTo>
                  <a:lnTo>
                    <a:pt x="5099549" y="2786069"/>
                  </a:lnTo>
                  <a:lnTo>
                    <a:pt x="5099909" y="2786018"/>
                  </a:lnTo>
                  <a:lnTo>
                    <a:pt x="5100406" y="2786123"/>
                  </a:lnTo>
                  <a:lnTo>
                    <a:pt x="5100684" y="2786041"/>
                  </a:lnTo>
                  <a:lnTo>
                    <a:pt x="5101287" y="2785364"/>
                  </a:lnTo>
                  <a:lnTo>
                    <a:pt x="5101560" y="2785218"/>
                  </a:lnTo>
                  <a:lnTo>
                    <a:pt x="5101747" y="2785425"/>
                  </a:lnTo>
                  <a:lnTo>
                    <a:pt x="5102275" y="2786302"/>
                  </a:lnTo>
                  <a:lnTo>
                    <a:pt x="5102453" y="2786495"/>
                  </a:lnTo>
                  <a:lnTo>
                    <a:pt x="5103332" y="2786374"/>
                  </a:lnTo>
                  <a:lnTo>
                    <a:pt x="5104315" y="2786047"/>
                  </a:lnTo>
                  <a:lnTo>
                    <a:pt x="5105130" y="2785338"/>
                  </a:lnTo>
                  <a:lnTo>
                    <a:pt x="5105509" y="2784093"/>
                  </a:lnTo>
                  <a:lnTo>
                    <a:pt x="5107522" y="2785165"/>
                  </a:lnTo>
                  <a:lnTo>
                    <a:pt x="5108373" y="2785330"/>
                  </a:lnTo>
                  <a:lnTo>
                    <a:pt x="5109166" y="2784999"/>
                  </a:lnTo>
                  <a:lnTo>
                    <a:pt x="5109595" y="2785610"/>
                  </a:lnTo>
                  <a:lnTo>
                    <a:pt x="5110526" y="2786434"/>
                  </a:lnTo>
                  <a:lnTo>
                    <a:pt x="5109854" y="2790213"/>
                  </a:lnTo>
                  <a:lnTo>
                    <a:pt x="5111101" y="2792080"/>
                  </a:lnTo>
                  <a:lnTo>
                    <a:pt x="5110522" y="2792553"/>
                  </a:lnTo>
                  <a:lnTo>
                    <a:pt x="5109790" y="2793794"/>
                  </a:lnTo>
                  <a:lnTo>
                    <a:pt x="5109383" y="2794294"/>
                  </a:lnTo>
                  <a:lnTo>
                    <a:pt x="5109065" y="2795119"/>
                  </a:lnTo>
                  <a:lnTo>
                    <a:pt x="5109640" y="2795942"/>
                  </a:lnTo>
                  <a:lnTo>
                    <a:pt x="5110938" y="2796945"/>
                  </a:lnTo>
                  <a:lnTo>
                    <a:pt x="5111091" y="2797903"/>
                  </a:lnTo>
                  <a:lnTo>
                    <a:pt x="5111132" y="2800101"/>
                  </a:lnTo>
                  <a:lnTo>
                    <a:pt x="5111355" y="2800862"/>
                  </a:lnTo>
                  <a:lnTo>
                    <a:pt x="5111490" y="2801781"/>
                  </a:lnTo>
                  <a:lnTo>
                    <a:pt x="5110607" y="2802181"/>
                  </a:lnTo>
                  <a:lnTo>
                    <a:pt x="5108618" y="2802546"/>
                  </a:lnTo>
                  <a:lnTo>
                    <a:pt x="5108545" y="2803031"/>
                  </a:lnTo>
                  <a:lnTo>
                    <a:pt x="5108620" y="2804003"/>
                  </a:lnTo>
                  <a:lnTo>
                    <a:pt x="5108870" y="2805052"/>
                  </a:lnTo>
                  <a:lnTo>
                    <a:pt x="5109320" y="2805769"/>
                  </a:lnTo>
                  <a:lnTo>
                    <a:pt x="5109963" y="2805818"/>
                  </a:lnTo>
                  <a:lnTo>
                    <a:pt x="5110798" y="2805501"/>
                  </a:lnTo>
                  <a:lnTo>
                    <a:pt x="5111795" y="2805332"/>
                  </a:lnTo>
                  <a:lnTo>
                    <a:pt x="5112944" y="2805851"/>
                  </a:lnTo>
                  <a:lnTo>
                    <a:pt x="5114429" y="2807690"/>
                  </a:lnTo>
                  <a:lnTo>
                    <a:pt x="5114754" y="2809450"/>
                  </a:lnTo>
                  <a:lnTo>
                    <a:pt x="5114204" y="2811042"/>
                  </a:lnTo>
                  <a:lnTo>
                    <a:pt x="5104786" y="2820628"/>
                  </a:lnTo>
                  <a:lnTo>
                    <a:pt x="5101879" y="2822042"/>
                  </a:lnTo>
                  <a:lnTo>
                    <a:pt x="5101894" y="2822457"/>
                  </a:lnTo>
                  <a:lnTo>
                    <a:pt x="5102702" y="2822772"/>
                  </a:lnTo>
                  <a:lnTo>
                    <a:pt x="5103791" y="2822857"/>
                  </a:lnTo>
                  <a:lnTo>
                    <a:pt x="5104653" y="2822619"/>
                  </a:lnTo>
                  <a:lnTo>
                    <a:pt x="5108399" y="2819403"/>
                  </a:lnTo>
                  <a:lnTo>
                    <a:pt x="5109497" y="2818845"/>
                  </a:lnTo>
                  <a:lnTo>
                    <a:pt x="5109174" y="2821193"/>
                  </a:lnTo>
                  <a:lnTo>
                    <a:pt x="5108167" y="2823484"/>
                  </a:lnTo>
                  <a:lnTo>
                    <a:pt x="5106761" y="2825476"/>
                  </a:lnTo>
                  <a:lnTo>
                    <a:pt x="5105266" y="2826942"/>
                  </a:lnTo>
                  <a:lnTo>
                    <a:pt x="5104360" y="2827276"/>
                  </a:lnTo>
                  <a:lnTo>
                    <a:pt x="5102379" y="2827350"/>
                  </a:lnTo>
                  <a:lnTo>
                    <a:pt x="5101888" y="2827680"/>
                  </a:lnTo>
                  <a:lnTo>
                    <a:pt x="5101884" y="2829366"/>
                  </a:lnTo>
                  <a:lnTo>
                    <a:pt x="5102959" y="2829861"/>
                  </a:lnTo>
                  <a:lnTo>
                    <a:pt x="5105550" y="2829460"/>
                  </a:lnTo>
                  <a:lnTo>
                    <a:pt x="5109489" y="2829704"/>
                  </a:lnTo>
                  <a:lnTo>
                    <a:pt x="5109776" y="2830025"/>
                  </a:lnTo>
                  <a:lnTo>
                    <a:pt x="5109207" y="2830916"/>
                  </a:lnTo>
                  <a:lnTo>
                    <a:pt x="5108666" y="2833279"/>
                  </a:lnTo>
                  <a:lnTo>
                    <a:pt x="5108142" y="2834118"/>
                  </a:lnTo>
                  <a:lnTo>
                    <a:pt x="5104211" y="2836224"/>
                  </a:lnTo>
                  <a:lnTo>
                    <a:pt x="5103759" y="2837449"/>
                  </a:lnTo>
                  <a:lnTo>
                    <a:pt x="5103654" y="2838640"/>
                  </a:lnTo>
                  <a:lnTo>
                    <a:pt x="5103375" y="2839702"/>
                  </a:lnTo>
                  <a:lnTo>
                    <a:pt x="5102418" y="2840521"/>
                  </a:lnTo>
                  <a:lnTo>
                    <a:pt x="5103907" y="2840831"/>
                  </a:lnTo>
                  <a:lnTo>
                    <a:pt x="5105317" y="2839589"/>
                  </a:lnTo>
                  <a:lnTo>
                    <a:pt x="5107847" y="2836316"/>
                  </a:lnTo>
                  <a:lnTo>
                    <a:pt x="5108233" y="2836875"/>
                  </a:lnTo>
                  <a:lnTo>
                    <a:pt x="5105276" y="2842091"/>
                  </a:lnTo>
                  <a:lnTo>
                    <a:pt x="5104913" y="2844149"/>
                  </a:lnTo>
                  <a:lnTo>
                    <a:pt x="5106565" y="2844831"/>
                  </a:lnTo>
                  <a:lnTo>
                    <a:pt x="5106134" y="2845937"/>
                  </a:lnTo>
                  <a:lnTo>
                    <a:pt x="5105345" y="2846776"/>
                  </a:lnTo>
                  <a:lnTo>
                    <a:pt x="5103442" y="2848107"/>
                  </a:lnTo>
                  <a:lnTo>
                    <a:pt x="5102694" y="2848992"/>
                  </a:lnTo>
                  <a:lnTo>
                    <a:pt x="5101385" y="2851652"/>
                  </a:lnTo>
                  <a:lnTo>
                    <a:pt x="5098039" y="2854228"/>
                  </a:lnTo>
                  <a:lnTo>
                    <a:pt x="5097712" y="2854982"/>
                  </a:lnTo>
                  <a:lnTo>
                    <a:pt x="5097147" y="2857187"/>
                  </a:lnTo>
                  <a:lnTo>
                    <a:pt x="5096567" y="2858169"/>
                  </a:lnTo>
                  <a:lnTo>
                    <a:pt x="5097429" y="2858787"/>
                  </a:lnTo>
                  <a:lnTo>
                    <a:pt x="5097823" y="2859546"/>
                  </a:lnTo>
                  <a:lnTo>
                    <a:pt x="5097808" y="2860350"/>
                  </a:lnTo>
                  <a:lnTo>
                    <a:pt x="5097469" y="2861146"/>
                  </a:lnTo>
                  <a:lnTo>
                    <a:pt x="5097889" y="2861762"/>
                  </a:lnTo>
                  <a:lnTo>
                    <a:pt x="5099656" y="2859881"/>
                  </a:lnTo>
                  <a:lnTo>
                    <a:pt x="5105021" y="2849680"/>
                  </a:lnTo>
                  <a:lnTo>
                    <a:pt x="5105924" y="2849090"/>
                  </a:lnTo>
                  <a:lnTo>
                    <a:pt x="5107295" y="2849195"/>
                  </a:lnTo>
                  <a:lnTo>
                    <a:pt x="5107982" y="2850087"/>
                  </a:lnTo>
                  <a:lnTo>
                    <a:pt x="5108152" y="2851477"/>
                  </a:lnTo>
                  <a:lnTo>
                    <a:pt x="5107990" y="2853047"/>
                  </a:lnTo>
                  <a:lnTo>
                    <a:pt x="5109644" y="2852575"/>
                  </a:lnTo>
                  <a:lnTo>
                    <a:pt x="5110543" y="2851242"/>
                  </a:lnTo>
                  <a:lnTo>
                    <a:pt x="5110453" y="2850119"/>
                  </a:lnTo>
                  <a:lnTo>
                    <a:pt x="5109130" y="2850285"/>
                  </a:lnTo>
                  <a:lnTo>
                    <a:pt x="5108903" y="2845454"/>
                  </a:lnTo>
                  <a:lnTo>
                    <a:pt x="5110547" y="2841775"/>
                  </a:lnTo>
                  <a:lnTo>
                    <a:pt x="5113591" y="2839782"/>
                  </a:lnTo>
                  <a:lnTo>
                    <a:pt x="5117611" y="2840031"/>
                  </a:lnTo>
                  <a:lnTo>
                    <a:pt x="5116733" y="2842430"/>
                  </a:lnTo>
                  <a:lnTo>
                    <a:pt x="5115408" y="2844043"/>
                  </a:lnTo>
                  <a:lnTo>
                    <a:pt x="5111784" y="2846433"/>
                  </a:lnTo>
                  <a:lnTo>
                    <a:pt x="5113234" y="2846682"/>
                  </a:lnTo>
                  <a:lnTo>
                    <a:pt x="5114122" y="2847709"/>
                  </a:lnTo>
                  <a:lnTo>
                    <a:pt x="5114873" y="2848708"/>
                  </a:lnTo>
                  <a:lnTo>
                    <a:pt x="5115911" y="2848883"/>
                  </a:lnTo>
                  <a:lnTo>
                    <a:pt x="5116419" y="2848036"/>
                  </a:lnTo>
                  <a:lnTo>
                    <a:pt x="5116369" y="2846729"/>
                  </a:lnTo>
                  <a:lnTo>
                    <a:pt x="5116554" y="2845643"/>
                  </a:lnTo>
                  <a:lnTo>
                    <a:pt x="5117782" y="2845464"/>
                  </a:lnTo>
                  <a:lnTo>
                    <a:pt x="5117328" y="2849439"/>
                  </a:lnTo>
                  <a:lnTo>
                    <a:pt x="5116607" y="2851097"/>
                  </a:lnTo>
                  <a:lnTo>
                    <a:pt x="5115230" y="2852231"/>
                  </a:lnTo>
                  <a:lnTo>
                    <a:pt x="5111834" y="2853251"/>
                  </a:lnTo>
                  <a:lnTo>
                    <a:pt x="5110368" y="2854121"/>
                  </a:lnTo>
                  <a:lnTo>
                    <a:pt x="5109323" y="2855858"/>
                  </a:lnTo>
                  <a:lnTo>
                    <a:pt x="5109744" y="2856472"/>
                  </a:lnTo>
                  <a:lnTo>
                    <a:pt x="5112942" y="2854393"/>
                  </a:lnTo>
                  <a:lnTo>
                    <a:pt x="5114687" y="2854141"/>
                  </a:lnTo>
                  <a:lnTo>
                    <a:pt x="5115752" y="2855591"/>
                  </a:lnTo>
                  <a:lnTo>
                    <a:pt x="5116921" y="2855874"/>
                  </a:lnTo>
                  <a:lnTo>
                    <a:pt x="5117193" y="2856963"/>
                  </a:lnTo>
                  <a:lnTo>
                    <a:pt x="5117283" y="2858378"/>
                  </a:lnTo>
                  <a:lnTo>
                    <a:pt x="5117927" y="2859627"/>
                  </a:lnTo>
                  <a:lnTo>
                    <a:pt x="5119085" y="2860075"/>
                  </a:lnTo>
                  <a:lnTo>
                    <a:pt x="5120237" y="2859788"/>
                  </a:lnTo>
                  <a:lnTo>
                    <a:pt x="5121343" y="2859274"/>
                  </a:lnTo>
                  <a:lnTo>
                    <a:pt x="5122348" y="2859027"/>
                  </a:lnTo>
                  <a:lnTo>
                    <a:pt x="5122771" y="2859641"/>
                  </a:lnTo>
                  <a:lnTo>
                    <a:pt x="5122064" y="2860923"/>
                  </a:lnTo>
                  <a:lnTo>
                    <a:pt x="5121591" y="2862432"/>
                  </a:lnTo>
                  <a:lnTo>
                    <a:pt x="5123604" y="2860542"/>
                  </a:lnTo>
                  <a:lnTo>
                    <a:pt x="5126460" y="2851982"/>
                  </a:lnTo>
                  <a:lnTo>
                    <a:pt x="5126037" y="2851369"/>
                  </a:lnTo>
                  <a:lnTo>
                    <a:pt x="5122233" y="2855956"/>
                  </a:lnTo>
                  <a:lnTo>
                    <a:pt x="5119769" y="2857905"/>
                  </a:lnTo>
                  <a:lnTo>
                    <a:pt x="5118593" y="2856719"/>
                  </a:lnTo>
                  <a:lnTo>
                    <a:pt x="5118711" y="2854779"/>
                  </a:lnTo>
                  <a:lnTo>
                    <a:pt x="5119409" y="2851390"/>
                  </a:lnTo>
                  <a:lnTo>
                    <a:pt x="5119610" y="2847331"/>
                  </a:lnTo>
                  <a:lnTo>
                    <a:pt x="5120046" y="2848098"/>
                  </a:lnTo>
                  <a:lnTo>
                    <a:pt x="5121310" y="2852305"/>
                  </a:lnTo>
                  <a:lnTo>
                    <a:pt x="5126815" y="2847003"/>
                  </a:lnTo>
                  <a:lnTo>
                    <a:pt x="5127949" y="2847994"/>
                  </a:lnTo>
                  <a:lnTo>
                    <a:pt x="5129179" y="2847217"/>
                  </a:lnTo>
                  <a:lnTo>
                    <a:pt x="5129899" y="2846959"/>
                  </a:lnTo>
                  <a:lnTo>
                    <a:pt x="5130738" y="2846848"/>
                  </a:lnTo>
                  <a:lnTo>
                    <a:pt x="5130867" y="2847776"/>
                  </a:lnTo>
                  <a:lnTo>
                    <a:pt x="5130703" y="2848275"/>
                  </a:lnTo>
                  <a:lnTo>
                    <a:pt x="5130469" y="2848710"/>
                  </a:lnTo>
                  <a:lnTo>
                    <a:pt x="5130371" y="2849455"/>
                  </a:lnTo>
                  <a:lnTo>
                    <a:pt x="5130717" y="2850471"/>
                  </a:lnTo>
                  <a:lnTo>
                    <a:pt x="5131419" y="2850615"/>
                  </a:lnTo>
                  <a:lnTo>
                    <a:pt x="5132162" y="2850204"/>
                  </a:lnTo>
                  <a:lnTo>
                    <a:pt x="5132610" y="2849552"/>
                  </a:lnTo>
                  <a:lnTo>
                    <a:pt x="5134073" y="2845150"/>
                  </a:lnTo>
                  <a:lnTo>
                    <a:pt x="5134165" y="2843667"/>
                  </a:lnTo>
                  <a:lnTo>
                    <a:pt x="5134413" y="2842917"/>
                  </a:lnTo>
                  <a:lnTo>
                    <a:pt x="5135095" y="2842282"/>
                  </a:lnTo>
                  <a:lnTo>
                    <a:pt x="5135957" y="2842058"/>
                  </a:lnTo>
                  <a:lnTo>
                    <a:pt x="5136762" y="2842575"/>
                  </a:lnTo>
                  <a:lnTo>
                    <a:pt x="5137326" y="2843692"/>
                  </a:lnTo>
                  <a:lnTo>
                    <a:pt x="5137219" y="2844277"/>
                  </a:lnTo>
                  <a:lnTo>
                    <a:pt x="5136850" y="2844734"/>
                  </a:lnTo>
                  <a:lnTo>
                    <a:pt x="5136658" y="2845491"/>
                  </a:lnTo>
                  <a:lnTo>
                    <a:pt x="5136527" y="2847393"/>
                  </a:lnTo>
                  <a:lnTo>
                    <a:pt x="5136009" y="2848809"/>
                  </a:lnTo>
                  <a:lnTo>
                    <a:pt x="5135120" y="2849936"/>
                  </a:lnTo>
                  <a:lnTo>
                    <a:pt x="5133114" y="2851798"/>
                  </a:lnTo>
                  <a:lnTo>
                    <a:pt x="5130366" y="2856542"/>
                  </a:lnTo>
                  <a:lnTo>
                    <a:pt x="5129593" y="2860936"/>
                  </a:lnTo>
                  <a:lnTo>
                    <a:pt x="5128835" y="2862130"/>
                  </a:lnTo>
                  <a:lnTo>
                    <a:pt x="5126694" y="2863812"/>
                  </a:lnTo>
                  <a:lnTo>
                    <a:pt x="5125715" y="2864873"/>
                  </a:lnTo>
                  <a:lnTo>
                    <a:pt x="5125127" y="2866320"/>
                  </a:lnTo>
                  <a:lnTo>
                    <a:pt x="5125067" y="2867784"/>
                  </a:lnTo>
                  <a:lnTo>
                    <a:pt x="5125185" y="2869333"/>
                  </a:lnTo>
                  <a:lnTo>
                    <a:pt x="5125125" y="2871059"/>
                  </a:lnTo>
                  <a:lnTo>
                    <a:pt x="5126282" y="2870808"/>
                  </a:lnTo>
                  <a:lnTo>
                    <a:pt x="5126591" y="2869589"/>
                  </a:lnTo>
                  <a:lnTo>
                    <a:pt x="5126629" y="2868014"/>
                  </a:lnTo>
                  <a:lnTo>
                    <a:pt x="5126982" y="2866716"/>
                  </a:lnTo>
                  <a:lnTo>
                    <a:pt x="5138436" y="2858842"/>
                  </a:lnTo>
                  <a:lnTo>
                    <a:pt x="5137673" y="2860352"/>
                  </a:lnTo>
                  <a:lnTo>
                    <a:pt x="5135430" y="2862558"/>
                  </a:lnTo>
                  <a:lnTo>
                    <a:pt x="5134992" y="2864352"/>
                  </a:lnTo>
                  <a:lnTo>
                    <a:pt x="5135566" y="2864237"/>
                  </a:lnTo>
                  <a:lnTo>
                    <a:pt x="5136093" y="2863832"/>
                  </a:lnTo>
                  <a:lnTo>
                    <a:pt x="5136450" y="2863386"/>
                  </a:lnTo>
                  <a:lnTo>
                    <a:pt x="5136519" y="2863164"/>
                  </a:lnTo>
                  <a:lnTo>
                    <a:pt x="5138056" y="2863382"/>
                  </a:lnTo>
                  <a:lnTo>
                    <a:pt x="5138897" y="2863704"/>
                  </a:lnTo>
                  <a:lnTo>
                    <a:pt x="5138812" y="2864203"/>
                  </a:lnTo>
                  <a:lnTo>
                    <a:pt x="5138455" y="2864924"/>
                  </a:lnTo>
                  <a:lnTo>
                    <a:pt x="5137667" y="2867483"/>
                  </a:lnTo>
                  <a:lnTo>
                    <a:pt x="5136920" y="2868490"/>
                  </a:lnTo>
                  <a:lnTo>
                    <a:pt x="5135156" y="2870095"/>
                  </a:lnTo>
                  <a:lnTo>
                    <a:pt x="5133724" y="2871878"/>
                  </a:lnTo>
                  <a:lnTo>
                    <a:pt x="5132591" y="2873899"/>
                  </a:lnTo>
                  <a:lnTo>
                    <a:pt x="5131705" y="2876215"/>
                  </a:lnTo>
                  <a:lnTo>
                    <a:pt x="5130406" y="2881568"/>
                  </a:lnTo>
                  <a:lnTo>
                    <a:pt x="5129463" y="2883952"/>
                  </a:lnTo>
                  <a:lnTo>
                    <a:pt x="5127815" y="2885882"/>
                  </a:lnTo>
                  <a:lnTo>
                    <a:pt x="5125595" y="2886887"/>
                  </a:lnTo>
                  <a:lnTo>
                    <a:pt x="5124678" y="2887510"/>
                  </a:lnTo>
                  <a:lnTo>
                    <a:pt x="5124030" y="2888795"/>
                  </a:lnTo>
                  <a:lnTo>
                    <a:pt x="5123423" y="2892863"/>
                  </a:lnTo>
                  <a:lnTo>
                    <a:pt x="5122937" y="2894225"/>
                  </a:lnTo>
                  <a:lnTo>
                    <a:pt x="5123983" y="2894225"/>
                  </a:lnTo>
                  <a:lnTo>
                    <a:pt x="5124967" y="2894419"/>
                  </a:lnTo>
                  <a:lnTo>
                    <a:pt x="5125865" y="2895013"/>
                  </a:lnTo>
                  <a:lnTo>
                    <a:pt x="5126684" y="2896204"/>
                  </a:lnTo>
                  <a:lnTo>
                    <a:pt x="5126674" y="2889912"/>
                  </a:lnTo>
                  <a:lnTo>
                    <a:pt x="5127295" y="2888239"/>
                  </a:lnTo>
                  <a:lnTo>
                    <a:pt x="5128522" y="2887232"/>
                  </a:lnTo>
                  <a:lnTo>
                    <a:pt x="5131407" y="2885684"/>
                  </a:lnTo>
                  <a:lnTo>
                    <a:pt x="5132437" y="2884274"/>
                  </a:lnTo>
                  <a:lnTo>
                    <a:pt x="5133962" y="2876411"/>
                  </a:lnTo>
                  <a:lnTo>
                    <a:pt x="5135471" y="2872933"/>
                  </a:lnTo>
                  <a:lnTo>
                    <a:pt x="5138463" y="2872002"/>
                  </a:lnTo>
                  <a:lnTo>
                    <a:pt x="5138626" y="2874146"/>
                  </a:lnTo>
                  <a:lnTo>
                    <a:pt x="5138283" y="2879752"/>
                  </a:lnTo>
                  <a:lnTo>
                    <a:pt x="5139337" y="2881898"/>
                  </a:lnTo>
                  <a:lnTo>
                    <a:pt x="5140739" y="2882861"/>
                  </a:lnTo>
                  <a:lnTo>
                    <a:pt x="5142030" y="2882562"/>
                  </a:lnTo>
                  <a:lnTo>
                    <a:pt x="5142736" y="2880910"/>
                  </a:lnTo>
                  <a:lnTo>
                    <a:pt x="5141292" y="2881038"/>
                  </a:lnTo>
                  <a:lnTo>
                    <a:pt x="5140990" y="2879709"/>
                  </a:lnTo>
                  <a:lnTo>
                    <a:pt x="5141414" y="2876292"/>
                  </a:lnTo>
                  <a:lnTo>
                    <a:pt x="5141237" y="2875555"/>
                  </a:lnTo>
                  <a:lnTo>
                    <a:pt x="5140916" y="2874548"/>
                  </a:lnTo>
                  <a:lnTo>
                    <a:pt x="5140701" y="2873576"/>
                  </a:lnTo>
                  <a:lnTo>
                    <a:pt x="5140886" y="2872945"/>
                  </a:lnTo>
                  <a:lnTo>
                    <a:pt x="5141561" y="2872034"/>
                  </a:lnTo>
                  <a:lnTo>
                    <a:pt x="5141301" y="2871221"/>
                  </a:lnTo>
                  <a:lnTo>
                    <a:pt x="5140701" y="2870308"/>
                  </a:lnTo>
                  <a:lnTo>
                    <a:pt x="5140333" y="2869090"/>
                  </a:lnTo>
                  <a:lnTo>
                    <a:pt x="5140433" y="2865657"/>
                  </a:lnTo>
                  <a:lnTo>
                    <a:pt x="5141052" y="2861267"/>
                  </a:lnTo>
                  <a:lnTo>
                    <a:pt x="5142405" y="2857700"/>
                  </a:lnTo>
                  <a:lnTo>
                    <a:pt x="5144738" y="2856755"/>
                  </a:lnTo>
                  <a:lnTo>
                    <a:pt x="5144579" y="2857957"/>
                  </a:lnTo>
                  <a:lnTo>
                    <a:pt x="5144024" y="2859735"/>
                  </a:lnTo>
                  <a:lnTo>
                    <a:pt x="5144090" y="2860942"/>
                  </a:lnTo>
                  <a:lnTo>
                    <a:pt x="5144812" y="2860232"/>
                  </a:lnTo>
                  <a:lnTo>
                    <a:pt x="5145621" y="2859757"/>
                  </a:lnTo>
                  <a:lnTo>
                    <a:pt x="5146572" y="2859672"/>
                  </a:lnTo>
                  <a:lnTo>
                    <a:pt x="5147703" y="2860086"/>
                  </a:lnTo>
                  <a:lnTo>
                    <a:pt x="5145573" y="2867805"/>
                  </a:lnTo>
                  <a:lnTo>
                    <a:pt x="5145406" y="2869327"/>
                  </a:lnTo>
                  <a:lnTo>
                    <a:pt x="5145623" y="2871061"/>
                  </a:lnTo>
                  <a:lnTo>
                    <a:pt x="5146475" y="2871425"/>
                  </a:lnTo>
                  <a:lnTo>
                    <a:pt x="5146992" y="2869455"/>
                  </a:lnTo>
                  <a:lnTo>
                    <a:pt x="5147696" y="2867710"/>
                  </a:lnTo>
                  <a:lnTo>
                    <a:pt x="5148594" y="2866257"/>
                  </a:lnTo>
                  <a:lnTo>
                    <a:pt x="5149678" y="2865152"/>
                  </a:lnTo>
                  <a:lnTo>
                    <a:pt x="5149470" y="2863786"/>
                  </a:lnTo>
                  <a:lnTo>
                    <a:pt x="5147566" y="2856427"/>
                  </a:lnTo>
                  <a:lnTo>
                    <a:pt x="5147921" y="2856149"/>
                  </a:lnTo>
                  <a:lnTo>
                    <a:pt x="5149036" y="2857137"/>
                  </a:lnTo>
                  <a:lnTo>
                    <a:pt x="5149626" y="2858126"/>
                  </a:lnTo>
                  <a:lnTo>
                    <a:pt x="5150533" y="2860706"/>
                  </a:lnTo>
                  <a:lnTo>
                    <a:pt x="5151081" y="2859028"/>
                  </a:lnTo>
                  <a:lnTo>
                    <a:pt x="5151469" y="2858264"/>
                  </a:lnTo>
                  <a:lnTo>
                    <a:pt x="5152029" y="2857656"/>
                  </a:lnTo>
                  <a:lnTo>
                    <a:pt x="5153253" y="2868102"/>
                  </a:lnTo>
                  <a:lnTo>
                    <a:pt x="5153717" y="2866244"/>
                  </a:lnTo>
                  <a:lnTo>
                    <a:pt x="5154165" y="2862182"/>
                  </a:lnTo>
                  <a:lnTo>
                    <a:pt x="5154077" y="2859821"/>
                  </a:lnTo>
                  <a:lnTo>
                    <a:pt x="5155175" y="2860040"/>
                  </a:lnTo>
                  <a:lnTo>
                    <a:pt x="5155369" y="2859214"/>
                  </a:lnTo>
                  <a:lnTo>
                    <a:pt x="5154783" y="2856347"/>
                  </a:lnTo>
                  <a:lnTo>
                    <a:pt x="5154545" y="2855751"/>
                  </a:lnTo>
                  <a:lnTo>
                    <a:pt x="5153690" y="2854249"/>
                  </a:lnTo>
                  <a:lnTo>
                    <a:pt x="5153473" y="2853597"/>
                  </a:lnTo>
                  <a:lnTo>
                    <a:pt x="5153828" y="2853127"/>
                  </a:lnTo>
                  <a:lnTo>
                    <a:pt x="5154566" y="2853066"/>
                  </a:lnTo>
                  <a:lnTo>
                    <a:pt x="5154985" y="2852771"/>
                  </a:lnTo>
                  <a:lnTo>
                    <a:pt x="5154012" y="2850719"/>
                  </a:lnTo>
                  <a:lnTo>
                    <a:pt x="5153966" y="2850029"/>
                  </a:lnTo>
                  <a:lnTo>
                    <a:pt x="5154020" y="2849479"/>
                  </a:lnTo>
                  <a:lnTo>
                    <a:pt x="5153932" y="2849075"/>
                  </a:lnTo>
                  <a:lnTo>
                    <a:pt x="5153387" y="2848427"/>
                  </a:lnTo>
                  <a:lnTo>
                    <a:pt x="5152339" y="2847527"/>
                  </a:lnTo>
                  <a:lnTo>
                    <a:pt x="5151801" y="2846879"/>
                  </a:lnTo>
                  <a:lnTo>
                    <a:pt x="5150874" y="2845502"/>
                  </a:lnTo>
                  <a:lnTo>
                    <a:pt x="5150658" y="2844821"/>
                  </a:lnTo>
                  <a:lnTo>
                    <a:pt x="5151281" y="2843615"/>
                  </a:lnTo>
                  <a:lnTo>
                    <a:pt x="5151095" y="2842905"/>
                  </a:lnTo>
                  <a:lnTo>
                    <a:pt x="5150733" y="2842243"/>
                  </a:lnTo>
                  <a:lnTo>
                    <a:pt x="5150594" y="2841693"/>
                  </a:lnTo>
                  <a:lnTo>
                    <a:pt x="5150936" y="2840460"/>
                  </a:lnTo>
                  <a:lnTo>
                    <a:pt x="5151415" y="2839960"/>
                  </a:lnTo>
                  <a:lnTo>
                    <a:pt x="5153692" y="2839253"/>
                  </a:lnTo>
                  <a:lnTo>
                    <a:pt x="5155423" y="2838075"/>
                  </a:lnTo>
                  <a:lnTo>
                    <a:pt x="5156188" y="2837725"/>
                  </a:lnTo>
                  <a:lnTo>
                    <a:pt x="5159661" y="2838233"/>
                  </a:lnTo>
                  <a:lnTo>
                    <a:pt x="5160571" y="2838886"/>
                  </a:lnTo>
                  <a:lnTo>
                    <a:pt x="5161359" y="2842023"/>
                  </a:lnTo>
                  <a:lnTo>
                    <a:pt x="5162030" y="2841983"/>
                  </a:lnTo>
                  <a:lnTo>
                    <a:pt x="5162676" y="2840998"/>
                  </a:lnTo>
                  <a:lnTo>
                    <a:pt x="5162953" y="2839594"/>
                  </a:lnTo>
                  <a:lnTo>
                    <a:pt x="5163694" y="2840499"/>
                  </a:lnTo>
                  <a:lnTo>
                    <a:pt x="5164583" y="2841236"/>
                  </a:lnTo>
                  <a:lnTo>
                    <a:pt x="5165486" y="2841685"/>
                  </a:lnTo>
                  <a:lnTo>
                    <a:pt x="5166287" y="2841695"/>
                  </a:lnTo>
                  <a:lnTo>
                    <a:pt x="5167190" y="2841015"/>
                  </a:lnTo>
                  <a:lnTo>
                    <a:pt x="5167032" y="2840145"/>
                  </a:lnTo>
                  <a:lnTo>
                    <a:pt x="5166456" y="2839133"/>
                  </a:lnTo>
                  <a:lnTo>
                    <a:pt x="5166090" y="2837976"/>
                  </a:lnTo>
                  <a:lnTo>
                    <a:pt x="5166263" y="2836155"/>
                  </a:lnTo>
                  <a:lnTo>
                    <a:pt x="5167090" y="2832413"/>
                  </a:lnTo>
                  <a:lnTo>
                    <a:pt x="5167038" y="2830668"/>
                  </a:lnTo>
                  <a:lnTo>
                    <a:pt x="5166152" y="2830342"/>
                  </a:lnTo>
                  <a:lnTo>
                    <a:pt x="5165815" y="2828381"/>
                  </a:lnTo>
                  <a:lnTo>
                    <a:pt x="5165791" y="2827563"/>
                  </a:lnTo>
                  <a:lnTo>
                    <a:pt x="5165984" y="2826674"/>
                  </a:lnTo>
                  <a:lnTo>
                    <a:pt x="5166548" y="2825762"/>
                  </a:lnTo>
                  <a:lnTo>
                    <a:pt x="5167710" y="2824793"/>
                  </a:lnTo>
                  <a:lnTo>
                    <a:pt x="5167887" y="2823740"/>
                  </a:lnTo>
                  <a:lnTo>
                    <a:pt x="5167591" y="2823381"/>
                  </a:lnTo>
                  <a:lnTo>
                    <a:pt x="5165309" y="2818393"/>
                  </a:lnTo>
                  <a:lnTo>
                    <a:pt x="5165512" y="2817715"/>
                  </a:lnTo>
                  <a:lnTo>
                    <a:pt x="5166020" y="2817753"/>
                  </a:lnTo>
                  <a:lnTo>
                    <a:pt x="5166442" y="2818708"/>
                  </a:lnTo>
                  <a:lnTo>
                    <a:pt x="5167601" y="2819212"/>
                  </a:lnTo>
                  <a:lnTo>
                    <a:pt x="5168396" y="2819020"/>
                  </a:lnTo>
                  <a:lnTo>
                    <a:pt x="5169118" y="2818677"/>
                  </a:lnTo>
                  <a:lnTo>
                    <a:pt x="5170047" y="2818690"/>
                  </a:lnTo>
                  <a:lnTo>
                    <a:pt x="5171155" y="2819263"/>
                  </a:lnTo>
                  <a:lnTo>
                    <a:pt x="5172788" y="2820725"/>
                  </a:lnTo>
                  <a:lnTo>
                    <a:pt x="5173778" y="2821421"/>
                  </a:lnTo>
                  <a:lnTo>
                    <a:pt x="5177064" y="2822338"/>
                  </a:lnTo>
                  <a:lnTo>
                    <a:pt x="5177984" y="2823436"/>
                  </a:lnTo>
                  <a:lnTo>
                    <a:pt x="5177603" y="2825972"/>
                  </a:lnTo>
                  <a:lnTo>
                    <a:pt x="5178208" y="2826136"/>
                  </a:lnTo>
                  <a:lnTo>
                    <a:pt x="5179466" y="2826695"/>
                  </a:lnTo>
                  <a:lnTo>
                    <a:pt x="5180085" y="2826847"/>
                  </a:lnTo>
                  <a:lnTo>
                    <a:pt x="5179801" y="2828179"/>
                  </a:lnTo>
                  <a:lnTo>
                    <a:pt x="5179185" y="2829300"/>
                  </a:lnTo>
                  <a:lnTo>
                    <a:pt x="5178828" y="2830451"/>
                  </a:lnTo>
                  <a:lnTo>
                    <a:pt x="5179314" y="2831825"/>
                  </a:lnTo>
                  <a:lnTo>
                    <a:pt x="5179602" y="2832468"/>
                  </a:lnTo>
                  <a:lnTo>
                    <a:pt x="5180117" y="2834357"/>
                  </a:lnTo>
                  <a:lnTo>
                    <a:pt x="5180438" y="2835211"/>
                  </a:lnTo>
                  <a:lnTo>
                    <a:pt x="5180845" y="2835906"/>
                  </a:lnTo>
                  <a:lnTo>
                    <a:pt x="5182364" y="2837945"/>
                  </a:lnTo>
                  <a:lnTo>
                    <a:pt x="5183365" y="2840748"/>
                  </a:lnTo>
                  <a:lnTo>
                    <a:pt x="5182998" y="2843531"/>
                  </a:lnTo>
                  <a:lnTo>
                    <a:pt x="5181003" y="2848046"/>
                  </a:lnTo>
                  <a:lnTo>
                    <a:pt x="5180839" y="2849307"/>
                  </a:lnTo>
                  <a:lnTo>
                    <a:pt x="5180951" y="2853039"/>
                  </a:lnTo>
                  <a:lnTo>
                    <a:pt x="5181081" y="2853760"/>
                  </a:lnTo>
                  <a:lnTo>
                    <a:pt x="5179107" y="2855324"/>
                  </a:lnTo>
                  <a:lnTo>
                    <a:pt x="5177818" y="2855667"/>
                  </a:lnTo>
                  <a:lnTo>
                    <a:pt x="5174704" y="2855064"/>
                  </a:lnTo>
                  <a:lnTo>
                    <a:pt x="5173661" y="2855510"/>
                  </a:lnTo>
                  <a:lnTo>
                    <a:pt x="5172103" y="2856989"/>
                  </a:lnTo>
                  <a:lnTo>
                    <a:pt x="5171850" y="2858012"/>
                  </a:lnTo>
                  <a:lnTo>
                    <a:pt x="5171581" y="2858462"/>
                  </a:lnTo>
                  <a:lnTo>
                    <a:pt x="5171148" y="2858217"/>
                  </a:lnTo>
                  <a:lnTo>
                    <a:pt x="5170558" y="2857796"/>
                  </a:lnTo>
                  <a:lnTo>
                    <a:pt x="5170008" y="2857976"/>
                  </a:lnTo>
                  <a:lnTo>
                    <a:pt x="5169576" y="2858503"/>
                  </a:lnTo>
                  <a:lnTo>
                    <a:pt x="5169377" y="2859140"/>
                  </a:lnTo>
                  <a:lnTo>
                    <a:pt x="5171171" y="2860871"/>
                  </a:lnTo>
                  <a:lnTo>
                    <a:pt x="5172792" y="2867136"/>
                  </a:lnTo>
                  <a:lnTo>
                    <a:pt x="5174555" y="2867438"/>
                  </a:lnTo>
                  <a:lnTo>
                    <a:pt x="5173926" y="2869003"/>
                  </a:lnTo>
                  <a:lnTo>
                    <a:pt x="5170674" y="2871617"/>
                  </a:lnTo>
                  <a:lnTo>
                    <a:pt x="5170524" y="2872934"/>
                  </a:lnTo>
                  <a:lnTo>
                    <a:pt x="5171206" y="2875235"/>
                  </a:lnTo>
                  <a:lnTo>
                    <a:pt x="5170375" y="2877109"/>
                  </a:lnTo>
                  <a:lnTo>
                    <a:pt x="5168069" y="2880006"/>
                  </a:lnTo>
                  <a:lnTo>
                    <a:pt x="5167935" y="2880872"/>
                  </a:lnTo>
                  <a:lnTo>
                    <a:pt x="5167880" y="2884017"/>
                  </a:lnTo>
                  <a:lnTo>
                    <a:pt x="5167295" y="2887626"/>
                  </a:lnTo>
                  <a:lnTo>
                    <a:pt x="5167228" y="2888807"/>
                  </a:lnTo>
                  <a:lnTo>
                    <a:pt x="5166776" y="2890750"/>
                  </a:lnTo>
                  <a:lnTo>
                    <a:pt x="5165526" y="2892106"/>
                  </a:lnTo>
                  <a:lnTo>
                    <a:pt x="5163860" y="2892916"/>
                  </a:lnTo>
                  <a:lnTo>
                    <a:pt x="5158668" y="2893760"/>
                  </a:lnTo>
                  <a:lnTo>
                    <a:pt x="5157176" y="2894398"/>
                  </a:lnTo>
                  <a:lnTo>
                    <a:pt x="5155518" y="2895530"/>
                  </a:lnTo>
                  <a:lnTo>
                    <a:pt x="5153611" y="2898029"/>
                  </a:lnTo>
                  <a:lnTo>
                    <a:pt x="5152687" y="2898061"/>
                  </a:lnTo>
                  <a:lnTo>
                    <a:pt x="5151487" y="2897446"/>
                  </a:lnTo>
                  <a:lnTo>
                    <a:pt x="5150353" y="2896699"/>
                  </a:lnTo>
                  <a:lnTo>
                    <a:pt x="5149650" y="2896321"/>
                  </a:lnTo>
                  <a:lnTo>
                    <a:pt x="5147392" y="2896524"/>
                  </a:lnTo>
                  <a:lnTo>
                    <a:pt x="5146143" y="2897456"/>
                  </a:lnTo>
                  <a:lnTo>
                    <a:pt x="5146037" y="2899115"/>
                  </a:lnTo>
                  <a:lnTo>
                    <a:pt x="5147216" y="2901489"/>
                  </a:lnTo>
                  <a:lnTo>
                    <a:pt x="5148931" y="2903592"/>
                  </a:lnTo>
                  <a:lnTo>
                    <a:pt x="5150484" y="2904903"/>
                  </a:lnTo>
                  <a:lnTo>
                    <a:pt x="5151996" y="2905989"/>
                  </a:lnTo>
                  <a:lnTo>
                    <a:pt x="5153625" y="2907415"/>
                  </a:lnTo>
                  <a:lnTo>
                    <a:pt x="5155622" y="2909748"/>
                  </a:lnTo>
                  <a:lnTo>
                    <a:pt x="5156649" y="2910218"/>
                  </a:lnTo>
                  <a:lnTo>
                    <a:pt x="5163129" y="2906620"/>
                  </a:lnTo>
                  <a:lnTo>
                    <a:pt x="5167169" y="2902322"/>
                  </a:lnTo>
                  <a:lnTo>
                    <a:pt x="5169713" y="2900728"/>
                  </a:lnTo>
                  <a:lnTo>
                    <a:pt x="5172103" y="2901525"/>
                  </a:lnTo>
                  <a:lnTo>
                    <a:pt x="5169929" y="2906163"/>
                  </a:lnTo>
                  <a:lnTo>
                    <a:pt x="5167082" y="2910224"/>
                  </a:lnTo>
                  <a:lnTo>
                    <a:pt x="5163171" y="2913257"/>
                  </a:lnTo>
                  <a:lnTo>
                    <a:pt x="5159381" y="2914528"/>
                  </a:lnTo>
                  <a:lnTo>
                    <a:pt x="5158721" y="2915676"/>
                  </a:lnTo>
                  <a:lnTo>
                    <a:pt x="5160403" y="2916120"/>
                  </a:lnTo>
                  <a:lnTo>
                    <a:pt x="5162033" y="2915716"/>
                  </a:lnTo>
                  <a:lnTo>
                    <a:pt x="5164766" y="2913902"/>
                  </a:lnTo>
                  <a:lnTo>
                    <a:pt x="5166262" y="2913286"/>
                  </a:lnTo>
                  <a:lnTo>
                    <a:pt x="5167992" y="2912908"/>
                  </a:lnTo>
                  <a:lnTo>
                    <a:pt x="5169399" y="2912129"/>
                  </a:lnTo>
                  <a:lnTo>
                    <a:pt x="5170341" y="2909004"/>
                  </a:lnTo>
                  <a:lnTo>
                    <a:pt x="5173419" y="2906155"/>
                  </a:lnTo>
                  <a:lnTo>
                    <a:pt x="5174011" y="2904561"/>
                  </a:lnTo>
                  <a:lnTo>
                    <a:pt x="5174777" y="2901022"/>
                  </a:lnTo>
                  <a:lnTo>
                    <a:pt x="5175678" y="2899680"/>
                  </a:lnTo>
                  <a:lnTo>
                    <a:pt x="5176108" y="2901466"/>
                  </a:lnTo>
                  <a:lnTo>
                    <a:pt x="5176119" y="2902164"/>
                  </a:lnTo>
                  <a:lnTo>
                    <a:pt x="5177977" y="2904689"/>
                  </a:lnTo>
                  <a:lnTo>
                    <a:pt x="5179046" y="2909242"/>
                  </a:lnTo>
                  <a:lnTo>
                    <a:pt x="5180285" y="2917824"/>
                  </a:lnTo>
                  <a:lnTo>
                    <a:pt x="5178570" y="2918412"/>
                  </a:lnTo>
                  <a:lnTo>
                    <a:pt x="5174649" y="2921262"/>
                  </a:lnTo>
                  <a:lnTo>
                    <a:pt x="5175070" y="2921876"/>
                  </a:lnTo>
                  <a:lnTo>
                    <a:pt x="5177019" y="2920559"/>
                  </a:lnTo>
                  <a:lnTo>
                    <a:pt x="5179090" y="2919695"/>
                  </a:lnTo>
                  <a:lnTo>
                    <a:pt x="5180052" y="2921660"/>
                  </a:lnTo>
                  <a:lnTo>
                    <a:pt x="5181584" y="2924273"/>
                  </a:lnTo>
                  <a:lnTo>
                    <a:pt x="5182593" y="2926879"/>
                  </a:lnTo>
                  <a:lnTo>
                    <a:pt x="5181978" y="2928824"/>
                  </a:lnTo>
                  <a:lnTo>
                    <a:pt x="5181964" y="2929798"/>
                  </a:lnTo>
                  <a:lnTo>
                    <a:pt x="5182283" y="2931510"/>
                  </a:lnTo>
                  <a:lnTo>
                    <a:pt x="5182331" y="2933035"/>
                  </a:lnTo>
                  <a:lnTo>
                    <a:pt x="5181490" y="2933424"/>
                  </a:lnTo>
                  <a:lnTo>
                    <a:pt x="5179598" y="2933009"/>
                  </a:lnTo>
                  <a:lnTo>
                    <a:pt x="5178483" y="2932558"/>
                  </a:lnTo>
                  <a:lnTo>
                    <a:pt x="5177588" y="2931757"/>
                  </a:lnTo>
                  <a:lnTo>
                    <a:pt x="5176167" y="2930927"/>
                  </a:lnTo>
                  <a:lnTo>
                    <a:pt x="5173688" y="2930262"/>
                  </a:lnTo>
                  <a:lnTo>
                    <a:pt x="5171159" y="2930103"/>
                  </a:lnTo>
                  <a:lnTo>
                    <a:pt x="5169603" y="2930808"/>
                  </a:lnTo>
                  <a:lnTo>
                    <a:pt x="5169565" y="2932213"/>
                  </a:lnTo>
                  <a:lnTo>
                    <a:pt x="5174061" y="2932082"/>
                  </a:lnTo>
                  <a:lnTo>
                    <a:pt x="5175381" y="2933936"/>
                  </a:lnTo>
                  <a:lnTo>
                    <a:pt x="5176798" y="2933611"/>
                  </a:lnTo>
                  <a:lnTo>
                    <a:pt x="5178032" y="2934949"/>
                  </a:lnTo>
                  <a:lnTo>
                    <a:pt x="5179128" y="2936489"/>
                  </a:lnTo>
                  <a:lnTo>
                    <a:pt x="5180154" y="2936809"/>
                  </a:lnTo>
                  <a:lnTo>
                    <a:pt x="5181298" y="2936974"/>
                  </a:lnTo>
                  <a:lnTo>
                    <a:pt x="5182548" y="2938211"/>
                  </a:lnTo>
                  <a:lnTo>
                    <a:pt x="5183093" y="2939781"/>
                  </a:lnTo>
                  <a:lnTo>
                    <a:pt x="5182094" y="2940940"/>
                  </a:lnTo>
                  <a:lnTo>
                    <a:pt x="5183288" y="2941621"/>
                  </a:lnTo>
                  <a:lnTo>
                    <a:pt x="5187356" y="2942499"/>
                  </a:lnTo>
                  <a:lnTo>
                    <a:pt x="5188999" y="2943072"/>
                  </a:lnTo>
                  <a:lnTo>
                    <a:pt x="5193143" y="2945135"/>
                  </a:lnTo>
                  <a:lnTo>
                    <a:pt x="5194984" y="2944530"/>
                  </a:lnTo>
                  <a:lnTo>
                    <a:pt x="5194437" y="2941550"/>
                  </a:lnTo>
                  <a:lnTo>
                    <a:pt x="5193388" y="2938006"/>
                  </a:lnTo>
                  <a:lnTo>
                    <a:pt x="5193707" y="2935686"/>
                  </a:lnTo>
                  <a:lnTo>
                    <a:pt x="5195200" y="2935504"/>
                  </a:lnTo>
                  <a:lnTo>
                    <a:pt x="5195956" y="2936900"/>
                  </a:lnTo>
                  <a:lnTo>
                    <a:pt x="5196249" y="2938853"/>
                  </a:lnTo>
                  <a:lnTo>
                    <a:pt x="5196326" y="2940316"/>
                  </a:lnTo>
                  <a:lnTo>
                    <a:pt x="5197026" y="2942960"/>
                  </a:lnTo>
                  <a:lnTo>
                    <a:pt x="5196975" y="2943486"/>
                  </a:lnTo>
                  <a:lnTo>
                    <a:pt x="5197110" y="2944222"/>
                  </a:lnTo>
                  <a:lnTo>
                    <a:pt x="5197951" y="2945238"/>
                  </a:lnTo>
                  <a:lnTo>
                    <a:pt x="5198876" y="2945773"/>
                  </a:lnTo>
                  <a:lnTo>
                    <a:pt x="5199263" y="2945047"/>
                  </a:lnTo>
                  <a:lnTo>
                    <a:pt x="5199329" y="2944189"/>
                  </a:lnTo>
                  <a:lnTo>
                    <a:pt x="5199608" y="2943826"/>
                  </a:lnTo>
                  <a:lnTo>
                    <a:pt x="5200426" y="2943626"/>
                  </a:lnTo>
                  <a:lnTo>
                    <a:pt x="5200658" y="2944219"/>
                  </a:lnTo>
                  <a:lnTo>
                    <a:pt x="5201702" y="2945099"/>
                  </a:lnTo>
                  <a:lnTo>
                    <a:pt x="5202562" y="2945483"/>
                  </a:lnTo>
                  <a:lnTo>
                    <a:pt x="5202275" y="2944619"/>
                  </a:lnTo>
                  <a:lnTo>
                    <a:pt x="5202255" y="2944388"/>
                  </a:lnTo>
                  <a:lnTo>
                    <a:pt x="5202608" y="2944500"/>
                  </a:lnTo>
                  <a:lnTo>
                    <a:pt x="5203163" y="2944975"/>
                  </a:lnTo>
                  <a:lnTo>
                    <a:pt x="5203722" y="2945847"/>
                  </a:lnTo>
                  <a:lnTo>
                    <a:pt x="5204048" y="2946770"/>
                  </a:lnTo>
                  <a:lnTo>
                    <a:pt x="5204664" y="2949809"/>
                  </a:lnTo>
                  <a:lnTo>
                    <a:pt x="5205063" y="2948574"/>
                  </a:lnTo>
                  <a:lnTo>
                    <a:pt x="5205139" y="2945484"/>
                  </a:lnTo>
                  <a:lnTo>
                    <a:pt x="5205315" y="2944606"/>
                  </a:lnTo>
                  <a:lnTo>
                    <a:pt x="5205683" y="2944493"/>
                  </a:lnTo>
                  <a:lnTo>
                    <a:pt x="5206216" y="2944666"/>
                  </a:lnTo>
                  <a:lnTo>
                    <a:pt x="5206771" y="2945041"/>
                  </a:lnTo>
                  <a:lnTo>
                    <a:pt x="5207221" y="2945515"/>
                  </a:lnTo>
                  <a:lnTo>
                    <a:pt x="5207669" y="2945721"/>
                  </a:lnTo>
                  <a:lnTo>
                    <a:pt x="5208014" y="2945199"/>
                  </a:lnTo>
                  <a:lnTo>
                    <a:pt x="5208307" y="2944465"/>
                  </a:lnTo>
                  <a:lnTo>
                    <a:pt x="5208581" y="2944022"/>
                  </a:lnTo>
                  <a:lnTo>
                    <a:pt x="5210664" y="2943400"/>
                  </a:lnTo>
                  <a:lnTo>
                    <a:pt x="5210596" y="2942813"/>
                  </a:lnTo>
                  <a:lnTo>
                    <a:pt x="5209729" y="2941162"/>
                  </a:lnTo>
                  <a:lnTo>
                    <a:pt x="5208902" y="2940203"/>
                  </a:lnTo>
                  <a:lnTo>
                    <a:pt x="5208133" y="2939619"/>
                  </a:lnTo>
                  <a:lnTo>
                    <a:pt x="5207818" y="2938872"/>
                  </a:lnTo>
                  <a:lnTo>
                    <a:pt x="5208375" y="2937426"/>
                  </a:lnTo>
                  <a:lnTo>
                    <a:pt x="5206275" y="2936744"/>
                  </a:lnTo>
                  <a:lnTo>
                    <a:pt x="5205049" y="2936120"/>
                  </a:lnTo>
                  <a:lnTo>
                    <a:pt x="5204935" y="2935484"/>
                  </a:lnTo>
                  <a:lnTo>
                    <a:pt x="5205762" y="2934888"/>
                  </a:lnTo>
                  <a:lnTo>
                    <a:pt x="5206371" y="2934648"/>
                  </a:lnTo>
                  <a:lnTo>
                    <a:pt x="5208301" y="2934655"/>
                  </a:lnTo>
                  <a:lnTo>
                    <a:pt x="5207013" y="2933361"/>
                  </a:lnTo>
                  <a:lnTo>
                    <a:pt x="5206635" y="2932100"/>
                  </a:lnTo>
                  <a:lnTo>
                    <a:pt x="5206155" y="2930960"/>
                  </a:lnTo>
                  <a:lnTo>
                    <a:pt x="5204568" y="2930039"/>
                  </a:lnTo>
                  <a:lnTo>
                    <a:pt x="5205365" y="2929085"/>
                  </a:lnTo>
                  <a:lnTo>
                    <a:pt x="5205612" y="2927593"/>
                  </a:lnTo>
                  <a:lnTo>
                    <a:pt x="5205467" y="2926308"/>
                  </a:lnTo>
                  <a:lnTo>
                    <a:pt x="5205076" y="2925957"/>
                  </a:lnTo>
                  <a:lnTo>
                    <a:pt x="5204248" y="2925842"/>
                  </a:lnTo>
                  <a:lnTo>
                    <a:pt x="5203014" y="2924965"/>
                  </a:lnTo>
                  <a:lnTo>
                    <a:pt x="5201809" y="2923678"/>
                  </a:lnTo>
                  <a:lnTo>
                    <a:pt x="5201073" y="2922316"/>
                  </a:lnTo>
                  <a:lnTo>
                    <a:pt x="5200905" y="2920583"/>
                  </a:lnTo>
                  <a:lnTo>
                    <a:pt x="5201236" y="2919643"/>
                  </a:lnTo>
                  <a:lnTo>
                    <a:pt x="5201309" y="2918670"/>
                  </a:lnTo>
                  <a:lnTo>
                    <a:pt x="5200320" y="2916820"/>
                  </a:lnTo>
                  <a:lnTo>
                    <a:pt x="5199682" y="2915245"/>
                  </a:lnTo>
                  <a:lnTo>
                    <a:pt x="5199764" y="2913068"/>
                  </a:lnTo>
                  <a:lnTo>
                    <a:pt x="5199163" y="2912499"/>
                  </a:lnTo>
                  <a:lnTo>
                    <a:pt x="5198644" y="2909830"/>
                  </a:lnTo>
                  <a:lnTo>
                    <a:pt x="5198509" y="2908473"/>
                  </a:lnTo>
                  <a:lnTo>
                    <a:pt x="5198630" y="2907253"/>
                  </a:lnTo>
                  <a:lnTo>
                    <a:pt x="5199117" y="2906004"/>
                  </a:lnTo>
                  <a:lnTo>
                    <a:pt x="5199740" y="2905401"/>
                  </a:lnTo>
                  <a:lnTo>
                    <a:pt x="5201746" y="2904803"/>
                  </a:lnTo>
                  <a:lnTo>
                    <a:pt x="5201362" y="2904250"/>
                  </a:lnTo>
                  <a:lnTo>
                    <a:pt x="5200081" y="2903658"/>
                  </a:lnTo>
                  <a:lnTo>
                    <a:pt x="5199431" y="2902402"/>
                  </a:lnTo>
                  <a:lnTo>
                    <a:pt x="5199197" y="2900717"/>
                  </a:lnTo>
                  <a:lnTo>
                    <a:pt x="5199124" y="2898837"/>
                  </a:lnTo>
                  <a:lnTo>
                    <a:pt x="5198823" y="2897182"/>
                  </a:lnTo>
                  <a:lnTo>
                    <a:pt x="5197608" y="2893474"/>
                  </a:lnTo>
                  <a:lnTo>
                    <a:pt x="5197306" y="2891768"/>
                  </a:lnTo>
                  <a:lnTo>
                    <a:pt x="5197136" y="2888063"/>
                  </a:lnTo>
                  <a:lnTo>
                    <a:pt x="5197358" y="2887347"/>
                  </a:lnTo>
                  <a:lnTo>
                    <a:pt x="5198568" y="2886561"/>
                  </a:lnTo>
                  <a:lnTo>
                    <a:pt x="5199047" y="2886047"/>
                  </a:lnTo>
                  <a:lnTo>
                    <a:pt x="5199275" y="2885065"/>
                  </a:lnTo>
                  <a:lnTo>
                    <a:pt x="5199267" y="2884129"/>
                  </a:lnTo>
                  <a:lnTo>
                    <a:pt x="5199370" y="2883269"/>
                  </a:lnTo>
                  <a:lnTo>
                    <a:pt x="5200798" y="2881546"/>
                  </a:lnTo>
                  <a:lnTo>
                    <a:pt x="5200716" y="2880916"/>
                  </a:lnTo>
                  <a:lnTo>
                    <a:pt x="5200375" y="2880272"/>
                  </a:lnTo>
                  <a:lnTo>
                    <a:pt x="5200437" y="2879257"/>
                  </a:lnTo>
                  <a:lnTo>
                    <a:pt x="5201519" y="2877959"/>
                  </a:lnTo>
                  <a:lnTo>
                    <a:pt x="5202895" y="2877935"/>
                  </a:lnTo>
                  <a:lnTo>
                    <a:pt x="5204400" y="2878216"/>
                  </a:lnTo>
                  <a:lnTo>
                    <a:pt x="5205864" y="2877799"/>
                  </a:lnTo>
                  <a:lnTo>
                    <a:pt x="5206621" y="2876746"/>
                  </a:lnTo>
                  <a:lnTo>
                    <a:pt x="5207277" y="2875105"/>
                  </a:lnTo>
                  <a:lnTo>
                    <a:pt x="5207739" y="2873358"/>
                  </a:lnTo>
                  <a:lnTo>
                    <a:pt x="5207885" y="2871969"/>
                  </a:lnTo>
                  <a:lnTo>
                    <a:pt x="5207858" y="2867050"/>
                  </a:lnTo>
                  <a:lnTo>
                    <a:pt x="5207136" y="2861155"/>
                  </a:lnTo>
                  <a:lnTo>
                    <a:pt x="5207255" y="2859151"/>
                  </a:lnTo>
                  <a:lnTo>
                    <a:pt x="5207679" y="2858222"/>
                  </a:lnTo>
                  <a:lnTo>
                    <a:pt x="5209591" y="2858043"/>
                  </a:lnTo>
                  <a:lnTo>
                    <a:pt x="5213909" y="2859786"/>
                  </a:lnTo>
                  <a:lnTo>
                    <a:pt x="5216401" y="2859390"/>
                  </a:lnTo>
                  <a:lnTo>
                    <a:pt x="5216732" y="2860106"/>
                  </a:lnTo>
                  <a:lnTo>
                    <a:pt x="5216648" y="2861160"/>
                  </a:lnTo>
                  <a:lnTo>
                    <a:pt x="5216152" y="2862000"/>
                  </a:lnTo>
                  <a:lnTo>
                    <a:pt x="5213602" y="2864039"/>
                  </a:lnTo>
                  <a:lnTo>
                    <a:pt x="5213298" y="2865065"/>
                  </a:lnTo>
                  <a:lnTo>
                    <a:pt x="5213405" y="2866021"/>
                  </a:lnTo>
                  <a:lnTo>
                    <a:pt x="5213661" y="2866927"/>
                  </a:lnTo>
                  <a:lnTo>
                    <a:pt x="5213795" y="2867766"/>
                  </a:lnTo>
                  <a:lnTo>
                    <a:pt x="5213693" y="2869654"/>
                  </a:lnTo>
                  <a:lnTo>
                    <a:pt x="5213778" y="2870776"/>
                  </a:lnTo>
                  <a:lnTo>
                    <a:pt x="5214127" y="2871697"/>
                  </a:lnTo>
                  <a:lnTo>
                    <a:pt x="5215232" y="2873556"/>
                  </a:lnTo>
                  <a:lnTo>
                    <a:pt x="5215811" y="2875295"/>
                  </a:lnTo>
                  <a:lnTo>
                    <a:pt x="5215994" y="2877170"/>
                  </a:lnTo>
                  <a:lnTo>
                    <a:pt x="5215884" y="2879409"/>
                  </a:lnTo>
                  <a:lnTo>
                    <a:pt x="5215198" y="2883189"/>
                  </a:lnTo>
                  <a:lnTo>
                    <a:pt x="5215168" y="2885413"/>
                  </a:lnTo>
                  <a:lnTo>
                    <a:pt x="5215916" y="2887446"/>
                  </a:lnTo>
                  <a:lnTo>
                    <a:pt x="5217547" y="2889744"/>
                  </a:lnTo>
                  <a:lnTo>
                    <a:pt x="5218574" y="2891455"/>
                  </a:lnTo>
                  <a:lnTo>
                    <a:pt x="5219114" y="2893230"/>
                  </a:lnTo>
                  <a:lnTo>
                    <a:pt x="5219290" y="2895762"/>
                  </a:lnTo>
                  <a:lnTo>
                    <a:pt x="5218812" y="2899846"/>
                  </a:lnTo>
                  <a:lnTo>
                    <a:pt x="5218904" y="2902105"/>
                  </a:lnTo>
                  <a:lnTo>
                    <a:pt x="5219848" y="2904353"/>
                  </a:lnTo>
                  <a:lnTo>
                    <a:pt x="5219950" y="2904995"/>
                  </a:lnTo>
                  <a:lnTo>
                    <a:pt x="5219923" y="2906089"/>
                  </a:lnTo>
                  <a:lnTo>
                    <a:pt x="5219762" y="2907181"/>
                  </a:lnTo>
                  <a:lnTo>
                    <a:pt x="5219490" y="2907820"/>
                  </a:lnTo>
                  <a:lnTo>
                    <a:pt x="5219196" y="2908210"/>
                  </a:lnTo>
                  <a:lnTo>
                    <a:pt x="5218952" y="2909114"/>
                  </a:lnTo>
                  <a:lnTo>
                    <a:pt x="5218734" y="2909450"/>
                  </a:lnTo>
                  <a:lnTo>
                    <a:pt x="5218578" y="2909996"/>
                  </a:lnTo>
                  <a:lnTo>
                    <a:pt x="5219295" y="2910309"/>
                  </a:lnTo>
                  <a:lnTo>
                    <a:pt x="5220108" y="2910388"/>
                  </a:lnTo>
                  <a:lnTo>
                    <a:pt x="5220233" y="2910243"/>
                  </a:lnTo>
                  <a:lnTo>
                    <a:pt x="5222230" y="2909526"/>
                  </a:lnTo>
                  <a:lnTo>
                    <a:pt x="5222404" y="2911250"/>
                  </a:lnTo>
                  <a:lnTo>
                    <a:pt x="5222715" y="2912927"/>
                  </a:lnTo>
                  <a:lnTo>
                    <a:pt x="5222924" y="2912023"/>
                  </a:lnTo>
                  <a:lnTo>
                    <a:pt x="5223344" y="2911594"/>
                  </a:lnTo>
                  <a:lnTo>
                    <a:pt x="5223968" y="2911688"/>
                  </a:lnTo>
                  <a:lnTo>
                    <a:pt x="5224787" y="2912314"/>
                  </a:lnTo>
                  <a:lnTo>
                    <a:pt x="5224441" y="2913834"/>
                  </a:lnTo>
                  <a:lnTo>
                    <a:pt x="5225068" y="2917686"/>
                  </a:lnTo>
                  <a:lnTo>
                    <a:pt x="5224349" y="2919202"/>
                  </a:lnTo>
                  <a:lnTo>
                    <a:pt x="5223502" y="2920299"/>
                  </a:lnTo>
                  <a:lnTo>
                    <a:pt x="5222879" y="2921907"/>
                  </a:lnTo>
                  <a:lnTo>
                    <a:pt x="5222979" y="2923377"/>
                  </a:lnTo>
                  <a:lnTo>
                    <a:pt x="5224319" y="2924044"/>
                  </a:lnTo>
                  <a:lnTo>
                    <a:pt x="5224547" y="2922969"/>
                  </a:lnTo>
                  <a:lnTo>
                    <a:pt x="5224931" y="2922056"/>
                  </a:lnTo>
                  <a:lnTo>
                    <a:pt x="5225479" y="2921274"/>
                  </a:lnTo>
                  <a:lnTo>
                    <a:pt x="5226201" y="2920580"/>
                  </a:lnTo>
                  <a:lnTo>
                    <a:pt x="5226091" y="2922133"/>
                  </a:lnTo>
                  <a:lnTo>
                    <a:pt x="5225389" y="2924467"/>
                  </a:lnTo>
                  <a:lnTo>
                    <a:pt x="5225592" y="2925878"/>
                  </a:lnTo>
                  <a:lnTo>
                    <a:pt x="5226761" y="2924770"/>
                  </a:lnTo>
                  <a:lnTo>
                    <a:pt x="5227514" y="2923245"/>
                  </a:lnTo>
                  <a:lnTo>
                    <a:pt x="5228601" y="2919629"/>
                  </a:lnTo>
                  <a:lnTo>
                    <a:pt x="5228875" y="2921600"/>
                  </a:lnTo>
                  <a:lnTo>
                    <a:pt x="5228423" y="2924144"/>
                  </a:lnTo>
                  <a:lnTo>
                    <a:pt x="5227574" y="2926477"/>
                  </a:lnTo>
                  <a:lnTo>
                    <a:pt x="5226664" y="2927866"/>
                  </a:lnTo>
                  <a:lnTo>
                    <a:pt x="5226570" y="2928250"/>
                  </a:lnTo>
                  <a:lnTo>
                    <a:pt x="5227270" y="2928374"/>
                  </a:lnTo>
                  <a:lnTo>
                    <a:pt x="5228288" y="2928247"/>
                  </a:lnTo>
                  <a:lnTo>
                    <a:pt x="5229132" y="2927890"/>
                  </a:lnTo>
                  <a:lnTo>
                    <a:pt x="5229683" y="2927207"/>
                  </a:lnTo>
                  <a:lnTo>
                    <a:pt x="5230825" y="2924581"/>
                  </a:lnTo>
                  <a:lnTo>
                    <a:pt x="5233243" y="2927832"/>
                  </a:lnTo>
                  <a:lnTo>
                    <a:pt x="5233831" y="2928905"/>
                  </a:lnTo>
                  <a:lnTo>
                    <a:pt x="5234120" y="2930036"/>
                  </a:lnTo>
                  <a:lnTo>
                    <a:pt x="5234235" y="2931139"/>
                  </a:lnTo>
                  <a:lnTo>
                    <a:pt x="5234487" y="2932292"/>
                  </a:lnTo>
                  <a:lnTo>
                    <a:pt x="5235189" y="2933513"/>
                  </a:lnTo>
                  <a:lnTo>
                    <a:pt x="5235474" y="2932037"/>
                  </a:lnTo>
                  <a:lnTo>
                    <a:pt x="5235546" y="2930351"/>
                  </a:lnTo>
                  <a:lnTo>
                    <a:pt x="5235805" y="2928985"/>
                  </a:lnTo>
                  <a:lnTo>
                    <a:pt x="5236652" y="2928473"/>
                  </a:lnTo>
                  <a:lnTo>
                    <a:pt x="5237009" y="2929465"/>
                  </a:lnTo>
                  <a:lnTo>
                    <a:pt x="5237214" y="2929849"/>
                  </a:lnTo>
                  <a:lnTo>
                    <a:pt x="5237970" y="2930367"/>
                  </a:lnTo>
                  <a:lnTo>
                    <a:pt x="5237734" y="2934173"/>
                  </a:lnTo>
                  <a:lnTo>
                    <a:pt x="5237858" y="2936155"/>
                  </a:lnTo>
                  <a:lnTo>
                    <a:pt x="5238722" y="2936386"/>
                  </a:lnTo>
                  <a:lnTo>
                    <a:pt x="5239665" y="2935149"/>
                  </a:lnTo>
                  <a:lnTo>
                    <a:pt x="5239915" y="2934055"/>
                  </a:lnTo>
                  <a:lnTo>
                    <a:pt x="5240413" y="2933221"/>
                  </a:lnTo>
                  <a:lnTo>
                    <a:pt x="5242106" y="2932772"/>
                  </a:lnTo>
                  <a:lnTo>
                    <a:pt x="5242797" y="2934446"/>
                  </a:lnTo>
                  <a:lnTo>
                    <a:pt x="5242943" y="2934940"/>
                  </a:lnTo>
                  <a:lnTo>
                    <a:pt x="5242996" y="2932992"/>
                  </a:lnTo>
                  <a:lnTo>
                    <a:pt x="5242608" y="2927826"/>
                  </a:lnTo>
                  <a:lnTo>
                    <a:pt x="5244039" y="2924692"/>
                  </a:lnTo>
                  <a:lnTo>
                    <a:pt x="5245235" y="2917875"/>
                  </a:lnTo>
                  <a:lnTo>
                    <a:pt x="5246857" y="2912467"/>
                  </a:lnTo>
                  <a:lnTo>
                    <a:pt x="5247021" y="2910287"/>
                  </a:lnTo>
                  <a:lnTo>
                    <a:pt x="5246898" y="2907986"/>
                  </a:lnTo>
                  <a:lnTo>
                    <a:pt x="5246517" y="2905493"/>
                  </a:lnTo>
                  <a:lnTo>
                    <a:pt x="5245891" y="2903038"/>
                  </a:lnTo>
                  <a:lnTo>
                    <a:pt x="5245041" y="2900864"/>
                  </a:lnTo>
                  <a:lnTo>
                    <a:pt x="5240500" y="2891479"/>
                  </a:lnTo>
                  <a:lnTo>
                    <a:pt x="5238858" y="2886593"/>
                  </a:lnTo>
                  <a:lnTo>
                    <a:pt x="5239536" y="2884258"/>
                  </a:lnTo>
                  <a:lnTo>
                    <a:pt x="5240279" y="2884416"/>
                  </a:lnTo>
                  <a:lnTo>
                    <a:pt x="5241812" y="2885495"/>
                  </a:lnTo>
                  <a:lnTo>
                    <a:pt x="5242463" y="2885800"/>
                  </a:lnTo>
                  <a:lnTo>
                    <a:pt x="5245587" y="2884936"/>
                  </a:lnTo>
                  <a:lnTo>
                    <a:pt x="5246282" y="2885115"/>
                  </a:lnTo>
                  <a:lnTo>
                    <a:pt x="5249265" y="2888472"/>
                  </a:lnTo>
                  <a:lnTo>
                    <a:pt x="5249830" y="2889676"/>
                  </a:lnTo>
                  <a:lnTo>
                    <a:pt x="5250860" y="2893343"/>
                  </a:lnTo>
                  <a:lnTo>
                    <a:pt x="5251937" y="2893707"/>
                  </a:lnTo>
                  <a:lnTo>
                    <a:pt x="5252939" y="2893112"/>
                  </a:lnTo>
                  <a:lnTo>
                    <a:pt x="5254235" y="2891583"/>
                  </a:lnTo>
                  <a:lnTo>
                    <a:pt x="5254960" y="2891447"/>
                  </a:lnTo>
                  <a:lnTo>
                    <a:pt x="5255639" y="2892075"/>
                  </a:lnTo>
                  <a:lnTo>
                    <a:pt x="5258621" y="2896511"/>
                  </a:lnTo>
                  <a:lnTo>
                    <a:pt x="5259185" y="2898300"/>
                  </a:lnTo>
                  <a:lnTo>
                    <a:pt x="5259762" y="2902461"/>
                  </a:lnTo>
                  <a:lnTo>
                    <a:pt x="5260120" y="2901220"/>
                  </a:lnTo>
                  <a:lnTo>
                    <a:pt x="5261223" y="2902159"/>
                  </a:lnTo>
                  <a:lnTo>
                    <a:pt x="5262605" y="2902564"/>
                  </a:lnTo>
                  <a:lnTo>
                    <a:pt x="5263977" y="2902498"/>
                  </a:lnTo>
                  <a:lnTo>
                    <a:pt x="5265032" y="2902024"/>
                  </a:lnTo>
                  <a:lnTo>
                    <a:pt x="5265985" y="2901813"/>
                  </a:lnTo>
                  <a:lnTo>
                    <a:pt x="5266591" y="2902710"/>
                  </a:lnTo>
                  <a:lnTo>
                    <a:pt x="5267621" y="2905651"/>
                  </a:lnTo>
                  <a:lnTo>
                    <a:pt x="5266656" y="2906177"/>
                  </a:lnTo>
                  <a:lnTo>
                    <a:pt x="5266114" y="2907420"/>
                  </a:lnTo>
                  <a:lnTo>
                    <a:pt x="5265370" y="2910412"/>
                  </a:lnTo>
                  <a:lnTo>
                    <a:pt x="5268287" y="2910688"/>
                  </a:lnTo>
                  <a:lnTo>
                    <a:pt x="5269057" y="2911282"/>
                  </a:lnTo>
                  <a:lnTo>
                    <a:pt x="5269513" y="2912789"/>
                  </a:lnTo>
                  <a:lnTo>
                    <a:pt x="5269580" y="2914346"/>
                  </a:lnTo>
                  <a:lnTo>
                    <a:pt x="5269256" y="2917300"/>
                  </a:lnTo>
                  <a:lnTo>
                    <a:pt x="5269289" y="2918600"/>
                  </a:lnTo>
                  <a:lnTo>
                    <a:pt x="5269786" y="2920213"/>
                  </a:lnTo>
                  <a:lnTo>
                    <a:pt x="5271349" y="2924015"/>
                  </a:lnTo>
                  <a:lnTo>
                    <a:pt x="5271629" y="2925446"/>
                  </a:lnTo>
                  <a:lnTo>
                    <a:pt x="5271198" y="2926663"/>
                  </a:lnTo>
                  <a:lnTo>
                    <a:pt x="5269464" y="2928455"/>
                  </a:lnTo>
                  <a:lnTo>
                    <a:pt x="5268887" y="2929545"/>
                  </a:lnTo>
                  <a:lnTo>
                    <a:pt x="5269729" y="2929567"/>
                  </a:lnTo>
                  <a:lnTo>
                    <a:pt x="5270460" y="2929317"/>
                  </a:lnTo>
                  <a:lnTo>
                    <a:pt x="5271106" y="2928856"/>
                  </a:lnTo>
                  <a:lnTo>
                    <a:pt x="5271689" y="2928253"/>
                  </a:lnTo>
                  <a:lnTo>
                    <a:pt x="5271860" y="2929662"/>
                  </a:lnTo>
                  <a:lnTo>
                    <a:pt x="5271483" y="2930910"/>
                  </a:lnTo>
                  <a:lnTo>
                    <a:pt x="5270193" y="2933165"/>
                  </a:lnTo>
                  <a:lnTo>
                    <a:pt x="5271814" y="2933906"/>
                  </a:lnTo>
                  <a:lnTo>
                    <a:pt x="5272103" y="2934784"/>
                  </a:lnTo>
                  <a:lnTo>
                    <a:pt x="5272052" y="2935928"/>
                  </a:lnTo>
                  <a:lnTo>
                    <a:pt x="5273036" y="2938299"/>
                  </a:lnTo>
                  <a:lnTo>
                    <a:pt x="5273521" y="2940215"/>
                  </a:lnTo>
                  <a:lnTo>
                    <a:pt x="5274507" y="2942181"/>
                  </a:lnTo>
                  <a:lnTo>
                    <a:pt x="5274571" y="2942917"/>
                  </a:lnTo>
                  <a:lnTo>
                    <a:pt x="5274575" y="2943553"/>
                  </a:lnTo>
                  <a:lnTo>
                    <a:pt x="5274871" y="2944267"/>
                  </a:lnTo>
                  <a:lnTo>
                    <a:pt x="5276617" y="2947380"/>
                  </a:lnTo>
                  <a:lnTo>
                    <a:pt x="5277425" y="2949370"/>
                  </a:lnTo>
                  <a:lnTo>
                    <a:pt x="5277742" y="2951034"/>
                  </a:lnTo>
                  <a:lnTo>
                    <a:pt x="5277266" y="2952194"/>
                  </a:lnTo>
                  <a:lnTo>
                    <a:pt x="5275199" y="2954095"/>
                  </a:lnTo>
                  <a:lnTo>
                    <a:pt x="5274577" y="2955455"/>
                  </a:lnTo>
                  <a:lnTo>
                    <a:pt x="5278296" y="2954204"/>
                  </a:lnTo>
                  <a:lnTo>
                    <a:pt x="5279467" y="2953456"/>
                  </a:lnTo>
                  <a:lnTo>
                    <a:pt x="5280859" y="2952950"/>
                  </a:lnTo>
                  <a:lnTo>
                    <a:pt x="5281548" y="2953559"/>
                  </a:lnTo>
                  <a:lnTo>
                    <a:pt x="5281316" y="2954524"/>
                  </a:lnTo>
                  <a:lnTo>
                    <a:pt x="5279977" y="2955033"/>
                  </a:lnTo>
                  <a:lnTo>
                    <a:pt x="5280725" y="2955658"/>
                  </a:lnTo>
                  <a:lnTo>
                    <a:pt x="5281492" y="2956131"/>
                  </a:lnTo>
                  <a:lnTo>
                    <a:pt x="5282220" y="2956410"/>
                  </a:lnTo>
                  <a:lnTo>
                    <a:pt x="5282834" y="2956463"/>
                  </a:lnTo>
                  <a:lnTo>
                    <a:pt x="5283259" y="2957072"/>
                  </a:lnTo>
                  <a:lnTo>
                    <a:pt x="5282444" y="2960436"/>
                  </a:lnTo>
                  <a:lnTo>
                    <a:pt x="5282805" y="2961712"/>
                  </a:lnTo>
                  <a:lnTo>
                    <a:pt x="5284642" y="2962689"/>
                  </a:lnTo>
                  <a:lnTo>
                    <a:pt x="5284103" y="2963678"/>
                  </a:lnTo>
                  <a:lnTo>
                    <a:pt x="5284382" y="2964422"/>
                  </a:lnTo>
                  <a:lnTo>
                    <a:pt x="5285061" y="2964796"/>
                  </a:lnTo>
                  <a:lnTo>
                    <a:pt x="5285717" y="2964680"/>
                  </a:lnTo>
                  <a:lnTo>
                    <a:pt x="5286326" y="2965076"/>
                  </a:lnTo>
                  <a:lnTo>
                    <a:pt x="5287099" y="2969782"/>
                  </a:lnTo>
                  <a:lnTo>
                    <a:pt x="5288174" y="2972048"/>
                  </a:lnTo>
                  <a:lnTo>
                    <a:pt x="5288900" y="2974519"/>
                  </a:lnTo>
                  <a:lnTo>
                    <a:pt x="5289754" y="2976780"/>
                  </a:lnTo>
                  <a:lnTo>
                    <a:pt x="5291225" y="2978381"/>
                  </a:lnTo>
                  <a:lnTo>
                    <a:pt x="5291503" y="2979560"/>
                  </a:lnTo>
                  <a:lnTo>
                    <a:pt x="5292271" y="2980845"/>
                  </a:lnTo>
                  <a:lnTo>
                    <a:pt x="5292797" y="2982098"/>
                  </a:lnTo>
                  <a:lnTo>
                    <a:pt x="5292163" y="2983787"/>
                  </a:lnTo>
                  <a:lnTo>
                    <a:pt x="5292582" y="2985823"/>
                  </a:lnTo>
                  <a:lnTo>
                    <a:pt x="5292616" y="2986743"/>
                  </a:lnTo>
                  <a:lnTo>
                    <a:pt x="5291305" y="2988578"/>
                  </a:lnTo>
                  <a:lnTo>
                    <a:pt x="5291232" y="2988789"/>
                  </a:lnTo>
                  <a:lnTo>
                    <a:pt x="5290930" y="2991243"/>
                  </a:lnTo>
                  <a:lnTo>
                    <a:pt x="5293194" y="2999202"/>
                  </a:lnTo>
                  <a:lnTo>
                    <a:pt x="5292729" y="3001784"/>
                  </a:lnTo>
                  <a:lnTo>
                    <a:pt x="5290950" y="3006020"/>
                  </a:lnTo>
                  <a:lnTo>
                    <a:pt x="5289212" y="3007943"/>
                  </a:lnTo>
                  <a:lnTo>
                    <a:pt x="5288098" y="3008477"/>
                  </a:lnTo>
                  <a:lnTo>
                    <a:pt x="5286531" y="3008650"/>
                  </a:lnTo>
                  <a:lnTo>
                    <a:pt x="5284152" y="3007977"/>
                  </a:lnTo>
                  <a:lnTo>
                    <a:pt x="5281077" y="3006334"/>
                  </a:lnTo>
                  <a:lnTo>
                    <a:pt x="5278326" y="3004166"/>
                  </a:lnTo>
                  <a:lnTo>
                    <a:pt x="5276907" y="3001906"/>
                  </a:lnTo>
                  <a:lnTo>
                    <a:pt x="5276310" y="3003229"/>
                  </a:lnTo>
                  <a:lnTo>
                    <a:pt x="5276108" y="3005068"/>
                  </a:lnTo>
                  <a:lnTo>
                    <a:pt x="5276231" y="3008649"/>
                  </a:lnTo>
                  <a:lnTo>
                    <a:pt x="5275867" y="3009030"/>
                  </a:lnTo>
                  <a:lnTo>
                    <a:pt x="5274958" y="3008570"/>
                  </a:lnTo>
                  <a:lnTo>
                    <a:pt x="5273975" y="3007904"/>
                  </a:lnTo>
                  <a:lnTo>
                    <a:pt x="5273368" y="3007684"/>
                  </a:lnTo>
                  <a:lnTo>
                    <a:pt x="5272940" y="3008548"/>
                  </a:lnTo>
                  <a:lnTo>
                    <a:pt x="5272845" y="3009868"/>
                  </a:lnTo>
                  <a:lnTo>
                    <a:pt x="5273003" y="3012588"/>
                  </a:lnTo>
                  <a:lnTo>
                    <a:pt x="5272475" y="3010948"/>
                  </a:lnTo>
                  <a:lnTo>
                    <a:pt x="5271627" y="3006053"/>
                  </a:lnTo>
                  <a:lnTo>
                    <a:pt x="5270787" y="3007284"/>
                  </a:lnTo>
                  <a:lnTo>
                    <a:pt x="5270553" y="3009004"/>
                  </a:lnTo>
                  <a:lnTo>
                    <a:pt x="5270546" y="3012634"/>
                  </a:lnTo>
                  <a:lnTo>
                    <a:pt x="5270201" y="3014260"/>
                  </a:lnTo>
                  <a:lnTo>
                    <a:pt x="5270145" y="3015228"/>
                  </a:lnTo>
                  <a:lnTo>
                    <a:pt x="5270702" y="3017114"/>
                  </a:lnTo>
                  <a:lnTo>
                    <a:pt x="5270331" y="3018037"/>
                  </a:lnTo>
                  <a:lnTo>
                    <a:pt x="5269755" y="3018868"/>
                  </a:lnTo>
                  <a:lnTo>
                    <a:pt x="5269425" y="3019664"/>
                  </a:lnTo>
                  <a:lnTo>
                    <a:pt x="5268752" y="3023516"/>
                  </a:lnTo>
                  <a:lnTo>
                    <a:pt x="5267217" y="3026117"/>
                  </a:lnTo>
                  <a:lnTo>
                    <a:pt x="5264640" y="3027049"/>
                  </a:lnTo>
                  <a:lnTo>
                    <a:pt x="5260870" y="3025902"/>
                  </a:lnTo>
                  <a:lnTo>
                    <a:pt x="5260212" y="3025429"/>
                  </a:lnTo>
                  <a:lnTo>
                    <a:pt x="5258317" y="3023758"/>
                  </a:lnTo>
                  <a:lnTo>
                    <a:pt x="5257728" y="3023098"/>
                  </a:lnTo>
                  <a:lnTo>
                    <a:pt x="5256666" y="3021536"/>
                  </a:lnTo>
                  <a:lnTo>
                    <a:pt x="5255927" y="3018032"/>
                  </a:lnTo>
                  <a:lnTo>
                    <a:pt x="5255827" y="3016130"/>
                  </a:lnTo>
                  <a:lnTo>
                    <a:pt x="5255496" y="3015178"/>
                  </a:lnTo>
                  <a:lnTo>
                    <a:pt x="5254737" y="3014281"/>
                  </a:lnTo>
                  <a:lnTo>
                    <a:pt x="5253836" y="3013414"/>
                  </a:lnTo>
                  <a:lnTo>
                    <a:pt x="5253075" y="3012546"/>
                  </a:lnTo>
                  <a:lnTo>
                    <a:pt x="5252626" y="3010763"/>
                  </a:lnTo>
                  <a:lnTo>
                    <a:pt x="5252781" y="3005996"/>
                  </a:lnTo>
                  <a:lnTo>
                    <a:pt x="5252143" y="3003929"/>
                  </a:lnTo>
                  <a:lnTo>
                    <a:pt x="5251898" y="3002260"/>
                  </a:lnTo>
                  <a:lnTo>
                    <a:pt x="5254074" y="2999420"/>
                  </a:lnTo>
                  <a:lnTo>
                    <a:pt x="5253845" y="2997378"/>
                  </a:lnTo>
                  <a:lnTo>
                    <a:pt x="5253288" y="2998402"/>
                  </a:lnTo>
                  <a:lnTo>
                    <a:pt x="5251725" y="3000362"/>
                  </a:lnTo>
                  <a:lnTo>
                    <a:pt x="5251449" y="3001602"/>
                  </a:lnTo>
                  <a:lnTo>
                    <a:pt x="5251842" y="3011138"/>
                  </a:lnTo>
                  <a:lnTo>
                    <a:pt x="5251285" y="3013686"/>
                  </a:lnTo>
                  <a:lnTo>
                    <a:pt x="5251033" y="3014195"/>
                  </a:lnTo>
                  <a:lnTo>
                    <a:pt x="5250670" y="3013851"/>
                  </a:lnTo>
                  <a:lnTo>
                    <a:pt x="5249269" y="3011214"/>
                  </a:lnTo>
                  <a:lnTo>
                    <a:pt x="5248886" y="3010079"/>
                  </a:lnTo>
                  <a:lnTo>
                    <a:pt x="5248743" y="3008960"/>
                  </a:lnTo>
                  <a:lnTo>
                    <a:pt x="5248702" y="3007549"/>
                  </a:lnTo>
                  <a:lnTo>
                    <a:pt x="5248423" y="3006265"/>
                  </a:lnTo>
                  <a:lnTo>
                    <a:pt x="5247258" y="3003557"/>
                  </a:lnTo>
                  <a:lnTo>
                    <a:pt x="5246984" y="3002309"/>
                  </a:lnTo>
                  <a:lnTo>
                    <a:pt x="5248666" y="2997935"/>
                  </a:lnTo>
                  <a:lnTo>
                    <a:pt x="5249188" y="2995264"/>
                  </a:lnTo>
                  <a:lnTo>
                    <a:pt x="5248096" y="2993410"/>
                  </a:lnTo>
                  <a:lnTo>
                    <a:pt x="5248099" y="2994926"/>
                  </a:lnTo>
                  <a:lnTo>
                    <a:pt x="5247949" y="2996230"/>
                  </a:lnTo>
                  <a:lnTo>
                    <a:pt x="5247459" y="2997140"/>
                  </a:lnTo>
                  <a:lnTo>
                    <a:pt x="5246491" y="2997480"/>
                  </a:lnTo>
                  <a:lnTo>
                    <a:pt x="5246226" y="2996499"/>
                  </a:lnTo>
                  <a:lnTo>
                    <a:pt x="5245795" y="2995675"/>
                  </a:lnTo>
                  <a:lnTo>
                    <a:pt x="5245192" y="2994986"/>
                  </a:lnTo>
                  <a:lnTo>
                    <a:pt x="5244395" y="2994413"/>
                  </a:lnTo>
                  <a:lnTo>
                    <a:pt x="5243997" y="2994724"/>
                  </a:lnTo>
                  <a:lnTo>
                    <a:pt x="5244236" y="2995473"/>
                  </a:lnTo>
                  <a:lnTo>
                    <a:pt x="5244700" y="2997530"/>
                  </a:lnTo>
                  <a:lnTo>
                    <a:pt x="5244685" y="2998035"/>
                  </a:lnTo>
                  <a:lnTo>
                    <a:pt x="5244234" y="2998285"/>
                  </a:lnTo>
                  <a:lnTo>
                    <a:pt x="5243480" y="2998492"/>
                  </a:lnTo>
                  <a:lnTo>
                    <a:pt x="5242757" y="2998304"/>
                  </a:lnTo>
                  <a:lnTo>
                    <a:pt x="5242395" y="2997344"/>
                  </a:lnTo>
                  <a:lnTo>
                    <a:pt x="5241938" y="2995101"/>
                  </a:lnTo>
                  <a:lnTo>
                    <a:pt x="5241154" y="2995073"/>
                  </a:lnTo>
                  <a:lnTo>
                    <a:pt x="5239473" y="2997221"/>
                  </a:lnTo>
                  <a:lnTo>
                    <a:pt x="5238817" y="2993880"/>
                  </a:lnTo>
                  <a:lnTo>
                    <a:pt x="5238588" y="2990866"/>
                  </a:lnTo>
                  <a:lnTo>
                    <a:pt x="5238774" y="2987569"/>
                  </a:lnTo>
                  <a:lnTo>
                    <a:pt x="5238405" y="2986041"/>
                  </a:lnTo>
                  <a:lnTo>
                    <a:pt x="5237194" y="2985758"/>
                  </a:lnTo>
                  <a:lnTo>
                    <a:pt x="5237308" y="2983451"/>
                  </a:lnTo>
                  <a:lnTo>
                    <a:pt x="5238773" y="2978826"/>
                  </a:lnTo>
                  <a:lnTo>
                    <a:pt x="5238764" y="2977089"/>
                  </a:lnTo>
                  <a:lnTo>
                    <a:pt x="5237778" y="2977826"/>
                  </a:lnTo>
                  <a:lnTo>
                    <a:pt x="5236775" y="2977561"/>
                  </a:lnTo>
                  <a:lnTo>
                    <a:pt x="5235932" y="2976520"/>
                  </a:lnTo>
                  <a:lnTo>
                    <a:pt x="5235460" y="2974970"/>
                  </a:lnTo>
                  <a:lnTo>
                    <a:pt x="5234828" y="2975868"/>
                  </a:lnTo>
                  <a:lnTo>
                    <a:pt x="5234010" y="2977729"/>
                  </a:lnTo>
                  <a:lnTo>
                    <a:pt x="5233252" y="2978566"/>
                  </a:lnTo>
                  <a:lnTo>
                    <a:pt x="5232798" y="2978107"/>
                  </a:lnTo>
                  <a:lnTo>
                    <a:pt x="5231566" y="2974932"/>
                  </a:lnTo>
                  <a:lnTo>
                    <a:pt x="5230914" y="2973725"/>
                  </a:lnTo>
                  <a:lnTo>
                    <a:pt x="5232531" y="2980568"/>
                  </a:lnTo>
                  <a:lnTo>
                    <a:pt x="5232794" y="2983993"/>
                  </a:lnTo>
                  <a:lnTo>
                    <a:pt x="5231531" y="2986487"/>
                  </a:lnTo>
                  <a:lnTo>
                    <a:pt x="5230152" y="2982537"/>
                  </a:lnTo>
                  <a:lnTo>
                    <a:pt x="5229841" y="2981223"/>
                  </a:lnTo>
                  <a:lnTo>
                    <a:pt x="5229320" y="2982032"/>
                  </a:lnTo>
                  <a:lnTo>
                    <a:pt x="5229175" y="2982978"/>
                  </a:lnTo>
                  <a:lnTo>
                    <a:pt x="5229270" y="2984047"/>
                  </a:lnTo>
                  <a:lnTo>
                    <a:pt x="5229511" y="2985242"/>
                  </a:lnTo>
                  <a:lnTo>
                    <a:pt x="5230973" y="2989271"/>
                  </a:lnTo>
                  <a:lnTo>
                    <a:pt x="5230651" y="2989605"/>
                  </a:lnTo>
                  <a:lnTo>
                    <a:pt x="5230315" y="2990705"/>
                  </a:lnTo>
                  <a:lnTo>
                    <a:pt x="5230221" y="2991740"/>
                  </a:lnTo>
                  <a:lnTo>
                    <a:pt x="5231210" y="2991991"/>
                  </a:lnTo>
                  <a:lnTo>
                    <a:pt x="5231257" y="2993196"/>
                  </a:lnTo>
                  <a:lnTo>
                    <a:pt x="5230879" y="2995452"/>
                  </a:lnTo>
                  <a:lnTo>
                    <a:pt x="5230398" y="2996261"/>
                  </a:lnTo>
                  <a:lnTo>
                    <a:pt x="5229177" y="2997448"/>
                  </a:lnTo>
                  <a:lnTo>
                    <a:pt x="5228840" y="2997966"/>
                  </a:lnTo>
                  <a:lnTo>
                    <a:pt x="5228845" y="2999090"/>
                  </a:lnTo>
                  <a:lnTo>
                    <a:pt x="5230520" y="3007296"/>
                  </a:lnTo>
                  <a:lnTo>
                    <a:pt x="5230455" y="3008050"/>
                  </a:lnTo>
                  <a:lnTo>
                    <a:pt x="5228907" y="3010602"/>
                  </a:lnTo>
                  <a:lnTo>
                    <a:pt x="5228658" y="3011307"/>
                  </a:lnTo>
                  <a:lnTo>
                    <a:pt x="5228838" y="3012061"/>
                  </a:lnTo>
                  <a:lnTo>
                    <a:pt x="5229727" y="3014042"/>
                  </a:lnTo>
                  <a:lnTo>
                    <a:pt x="5229966" y="3015062"/>
                  </a:lnTo>
                  <a:lnTo>
                    <a:pt x="5229866" y="3015809"/>
                  </a:lnTo>
                  <a:lnTo>
                    <a:pt x="5229256" y="3017986"/>
                  </a:lnTo>
                  <a:lnTo>
                    <a:pt x="5228329" y="3019479"/>
                  </a:lnTo>
                  <a:lnTo>
                    <a:pt x="5228481" y="3020433"/>
                  </a:lnTo>
                  <a:lnTo>
                    <a:pt x="5228927" y="3021478"/>
                  </a:lnTo>
                  <a:lnTo>
                    <a:pt x="5229217" y="3022621"/>
                  </a:lnTo>
                  <a:lnTo>
                    <a:pt x="5229002" y="3023521"/>
                  </a:lnTo>
                  <a:lnTo>
                    <a:pt x="5227179" y="3025535"/>
                  </a:lnTo>
                  <a:lnTo>
                    <a:pt x="5226877" y="3026546"/>
                  </a:lnTo>
                  <a:lnTo>
                    <a:pt x="5226774" y="3029588"/>
                  </a:lnTo>
                  <a:lnTo>
                    <a:pt x="5226501" y="3030994"/>
                  </a:lnTo>
                  <a:lnTo>
                    <a:pt x="5226161" y="3031822"/>
                  </a:lnTo>
                  <a:lnTo>
                    <a:pt x="5225632" y="3032400"/>
                  </a:lnTo>
                  <a:lnTo>
                    <a:pt x="5224799" y="3033061"/>
                  </a:lnTo>
                  <a:lnTo>
                    <a:pt x="5224444" y="3033467"/>
                  </a:lnTo>
                  <a:lnTo>
                    <a:pt x="5224026" y="3034359"/>
                  </a:lnTo>
                  <a:lnTo>
                    <a:pt x="5223745" y="3034707"/>
                  </a:lnTo>
                  <a:lnTo>
                    <a:pt x="5223273" y="3034802"/>
                  </a:lnTo>
                  <a:lnTo>
                    <a:pt x="5222187" y="3034398"/>
                  </a:lnTo>
                  <a:lnTo>
                    <a:pt x="5221741" y="3034467"/>
                  </a:lnTo>
                  <a:lnTo>
                    <a:pt x="5218192" y="3036156"/>
                  </a:lnTo>
                  <a:lnTo>
                    <a:pt x="5217047" y="3036324"/>
                  </a:lnTo>
                  <a:lnTo>
                    <a:pt x="5216691" y="3036280"/>
                  </a:lnTo>
                  <a:lnTo>
                    <a:pt x="5216366" y="3035783"/>
                  </a:lnTo>
                  <a:lnTo>
                    <a:pt x="5214081" y="3033359"/>
                  </a:lnTo>
                  <a:lnTo>
                    <a:pt x="5212677" y="3031508"/>
                  </a:lnTo>
                  <a:lnTo>
                    <a:pt x="5211582" y="3029399"/>
                  </a:lnTo>
                  <a:lnTo>
                    <a:pt x="5210860" y="3027160"/>
                  </a:lnTo>
                  <a:lnTo>
                    <a:pt x="5209913" y="3022897"/>
                  </a:lnTo>
                  <a:lnTo>
                    <a:pt x="5209544" y="3021845"/>
                  </a:lnTo>
                  <a:lnTo>
                    <a:pt x="5208553" y="3019717"/>
                  </a:lnTo>
                  <a:lnTo>
                    <a:pt x="5208238" y="3018572"/>
                  </a:lnTo>
                  <a:lnTo>
                    <a:pt x="5208172" y="3013417"/>
                  </a:lnTo>
                  <a:lnTo>
                    <a:pt x="5207900" y="3011383"/>
                  </a:lnTo>
                  <a:lnTo>
                    <a:pt x="5204145" y="2997823"/>
                  </a:lnTo>
                  <a:lnTo>
                    <a:pt x="5203870" y="2995181"/>
                  </a:lnTo>
                  <a:lnTo>
                    <a:pt x="5203569" y="2994125"/>
                  </a:lnTo>
                  <a:lnTo>
                    <a:pt x="5203021" y="2992823"/>
                  </a:lnTo>
                  <a:lnTo>
                    <a:pt x="5202627" y="2991599"/>
                  </a:lnTo>
                  <a:lnTo>
                    <a:pt x="5202786" y="2990819"/>
                  </a:lnTo>
                  <a:lnTo>
                    <a:pt x="5206237" y="2989095"/>
                  </a:lnTo>
                  <a:lnTo>
                    <a:pt x="5207235" y="2987986"/>
                  </a:lnTo>
                  <a:lnTo>
                    <a:pt x="5206098" y="2987925"/>
                  </a:lnTo>
                  <a:lnTo>
                    <a:pt x="5204001" y="2988189"/>
                  </a:lnTo>
                  <a:lnTo>
                    <a:pt x="5202132" y="2988043"/>
                  </a:lnTo>
                  <a:lnTo>
                    <a:pt x="5201144" y="2987493"/>
                  </a:lnTo>
                  <a:lnTo>
                    <a:pt x="5200401" y="2986810"/>
                  </a:lnTo>
                  <a:lnTo>
                    <a:pt x="5199015" y="2984831"/>
                  </a:lnTo>
                  <a:lnTo>
                    <a:pt x="5198382" y="2983444"/>
                  </a:lnTo>
                  <a:lnTo>
                    <a:pt x="5198706" y="2982843"/>
                  </a:lnTo>
                  <a:lnTo>
                    <a:pt x="5199997" y="2982586"/>
                  </a:lnTo>
                  <a:lnTo>
                    <a:pt x="5200233" y="2982644"/>
                  </a:lnTo>
                  <a:lnTo>
                    <a:pt x="5200230" y="2983060"/>
                  </a:lnTo>
                  <a:lnTo>
                    <a:pt x="5200113" y="2983484"/>
                  </a:lnTo>
                  <a:lnTo>
                    <a:pt x="5200050" y="2983567"/>
                  </a:lnTo>
                  <a:lnTo>
                    <a:pt x="5201279" y="2983122"/>
                  </a:lnTo>
                  <a:lnTo>
                    <a:pt x="5202496" y="2981929"/>
                  </a:lnTo>
                  <a:lnTo>
                    <a:pt x="5202976" y="2980454"/>
                  </a:lnTo>
                  <a:lnTo>
                    <a:pt x="5201970" y="2979192"/>
                  </a:lnTo>
                  <a:lnTo>
                    <a:pt x="5202898" y="2976773"/>
                  </a:lnTo>
                  <a:lnTo>
                    <a:pt x="5203018" y="2975502"/>
                  </a:lnTo>
                  <a:lnTo>
                    <a:pt x="5202701" y="2974038"/>
                  </a:lnTo>
                  <a:lnTo>
                    <a:pt x="5201167" y="2975288"/>
                  </a:lnTo>
                  <a:lnTo>
                    <a:pt x="5200373" y="2975567"/>
                  </a:lnTo>
                  <a:lnTo>
                    <a:pt x="5200025" y="2974562"/>
                  </a:lnTo>
                  <a:lnTo>
                    <a:pt x="5199830" y="2971948"/>
                  </a:lnTo>
                  <a:lnTo>
                    <a:pt x="5200095" y="2970034"/>
                  </a:lnTo>
                  <a:lnTo>
                    <a:pt x="5200902" y="2968293"/>
                  </a:lnTo>
                  <a:lnTo>
                    <a:pt x="5202933" y="2965324"/>
                  </a:lnTo>
                  <a:lnTo>
                    <a:pt x="5202514" y="2964709"/>
                  </a:lnTo>
                  <a:lnTo>
                    <a:pt x="5201337" y="2965788"/>
                  </a:lnTo>
                  <a:lnTo>
                    <a:pt x="5200916" y="2965945"/>
                  </a:lnTo>
                  <a:lnTo>
                    <a:pt x="5199806" y="2965754"/>
                  </a:lnTo>
                  <a:lnTo>
                    <a:pt x="5199239" y="2965545"/>
                  </a:lnTo>
                  <a:lnTo>
                    <a:pt x="5199240" y="2965280"/>
                  </a:lnTo>
                  <a:lnTo>
                    <a:pt x="5196930" y="2968881"/>
                  </a:lnTo>
                  <a:lnTo>
                    <a:pt x="5196301" y="2969042"/>
                  </a:lnTo>
                  <a:lnTo>
                    <a:pt x="5195594" y="2968415"/>
                  </a:lnTo>
                  <a:lnTo>
                    <a:pt x="5194872" y="2968134"/>
                  </a:lnTo>
                  <a:lnTo>
                    <a:pt x="5194293" y="2967822"/>
                  </a:lnTo>
                  <a:lnTo>
                    <a:pt x="5194017" y="2967063"/>
                  </a:lnTo>
                  <a:lnTo>
                    <a:pt x="5193979" y="2965406"/>
                  </a:lnTo>
                  <a:lnTo>
                    <a:pt x="5193802" y="2964654"/>
                  </a:lnTo>
                  <a:lnTo>
                    <a:pt x="5193345" y="2963796"/>
                  </a:lnTo>
                  <a:lnTo>
                    <a:pt x="5192791" y="2962212"/>
                  </a:lnTo>
                  <a:lnTo>
                    <a:pt x="5192533" y="2960556"/>
                  </a:lnTo>
                  <a:lnTo>
                    <a:pt x="5192002" y="2959514"/>
                  </a:lnTo>
                  <a:lnTo>
                    <a:pt x="5190605" y="2959766"/>
                  </a:lnTo>
                  <a:lnTo>
                    <a:pt x="5188591" y="2955287"/>
                  </a:lnTo>
                  <a:lnTo>
                    <a:pt x="5187239" y="2953398"/>
                  </a:lnTo>
                  <a:lnTo>
                    <a:pt x="5185549" y="2952339"/>
                  </a:lnTo>
                  <a:lnTo>
                    <a:pt x="5185209" y="2952518"/>
                  </a:lnTo>
                  <a:lnTo>
                    <a:pt x="5185099" y="2953692"/>
                  </a:lnTo>
                  <a:lnTo>
                    <a:pt x="5184769" y="2953880"/>
                  </a:lnTo>
                  <a:lnTo>
                    <a:pt x="5184319" y="2953692"/>
                  </a:lnTo>
                  <a:lnTo>
                    <a:pt x="5183655" y="2953153"/>
                  </a:lnTo>
                  <a:lnTo>
                    <a:pt x="5183130" y="2952882"/>
                  </a:lnTo>
                  <a:lnTo>
                    <a:pt x="5182265" y="2952282"/>
                  </a:lnTo>
                  <a:lnTo>
                    <a:pt x="5181172" y="2951176"/>
                  </a:lnTo>
                  <a:lnTo>
                    <a:pt x="5180218" y="2949906"/>
                  </a:lnTo>
                  <a:lnTo>
                    <a:pt x="5179784" y="2948822"/>
                  </a:lnTo>
                  <a:lnTo>
                    <a:pt x="5178928" y="2948432"/>
                  </a:lnTo>
                  <a:lnTo>
                    <a:pt x="5173809" y="2944013"/>
                  </a:lnTo>
                  <a:lnTo>
                    <a:pt x="5173578" y="2943431"/>
                  </a:lnTo>
                  <a:lnTo>
                    <a:pt x="5173513" y="2942889"/>
                  </a:lnTo>
                  <a:lnTo>
                    <a:pt x="5173341" y="2942418"/>
                  </a:lnTo>
                  <a:lnTo>
                    <a:pt x="5172791" y="2942072"/>
                  </a:lnTo>
                  <a:lnTo>
                    <a:pt x="5172246" y="2942174"/>
                  </a:lnTo>
                  <a:lnTo>
                    <a:pt x="5172045" y="2942714"/>
                  </a:lnTo>
                  <a:lnTo>
                    <a:pt x="5171913" y="2943268"/>
                  </a:lnTo>
                  <a:lnTo>
                    <a:pt x="5171586" y="2943425"/>
                  </a:lnTo>
                  <a:lnTo>
                    <a:pt x="5170363" y="2942759"/>
                  </a:lnTo>
                  <a:lnTo>
                    <a:pt x="5168498" y="2940946"/>
                  </a:lnTo>
                  <a:lnTo>
                    <a:pt x="5167430" y="2940071"/>
                  </a:lnTo>
                  <a:lnTo>
                    <a:pt x="5167026" y="2938506"/>
                  </a:lnTo>
                  <a:lnTo>
                    <a:pt x="5166068" y="2941834"/>
                  </a:lnTo>
                  <a:lnTo>
                    <a:pt x="5165077" y="2942819"/>
                  </a:lnTo>
                  <a:lnTo>
                    <a:pt x="5163434" y="2942207"/>
                  </a:lnTo>
                  <a:lnTo>
                    <a:pt x="5163064" y="2941609"/>
                  </a:lnTo>
                  <a:lnTo>
                    <a:pt x="5163026" y="2940936"/>
                  </a:lnTo>
                  <a:lnTo>
                    <a:pt x="5163174" y="2940421"/>
                  </a:lnTo>
                  <a:lnTo>
                    <a:pt x="5163352" y="2940311"/>
                  </a:lnTo>
                  <a:lnTo>
                    <a:pt x="5162988" y="2939972"/>
                  </a:lnTo>
                  <a:lnTo>
                    <a:pt x="5162178" y="2939368"/>
                  </a:lnTo>
                  <a:lnTo>
                    <a:pt x="5162117" y="2939385"/>
                  </a:lnTo>
                  <a:lnTo>
                    <a:pt x="5161392" y="2938737"/>
                  </a:lnTo>
                  <a:lnTo>
                    <a:pt x="5160745" y="2938448"/>
                  </a:lnTo>
                  <a:lnTo>
                    <a:pt x="5160076" y="2938025"/>
                  </a:lnTo>
                  <a:lnTo>
                    <a:pt x="5159278" y="2936976"/>
                  </a:lnTo>
                  <a:lnTo>
                    <a:pt x="5159413" y="2938579"/>
                  </a:lnTo>
                  <a:lnTo>
                    <a:pt x="5160620" y="2941138"/>
                  </a:lnTo>
                  <a:lnTo>
                    <a:pt x="5160533" y="2942477"/>
                  </a:lnTo>
                  <a:lnTo>
                    <a:pt x="5159637" y="2943193"/>
                  </a:lnTo>
                  <a:lnTo>
                    <a:pt x="5158239" y="2943216"/>
                  </a:lnTo>
                  <a:lnTo>
                    <a:pt x="5155714" y="2942510"/>
                  </a:lnTo>
                  <a:lnTo>
                    <a:pt x="5155295" y="2942184"/>
                  </a:lnTo>
                  <a:lnTo>
                    <a:pt x="5154504" y="2941213"/>
                  </a:lnTo>
                  <a:lnTo>
                    <a:pt x="5154068" y="2940973"/>
                  </a:lnTo>
                  <a:lnTo>
                    <a:pt x="5153384" y="2941017"/>
                  </a:lnTo>
                  <a:lnTo>
                    <a:pt x="5151623" y="2941819"/>
                  </a:lnTo>
                  <a:lnTo>
                    <a:pt x="5146790" y="2942707"/>
                  </a:lnTo>
                  <a:lnTo>
                    <a:pt x="5148492" y="2943556"/>
                  </a:lnTo>
                  <a:lnTo>
                    <a:pt x="5150044" y="2943205"/>
                  </a:lnTo>
                  <a:lnTo>
                    <a:pt x="5151490" y="2942612"/>
                  </a:lnTo>
                  <a:lnTo>
                    <a:pt x="5152891" y="2942720"/>
                  </a:lnTo>
                  <a:lnTo>
                    <a:pt x="5154128" y="2944036"/>
                  </a:lnTo>
                  <a:lnTo>
                    <a:pt x="5155051" y="2945992"/>
                  </a:lnTo>
                  <a:lnTo>
                    <a:pt x="5157227" y="2952626"/>
                  </a:lnTo>
                  <a:lnTo>
                    <a:pt x="5158365" y="2957579"/>
                  </a:lnTo>
                  <a:lnTo>
                    <a:pt x="5158509" y="2961870"/>
                  </a:lnTo>
                  <a:lnTo>
                    <a:pt x="5156536" y="2962991"/>
                  </a:lnTo>
                  <a:lnTo>
                    <a:pt x="5155006" y="2962872"/>
                  </a:lnTo>
                  <a:lnTo>
                    <a:pt x="5155710" y="2964171"/>
                  </a:lnTo>
                  <a:lnTo>
                    <a:pt x="5157973" y="2966478"/>
                  </a:lnTo>
                  <a:lnTo>
                    <a:pt x="5158844" y="2968488"/>
                  </a:lnTo>
                  <a:lnTo>
                    <a:pt x="5159194" y="2972162"/>
                  </a:lnTo>
                  <a:lnTo>
                    <a:pt x="5159686" y="2973611"/>
                  </a:lnTo>
                  <a:lnTo>
                    <a:pt x="5160076" y="2975186"/>
                  </a:lnTo>
                  <a:lnTo>
                    <a:pt x="5160099" y="2979568"/>
                  </a:lnTo>
                  <a:lnTo>
                    <a:pt x="5160976" y="2982839"/>
                  </a:lnTo>
                  <a:lnTo>
                    <a:pt x="5160820" y="2984834"/>
                  </a:lnTo>
                  <a:lnTo>
                    <a:pt x="5160080" y="2987781"/>
                  </a:lnTo>
                  <a:lnTo>
                    <a:pt x="5160527" y="2988185"/>
                  </a:lnTo>
                  <a:lnTo>
                    <a:pt x="5160825" y="2988370"/>
                  </a:lnTo>
                  <a:lnTo>
                    <a:pt x="5161159" y="2988422"/>
                  </a:lnTo>
                  <a:lnTo>
                    <a:pt x="5161716" y="2988405"/>
                  </a:lnTo>
                  <a:lnTo>
                    <a:pt x="5161253" y="2986891"/>
                  </a:lnTo>
                  <a:lnTo>
                    <a:pt x="5162586" y="2987706"/>
                  </a:lnTo>
                  <a:lnTo>
                    <a:pt x="5163756" y="2988734"/>
                  </a:lnTo>
                  <a:lnTo>
                    <a:pt x="5164920" y="2989560"/>
                  </a:lnTo>
                  <a:lnTo>
                    <a:pt x="5166242" y="2989722"/>
                  </a:lnTo>
                  <a:lnTo>
                    <a:pt x="5165471" y="2993148"/>
                  </a:lnTo>
                  <a:lnTo>
                    <a:pt x="5165036" y="2994354"/>
                  </a:lnTo>
                  <a:lnTo>
                    <a:pt x="5164558" y="2992709"/>
                  </a:lnTo>
                  <a:lnTo>
                    <a:pt x="5163932" y="2991674"/>
                  </a:lnTo>
                  <a:lnTo>
                    <a:pt x="5163240" y="2991505"/>
                  </a:lnTo>
                  <a:lnTo>
                    <a:pt x="5162580" y="2992499"/>
                  </a:lnTo>
                  <a:lnTo>
                    <a:pt x="5162467" y="2993738"/>
                  </a:lnTo>
                  <a:lnTo>
                    <a:pt x="5163013" y="2997050"/>
                  </a:lnTo>
                  <a:lnTo>
                    <a:pt x="5163119" y="2998683"/>
                  </a:lnTo>
                  <a:lnTo>
                    <a:pt x="5163798" y="2998708"/>
                  </a:lnTo>
                  <a:lnTo>
                    <a:pt x="5164192" y="2998387"/>
                  </a:lnTo>
                  <a:lnTo>
                    <a:pt x="5164326" y="2997737"/>
                  </a:lnTo>
                  <a:lnTo>
                    <a:pt x="5164246" y="2996815"/>
                  </a:lnTo>
                  <a:lnTo>
                    <a:pt x="5165101" y="2997183"/>
                  </a:lnTo>
                  <a:lnTo>
                    <a:pt x="5164235" y="3000606"/>
                  </a:lnTo>
                  <a:lnTo>
                    <a:pt x="5163654" y="3001798"/>
                  </a:lnTo>
                  <a:lnTo>
                    <a:pt x="5163071" y="3001347"/>
                  </a:lnTo>
                  <a:lnTo>
                    <a:pt x="5161383" y="3005874"/>
                  </a:lnTo>
                  <a:lnTo>
                    <a:pt x="5160234" y="3007675"/>
                  </a:lnTo>
                  <a:lnTo>
                    <a:pt x="5158641" y="3006634"/>
                  </a:lnTo>
                  <a:lnTo>
                    <a:pt x="5158467" y="3005653"/>
                  </a:lnTo>
                  <a:lnTo>
                    <a:pt x="5159417" y="3002328"/>
                  </a:lnTo>
                  <a:lnTo>
                    <a:pt x="5157924" y="2981747"/>
                  </a:lnTo>
                  <a:lnTo>
                    <a:pt x="5156659" y="2976418"/>
                  </a:lnTo>
                  <a:lnTo>
                    <a:pt x="5156277" y="2976274"/>
                  </a:lnTo>
                  <a:lnTo>
                    <a:pt x="5155845" y="2976018"/>
                  </a:lnTo>
                  <a:lnTo>
                    <a:pt x="5155801" y="2978134"/>
                  </a:lnTo>
                  <a:lnTo>
                    <a:pt x="5156207" y="2983870"/>
                  </a:lnTo>
                  <a:lnTo>
                    <a:pt x="5155502" y="2987015"/>
                  </a:lnTo>
                  <a:lnTo>
                    <a:pt x="5156928" y="2994446"/>
                  </a:lnTo>
                  <a:lnTo>
                    <a:pt x="5156941" y="3002336"/>
                  </a:lnTo>
                  <a:lnTo>
                    <a:pt x="5155269" y="3006971"/>
                  </a:lnTo>
                  <a:lnTo>
                    <a:pt x="5155358" y="3008177"/>
                  </a:lnTo>
                  <a:lnTo>
                    <a:pt x="5154637" y="3008077"/>
                  </a:lnTo>
                  <a:lnTo>
                    <a:pt x="5154085" y="3007823"/>
                  </a:lnTo>
                  <a:lnTo>
                    <a:pt x="5153573" y="3007279"/>
                  </a:lnTo>
                  <a:lnTo>
                    <a:pt x="5152980" y="3006331"/>
                  </a:lnTo>
                  <a:lnTo>
                    <a:pt x="5152567" y="3007206"/>
                  </a:lnTo>
                  <a:lnTo>
                    <a:pt x="5152378" y="3008161"/>
                  </a:lnTo>
                  <a:lnTo>
                    <a:pt x="5152383" y="3009186"/>
                  </a:lnTo>
                  <a:lnTo>
                    <a:pt x="5152528" y="3010304"/>
                  </a:lnTo>
                  <a:lnTo>
                    <a:pt x="5153080" y="3010287"/>
                  </a:lnTo>
                  <a:lnTo>
                    <a:pt x="5153414" y="3010446"/>
                  </a:lnTo>
                  <a:lnTo>
                    <a:pt x="5153728" y="3010708"/>
                  </a:lnTo>
                  <a:lnTo>
                    <a:pt x="5154193" y="3010994"/>
                  </a:lnTo>
                  <a:lnTo>
                    <a:pt x="5153789" y="3012044"/>
                  </a:lnTo>
                  <a:lnTo>
                    <a:pt x="5153132" y="3012548"/>
                  </a:lnTo>
                  <a:lnTo>
                    <a:pt x="5152275" y="3012329"/>
                  </a:lnTo>
                  <a:lnTo>
                    <a:pt x="5151312" y="3011218"/>
                  </a:lnTo>
                  <a:lnTo>
                    <a:pt x="5151026" y="3012571"/>
                  </a:lnTo>
                  <a:lnTo>
                    <a:pt x="5150495" y="3013599"/>
                  </a:lnTo>
                  <a:lnTo>
                    <a:pt x="5149652" y="3013723"/>
                  </a:lnTo>
                  <a:lnTo>
                    <a:pt x="5148435" y="3012364"/>
                  </a:lnTo>
                  <a:lnTo>
                    <a:pt x="5147713" y="3014314"/>
                  </a:lnTo>
                  <a:lnTo>
                    <a:pt x="5147205" y="3015158"/>
                  </a:lnTo>
                  <a:lnTo>
                    <a:pt x="5146417" y="3015814"/>
                  </a:lnTo>
                  <a:lnTo>
                    <a:pt x="5146459" y="3012337"/>
                  </a:lnTo>
                  <a:lnTo>
                    <a:pt x="5146080" y="3010323"/>
                  </a:lnTo>
                  <a:lnTo>
                    <a:pt x="5145197" y="3009305"/>
                  </a:lnTo>
                  <a:lnTo>
                    <a:pt x="5144392" y="3009997"/>
                  </a:lnTo>
                  <a:lnTo>
                    <a:pt x="5144576" y="3011946"/>
                  </a:lnTo>
                  <a:lnTo>
                    <a:pt x="5145637" y="3015470"/>
                  </a:lnTo>
                  <a:lnTo>
                    <a:pt x="5144395" y="3015224"/>
                  </a:lnTo>
                  <a:lnTo>
                    <a:pt x="5143622" y="3014042"/>
                  </a:lnTo>
                  <a:lnTo>
                    <a:pt x="5143231" y="3012418"/>
                  </a:lnTo>
                  <a:lnTo>
                    <a:pt x="5143136" y="3010849"/>
                  </a:lnTo>
                  <a:lnTo>
                    <a:pt x="5142459" y="3011952"/>
                  </a:lnTo>
                  <a:lnTo>
                    <a:pt x="5142502" y="3013477"/>
                  </a:lnTo>
                  <a:lnTo>
                    <a:pt x="5143162" y="3016807"/>
                  </a:lnTo>
                  <a:lnTo>
                    <a:pt x="5143111" y="3018596"/>
                  </a:lnTo>
                  <a:lnTo>
                    <a:pt x="5142481" y="3021814"/>
                  </a:lnTo>
                  <a:lnTo>
                    <a:pt x="5142369" y="3023458"/>
                  </a:lnTo>
                  <a:lnTo>
                    <a:pt x="5142642" y="3024351"/>
                  </a:lnTo>
                  <a:lnTo>
                    <a:pt x="5143144" y="3025030"/>
                  </a:lnTo>
                  <a:lnTo>
                    <a:pt x="5143509" y="3025800"/>
                  </a:lnTo>
                  <a:lnTo>
                    <a:pt x="5143395" y="3026943"/>
                  </a:lnTo>
                  <a:lnTo>
                    <a:pt x="5142663" y="3029555"/>
                  </a:lnTo>
                  <a:lnTo>
                    <a:pt x="5142198" y="3030150"/>
                  </a:lnTo>
                  <a:lnTo>
                    <a:pt x="5141774" y="3031303"/>
                  </a:lnTo>
                  <a:lnTo>
                    <a:pt x="5141719" y="3033282"/>
                  </a:lnTo>
                  <a:lnTo>
                    <a:pt x="5141976" y="3036781"/>
                  </a:lnTo>
                  <a:lnTo>
                    <a:pt x="5142442" y="3039271"/>
                  </a:lnTo>
                  <a:lnTo>
                    <a:pt x="5143207" y="3039545"/>
                  </a:lnTo>
                  <a:lnTo>
                    <a:pt x="5144234" y="3039293"/>
                  </a:lnTo>
                  <a:lnTo>
                    <a:pt x="5145495" y="3040212"/>
                  </a:lnTo>
                  <a:lnTo>
                    <a:pt x="5145830" y="3041252"/>
                  </a:lnTo>
                  <a:lnTo>
                    <a:pt x="5145950" y="3042776"/>
                  </a:lnTo>
                  <a:lnTo>
                    <a:pt x="5145789" y="3044320"/>
                  </a:lnTo>
                  <a:lnTo>
                    <a:pt x="5145299" y="3045477"/>
                  </a:lnTo>
                  <a:lnTo>
                    <a:pt x="5144076" y="3046274"/>
                  </a:lnTo>
                  <a:lnTo>
                    <a:pt x="5143437" y="3045241"/>
                  </a:lnTo>
                  <a:lnTo>
                    <a:pt x="5142805" y="3043525"/>
                  </a:lnTo>
                  <a:lnTo>
                    <a:pt x="5141585" y="3042202"/>
                  </a:lnTo>
                  <a:lnTo>
                    <a:pt x="5140292" y="3042418"/>
                  </a:lnTo>
                  <a:lnTo>
                    <a:pt x="5139677" y="3044012"/>
                  </a:lnTo>
                  <a:lnTo>
                    <a:pt x="5139525" y="3046120"/>
                  </a:lnTo>
                  <a:lnTo>
                    <a:pt x="5139587" y="3047873"/>
                  </a:lnTo>
                  <a:lnTo>
                    <a:pt x="5141787" y="3045969"/>
                  </a:lnTo>
                  <a:lnTo>
                    <a:pt x="5142410" y="3045782"/>
                  </a:lnTo>
                  <a:lnTo>
                    <a:pt x="5143414" y="3046478"/>
                  </a:lnTo>
                  <a:lnTo>
                    <a:pt x="5143942" y="3047518"/>
                  </a:lnTo>
                  <a:lnTo>
                    <a:pt x="5144314" y="3048628"/>
                  </a:lnTo>
                  <a:lnTo>
                    <a:pt x="5144847" y="3049509"/>
                  </a:lnTo>
                  <a:lnTo>
                    <a:pt x="5147891" y="3051829"/>
                  </a:lnTo>
                  <a:lnTo>
                    <a:pt x="5148546" y="3053230"/>
                  </a:lnTo>
                  <a:lnTo>
                    <a:pt x="5146836" y="3054414"/>
                  </a:lnTo>
                  <a:lnTo>
                    <a:pt x="5147248" y="3054747"/>
                  </a:lnTo>
                  <a:lnTo>
                    <a:pt x="5148168" y="3055721"/>
                  </a:lnTo>
                  <a:lnTo>
                    <a:pt x="5148578" y="3056060"/>
                  </a:lnTo>
                  <a:lnTo>
                    <a:pt x="5146923" y="3058946"/>
                  </a:lnTo>
                  <a:lnTo>
                    <a:pt x="5146826" y="3060359"/>
                  </a:lnTo>
                  <a:lnTo>
                    <a:pt x="5147879" y="3062530"/>
                  </a:lnTo>
                  <a:lnTo>
                    <a:pt x="5147816" y="3063012"/>
                  </a:lnTo>
                  <a:lnTo>
                    <a:pt x="5147051" y="3063110"/>
                  </a:lnTo>
                  <a:lnTo>
                    <a:pt x="5146128" y="3062995"/>
                  </a:lnTo>
                  <a:lnTo>
                    <a:pt x="5145574" y="3062812"/>
                  </a:lnTo>
                  <a:lnTo>
                    <a:pt x="5144910" y="3061853"/>
                  </a:lnTo>
                  <a:lnTo>
                    <a:pt x="5143950" y="3059419"/>
                  </a:lnTo>
                  <a:lnTo>
                    <a:pt x="5143552" y="3058774"/>
                  </a:lnTo>
                  <a:lnTo>
                    <a:pt x="5142580" y="3058454"/>
                  </a:lnTo>
                  <a:lnTo>
                    <a:pt x="5142094" y="3058868"/>
                  </a:lnTo>
                  <a:lnTo>
                    <a:pt x="5141933" y="3059656"/>
                  </a:lnTo>
                  <a:lnTo>
                    <a:pt x="5141944" y="3060456"/>
                  </a:lnTo>
                  <a:lnTo>
                    <a:pt x="5142363" y="3061200"/>
                  </a:lnTo>
                  <a:lnTo>
                    <a:pt x="5144280" y="3062933"/>
                  </a:lnTo>
                  <a:lnTo>
                    <a:pt x="5145013" y="3063725"/>
                  </a:lnTo>
                  <a:lnTo>
                    <a:pt x="5146195" y="3065818"/>
                  </a:lnTo>
                  <a:lnTo>
                    <a:pt x="5146978" y="3067958"/>
                  </a:lnTo>
                  <a:lnTo>
                    <a:pt x="5147120" y="3069929"/>
                  </a:lnTo>
                  <a:lnTo>
                    <a:pt x="5146378" y="3071514"/>
                  </a:lnTo>
                  <a:lnTo>
                    <a:pt x="5147837" y="3073303"/>
                  </a:lnTo>
                  <a:lnTo>
                    <a:pt x="5147582" y="3075835"/>
                  </a:lnTo>
                  <a:lnTo>
                    <a:pt x="5146339" y="3078324"/>
                  </a:lnTo>
                  <a:lnTo>
                    <a:pt x="5144854" y="3079992"/>
                  </a:lnTo>
                  <a:lnTo>
                    <a:pt x="5141501" y="3081519"/>
                  </a:lnTo>
                  <a:lnTo>
                    <a:pt x="5140966" y="3082015"/>
                  </a:lnTo>
                  <a:lnTo>
                    <a:pt x="5141748" y="3083173"/>
                  </a:lnTo>
                  <a:lnTo>
                    <a:pt x="5143010" y="3083830"/>
                  </a:lnTo>
                  <a:lnTo>
                    <a:pt x="5143666" y="3084664"/>
                  </a:lnTo>
                  <a:lnTo>
                    <a:pt x="5142599" y="3086333"/>
                  </a:lnTo>
                  <a:lnTo>
                    <a:pt x="5140590" y="3088009"/>
                  </a:lnTo>
                  <a:lnTo>
                    <a:pt x="5137919" y="3088661"/>
                  </a:lnTo>
                  <a:lnTo>
                    <a:pt x="5135415" y="3087636"/>
                  </a:lnTo>
                  <a:lnTo>
                    <a:pt x="5133911" y="3084260"/>
                  </a:lnTo>
                  <a:lnTo>
                    <a:pt x="5131960" y="3087223"/>
                  </a:lnTo>
                  <a:lnTo>
                    <a:pt x="5130914" y="3087676"/>
                  </a:lnTo>
                  <a:lnTo>
                    <a:pt x="5129389" y="3085814"/>
                  </a:lnTo>
                  <a:lnTo>
                    <a:pt x="5129453" y="3086970"/>
                  </a:lnTo>
                  <a:lnTo>
                    <a:pt x="5129887" y="3087923"/>
                  </a:lnTo>
                  <a:lnTo>
                    <a:pt x="5130381" y="3088770"/>
                  </a:lnTo>
                  <a:lnTo>
                    <a:pt x="5130613" y="3089591"/>
                  </a:lnTo>
                  <a:lnTo>
                    <a:pt x="5130495" y="3090770"/>
                  </a:lnTo>
                  <a:lnTo>
                    <a:pt x="5130217" y="3090792"/>
                  </a:lnTo>
                  <a:lnTo>
                    <a:pt x="5129831" y="3090446"/>
                  </a:lnTo>
                  <a:lnTo>
                    <a:pt x="5129374" y="3090494"/>
                  </a:lnTo>
                  <a:lnTo>
                    <a:pt x="5128611" y="3091247"/>
                  </a:lnTo>
                  <a:lnTo>
                    <a:pt x="5128354" y="3091642"/>
                  </a:lnTo>
                  <a:lnTo>
                    <a:pt x="5128083" y="3092266"/>
                  </a:lnTo>
                  <a:lnTo>
                    <a:pt x="5127891" y="3093078"/>
                  </a:lnTo>
                  <a:lnTo>
                    <a:pt x="5127634" y="3095346"/>
                  </a:lnTo>
                  <a:lnTo>
                    <a:pt x="5126484" y="3098127"/>
                  </a:lnTo>
                  <a:lnTo>
                    <a:pt x="5125636" y="3099404"/>
                  </a:lnTo>
                  <a:lnTo>
                    <a:pt x="5124698" y="3100233"/>
                  </a:lnTo>
                  <a:lnTo>
                    <a:pt x="5122228" y="3100802"/>
                  </a:lnTo>
                  <a:lnTo>
                    <a:pt x="5121588" y="3101496"/>
                  </a:lnTo>
                  <a:lnTo>
                    <a:pt x="5121820" y="3103318"/>
                  </a:lnTo>
                  <a:lnTo>
                    <a:pt x="5120448" y="3103031"/>
                  </a:lnTo>
                  <a:lnTo>
                    <a:pt x="5118756" y="3103738"/>
                  </a:lnTo>
                  <a:lnTo>
                    <a:pt x="5115781" y="3105857"/>
                  </a:lnTo>
                  <a:lnTo>
                    <a:pt x="5114055" y="3106717"/>
                  </a:lnTo>
                  <a:lnTo>
                    <a:pt x="5109743" y="3107698"/>
                  </a:lnTo>
                  <a:lnTo>
                    <a:pt x="5106090" y="3107993"/>
                  </a:lnTo>
                  <a:lnTo>
                    <a:pt x="5104259" y="3107596"/>
                  </a:lnTo>
                  <a:lnTo>
                    <a:pt x="5102592" y="3106810"/>
                  </a:lnTo>
                  <a:lnTo>
                    <a:pt x="5101410" y="3105663"/>
                  </a:lnTo>
                  <a:lnTo>
                    <a:pt x="5100439" y="3103232"/>
                  </a:lnTo>
                  <a:lnTo>
                    <a:pt x="5100328" y="3100831"/>
                  </a:lnTo>
                  <a:lnTo>
                    <a:pt x="5100938" y="3096375"/>
                  </a:lnTo>
                  <a:lnTo>
                    <a:pt x="5100773" y="3091134"/>
                  </a:lnTo>
                  <a:lnTo>
                    <a:pt x="5100996" y="3088810"/>
                  </a:lnTo>
                  <a:lnTo>
                    <a:pt x="5102050" y="3087182"/>
                  </a:lnTo>
                  <a:lnTo>
                    <a:pt x="5103351" y="3085795"/>
                  </a:lnTo>
                  <a:lnTo>
                    <a:pt x="5104700" y="3082582"/>
                  </a:lnTo>
                  <a:lnTo>
                    <a:pt x="5105624" y="3081013"/>
                  </a:lnTo>
                  <a:lnTo>
                    <a:pt x="5107103" y="3080131"/>
                  </a:lnTo>
                  <a:lnTo>
                    <a:pt x="5111007" y="3078875"/>
                  </a:lnTo>
                  <a:lnTo>
                    <a:pt x="5111847" y="3077872"/>
                  </a:lnTo>
                  <a:lnTo>
                    <a:pt x="5112410" y="3076348"/>
                  </a:lnTo>
                  <a:lnTo>
                    <a:pt x="5116007" y="3072548"/>
                  </a:lnTo>
                  <a:lnTo>
                    <a:pt x="5118455" y="3068262"/>
                  </a:lnTo>
                  <a:lnTo>
                    <a:pt x="5119962" y="3066909"/>
                  </a:lnTo>
                  <a:lnTo>
                    <a:pt x="5120260" y="3066066"/>
                  </a:lnTo>
                  <a:lnTo>
                    <a:pt x="5120241" y="3064635"/>
                  </a:lnTo>
                  <a:lnTo>
                    <a:pt x="5119982" y="3063143"/>
                  </a:lnTo>
                  <a:lnTo>
                    <a:pt x="5119611" y="3062117"/>
                  </a:lnTo>
                  <a:lnTo>
                    <a:pt x="5119392" y="3061237"/>
                  </a:lnTo>
                  <a:lnTo>
                    <a:pt x="5119742" y="3060487"/>
                  </a:lnTo>
                  <a:lnTo>
                    <a:pt x="5120278" y="3059771"/>
                  </a:lnTo>
                  <a:lnTo>
                    <a:pt x="5120617" y="3058998"/>
                  </a:lnTo>
                  <a:lnTo>
                    <a:pt x="5121085" y="3054971"/>
                  </a:lnTo>
                  <a:lnTo>
                    <a:pt x="5122138" y="3052751"/>
                  </a:lnTo>
                  <a:lnTo>
                    <a:pt x="5122720" y="3049905"/>
                  </a:lnTo>
                  <a:lnTo>
                    <a:pt x="5123419" y="3048155"/>
                  </a:lnTo>
                  <a:lnTo>
                    <a:pt x="5123882" y="3046251"/>
                  </a:lnTo>
                  <a:lnTo>
                    <a:pt x="5123590" y="3043930"/>
                  </a:lnTo>
                  <a:lnTo>
                    <a:pt x="5123108" y="3042979"/>
                  </a:lnTo>
                  <a:lnTo>
                    <a:pt x="5121701" y="3041072"/>
                  </a:lnTo>
                  <a:lnTo>
                    <a:pt x="5121119" y="3040134"/>
                  </a:lnTo>
                  <a:lnTo>
                    <a:pt x="5120706" y="3038929"/>
                  </a:lnTo>
                  <a:lnTo>
                    <a:pt x="5120164" y="3036341"/>
                  </a:lnTo>
                  <a:lnTo>
                    <a:pt x="5119672" y="3035221"/>
                  </a:lnTo>
                  <a:lnTo>
                    <a:pt x="5118444" y="3032913"/>
                  </a:lnTo>
                  <a:lnTo>
                    <a:pt x="5118090" y="3031114"/>
                  </a:lnTo>
                  <a:lnTo>
                    <a:pt x="5119428" y="3023519"/>
                  </a:lnTo>
                  <a:lnTo>
                    <a:pt x="5120162" y="3021899"/>
                  </a:lnTo>
                  <a:lnTo>
                    <a:pt x="5121940" y="3019855"/>
                  </a:lnTo>
                  <a:lnTo>
                    <a:pt x="5122524" y="3018102"/>
                  </a:lnTo>
                  <a:lnTo>
                    <a:pt x="5123163" y="3017320"/>
                  </a:lnTo>
                  <a:lnTo>
                    <a:pt x="5125385" y="3015830"/>
                  </a:lnTo>
                  <a:lnTo>
                    <a:pt x="5126004" y="3015210"/>
                  </a:lnTo>
                  <a:lnTo>
                    <a:pt x="5126686" y="3014119"/>
                  </a:lnTo>
                  <a:lnTo>
                    <a:pt x="5127761" y="3011716"/>
                  </a:lnTo>
                  <a:lnTo>
                    <a:pt x="5128471" y="3010609"/>
                  </a:lnTo>
                  <a:lnTo>
                    <a:pt x="5130290" y="3009254"/>
                  </a:lnTo>
                  <a:lnTo>
                    <a:pt x="5130468" y="3008542"/>
                  </a:lnTo>
                  <a:lnTo>
                    <a:pt x="5129156" y="3006972"/>
                  </a:lnTo>
                  <a:lnTo>
                    <a:pt x="5129445" y="3006177"/>
                  </a:lnTo>
                  <a:lnTo>
                    <a:pt x="5131502" y="3004642"/>
                  </a:lnTo>
                  <a:lnTo>
                    <a:pt x="5132211" y="3003737"/>
                  </a:lnTo>
                  <a:lnTo>
                    <a:pt x="5133098" y="2999839"/>
                  </a:lnTo>
                  <a:lnTo>
                    <a:pt x="5133035" y="2998406"/>
                  </a:lnTo>
                  <a:lnTo>
                    <a:pt x="5132086" y="2996802"/>
                  </a:lnTo>
                  <a:lnTo>
                    <a:pt x="5131810" y="2998997"/>
                  </a:lnTo>
                  <a:lnTo>
                    <a:pt x="5131441" y="2999488"/>
                  </a:lnTo>
                  <a:lnTo>
                    <a:pt x="5130443" y="2998959"/>
                  </a:lnTo>
                  <a:lnTo>
                    <a:pt x="5130611" y="2997934"/>
                  </a:lnTo>
                  <a:lnTo>
                    <a:pt x="5130377" y="2995557"/>
                  </a:lnTo>
                  <a:lnTo>
                    <a:pt x="5130407" y="2994265"/>
                  </a:lnTo>
                  <a:lnTo>
                    <a:pt x="5130675" y="2993235"/>
                  </a:lnTo>
                  <a:lnTo>
                    <a:pt x="5132548" y="2989328"/>
                  </a:lnTo>
                  <a:lnTo>
                    <a:pt x="5133872" y="2987605"/>
                  </a:lnTo>
                  <a:lnTo>
                    <a:pt x="5134402" y="2986637"/>
                  </a:lnTo>
                  <a:lnTo>
                    <a:pt x="5134669" y="2984782"/>
                  </a:lnTo>
                  <a:lnTo>
                    <a:pt x="5134944" y="2983773"/>
                  </a:lnTo>
                  <a:lnTo>
                    <a:pt x="5135579" y="2982964"/>
                  </a:lnTo>
                  <a:lnTo>
                    <a:pt x="5134110" y="2983470"/>
                  </a:lnTo>
                  <a:lnTo>
                    <a:pt x="5132337" y="2985412"/>
                  </a:lnTo>
                  <a:lnTo>
                    <a:pt x="5131156" y="2986287"/>
                  </a:lnTo>
                  <a:lnTo>
                    <a:pt x="5130770" y="2984795"/>
                  </a:lnTo>
                  <a:lnTo>
                    <a:pt x="5129625" y="2990983"/>
                  </a:lnTo>
                  <a:lnTo>
                    <a:pt x="5127178" y="2996248"/>
                  </a:lnTo>
                  <a:lnTo>
                    <a:pt x="5123812" y="3000598"/>
                  </a:lnTo>
                  <a:lnTo>
                    <a:pt x="5117897" y="3006124"/>
                  </a:lnTo>
                  <a:lnTo>
                    <a:pt x="5116669" y="3006446"/>
                  </a:lnTo>
                  <a:lnTo>
                    <a:pt x="5116207" y="3004432"/>
                  </a:lnTo>
                  <a:lnTo>
                    <a:pt x="5116618" y="3000926"/>
                  </a:lnTo>
                  <a:lnTo>
                    <a:pt x="5116580" y="2998943"/>
                  </a:lnTo>
                  <a:lnTo>
                    <a:pt x="5115957" y="2997180"/>
                  </a:lnTo>
                  <a:lnTo>
                    <a:pt x="5115633" y="2995877"/>
                  </a:lnTo>
                  <a:lnTo>
                    <a:pt x="5115749" y="2986855"/>
                  </a:lnTo>
                  <a:lnTo>
                    <a:pt x="5115355" y="2984887"/>
                  </a:lnTo>
                  <a:lnTo>
                    <a:pt x="5114442" y="2982952"/>
                  </a:lnTo>
                  <a:lnTo>
                    <a:pt x="5113963" y="2988264"/>
                  </a:lnTo>
                  <a:lnTo>
                    <a:pt x="5115029" y="2999986"/>
                  </a:lnTo>
                  <a:lnTo>
                    <a:pt x="5114604" y="3005198"/>
                  </a:lnTo>
                  <a:lnTo>
                    <a:pt x="5116353" y="3006824"/>
                  </a:lnTo>
                  <a:lnTo>
                    <a:pt x="5116452" y="3008810"/>
                  </a:lnTo>
                  <a:lnTo>
                    <a:pt x="5115222" y="3009976"/>
                  </a:lnTo>
                  <a:lnTo>
                    <a:pt x="5112996" y="3009164"/>
                  </a:lnTo>
                  <a:lnTo>
                    <a:pt x="5112312" y="3008070"/>
                  </a:lnTo>
                  <a:lnTo>
                    <a:pt x="5111544" y="3006179"/>
                  </a:lnTo>
                  <a:lnTo>
                    <a:pt x="5110507" y="3002615"/>
                  </a:lnTo>
                  <a:lnTo>
                    <a:pt x="5110296" y="3004500"/>
                  </a:lnTo>
                  <a:lnTo>
                    <a:pt x="5109572" y="3006545"/>
                  </a:lnTo>
                  <a:lnTo>
                    <a:pt x="5108292" y="3007959"/>
                  </a:lnTo>
                  <a:lnTo>
                    <a:pt x="5104924" y="3007914"/>
                  </a:lnTo>
                  <a:lnTo>
                    <a:pt x="5103072" y="3008584"/>
                  </a:lnTo>
                  <a:lnTo>
                    <a:pt x="5099905" y="3010453"/>
                  </a:lnTo>
                  <a:lnTo>
                    <a:pt x="5099567" y="3010505"/>
                  </a:lnTo>
                  <a:lnTo>
                    <a:pt x="5099131" y="3010430"/>
                  </a:lnTo>
                  <a:lnTo>
                    <a:pt x="5098684" y="3010435"/>
                  </a:lnTo>
                  <a:lnTo>
                    <a:pt x="5098285" y="3010723"/>
                  </a:lnTo>
                  <a:lnTo>
                    <a:pt x="5098339" y="3011002"/>
                  </a:lnTo>
                  <a:lnTo>
                    <a:pt x="5098511" y="3011518"/>
                  </a:lnTo>
                  <a:lnTo>
                    <a:pt x="5098592" y="3012113"/>
                  </a:lnTo>
                  <a:lnTo>
                    <a:pt x="5098357" y="3012593"/>
                  </a:lnTo>
                  <a:lnTo>
                    <a:pt x="5097291" y="3013685"/>
                  </a:lnTo>
                  <a:lnTo>
                    <a:pt x="5097035" y="3013456"/>
                  </a:lnTo>
                  <a:lnTo>
                    <a:pt x="5096454" y="3012533"/>
                  </a:lnTo>
                  <a:lnTo>
                    <a:pt x="5095988" y="3012090"/>
                  </a:lnTo>
                  <a:lnTo>
                    <a:pt x="5095541" y="3012041"/>
                  </a:lnTo>
                  <a:lnTo>
                    <a:pt x="5095151" y="3012080"/>
                  </a:lnTo>
                  <a:lnTo>
                    <a:pt x="5094851" y="3011905"/>
                  </a:lnTo>
                  <a:lnTo>
                    <a:pt x="5094566" y="3011324"/>
                  </a:lnTo>
                  <a:lnTo>
                    <a:pt x="5094520" y="3010935"/>
                  </a:lnTo>
                  <a:lnTo>
                    <a:pt x="5094541" y="3010650"/>
                  </a:lnTo>
                  <a:lnTo>
                    <a:pt x="5094445" y="3010359"/>
                  </a:lnTo>
                  <a:lnTo>
                    <a:pt x="5094444" y="3009552"/>
                  </a:lnTo>
                  <a:lnTo>
                    <a:pt x="5094753" y="3008612"/>
                  </a:lnTo>
                  <a:lnTo>
                    <a:pt x="5094653" y="3007928"/>
                  </a:lnTo>
                  <a:lnTo>
                    <a:pt x="5093409" y="3007860"/>
                  </a:lnTo>
                  <a:lnTo>
                    <a:pt x="5093336" y="3007387"/>
                  </a:lnTo>
                  <a:lnTo>
                    <a:pt x="5093043" y="3006284"/>
                  </a:lnTo>
                  <a:lnTo>
                    <a:pt x="5092471" y="3006722"/>
                  </a:lnTo>
                  <a:lnTo>
                    <a:pt x="5092068" y="3007348"/>
                  </a:lnTo>
                  <a:lnTo>
                    <a:pt x="5091844" y="3008122"/>
                  </a:lnTo>
                  <a:lnTo>
                    <a:pt x="5091791" y="3009050"/>
                  </a:lnTo>
                  <a:lnTo>
                    <a:pt x="5092258" y="3009130"/>
                  </a:lnTo>
                  <a:lnTo>
                    <a:pt x="5092872" y="3009524"/>
                  </a:lnTo>
                  <a:lnTo>
                    <a:pt x="5093452" y="3009756"/>
                  </a:lnTo>
                  <a:lnTo>
                    <a:pt x="5093336" y="3010220"/>
                  </a:lnTo>
                  <a:lnTo>
                    <a:pt x="5093022" y="3010994"/>
                  </a:lnTo>
                  <a:lnTo>
                    <a:pt x="5092562" y="3011529"/>
                  </a:lnTo>
                  <a:lnTo>
                    <a:pt x="5092036" y="3011258"/>
                  </a:lnTo>
                  <a:lnTo>
                    <a:pt x="5091200" y="3010555"/>
                  </a:lnTo>
                  <a:lnTo>
                    <a:pt x="5090231" y="3010328"/>
                  </a:lnTo>
                  <a:lnTo>
                    <a:pt x="5089547" y="3010550"/>
                  </a:lnTo>
                  <a:lnTo>
                    <a:pt x="5089581" y="3011173"/>
                  </a:lnTo>
                  <a:lnTo>
                    <a:pt x="5091618" y="3013952"/>
                  </a:lnTo>
                  <a:lnTo>
                    <a:pt x="5092088" y="3015005"/>
                  </a:lnTo>
                  <a:lnTo>
                    <a:pt x="5092234" y="3016593"/>
                  </a:lnTo>
                  <a:lnTo>
                    <a:pt x="5092078" y="3019411"/>
                  </a:lnTo>
                  <a:lnTo>
                    <a:pt x="5092494" y="3020877"/>
                  </a:lnTo>
                  <a:lnTo>
                    <a:pt x="5093777" y="3021401"/>
                  </a:lnTo>
                  <a:lnTo>
                    <a:pt x="5094365" y="3020542"/>
                  </a:lnTo>
                  <a:lnTo>
                    <a:pt x="5094504" y="3019008"/>
                  </a:lnTo>
                  <a:lnTo>
                    <a:pt x="5095210" y="3017980"/>
                  </a:lnTo>
                  <a:lnTo>
                    <a:pt x="5097506" y="3018664"/>
                  </a:lnTo>
                  <a:lnTo>
                    <a:pt x="5096970" y="3021921"/>
                  </a:lnTo>
                  <a:lnTo>
                    <a:pt x="5097097" y="3022733"/>
                  </a:lnTo>
                  <a:lnTo>
                    <a:pt x="5097613" y="3022777"/>
                  </a:lnTo>
                  <a:lnTo>
                    <a:pt x="5099092" y="3020264"/>
                  </a:lnTo>
                  <a:lnTo>
                    <a:pt x="5099534" y="3020944"/>
                  </a:lnTo>
                  <a:lnTo>
                    <a:pt x="5099189" y="3021916"/>
                  </a:lnTo>
                  <a:lnTo>
                    <a:pt x="5099467" y="3022337"/>
                  </a:lnTo>
                  <a:lnTo>
                    <a:pt x="5099989" y="3022584"/>
                  </a:lnTo>
                  <a:lnTo>
                    <a:pt x="5100381" y="3023082"/>
                  </a:lnTo>
                  <a:lnTo>
                    <a:pt x="5101108" y="3027144"/>
                  </a:lnTo>
                  <a:lnTo>
                    <a:pt x="5102832" y="3027601"/>
                  </a:lnTo>
                  <a:lnTo>
                    <a:pt x="5103694" y="3029568"/>
                  </a:lnTo>
                  <a:lnTo>
                    <a:pt x="5103896" y="3031954"/>
                  </a:lnTo>
                  <a:lnTo>
                    <a:pt x="5103640" y="3033660"/>
                  </a:lnTo>
                  <a:lnTo>
                    <a:pt x="5102624" y="3035211"/>
                  </a:lnTo>
                  <a:lnTo>
                    <a:pt x="5099079" y="3037915"/>
                  </a:lnTo>
                  <a:lnTo>
                    <a:pt x="5099048" y="3038322"/>
                  </a:lnTo>
                  <a:lnTo>
                    <a:pt x="5098206" y="3041220"/>
                  </a:lnTo>
                  <a:lnTo>
                    <a:pt x="5098374" y="3042444"/>
                  </a:lnTo>
                  <a:lnTo>
                    <a:pt x="5099082" y="3045305"/>
                  </a:lnTo>
                  <a:lnTo>
                    <a:pt x="5099067" y="3046273"/>
                  </a:lnTo>
                  <a:lnTo>
                    <a:pt x="5098291" y="3047272"/>
                  </a:lnTo>
                  <a:lnTo>
                    <a:pt x="5097693" y="3046750"/>
                  </a:lnTo>
                  <a:lnTo>
                    <a:pt x="5097002" y="3044940"/>
                  </a:lnTo>
                  <a:lnTo>
                    <a:pt x="5095835" y="3043739"/>
                  </a:lnTo>
                  <a:lnTo>
                    <a:pt x="5095544" y="3043048"/>
                  </a:lnTo>
                  <a:lnTo>
                    <a:pt x="5095802" y="3042150"/>
                  </a:lnTo>
                  <a:lnTo>
                    <a:pt x="5095398" y="3041525"/>
                  </a:lnTo>
                  <a:lnTo>
                    <a:pt x="5094258" y="3042722"/>
                  </a:lnTo>
                  <a:lnTo>
                    <a:pt x="5093262" y="3045647"/>
                  </a:lnTo>
                  <a:lnTo>
                    <a:pt x="5092113" y="3046675"/>
                  </a:lnTo>
                  <a:lnTo>
                    <a:pt x="5092050" y="3045660"/>
                  </a:lnTo>
                  <a:lnTo>
                    <a:pt x="5092477" y="3044518"/>
                  </a:lnTo>
                  <a:lnTo>
                    <a:pt x="5092537" y="3043611"/>
                  </a:lnTo>
                  <a:lnTo>
                    <a:pt x="5091585" y="3038697"/>
                  </a:lnTo>
                  <a:lnTo>
                    <a:pt x="5091596" y="3037572"/>
                  </a:lnTo>
                  <a:lnTo>
                    <a:pt x="5092171" y="3036529"/>
                  </a:lnTo>
                  <a:lnTo>
                    <a:pt x="5090678" y="3035653"/>
                  </a:lnTo>
                  <a:lnTo>
                    <a:pt x="5088676" y="3035138"/>
                  </a:lnTo>
                  <a:lnTo>
                    <a:pt x="5087288" y="3035663"/>
                  </a:lnTo>
                  <a:lnTo>
                    <a:pt x="5087619" y="3037927"/>
                  </a:lnTo>
                  <a:lnTo>
                    <a:pt x="5088000" y="3037354"/>
                  </a:lnTo>
                  <a:lnTo>
                    <a:pt x="5088355" y="3037128"/>
                  </a:lnTo>
                  <a:lnTo>
                    <a:pt x="5088758" y="3036999"/>
                  </a:lnTo>
                  <a:lnTo>
                    <a:pt x="5089287" y="3036712"/>
                  </a:lnTo>
                  <a:lnTo>
                    <a:pt x="5089425" y="3037777"/>
                  </a:lnTo>
                  <a:lnTo>
                    <a:pt x="5089408" y="3039315"/>
                  </a:lnTo>
                  <a:lnTo>
                    <a:pt x="5089237" y="3040796"/>
                  </a:lnTo>
                  <a:lnTo>
                    <a:pt x="5088892" y="3041676"/>
                  </a:lnTo>
                  <a:lnTo>
                    <a:pt x="5088061" y="3041952"/>
                  </a:lnTo>
                  <a:lnTo>
                    <a:pt x="5087103" y="3041780"/>
                  </a:lnTo>
                  <a:lnTo>
                    <a:pt x="5086107" y="3041767"/>
                  </a:lnTo>
                  <a:lnTo>
                    <a:pt x="5085153" y="3042477"/>
                  </a:lnTo>
                  <a:lnTo>
                    <a:pt x="5086232" y="3043343"/>
                  </a:lnTo>
                  <a:lnTo>
                    <a:pt x="5086647" y="3043604"/>
                  </a:lnTo>
                  <a:lnTo>
                    <a:pt x="5087208" y="3043727"/>
                  </a:lnTo>
                  <a:lnTo>
                    <a:pt x="5086753" y="3045369"/>
                  </a:lnTo>
                  <a:lnTo>
                    <a:pt x="5086103" y="3046945"/>
                  </a:lnTo>
                  <a:lnTo>
                    <a:pt x="5085285" y="3048364"/>
                  </a:lnTo>
                  <a:lnTo>
                    <a:pt x="5084322" y="3049581"/>
                  </a:lnTo>
                  <a:lnTo>
                    <a:pt x="5083773" y="3047358"/>
                  </a:lnTo>
                  <a:lnTo>
                    <a:pt x="5083372" y="3046344"/>
                  </a:lnTo>
                  <a:lnTo>
                    <a:pt x="5082723" y="3046158"/>
                  </a:lnTo>
                  <a:lnTo>
                    <a:pt x="5081750" y="3045210"/>
                  </a:lnTo>
                  <a:lnTo>
                    <a:pt x="5081333" y="3043961"/>
                  </a:lnTo>
                  <a:lnTo>
                    <a:pt x="5081099" y="3042552"/>
                  </a:lnTo>
                  <a:lnTo>
                    <a:pt x="5080690" y="3041139"/>
                  </a:lnTo>
                  <a:lnTo>
                    <a:pt x="5080192" y="3042686"/>
                  </a:lnTo>
                  <a:lnTo>
                    <a:pt x="5080295" y="3045003"/>
                  </a:lnTo>
                  <a:lnTo>
                    <a:pt x="5080994" y="3047183"/>
                  </a:lnTo>
                  <a:lnTo>
                    <a:pt x="5082299" y="3048301"/>
                  </a:lnTo>
                  <a:lnTo>
                    <a:pt x="5082194" y="3050523"/>
                  </a:lnTo>
                  <a:lnTo>
                    <a:pt x="5081077" y="3051021"/>
                  </a:lnTo>
                  <a:lnTo>
                    <a:pt x="5079538" y="3050906"/>
                  </a:lnTo>
                  <a:lnTo>
                    <a:pt x="5078165" y="3051294"/>
                  </a:lnTo>
                  <a:lnTo>
                    <a:pt x="5077597" y="3052453"/>
                  </a:lnTo>
                  <a:lnTo>
                    <a:pt x="5077149" y="3054347"/>
                  </a:lnTo>
                  <a:lnTo>
                    <a:pt x="5076897" y="3056317"/>
                  </a:lnTo>
                  <a:lnTo>
                    <a:pt x="5076917" y="3057688"/>
                  </a:lnTo>
                  <a:lnTo>
                    <a:pt x="5075794" y="3055804"/>
                  </a:lnTo>
                  <a:lnTo>
                    <a:pt x="5076105" y="3052750"/>
                  </a:lnTo>
                  <a:lnTo>
                    <a:pt x="5077427" y="3047245"/>
                  </a:lnTo>
                  <a:lnTo>
                    <a:pt x="5077711" y="3038947"/>
                  </a:lnTo>
                  <a:lnTo>
                    <a:pt x="5078283" y="3036466"/>
                  </a:lnTo>
                  <a:lnTo>
                    <a:pt x="5077587" y="3037152"/>
                  </a:lnTo>
                  <a:lnTo>
                    <a:pt x="5076931" y="3038956"/>
                  </a:lnTo>
                  <a:lnTo>
                    <a:pt x="5076435" y="3039638"/>
                  </a:lnTo>
                  <a:lnTo>
                    <a:pt x="5076283" y="3040458"/>
                  </a:lnTo>
                  <a:lnTo>
                    <a:pt x="5076176" y="3041780"/>
                  </a:lnTo>
                  <a:lnTo>
                    <a:pt x="5075939" y="3042455"/>
                  </a:lnTo>
                  <a:lnTo>
                    <a:pt x="5075368" y="3041328"/>
                  </a:lnTo>
                  <a:lnTo>
                    <a:pt x="5074359" y="3042223"/>
                  </a:lnTo>
                  <a:lnTo>
                    <a:pt x="5073872" y="3043727"/>
                  </a:lnTo>
                  <a:lnTo>
                    <a:pt x="5073695" y="3047112"/>
                  </a:lnTo>
                  <a:lnTo>
                    <a:pt x="5072229" y="3047113"/>
                  </a:lnTo>
                  <a:lnTo>
                    <a:pt x="5071479" y="3048800"/>
                  </a:lnTo>
                  <a:lnTo>
                    <a:pt x="5071061" y="3050901"/>
                  </a:lnTo>
                  <a:lnTo>
                    <a:pt x="5070634" y="3052152"/>
                  </a:lnTo>
                  <a:lnTo>
                    <a:pt x="5069313" y="3053333"/>
                  </a:lnTo>
                  <a:lnTo>
                    <a:pt x="5067111" y="3056416"/>
                  </a:lnTo>
                  <a:lnTo>
                    <a:pt x="5063877" y="3063125"/>
                  </a:lnTo>
                  <a:lnTo>
                    <a:pt x="5062915" y="3063641"/>
                  </a:lnTo>
                  <a:lnTo>
                    <a:pt x="5059026" y="3063229"/>
                  </a:lnTo>
                  <a:lnTo>
                    <a:pt x="5057888" y="3062467"/>
                  </a:lnTo>
                  <a:lnTo>
                    <a:pt x="5058060" y="3060192"/>
                  </a:lnTo>
                  <a:lnTo>
                    <a:pt x="5058786" y="3058920"/>
                  </a:lnTo>
                  <a:lnTo>
                    <a:pt x="5063463" y="3054182"/>
                  </a:lnTo>
                  <a:lnTo>
                    <a:pt x="5068012" y="3046646"/>
                  </a:lnTo>
                  <a:lnTo>
                    <a:pt x="5068524" y="3046211"/>
                  </a:lnTo>
                  <a:lnTo>
                    <a:pt x="5069291" y="3045832"/>
                  </a:lnTo>
                  <a:lnTo>
                    <a:pt x="5069645" y="3045467"/>
                  </a:lnTo>
                  <a:lnTo>
                    <a:pt x="5069751" y="3044976"/>
                  </a:lnTo>
                  <a:lnTo>
                    <a:pt x="5069669" y="3044424"/>
                  </a:lnTo>
                  <a:lnTo>
                    <a:pt x="5069628" y="3043887"/>
                  </a:lnTo>
                  <a:lnTo>
                    <a:pt x="5070392" y="3042670"/>
                  </a:lnTo>
                  <a:lnTo>
                    <a:pt x="5070714" y="3040543"/>
                  </a:lnTo>
                  <a:lnTo>
                    <a:pt x="5071134" y="3039813"/>
                  </a:lnTo>
                  <a:lnTo>
                    <a:pt x="5072423" y="3038613"/>
                  </a:lnTo>
                  <a:lnTo>
                    <a:pt x="5073373" y="3037193"/>
                  </a:lnTo>
                  <a:lnTo>
                    <a:pt x="5074084" y="3035366"/>
                  </a:lnTo>
                  <a:lnTo>
                    <a:pt x="5075195" y="3031075"/>
                  </a:lnTo>
                  <a:lnTo>
                    <a:pt x="5076076" y="3029735"/>
                  </a:lnTo>
                  <a:lnTo>
                    <a:pt x="5077316" y="3028440"/>
                  </a:lnTo>
                  <a:lnTo>
                    <a:pt x="5080012" y="3023193"/>
                  </a:lnTo>
                  <a:lnTo>
                    <a:pt x="5078514" y="3023700"/>
                  </a:lnTo>
                  <a:lnTo>
                    <a:pt x="5076948" y="3025300"/>
                  </a:lnTo>
                  <a:lnTo>
                    <a:pt x="5074638" y="3028943"/>
                  </a:lnTo>
                  <a:lnTo>
                    <a:pt x="5072140" y="3035940"/>
                  </a:lnTo>
                  <a:lnTo>
                    <a:pt x="5070522" y="3037505"/>
                  </a:lnTo>
                  <a:lnTo>
                    <a:pt x="5068742" y="3038034"/>
                  </a:lnTo>
                  <a:lnTo>
                    <a:pt x="5066386" y="3038058"/>
                  </a:lnTo>
                  <a:lnTo>
                    <a:pt x="5064084" y="3037200"/>
                  </a:lnTo>
                  <a:lnTo>
                    <a:pt x="5062457" y="3035092"/>
                  </a:lnTo>
                  <a:lnTo>
                    <a:pt x="5062360" y="3033027"/>
                  </a:lnTo>
                  <a:lnTo>
                    <a:pt x="5064513" y="3026198"/>
                  </a:lnTo>
                  <a:lnTo>
                    <a:pt x="5064025" y="3026065"/>
                  </a:lnTo>
                  <a:lnTo>
                    <a:pt x="5063351" y="3025679"/>
                  </a:lnTo>
                  <a:lnTo>
                    <a:pt x="5062856" y="3025568"/>
                  </a:lnTo>
                  <a:lnTo>
                    <a:pt x="5062837" y="3024708"/>
                  </a:lnTo>
                  <a:lnTo>
                    <a:pt x="5063104" y="3022735"/>
                  </a:lnTo>
                  <a:lnTo>
                    <a:pt x="5063075" y="3022198"/>
                  </a:lnTo>
                  <a:lnTo>
                    <a:pt x="5061982" y="3020499"/>
                  </a:lnTo>
                  <a:lnTo>
                    <a:pt x="5061932" y="3019891"/>
                  </a:lnTo>
                  <a:lnTo>
                    <a:pt x="5062446" y="3019365"/>
                  </a:lnTo>
                  <a:lnTo>
                    <a:pt x="5062082" y="3018799"/>
                  </a:lnTo>
                  <a:lnTo>
                    <a:pt x="5059954" y="3018572"/>
                  </a:lnTo>
                  <a:lnTo>
                    <a:pt x="5059309" y="3016449"/>
                  </a:lnTo>
                  <a:lnTo>
                    <a:pt x="5059546" y="3013786"/>
                  </a:lnTo>
                  <a:lnTo>
                    <a:pt x="5060083" y="3011909"/>
                  </a:lnTo>
                  <a:lnTo>
                    <a:pt x="5058298" y="3012046"/>
                  </a:lnTo>
                  <a:lnTo>
                    <a:pt x="5057935" y="3010014"/>
                  </a:lnTo>
                  <a:lnTo>
                    <a:pt x="5058350" y="3007307"/>
                  </a:lnTo>
                  <a:lnTo>
                    <a:pt x="5058923" y="3005414"/>
                  </a:lnTo>
                  <a:lnTo>
                    <a:pt x="5056662" y="3004054"/>
                  </a:lnTo>
                  <a:lnTo>
                    <a:pt x="5055489" y="3003709"/>
                  </a:lnTo>
                  <a:lnTo>
                    <a:pt x="5054474" y="3004053"/>
                  </a:lnTo>
                  <a:lnTo>
                    <a:pt x="5056342" y="3006091"/>
                  </a:lnTo>
                  <a:lnTo>
                    <a:pt x="5056404" y="3007539"/>
                  </a:lnTo>
                  <a:lnTo>
                    <a:pt x="5055695" y="3009180"/>
                  </a:lnTo>
                  <a:lnTo>
                    <a:pt x="5055226" y="3011760"/>
                  </a:lnTo>
                  <a:lnTo>
                    <a:pt x="5056393" y="3011986"/>
                  </a:lnTo>
                  <a:lnTo>
                    <a:pt x="5056741" y="3012891"/>
                  </a:lnTo>
                  <a:lnTo>
                    <a:pt x="5056834" y="3015184"/>
                  </a:lnTo>
                  <a:lnTo>
                    <a:pt x="5057861" y="3017935"/>
                  </a:lnTo>
                  <a:lnTo>
                    <a:pt x="5059073" y="3020521"/>
                  </a:lnTo>
                  <a:lnTo>
                    <a:pt x="5059575" y="3022761"/>
                  </a:lnTo>
                  <a:lnTo>
                    <a:pt x="5058847" y="3025073"/>
                  </a:lnTo>
                  <a:lnTo>
                    <a:pt x="5054949" y="3030310"/>
                  </a:lnTo>
                  <a:lnTo>
                    <a:pt x="5054138" y="3032007"/>
                  </a:lnTo>
                  <a:lnTo>
                    <a:pt x="5053717" y="3033957"/>
                  </a:lnTo>
                  <a:lnTo>
                    <a:pt x="5053325" y="3038815"/>
                  </a:lnTo>
                  <a:lnTo>
                    <a:pt x="5053056" y="3039750"/>
                  </a:lnTo>
                  <a:lnTo>
                    <a:pt x="5052400" y="3040515"/>
                  </a:lnTo>
                  <a:lnTo>
                    <a:pt x="5050425" y="3041590"/>
                  </a:lnTo>
                  <a:lnTo>
                    <a:pt x="5049708" y="3041549"/>
                  </a:lnTo>
                  <a:lnTo>
                    <a:pt x="5050170" y="3040287"/>
                  </a:lnTo>
                  <a:lnTo>
                    <a:pt x="5049735" y="3039603"/>
                  </a:lnTo>
                  <a:lnTo>
                    <a:pt x="5048674" y="3039237"/>
                  </a:lnTo>
                  <a:lnTo>
                    <a:pt x="5048523" y="3037202"/>
                  </a:lnTo>
                  <a:lnTo>
                    <a:pt x="5048690" y="3034521"/>
                  </a:lnTo>
                  <a:lnTo>
                    <a:pt x="5048585" y="3032201"/>
                  </a:lnTo>
                  <a:lnTo>
                    <a:pt x="5047857" y="3035730"/>
                  </a:lnTo>
                  <a:lnTo>
                    <a:pt x="5047036" y="3036020"/>
                  </a:lnTo>
                  <a:lnTo>
                    <a:pt x="5044911" y="3034840"/>
                  </a:lnTo>
                  <a:lnTo>
                    <a:pt x="5040990" y="3031555"/>
                  </a:lnTo>
                  <a:lnTo>
                    <a:pt x="5039242" y="3030605"/>
                  </a:lnTo>
                  <a:lnTo>
                    <a:pt x="5039925" y="3032233"/>
                  </a:lnTo>
                  <a:lnTo>
                    <a:pt x="5041290" y="3033300"/>
                  </a:lnTo>
                  <a:lnTo>
                    <a:pt x="5042896" y="3034315"/>
                  </a:lnTo>
                  <a:lnTo>
                    <a:pt x="5044296" y="3035738"/>
                  </a:lnTo>
                  <a:lnTo>
                    <a:pt x="5045419" y="3037774"/>
                  </a:lnTo>
                  <a:lnTo>
                    <a:pt x="5045778" y="3039274"/>
                  </a:lnTo>
                  <a:lnTo>
                    <a:pt x="5045201" y="3042854"/>
                  </a:lnTo>
                  <a:lnTo>
                    <a:pt x="5045933" y="3042411"/>
                  </a:lnTo>
                  <a:lnTo>
                    <a:pt x="5046751" y="3042369"/>
                  </a:lnTo>
                  <a:lnTo>
                    <a:pt x="5047628" y="3042687"/>
                  </a:lnTo>
                  <a:lnTo>
                    <a:pt x="5048516" y="3043302"/>
                  </a:lnTo>
                  <a:lnTo>
                    <a:pt x="5048365" y="3044760"/>
                  </a:lnTo>
                  <a:lnTo>
                    <a:pt x="5047719" y="3045636"/>
                  </a:lnTo>
                  <a:lnTo>
                    <a:pt x="5046944" y="3046387"/>
                  </a:lnTo>
                  <a:lnTo>
                    <a:pt x="5046404" y="3047470"/>
                  </a:lnTo>
                  <a:lnTo>
                    <a:pt x="5047551" y="3047377"/>
                  </a:lnTo>
                  <a:lnTo>
                    <a:pt x="5047993" y="3047246"/>
                  </a:lnTo>
                  <a:lnTo>
                    <a:pt x="5048064" y="3047815"/>
                  </a:lnTo>
                  <a:lnTo>
                    <a:pt x="5048168" y="3048202"/>
                  </a:lnTo>
                  <a:lnTo>
                    <a:pt x="5048192" y="3048593"/>
                  </a:lnTo>
                  <a:lnTo>
                    <a:pt x="5048007" y="3049139"/>
                  </a:lnTo>
                  <a:lnTo>
                    <a:pt x="5050443" y="3049223"/>
                  </a:lnTo>
                  <a:lnTo>
                    <a:pt x="5050272" y="3050160"/>
                  </a:lnTo>
                  <a:lnTo>
                    <a:pt x="5049801" y="3051292"/>
                  </a:lnTo>
                  <a:lnTo>
                    <a:pt x="5049089" y="3051882"/>
                  </a:lnTo>
                  <a:lnTo>
                    <a:pt x="5048204" y="3051243"/>
                  </a:lnTo>
                  <a:lnTo>
                    <a:pt x="5047361" y="3050503"/>
                  </a:lnTo>
                  <a:lnTo>
                    <a:pt x="5046441" y="3050346"/>
                  </a:lnTo>
                  <a:lnTo>
                    <a:pt x="5045896" y="3050774"/>
                  </a:lnTo>
                  <a:lnTo>
                    <a:pt x="5046168" y="3051785"/>
                  </a:lnTo>
                  <a:lnTo>
                    <a:pt x="5046471" y="3053499"/>
                  </a:lnTo>
                  <a:lnTo>
                    <a:pt x="5045478" y="3054838"/>
                  </a:lnTo>
                  <a:lnTo>
                    <a:pt x="5042628" y="3056626"/>
                  </a:lnTo>
                  <a:lnTo>
                    <a:pt x="5041924" y="3055010"/>
                  </a:lnTo>
                  <a:lnTo>
                    <a:pt x="5040594" y="3053189"/>
                  </a:lnTo>
                  <a:lnTo>
                    <a:pt x="5039489" y="3051365"/>
                  </a:lnTo>
                  <a:lnTo>
                    <a:pt x="5039477" y="3049766"/>
                  </a:lnTo>
                  <a:lnTo>
                    <a:pt x="5038119" y="3049571"/>
                  </a:lnTo>
                  <a:lnTo>
                    <a:pt x="5037003" y="3048613"/>
                  </a:lnTo>
                  <a:lnTo>
                    <a:pt x="5035028" y="3045562"/>
                  </a:lnTo>
                  <a:lnTo>
                    <a:pt x="5035561" y="3047159"/>
                  </a:lnTo>
                  <a:lnTo>
                    <a:pt x="5036415" y="3048744"/>
                  </a:lnTo>
                  <a:lnTo>
                    <a:pt x="5036871" y="3050141"/>
                  </a:lnTo>
                  <a:lnTo>
                    <a:pt x="5036212" y="3051181"/>
                  </a:lnTo>
                  <a:lnTo>
                    <a:pt x="5036609" y="3051810"/>
                  </a:lnTo>
                  <a:lnTo>
                    <a:pt x="5038508" y="3051988"/>
                  </a:lnTo>
                  <a:lnTo>
                    <a:pt x="5040202" y="3054071"/>
                  </a:lnTo>
                  <a:lnTo>
                    <a:pt x="5041271" y="3056882"/>
                  </a:lnTo>
                  <a:lnTo>
                    <a:pt x="5041338" y="3059288"/>
                  </a:lnTo>
                  <a:lnTo>
                    <a:pt x="5040274" y="3061109"/>
                  </a:lnTo>
                  <a:lnTo>
                    <a:pt x="5038649" y="3062481"/>
                  </a:lnTo>
                  <a:lnTo>
                    <a:pt x="5033868" y="3065235"/>
                  </a:lnTo>
                  <a:lnTo>
                    <a:pt x="5031381" y="3065794"/>
                  </a:lnTo>
                  <a:lnTo>
                    <a:pt x="5030251" y="3066328"/>
                  </a:lnTo>
                  <a:lnTo>
                    <a:pt x="5027488" y="3069109"/>
                  </a:lnTo>
                  <a:lnTo>
                    <a:pt x="5020466" y="3072644"/>
                  </a:lnTo>
                  <a:lnTo>
                    <a:pt x="5019058" y="3074223"/>
                  </a:lnTo>
                  <a:lnTo>
                    <a:pt x="5020558" y="3074635"/>
                  </a:lnTo>
                  <a:lnTo>
                    <a:pt x="5023288" y="3074129"/>
                  </a:lnTo>
                  <a:lnTo>
                    <a:pt x="5024775" y="3074741"/>
                  </a:lnTo>
                  <a:lnTo>
                    <a:pt x="5023662" y="3076407"/>
                  </a:lnTo>
                  <a:lnTo>
                    <a:pt x="5023492" y="3077002"/>
                  </a:lnTo>
                  <a:lnTo>
                    <a:pt x="5023065" y="3077373"/>
                  </a:lnTo>
                  <a:lnTo>
                    <a:pt x="5020425" y="3077803"/>
                  </a:lnTo>
                  <a:lnTo>
                    <a:pt x="5019366" y="3077672"/>
                  </a:lnTo>
                  <a:lnTo>
                    <a:pt x="5016154" y="3075784"/>
                  </a:lnTo>
                  <a:lnTo>
                    <a:pt x="5014933" y="3075225"/>
                  </a:lnTo>
                  <a:lnTo>
                    <a:pt x="5014877" y="3076151"/>
                  </a:lnTo>
                  <a:lnTo>
                    <a:pt x="5014932" y="3077122"/>
                  </a:lnTo>
                  <a:lnTo>
                    <a:pt x="5016454" y="3077561"/>
                  </a:lnTo>
                  <a:lnTo>
                    <a:pt x="5017896" y="3078542"/>
                  </a:lnTo>
                  <a:lnTo>
                    <a:pt x="5019493" y="3079263"/>
                  </a:lnTo>
                  <a:lnTo>
                    <a:pt x="5021434" y="3078904"/>
                  </a:lnTo>
                  <a:lnTo>
                    <a:pt x="5021829" y="3079535"/>
                  </a:lnTo>
                  <a:lnTo>
                    <a:pt x="5020970" y="3080921"/>
                  </a:lnTo>
                  <a:lnTo>
                    <a:pt x="5019468" y="3085735"/>
                  </a:lnTo>
                  <a:lnTo>
                    <a:pt x="5018808" y="3086635"/>
                  </a:lnTo>
                  <a:lnTo>
                    <a:pt x="5017534" y="3086312"/>
                  </a:lnTo>
                  <a:lnTo>
                    <a:pt x="5017121" y="3086569"/>
                  </a:lnTo>
                  <a:lnTo>
                    <a:pt x="5016979" y="3087155"/>
                  </a:lnTo>
                  <a:lnTo>
                    <a:pt x="5016526" y="3087779"/>
                  </a:lnTo>
                  <a:lnTo>
                    <a:pt x="5015096" y="3089019"/>
                  </a:lnTo>
                  <a:lnTo>
                    <a:pt x="5014420" y="3088751"/>
                  </a:lnTo>
                  <a:lnTo>
                    <a:pt x="5013866" y="3086933"/>
                  </a:lnTo>
                  <a:lnTo>
                    <a:pt x="5013190" y="3088576"/>
                  </a:lnTo>
                  <a:lnTo>
                    <a:pt x="5011602" y="3089367"/>
                  </a:lnTo>
                  <a:lnTo>
                    <a:pt x="5009605" y="3089446"/>
                  </a:lnTo>
                  <a:lnTo>
                    <a:pt x="5007710" y="3088967"/>
                  </a:lnTo>
                  <a:lnTo>
                    <a:pt x="5005694" y="3088734"/>
                  </a:lnTo>
                  <a:lnTo>
                    <a:pt x="5003886" y="3089520"/>
                  </a:lnTo>
                  <a:lnTo>
                    <a:pt x="4996691" y="3097082"/>
                  </a:lnTo>
                  <a:lnTo>
                    <a:pt x="4995877" y="3097474"/>
                  </a:lnTo>
                  <a:lnTo>
                    <a:pt x="4994849" y="3097734"/>
                  </a:lnTo>
                  <a:lnTo>
                    <a:pt x="4993759" y="3097768"/>
                  </a:lnTo>
                  <a:lnTo>
                    <a:pt x="4992793" y="3097528"/>
                  </a:lnTo>
                  <a:lnTo>
                    <a:pt x="4992639" y="3097060"/>
                  </a:lnTo>
                  <a:lnTo>
                    <a:pt x="4993052" y="3095235"/>
                  </a:lnTo>
                  <a:lnTo>
                    <a:pt x="4992863" y="3094236"/>
                  </a:lnTo>
                  <a:lnTo>
                    <a:pt x="4990318" y="3092918"/>
                  </a:lnTo>
                  <a:lnTo>
                    <a:pt x="4989643" y="3092852"/>
                  </a:lnTo>
                  <a:lnTo>
                    <a:pt x="4990334" y="3097374"/>
                  </a:lnTo>
                  <a:lnTo>
                    <a:pt x="4989942" y="3098248"/>
                  </a:lnTo>
                  <a:lnTo>
                    <a:pt x="4989063" y="3098640"/>
                  </a:lnTo>
                  <a:lnTo>
                    <a:pt x="4987255" y="3099099"/>
                  </a:lnTo>
                  <a:lnTo>
                    <a:pt x="4986571" y="3099796"/>
                  </a:lnTo>
                  <a:lnTo>
                    <a:pt x="4985317" y="3102240"/>
                  </a:lnTo>
                  <a:lnTo>
                    <a:pt x="4983990" y="3103734"/>
                  </a:lnTo>
                  <a:lnTo>
                    <a:pt x="4983158" y="3103980"/>
                  </a:lnTo>
                  <a:lnTo>
                    <a:pt x="4981988" y="3103551"/>
                  </a:lnTo>
                  <a:lnTo>
                    <a:pt x="4980908" y="3102570"/>
                  </a:lnTo>
                  <a:lnTo>
                    <a:pt x="4980571" y="3101595"/>
                  </a:lnTo>
                  <a:lnTo>
                    <a:pt x="4980528" y="3100669"/>
                  </a:lnTo>
                  <a:lnTo>
                    <a:pt x="4980279" y="3099810"/>
                  </a:lnTo>
                  <a:lnTo>
                    <a:pt x="4979517" y="3099025"/>
                  </a:lnTo>
                  <a:lnTo>
                    <a:pt x="4979007" y="3099338"/>
                  </a:lnTo>
                  <a:lnTo>
                    <a:pt x="4978615" y="3100129"/>
                  </a:lnTo>
                  <a:lnTo>
                    <a:pt x="4977870" y="3101124"/>
                  </a:lnTo>
                  <a:lnTo>
                    <a:pt x="4977607" y="3101991"/>
                  </a:lnTo>
                  <a:lnTo>
                    <a:pt x="4977357" y="3102308"/>
                  </a:lnTo>
                  <a:lnTo>
                    <a:pt x="4976748" y="3102593"/>
                  </a:lnTo>
                  <a:lnTo>
                    <a:pt x="4975349" y="3102898"/>
                  </a:lnTo>
                  <a:lnTo>
                    <a:pt x="4974632" y="3103198"/>
                  </a:lnTo>
                  <a:lnTo>
                    <a:pt x="4969595" y="3107148"/>
                  </a:lnTo>
                  <a:lnTo>
                    <a:pt x="4967527" y="3108064"/>
                  </a:lnTo>
                  <a:lnTo>
                    <a:pt x="4967293" y="3107324"/>
                  </a:lnTo>
                  <a:lnTo>
                    <a:pt x="4967215" y="3106976"/>
                  </a:lnTo>
                  <a:lnTo>
                    <a:pt x="4967174" y="3106517"/>
                  </a:lnTo>
                  <a:lnTo>
                    <a:pt x="4966448" y="3107399"/>
                  </a:lnTo>
                  <a:lnTo>
                    <a:pt x="4965930" y="3108336"/>
                  </a:lnTo>
                  <a:lnTo>
                    <a:pt x="4965617" y="3109465"/>
                  </a:lnTo>
                  <a:lnTo>
                    <a:pt x="4965475" y="3110895"/>
                  </a:lnTo>
                  <a:lnTo>
                    <a:pt x="4963875" y="3115133"/>
                  </a:lnTo>
                  <a:lnTo>
                    <a:pt x="4962629" y="3115677"/>
                  </a:lnTo>
                  <a:lnTo>
                    <a:pt x="4961749" y="3115441"/>
                  </a:lnTo>
                  <a:lnTo>
                    <a:pt x="4959623" y="3113947"/>
                  </a:lnTo>
                  <a:lnTo>
                    <a:pt x="4958486" y="3113779"/>
                  </a:lnTo>
                  <a:lnTo>
                    <a:pt x="4955254" y="3114148"/>
                  </a:lnTo>
                  <a:lnTo>
                    <a:pt x="4954314" y="3114455"/>
                  </a:lnTo>
                  <a:lnTo>
                    <a:pt x="4953594" y="3115644"/>
                  </a:lnTo>
                  <a:lnTo>
                    <a:pt x="4953965" y="3117011"/>
                  </a:lnTo>
                  <a:lnTo>
                    <a:pt x="4954549" y="3118389"/>
                  </a:lnTo>
                  <a:lnTo>
                    <a:pt x="4954522" y="3119614"/>
                  </a:lnTo>
                  <a:lnTo>
                    <a:pt x="4952588" y="3118757"/>
                  </a:lnTo>
                  <a:lnTo>
                    <a:pt x="4952041" y="3118604"/>
                  </a:lnTo>
                  <a:lnTo>
                    <a:pt x="4951680" y="3118929"/>
                  </a:lnTo>
                  <a:lnTo>
                    <a:pt x="4951332" y="3120094"/>
                  </a:lnTo>
                  <a:lnTo>
                    <a:pt x="4950828" y="3120403"/>
                  </a:lnTo>
                  <a:lnTo>
                    <a:pt x="4949587" y="3120266"/>
                  </a:lnTo>
                  <a:lnTo>
                    <a:pt x="4948599" y="3119813"/>
                  </a:lnTo>
                  <a:lnTo>
                    <a:pt x="4947618" y="3119516"/>
                  </a:lnTo>
                  <a:lnTo>
                    <a:pt x="4946374" y="3119834"/>
                  </a:lnTo>
                  <a:lnTo>
                    <a:pt x="4945505" y="3120464"/>
                  </a:lnTo>
                  <a:lnTo>
                    <a:pt x="4943388" y="3122673"/>
                  </a:lnTo>
                  <a:lnTo>
                    <a:pt x="4942639" y="3119407"/>
                  </a:lnTo>
                  <a:lnTo>
                    <a:pt x="4942499" y="3117885"/>
                  </a:lnTo>
                  <a:lnTo>
                    <a:pt x="4942823" y="3116866"/>
                  </a:lnTo>
                  <a:lnTo>
                    <a:pt x="4940924" y="3118148"/>
                  </a:lnTo>
                  <a:lnTo>
                    <a:pt x="4940410" y="3118772"/>
                  </a:lnTo>
                  <a:lnTo>
                    <a:pt x="4940456" y="3119440"/>
                  </a:lnTo>
                  <a:lnTo>
                    <a:pt x="4940634" y="3120167"/>
                  </a:lnTo>
                  <a:lnTo>
                    <a:pt x="4940560" y="3120996"/>
                  </a:lnTo>
                  <a:lnTo>
                    <a:pt x="4939909" y="3122064"/>
                  </a:lnTo>
                  <a:lnTo>
                    <a:pt x="4936574" y="3123682"/>
                  </a:lnTo>
                  <a:lnTo>
                    <a:pt x="4935932" y="3123351"/>
                  </a:lnTo>
                  <a:lnTo>
                    <a:pt x="4934398" y="3123013"/>
                  </a:lnTo>
                  <a:lnTo>
                    <a:pt x="4933128" y="3123238"/>
                  </a:lnTo>
                  <a:lnTo>
                    <a:pt x="4933392" y="3126044"/>
                  </a:lnTo>
                  <a:lnTo>
                    <a:pt x="4932439" y="3126833"/>
                  </a:lnTo>
                  <a:lnTo>
                    <a:pt x="4931558" y="3126614"/>
                  </a:lnTo>
                  <a:lnTo>
                    <a:pt x="4931861" y="3125058"/>
                  </a:lnTo>
                  <a:lnTo>
                    <a:pt x="4931516" y="3124480"/>
                  </a:lnTo>
                  <a:lnTo>
                    <a:pt x="4929900" y="3125841"/>
                  </a:lnTo>
                  <a:lnTo>
                    <a:pt x="4925616" y="3131610"/>
                  </a:lnTo>
                  <a:lnTo>
                    <a:pt x="4924702" y="3133863"/>
                  </a:lnTo>
                  <a:lnTo>
                    <a:pt x="4924135" y="3134774"/>
                  </a:lnTo>
                  <a:lnTo>
                    <a:pt x="4923081" y="3135073"/>
                  </a:lnTo>
                  <a:lnTo>
                    <a:pt x="4919847" y="3135201"/>
                  </a:lnTo>
                  <a:lnTo>
                    <a:pt x="4919137" y="3135801"/>
                  </a:lnTo>
                  <a:lnTo>
                    <a:pt x="4919011" y="3136926"/>
                  </a:lnTo>
                  <a:lnTo>
                    <a:pt x="4918345" y="3139908"/>
                  </a:lnTo>
                  <a:lnTo>
                    <a:pt x="4917922" y="3140699"/>
                  </a:lnTo>
                  <a:lnTo>
                    <a:pt x="4916707" y="3140673"/>
                  </a:lnTo>
                  <a:lnTo>
                    <a:pt x="4915908" y="3139362"/>
                  </a:lnTo>
                  <a:lnTo>
                    <a:pt x="4915552" y="3137762"/>
                  </a:lnTo>
                  <a:lnTo>
                    <a:pt x="4915644" y="3136862"/>
                  </a:lnTo>
                  <a:lnTo>
                    <a:pt x="4915477" y="3136187"/>
                  </a:lnTo>
                  <a:lnTo>
                    <a:pt x="4914839" y="3131566"/>
                  </a:lnTo>
                  <a:lnTo>
                    <a:pt x="4914985" y="3130348"/>
                  </a:lnTo>
                  <a:lnTo>
                    <a:pt x="4915432" y="3129121"/>
                  </a:lnTo>
                  <a:lnTo>
                    <a:pt x="4916041" y="3128013"/>
                  </a:lnTo>
                  <a:lnTo>
                    <a:pt x="4916686" y="3127179"/>
                  </a:lnTo>
                  <a:lnTo>
                    <a:pt x="4913009" y="3130022"/>
                  </a:lnTo>
                  <a:lnTo>
                    <a:pt x="4911987" y="3131998"/>
                  </a:lnTo>
                  <a:lnTo>
                    <a:pt x="4911848" y="3134856"/>
                  </a:lnTo>
                  <a:lnTo>
                    <a:pt x="4913157" y="3139465"/>
                  </a:lnTo>
                  <a:lnTo>
                    <a:pt x="4913566" y="3142054"/>
                  </a:lnTo>
                  <a:lnTo>
                    <a:pt x="4913036" y="3144750"/>
                  </a:lnTo>
                  <a:lnTo>
                    <a:pt x="4912578" y="3145053"/>
                  </a:lnTo>
                  <a:lnTo>
                    <a:pt x="4910867" y="3144936"/>
                  </a:lnTo>
                  <a:lnTo>
                    <a:pt x="4909416" y="3145133"/>
                  </a:lnTo>
                  <a:lnTo>
                    <a:pt x="4908312" y="3145905"/>
                  </a:lnTo>
                  <a:lnTo>
                    <a:pt x="4907611" y="3147536"/>
                  </a:lnTo>
                  <a:lnTo>
                    <a:pt x="4906572" y="3146791"/>
                  </a:lnTo>
                  <a:lnTo>
                    <a:pt x="4905659" y="3146341"/>
                  </a:lnTo>
                  <a:lnTo>
                    <a:pt x="4904894" y="3146343"/>
                  </a:lnTo>
                  <a:lnTo>
                    <a:pt x="4904309" y="3146973"/>
                  </a:lnTo>
                  <a:lnTo>
                    <a:pt x="4905990" y="3147521"/>
                  </a:lnTo>
                  <a:lnTo>
                    <a:pt x="4905746" y="3148377"/>
                  </a:lnTo>
                  <a:lnTo>
                    <a:pt x="4903789" y="3150060"/>
                  </a:lnTo>
                  <a:lnTo>
                    <a:pt x="4903645" y="3151162"/>
                  </a:lnTo>
                  <a:lnTo>
                    <a:pt x="4903014" y="3153526"/>
                  </a:lnTo>
                  <a:lnTo>
                    <a:pt x="4901962" y="3155257"/>
                  </a:lnTo>
                  <a:lnTo>
                    <a:pt x="4900525" y="3154429"/>
                  </a:lnTo>
                  <a:lnTo>
                    <a:pt x="4899914" y="3154741"/>
                  </a:lnTo>
                  <a:lnTo>
                    <a:pt x="4897858" y="3159293"/>
                  </a:lnTo>
                  <a:lnTo>
                    <a:pt x="4894225" y="3162422"/>
                  </a:lnTo>
                  <a:lnTo>
                    <a:pt x="4884365" y="3168152"/>
                  </a:lnTo>
                  <a:lnTo>
                    <a:pt x="4883096" y="3170240"/>
                  </a:lnTo>
                  <a:lnTo>
                    <a:pt x="4882923" y="3171691"/>
                  </a:lnTo>
                  <a:lnTo>
                    <a:pt x="4882412" y="3172003"/>
                  </a:lnTo>
                  <a:lnTo>
                    <a:pt x="4881714" y="3171888"/>
                  </a:lnTo>
                  <a:lnTo>
                    <a:pt x="4880990" y="3172089"/>
                  </a:lnTo>
                  <a:lnTo>
                    <a:pt x="4880437" y="3172797"/>
                  </a:lnTo>
                  <a:lnTo>
                    <a:pt x="4879523" y="3174561"/>
                  </a:lnTo>
                  <a:lnTo>
                    <a:pt x="4878966" y="3175170"/>
                  </a:lnTo>
                  <a:lnTo>
                    <a:pt x="4874821" y="3179628"/>
                  </a:lnTo>
                  <a:lnTo>
                    <a:pt x="4872655" y="3181002"/>
                  </a:lnTo>
                  <a:lnTo>
                    <a:pt x="4871439" y="3181414"/>
                  </a:lnTo>
                  <a:lnTo>
                    <a:pt x="4868941" y="3181160"/>
                  </a:lnTo>
                  <a:lnTo>
                    <a:pt x="4868199" y="3181792"/>
                  </a:lnTo>
                  <a:lnTo>
                    <a:pt x="4867625" y="3182593"/>
                  </a:lnTo>
                  <a:lnTo>
                    <a:pt x="4866875" y="3182993"/>
                  </a:lnTo>
                  <a:lnTo>
                    <a:pt x="4865693" y="3182598"/>
                  </a:lnTo>
                  <a:lnTo>
                    <a:pt x="4864607" y="3181809"/>
                  </a:lnTo>
                  <a:lnTo>
                    <a:pt x="4863483" y="3181240"/>
                  </a:lnTo>
                  <a:lnTo>
                    <a:pt x="4862210" y="3181508"/>
                  </a:lnTo>
                  <a:lnTo>
                    <a:pt x="4861233" y="3182000"/>
                  </a:lnTo>
                  <a:lnTo>
                    <a:pt x="4860152" y="3182186"/>
                  </a:lnTo>
                  <a:lnTo>
                    <a:pt x="4859247" y="3181695"/>
                  </a:lnTo>
                  <a:lnTo>
                    <a:pt x="4858802" y="3180169"/>
                  </a:lnTo>
                  <a:lnTo>
                    <a:pt x="4856829" y="3178106"/>
                  </a:lnTo>
                  <a:lnTo>
                    <a:pt x="4855127" y="3174427"/>
                  </a:lnTo>
                  <a:lnTo>
                    <a:pt x="4853913" y="3170524"/>
                  </a:lnTo>
                  <a:lnTo>
                    <a:pt x="4853402" y="3167767"/>
                  </a:lnTo>
                  <a:lnTo>
                    <a:pt x="4851559" y="3168663"/>
                  </a:lnTo>
                  <a:lnTo>
                    <a:pt x="4849972" y="3168029"/>
                  </a:lnTo>
                  <a:lnTo>
                    <a:pt x="4848559" y="3166383"/>
                  </a:lnTo>
                  <a:lnTo>
                    <a:pt x="4847249" y="3164229"/>
                  </a:lnTo>
                  <a:lnTo>
                    <a:pt x="4846605" y="3163876"/>
                  </a:lnTo>
                  <a:lnTo>
                    <a:pt x="4844667" y="3163900"/>
                  </a:lnTo>
                  <a:lnTo>
                    <a:pt x="4844047" y="3163595"/>
                  </a:lnTo>
                  <a:lnTo>
                    <a:pt x="4843413" y="3162762"/>
                  </a:lnTo>
                  <a:lnTo>
                    <a:pt x="4842717" y="3162284"/>
                  </a:lnTo>
                  <a:lnTo>
                    <a:pt x="4839666" y="3160979"/>
                  </a:lnTo>
                  <a:lnTo>
                    <a:pt x="4839006" y="3160579"/>
                  </a:lnTo>
                  <a:lnTo>
                    <a:pt x="4838349" y="3159718"/>
                  </a:lnTo>
                  <a:lnTo>
                    <a:pt x="4837842" y="3158367"/>
                  </a:lnTo>
                  <a:lnTo>
                    <a:pt x="4837968" y="3157450"/>
                  </a:lnTo>
                  <a:lnTo>
                    <a:pt x="4838342" y="3156654"/>
                  </a:lnTo>
                  <a:lnTo>
                    <a:pt x="4838565" y="3155617"/>
                  </a:lnTo>
                  <a:lnTo>
                    <a:pt x="4838846" y="3154953"/>
                  </a:lnTo>
                  <a:lnTo>
                    <a:pt x="4839498" y="3154429"/>
                  </a:lnTo>
                  <a:lnTo>
                    <a:pt x="4840906" y="3153671"/>
                  </a:lnTo>
                  <a:lnTo>
                    <a:pt x="4841571" y="3152760"/>
                  </a:lnTo>
                  <a:lnTo>
                    <a:pt x="4841500" y="3151659"/>
                  </a:lnTo>
                  <a:lnTo>
                    <a:pt x="4841143" y="3150442"/>
                  </a:lnTo>
                  <a:lnTo>
                    <a:pt x="4840965" y="3149216"/>
                  </a:lnTo>
                  <a:lnTo>
                    <a:pt x="4842009" y="3141997"/>
                  </a:lnTo>
                  <a:lnTo>
                    <a:pt x="4844162" y="3135013"/>
                  </a:lnTo>
                  <a:lnTo>
                    <a:pt x="4850886" y="3122386"/>
                  </a:lnTo>
                  <a:lnTo>
                    <a:pt x="4851759" y="3119299"/>
                  </a:lnTo>
                  <a:lnTo>
                    <a:pt x="4852231" y="3111480"/>
                  </a:lnTo>
                  <a:lnTo>
                    <a:pt x="4854582" y="3107771"/>
                  </a:lnTo>
                  <a:lnTo>
                    <a:pt x="4854930" y="3106099"/>
                  </a:lnTo>
                  <a:lnTo>
                    <a:pt x="4855055" y="3102732"/>
                  </a:lnTo>
                  <a:lnTo>
                    <a:pt x="4855407" y="3100819"/>
                  </a:lnTo>
                  <a:lnTo>
                    <a:pt x="4857364" y="3095888"/>
                  </a:lnTo>
                  <a:lnTo>
                    <a:pt x="4857779" y="3094069"/>
                  </a:lnTo>
                  <a:lnTo>
                    <a:pt x="4858061" y="3088766"/>
                  </a:lnTo>
                  <a:lnTo>
                    <a:pt x="4857881" y="3087788"/>
                  </a:lnTo>
                  <a:lnTo>
                    <a:pt x="4857040" y="3085740"/>
                  </a:lnTo>
                  <a:lnTo>
                    <a:pt x="4856945" y="3084531"/>
                  </a:lnTo>
                  <a:lnTo>
                    <a:pt x="4857257" y="3083827"/>
                  </a:lnTo>
                  <a:lnTo>
                    <a:pt x="4858384" y="3082718"/>
                  </a:lnTo>
                  <a:lnTo>
                    <a:pt x="4858656" y="3082029"/>
                  </a:lnTo>
                  <a:lnTo>
                    <a:pt x="4858920" y="3078445"/>
                  </a:lnTo>
                  <a:lnTo>
                    <a:pt x="4859602" y="3075331"/>
                  </a:lnTo>
                  <a:lnTo>
                    <a:pt x="4860938" y="3072722"/>
                  </a:lnTo>
                  <a:lnTo>
                    <a:pt x="4863188" y="3070610"/>
                  </a:lnTo>
                  <a:lnTo>
                    <a:pt x="4863569" y="3071250"/>
                  </a:lnTo>
                  <a:lnTo>
                    <a:pt x="4862411" y="3073440"/>
                  </a:lnTo>
                  <a:lnTo>
                    <a:pt x="4861132" y="3075221"/>
                  </a:lnTo>
                  <a:lnTo>
                    <a:pt x="4860072" y="3077228"/>
                  </a:lnTo>
                  <a:lnTo>
                    <a:pt x="4859573" y="3080125"/>
                  </a:lnTo>
                  <a:lnTo>
                    <a:pt x="4860612" y="3079273"/>
                  </a:lnTo>
                  <a:lnTo>
                    <a:pt x="4862608" y="3075454"/>
                  </a:lnTo>
                  <a:lnTo>
                    <a:pt x="4865024" y="3072578"/>
                  </a:lnTo>
                  <a:lnTo>
                    <a:pt x="4865565" y="3071710"/>
                  </a:lnTo>
                  <a:lnTo>
                    <a:pt x="4865913" y="3069965"/>
                  </a:lnTo>
                  <a:lnTo>
                    <a:pt x="4865675" y="3066202"/>
                  </a:lnTo>
                  <a:lnTo>
                    <a:pt x="4865860" y="3064384"/>
                  </a:lnTo>
                  <a:lnTo>
                    <a:pt x="4866365" y="3063415"/>
                  </a:lnTo>
                  <a:lnTo>
                    <a:pt x="4869600" y="3059650"/>
                  </a:lnTo>
                  <a:lnTo>
                    <a:pt x="4871605" y="3058131"/>
                  </a:lnTo>
                  <a:lnTo>
                    <a:pt x="4872505" y="3057190"/>
                  </a:lnTo>
                  <a:lnTo>
                    <a:pt x="4873117" y="3055823"/>
                  </a:lnTo>
                  <a:lnTo>
                    <a:pt x="4872556" y="3055335"/>
                  </a:lnTo>
                  <a:lnTo>
                    <a:pt x="4871366" y="3055502"/>
                  </a:lnTo>
                  <a:lnTo>
                    <a:pt x="4870088" y="3056131"/>
                  </a:lnTo>
                  <a:lnTo>
                    <a:pt x="4866669" y="3059581"/>
                  </a:lnTo>
                  <a:lnTo>
                    <a:pt x="4865121" y="3062025"/>
                  </a:lnTo>
                  <a:lnTo>
                    <a:pt x="4864612" y="3064310"/>
                  </a:lnTo>
                  <a:lnTo>
                    <a:pt x="4862972" y="3063561"/>
                  </a:lnTo>
                  <a:lnTo>
                    <a:pt x="4861505" y="3064386"/>
                  </a:lnTo>
                  <a:lnTo>
                    <a:pt x="4859023" y="3067051"/>
                  </a:lnTo>
                  <a:lnTo>
                    <a:pt x="4857428" y="3067418"/>
                  </a:lnTo>
                  <a:lnTo>
                    <a:pt x="4853928" y="3066369"/>
                  </a:lnTo>
                  <a:lnTo>
                    <a:pt x="4852018" y="3066427"/>
                  </a:lnTo>
                  <a:lnTo>
                    <a:pt x="4845227" y="3069936"/>
                  </a:lnTo>
                  <a:lnTo>
                    <a:pt x="4843950" y="3071106"/>
                  </a:lnTo>
                  <a:lnTo>
                    <a:pt x="4838670" y="3078009"/>
                  </a:lnTo>
                  <a:lnTo>
                    <a:pt x="4833071" y="3082815"/>
                  </a:lnTo>
                  <a:lnTo>
                    <a:pt x="4827100" y="3086169"/>
                  </a:lnTo>
                  <a:lnTo>
                    <a:pt x="4824677" y="3088521"/>
                  </a:lnTo>
                  <a:lnTo>
                    <a:pt x="4817358" y="3098723"/>
                  </a:lnTo>
                  <a:lnTo>
                    <a:pt x="4815789" y="3099768"/>
                  </a:lnTo>
                  <a:lnTo>
                    <a:pt x="4815696" y="3098854"/>
                  </a:lnTo>
                  <a:lnTo>
                    <a:pt x="4815720" y="3097347"/>
                  </a:lnTo>
                  <a:lnTo>
                    <a:pt x="4815614" y="3096420"/>
                  </a:lnTo>
                  <a:lnTo>
                    <a:pt x="4815317" y="3094894"/>
                  </a:lnTo>
                  <a:lnTo>
                    <a:pt x="4814683" y="3093933"/>
                  </a:lnTo>
                  <a:lnTo>
                    <a:pt x="4814300" y="3092020"/>
                  </a:lnTo>
                  <a:lnTo>
                    <a:pt x="4814643" y="3089795"/>
                  </a:lnTo>
                  <a:lnTo>
                    <a:pt x="4817395" y="3081059"/>
                  </a:lnTo>
                  <a:lnTo>
                    <a:pt x="4822379" y="3069236"/>
                  </a:lnTo>
                  <a:lnTo>
                    <a:pt x="4827153" y="3053574"/>
                  </a:lnTo>
                  <a:lnTo>
                    <a:pt x="4828730" y="3051361"/>
                  </a:lnTo>
                  <a:lnTo>
                    <a:pt x="4828709" y="3054115"/>
                  </a:lnTo>
                  <a:lnTo>
                    <a:pt x="4828389" y="3057239"/>
                  </a:lnTo>
                  <a:lnTo>
                    <a:pt x="4827685" y="3059993"/>
                  </a:lnTo>
                  <a:lnTo>
                    <a:pt x="4826541" y="3061690"/>
                  </a:lnTo>
                  <a:lnTo>
                    <a:pt x="4825883" y="3063412"/>
                  </a:lnTo>
                  <a:lnTo>
                    <a:pt x="4825324" y="3066825"/>
                  </a:lnTo>
                  <a:lnTo>
                    <a:pt x="4825111" y="3070519"/>
                  </a:lnTo>
                  <a:lnTo>
                    <a:pt x="4825489" y="3073106"/>
                  </a:lnTo>
                  <a:lnTo>
                    <a:pt x="4826350" y="3074293"/>
                  </a:lnTo>
                  <a:lnTo>
                    <a:pt x="4827314" y="3074790"/>
                  </a:lnTo>
                  <a:lnTo>
                    <a:pt x="4829481" y="3074940"/>
                  </a:lnTo>
                  <a:lnTo>
                    <a:pt x="4831576" y="3074744"/>
                  </a:lnTo>
                  <a:lnTo>
                    <a:pt x="4832022" y="3075352"/>
                  </a:lnTo>
                  <a:lnTo>
                    <a:pt x="4833181" y="3077439"/>
                  </a:lnTo>
                  <a:lnTo>
                    <a:pt x="4833792" y="3077520"/>
                  </a:lnTo>
                  <a:lnTo>
                    <a:pt x="4834141" y="3076007"/>
                  </a:lnTo>
                  <a:lnTo>
                    <a:pt x="4834363" y="3073067"/>
                  </a:lnTo>
                  <a:lnTo>
                    <a:pt x="4834212" y="3071722"/>
                  </a:lnTo>
                  <a:lnTo>
                    <a:pt x="4833638" y="3070653"/>
                  </a:lnTo>
                  <a:lnTo>
                    <a:pt x="4831758" y="3068117"/>
                  </a:lnTo>
                  <a:lnTo>
                    <a:pt x="4832171" y="3067846"/>
                  </a:lnTo>
                  <a:lnTo>
                    <a:pt x="4833860" y="3070370"/>
                  </a:lnTo>
                  <a:lnTo>
                    <a:pt x="4834553" y="3071372"/>
                  </a:lnTo>
                  <a:lnTo>
                    <a:pt x="4835151" y="3072139"/>
                  </a:lnTo>
                  <a:lnTo>
                    <a:pt x="4836735" y="3072392"/>
                  </a:lnTo>
                  <a:lnTo>
                    <a:pt x="4837634" y="3072702"/>
                  </a:lnTo>
                  <a:lnTo>
                    <a:pt x="4839131" y="3072593"/>
                  </a:lnTo>
                  <a:lnTo>
                    <a:pt x="4841133" y="3071580"/>
                  </a:lnTo>
                  <a:lnTo>
                    <a:pt x="4842932" y="3070217"/>
                  </a:lnTo>
                  <a:lnTo>
                    <a:pt x="4843834" y="3069072"/>
                  </a:lnTo>
                  <a:lnTo>
                    <a:pt x="4843686" y="3064797"/>
                  </a:lnTo>
                  <a:lnTo>
                    <a:pt x="4841816" y="3060648"/>
                  </a:lnTo>
                  <a:lnTo>
                    <a:pt x="4839476" y="3056549"/>
                  </a:lnTo>
                  <a:lnTo>
                    <a:pt x="4837930" y="3052424"/>
                  </a:lnTo>
                  <a:lnTo>
                    <a:pt x="4837723" y="3046087"/>
                  </a:lnTo>
                  <a:lnTo>
                    <a:pt x="4836556" y="3042240"/>
                  </a:lnTo>
                  <a:lnTo>
                    <a:pt x="4836657" y="3039965"/>
                  </a:lnTo>
                  <a:lnTo>
                    <a:pt x="4837271" y="3035852"/>
                  </a:lnTo>
                  <a:lnTo>
                    <a:pt x="4837232" y="3034730"/>
                  </a:lnTo>
                  <a:lnTo>
                    <a:pt x="4837134" y="3033908"/>
                  </a:lnTo>
                  <a:lnTo>
                    <a:pt x="4836632" y="3031818"/>
                  </a:lnTo>
                  <a:lnTo>
                    <a:pt x="4835722" y="3029265"/>
                  </a:lnTo>
                  <a:lnTo>
                    <a:pt x="4835437" y="3027918"/>
                  </a:lnTo>
                  <a:lnTo>
                    <a:pt x="4835757" y="3027047"/>
                  </a:lnTo>
                  <a:lnTo>
                    <a:pt x="4832152" y="3019625"/>
                  </a:lnTo>
                  <a:lnTo>
                    <a:pt x="4832982" y="3014511"/>
                  </a:lnTo>
                  <a:lnTo>
                    <a:pt x="4832840" y="3012584"/>
                  </a:lnTo>
                  <a:lnTo>
                    <a:pt x="4830997" y="3006115"/>
                  </a:lnTo>
                  <a:lnTo>
                    <a:pt x="4831035" y="3003332"/>
                  </a:lnTo>
                  <a:lnTo>
                    <a:pt x="4832103" y="3000969"/>
                  </a:lnTo>
                  <a:lnTo>
                    <a:pt x="4832446" y="3000517"/>
                  </a:lnTo>
                  <a:lnTo>
                    <a:pt x="4833526" y="3000594"/>
                  </a:lnTo>
                  <a:lnTo>
                    <a:pt x="4834461" y="3001770"/>
                  </a:lnTo>
                  <a:lnTo>
                    <a:pt x="4834825" y="3003392"/>
                  </a:lnTo>
                  <a:lnTo>
                    <a:pt x="4834188" y="3004797"/>
                  </a:lnTo>
                  <a:lnTo>
                    <a:pt x="4835776" y="3003737"/>
                  </a:lnTo>
                  <a:lnTo>
                    <a:pt x="4836160" y="3004376"/>
                  </a:lnTo>
                  <a:lnTo>
                    <a:pt x="4835892" y="3005657"/>
                  </a:lnTo>
                  <a:lnTo>
                    <a:pt x="4835861" y="3007052"/>
                  </a:lnTo>
                  <a:lnTo>
                    <a:pt x="4836358" y="3008196"/>
                  </a:lnTo>
                  <a:lnTo>
                    <a:pt x="4837683" y="3008717"/>
                  </a:lnTo>
                  <a:lnTo>
                    <a:pt x="4838631" y="3008266"/>
                  </a:lnTo>
                  <a:lnTo>
                    <a:pt x="4840050" y="3005852"/>
                  </a:lnTo>
                  <a:lnTo>
                    <a:pt x="4840819" y="3004923"/>
                  </a:lnTo>
                  <a:lnTo>
                    <a:pt x="4845557" y="3001808"/>
                  </a:lnTo>
                  <a:lnTo>
                    <a:pt x="4848224" y="3001032"/>
                  </a:lnTo>
                  <a:lnTo>
                    <a:pt x="4851129" y="3001594"/>
                  </a:lnTo>
                  <a:lnTo>
                    <a:pt x="4856795" y="3004396"/>
                  </a:lnTo>
                  <a:lnTo>
                    <a:pt x="4859529" y="3004878"/>
                  </a:lnTo>
                  <a:lnTo>
                    <a:pt x="4869291" y="3000534"/>
                  </a:lnTo>
                  <a:lnTo>
                    <a:pt x="4870866" y="2998129"/>
                  </a:lnTo>
                  <a:lnTo>
                    <a:pt x="4868860" y="2998066"/>
                  </a:lnTo>
                  <a:lnTo>
                    <a:pt x="4862834" y="3002141"/>
                  </a:lnTo>
                  <a:lnTo>
                    <a:pt x="4859887" y="3002377"/>
                  </a:lnTo>
                  <a:lnTo>
                    <a:pt x="4858359" y="3001869"/>
                  </a:lnTo>
                  <a:lnTo>
                    <a:pt x="4855340" y="3001499"/>
                  </a:lnTo>
                  <a:lnTo>
                    <a:pt x="4853932" y="3001005"/>
                  </a:lnTo>
                  <a:lnTo>
                    <a:pt x="4850800" y="2998227"/>
                  </a:lnTo>
                  <a:lnTo>
                    <a:pt x="4849646" y="2997401"/>
                  </a:lnTo>
                  <a:lnTo>
                    <a:pt x="4848977" y="2996800"/>
                  </a:lnTo>
                  <a:lnTo>
                    <a:pt x="4848255" y="2995822"/>
                  </a:lnTo>
                  <a:lnTo>
                    <a:pt x="4847215" y="2993778"/>
                  </a:lnTo>
                  <a:lnTo>
                    <a:pt x="4847246" y="2992679"/>
                  </a:lnTo>
                  <a:lnTo>
                    <a:pt x="4848256" y="2992057"/>
                  </a:lnTo>
                  <a:lnTo>
                    <a:pt x="4851574" y="2990719"/>
                  </a:lnTo>
                  <a:lnTo>
                    <a:pt x="4854620" y="2987503"/>
                  </a:lnTo>
                  <a:lnTo>
                    <a:pt x="4859163" y="2985778"/>
                  </a:lnTo>
                  <a:lnTo>
                    <a:pt x="4860259" y="2984575"/>
                  </a:lnTo>
                  <a:lnTo>
                    <a:pt x="4860514" y="2983235"/>
                  </a:lnTo>
                  <a:lnTo>
                    <a:pt x="4860829" y="2977008"/>
                  </a:lnTo>
                  <a:lnTo>
                    <a:pt x="4859967" y="2976613"/>
                  </a:lnTo>
                  <a:lnTo>
                    <a:pt x="4859386" y="2980617"/>
                  </a:lnTo>
                  <a:lnTo>
                    <a:pt x="4858703" y="2982375"/>
                  </a:lnTo>
                  <a:lnTo>
                    <a:pt x="4857447" y="2983708"/>
                  </a:lnTo>
                  <a:lnTo>
                    <a:pt x="4855485" y="2984415"/>
                  </a:lnTo>
                  <a:lnTo>
                    <a:pt x="4854904" y="2983466"/>
                  </a:lnTo>
                  <a:lnTo>
                    <a:pt x="4855316" y="2981726"/>
                  </a:lnTo>
                  <a:lnTo>
                    <a:pt x="4856354" y="2980043"/>
                  </a:lnTo>
                  <a:lnTo>
                    <a:pt x="4855932" y="2979350"/>
                  </a:lnTo>
                  <a:lnTo>
                    <a:pt x="4852202" y="2986463"/>
                  </a:lnTo>
                  <a:lnTo>
                    <a:pt x="4849380" y="2989714"/>
                  </a:lnTo>
                  <a:lnTo>
                    <a:pt x="4846214" y="2988689"/>
                  </a:lnTo>
                  <a:lnTo>
                    <a:pt x="4846119" y="2987183"/>
                  </a:lnTo>
                  <a:lnTo>
                    <a:pt x="4851455" y="2984177"/>
                  </a:lnTo>
                  <a:lnTo>
                    <a:pt x="4852411" y="2982263"/>
                  </a:lnTo>
                  <a:lnTo>
                    <a:pt x="4852824" y="2979817"/>
                  </a:lnTo>
                  <a:lnTo>
                    <a:pt x="4852831" y="2974268"/>
                  </a:lnTo>
                  <a:lnTo>
                    <a:pt x="4851795" y="2975698"/>
                  </a:lnTo>
                  <a:lnTo>
                    <a:pt x="4850476" y="2978667"/>
                  </a:lnTo>
                  <a:lnTo>
                    <a:pt x="4849499" y="2980108"/>
                  </a:lnTo>
                  <a:lnTo>
                    <a:pt x="4847988" y="2981342"/>
                  </a:lnTo>
                  <a:lnTo>
                    <a:pt x="4841370" y="2984466"/>
                  </a:lnTo>
                  <a:lnTo>
                    <a:pt x="4837219" y="2985260"/>
                  </a:lnTo>
                  <a:lnTo>
                    <a:pt x="4835411" y="2985118"/>
                  </a:lnTo>
                  <a:lnTo>
                    <a:pt x="4833651" y="2984324"/>
                  </a:lnTo>
                  <a:lnTo>
                    <a:pt x="4832403" y="2983043"/>
                  </a:lnTo>
                  <a:lnTo>
                    <a:pt x="4831333" y="2981312"/>
                  </a:lnTo>
                  <a:lnTo>
                    <a:pt x="4827914" y="2974726"/>
                  </a:lnTo>
                  <a:lnTo>
                    <a:pt x="4826730" y="2970482"/>
                  </a:lnTo>
                  <a:lnTo>
                    <a:pt x="4826388" y="2966343"/>
                  </a:lnTo>
                  <a:lnTo>
                    <a:pt x="4826918" y="2960538"/>
                  </a:lnTo>
                  <a:lnTo>
                    <a:pt x="4827862" y="2955894"/>
                  </a:lnTo>
                  <a:lnTo>
                    <a:pt x="4829140" y="2953426"/>
                  </a:lnTo>
                  <a:lnTo>
                    <a:pt x="4829667" y="2949459"/>
                  </a:lnTo>
                  <a:lnTo>
                    <a:pt x="4830493" y="2947910"/>
                  </a:lnTo>
                  <a:lnTo>
                    <a:pt x="4832647" y="2946763"/>
                  </a:lnTo>
                  <a:lnTo>
                    <a:pt x="4834801" y="2946690"/>
                  </a:lnTo>
                  <a:lnTo>
                    <a:pt x="4836948" y="2947484"/>
                  </a:lnTo>
                  <a:lnTo>
                    <a:pt x="4838650" y="2949205"/>
                  </a:lnTo>
                  <a:lnTo>
                    <a:pt x="4840089" y="2951572"/>
                  </a:lnTo>
                  <a:lnTo>
                    <a:pt x="4841729" y="2953823"/>
                  </a:lnTo>
                  <a:lnTo>
                    <a:pt x="4843567" y="2955201"/>
                  </a:lnTo>
                  <a:lnTo>
                    <a:pt x="4845568" y="2954935"/>
                  </a:lnTo>
                  <a:lnTo>
                    <a:pt x="4841689" y="2951965"/>
                  </a:lnTo>
                  <a:lnTo>
                    <a:pt x="4840625" y="2950179"/>
                  </a:lnTo>
                  <a:lnTo>
                    <a:pt x="4841251" y="2947889"/>
                  </a:lnTo>
                  <a:lnTo>
                    <a:pt x="4842864" y="2946846"/>
                  </a:lnTo>
                  <a:lnTo>
                    <a:pt x="4845082" y="2946882"/>
                  </a:lnTo>
                  <a:lnTo>
                    <a:pt x="4847577" y="2947274"/>
                  </a:lnTo>
                  <a:lnTo>
                    <a:pt x="4850032" y="2947307"/>
                  </a:lnTo>
                  <a:lnTo>
                    <a:pt x="4851970" y="2946719"/>
                  </a:lnTo>
                  <a:lnTo>
                    <a:pt x="4853823" y="2945621"/>
                  </a:lnTo>
                  <a:lnTo>
                    <a:pt x="4853790" y="2945122"/>
                  </a:lnTo>
                  <a:lnTo>
                    <a:pt x="4852544" y="2944798"/>
                  </a:lnTo>
                  <a:lnTo>
                    <a:pt x="4845406" y="2944655"/>
                  </a:lnTo>
                  <a:lnTo>
                    <a:pt x="4842954" y="2943579"/>
                  </a:lnTo>
                  <a:lnTo>
                    <a:pt x="4840937" y="2940823"/>
                  </a:lnTo>
                  <a:lnTo>
                    <a:pt x="4840889" y="2942110"/>
                  </a:lnTo>
                  <a:lnTo>
                    <a:pt x="4841122" y="2943780"/>
                  </a:lnTo>
                  <a:lnTo>
                    <a:pt x="4841041" y="2945256"/>
                  </a:lnTo>
                  <a:lnTo>
                    <a:pt x="4840083" y="2945982"/>
                  </a:lnTo>
                  <a:lnTo>
                    <a:pt x="4839426" y="2945753"/>
                  </a:lnTo>
                  <a:lnTo>
                    <a:pt x="4838522" y="2945156"/>
                  </a:lnTo>
                  <a:lnTo>
                    <a:pt x="4837654" y="2944433"/>
                  </a:lnTo>
                  <a:lnTo>
                    <a:pt x="4837131" y="2943861"/>
                  </a:lnTo>
                  <a:lnTo>
                    <a:pt x="4836377" y="2943210"/>
                  </a:lnTo>
                  <a:lnTo>
                    <a:pt x="4835297" y="2942802"/>
                  </a:lnTo>
                  <a:lnTo>
                    <a:pt x="4833342" y="2942382"/>
                  </a:lnTo>
                  <a:lnTo>
                    <a:pt x="4833298" y="2941892"/>
                  </a:lnTo>
                  <a:lnTo>
                    <a:pt x="4833192" y="2941514"/>
                  </a:lnTo>
                  <a:lnTo>
                    <a:pt x="4833074" y="2941171"/>
                  </a:lnTo>
                  <a:lnTo>
                    <a:pt x="4832972" y="2940763"/>
                  </a:lnTo>
                  <a:lnTo>
                    <a:pt x="4830878" y="2940775"/>
                  </a:lnTo>
                  <a:lnTo>
                    <a:pt x="4828713" y="2938279"/>
                  </a:lnTo>
                  <a:lnTo>
                    <a:pt x="4826914" y="2934860"/>
                  </a:lnTo>
                  <a:lnTo>
                    <a:pt x="4825934" y="2932133"/>
                  </a:lnTo>
                  <a:lnTo>
                    <a:pt x="4824876" y="2926651"/>
                  </a:lnTo>
                  <a:lnTo>
                    <a:pt x="4824788" y="2924738"/>
                  </a:lnTo>
                  <a:lnTo>
                    <a:pt x="4824927" y="2923807"/>
                  </a:lnTo>
                  <a:lnTo>
                    <a:pt x="4825529" y="2922180"/>
                  </a:lnTo>
                  <a:lnTo>
                    <a:pt x="4825646" y="2921452"/>
                  </a:lnTo>
                  <a:lnTo>
                    <a:pt x="4825397" y="2920597"/>
                  </a:lnTo>
                  <a:lnTo>
                    <a:pt x="4824928" y="2919758"/>
                  </a:lnTo>
                  <a:lnTo>
                    <a:pt x="4824514" y="2918822"/>
                  </a:lnTo>
                  <a:lnTo>
                    <a:pt x="4824452" y="2917683"/>
                  </a:lnTo>
                  <a:lnTo>
                    <a:pt x="4823721" y="2916776"/>
                  </a:lnTo>
                  <a:lnTo>
                    <a:pt x="4823745" y="2912998"/>
                  </a:lnTo>
                  <a:lnTo>
                    <a:pt x="4822587" y="2909150"/>
                  </a:lnTo>
                  <a:lnTo>
                    <a:pt x="4822763" y="2904869"/>
                  </a:lnTo>
                  <a:lnTo>
                    <a:pt x="4822615" y="2902800"/>
                  </a:lnTo>
                  <a:lnTo>
                    <a:pt x="4820777" y="2895987"/>
                  </a:lnTo>
                  <a:lnTo>
                    <a:pt x="4820611" y="2891145"/>
                  </a:lnTo>
                  <a:lnTo>
                    <a:pt x="4819097" y="2883406"/>
                  </a:lnTo>
                  <a:lnTo>
                    <a:pt x="4818680" y="2876320"/>
                  </a:lnTo>
                  <a:lnTo>
                    <a:pt x="4818133" y="2874542"/>
                  </a:lnTo>
                  <a:lnTo>
                    <a:pt x="4817014" y="2872426"/>
                  </a:lnTo>
                  <a:lnTo>
                    <a:pt x="4816190" y="2870225"/>
                  </a:lnTo>
                  <a:lnTo>
                    <a:pt x="4815122" y="2865272"/>
                  </a:lnTo>
                  <a:lnTo>
                    <a:pt x="4814527" y="2860300"/>
                  </a:lnTo>
                  <a:lnTo>
                    <a:pt x="4813971" y="2857740"/>
                  </a:lnTo>
                  <a:lnTo>
                    <a:pt x="4812955" y="2855427"/>
                  </a:lnTo>
                  <a:lnTo>
                    <a:pt x="4812731" y="2855230"/>
                  </a:lnTo>
                  <a:lnTo>
                    <a:pt x="4812472" y="2855146"/>
                  </a:lnTo>
                  <a:lnTo>
                    <a:pt x="4812144" y="2854957"/>
                  </a:lnTo>
                  <a:lnTo>
                    <a:pt x="4811716" y="2854427"/>
                  </a:lnTo>
                  <a:lnTo>
                    <a:pt x="4811661" y="2854055"/>
                  </a:lnTo>
                  <a:lnTo>
                    <a:pt x="4811835" y="2853720"/>
                  </a:lnTo>
                  <a:lnTo>
                    <a:pt x="4811962" y="2853303"/>
                  </a:lnTo>
                  <a:lnTo>
                    <a:pt x="4811338" y="2851696"/>
                  </a:lnTo>
                  <a:lnTo>
                    <a:pt x="4810314" y="2847706"/>
                  </a:lnTo>
                  <a:lnTo>
                    <a:pt x="4810352" y="2844513"/>
                  </a:lnTo>
                  <a:lnTo>
                    <a:pt x="4810198" y="2843470"/>
                  </a:lnTo>
                  <a:lnTo>
                    <a:pt x="4809378" y="2841787"/>
                  </a:lnTo>
                  <a:lnTo>
                    <a:pt x="4809132" y="2840862"/>
                  </a:lnTo>
                  <a:lnTo>
                    <a:pt x="4809197" y="2839479"/>
                  </a:lnTo>
                  <a:lnTo>
                    <a:pt x="4809914" y="2835388"/>
                  </a:lnTo>
                  <a:lnTo>
                    <a:pt x="4809277" y="2831978"/>
                  </a:lnTo>
                  <a:lnTo>
                    <a:pt x="4808163" y="2828538"/>
                  </a:lnTo>
                  <a:lnTo>
                    <a:pt x="4807746" y="2825428"/>
                  </a:lnTo>
                  <a:lnTo>
                    <a:pt x="4809194" y="2823028"/>
                  </a:lnTo>
                  <a:lnTo>
                    <a:pt x="4814761" y="2821427"/>
                  </a:lnTo>
                  <a:lnTo>
                    <a:pt x="4817227" y="2820119"/>
                  </a:lnTo>
                  <a:lnTo>
                    <a:pt x="4818313" y="2817130"/>
                  </a:lnTo>
                  <a:lnTo>
                    <a:pt x="4818023" y="2815736"/>
                  </a:lnTo>
                  <a:lnTo>
                    <a:pt x="4817258" y="2815864"/>
                  </a:lnTo>
                  <a:lnTo>
                    <a:pt x="4813748" y="2819790"/>
                  </a:lnTo>
                  <a:lnTo>
                    <a:pt x="4812638" y="2820493"/>
                  </a:lnTo>
                  <a:lnTo>
                    <a:pt x="4811266" y="2820680"/>
                  </a:lnTo>
                  <a:lnTo>
                    <a:pt x="4810905" y="2820109"/>
                  </a:lnTo>
                  <a:lnTo>
                    <a:pt x="4811464" y="2819719"/>
                  </a:lnTo>
                  <a:lnTo>
                    <a:pt x="4811906" y="2819250"/>
                  </a:lnTo>
                  <a:lnTo>
                    <a:pt x="4812239" y="2818693"/>
                  </a:lnTo>
                  <a:lnTo>
                    <a:pt x="4812483" y="2818025"/>
                  </a:lnTo>
                  <a:lnTo>
                    <a:pt x="4810868" y="2817332"/>
                  </a:lnTo>
                  <a:lnTo>
                    <a:pt x="4808413" y="2819267"/>
                  </a:lnTo>
                  <a:lnTo>
                    <a:pt x="4806759" y="2817876"/>
                  </a:lnTo>
                  <a:lnTo>
                    <a:pt x="4804953" y="2816660"/>
                  </a:lnTo>
                  <a:lnTo>
                    <a:pt x="4803095" y="2817447"/>
                  </a:lnTo>
                  <a:lnTo>
                    <a:pt x="4801365" y="2818631"/>
                  </a:lnTo>
                  <a:lnTo>
                    <a:pt x="4799920" y="2818591"/>
                  </a:lnTo>
                  <a:lnTo>
                    <a:pt x="4799445" y="2817634"/>
                  </a:lnTo>
                  <a:lnTo>
                    <a:pt x="4799655" y="2816672"/>
                  </a:lnTo>
                  <a:lnTo>
                    <a:pt x="4800815" y="2814943"/>
                  </a:lnTo>
                  <a:lnTo>
                    <a:pt x="4801081" y="2814186"/>
                  </a:lnTo>
                  <a:lnTo>
                    <a:pt x="4801392" y="2813852"/>
                  </a:lnTo>
                  <a:lnTo>
                    <a:pt x="4801905" y="2813798"/>
                  </a:lnTo>
                  <a:lnTo>
                    <a:pt x="4802514" y="2814607"/>
                  </a:lnTo>
                  <a:lnTo>
                    <a:pt x="4803009" y="2814539"/>
                  </a:lnTo>
                  <a:lnTo>
                    <a:pt x="4805016" y="2812240"/>
                  </a:lnTo>
                  <a:lnTo>
                    <a:pt x="4806866" y="2809135"/>
                  </a:lnTo>
                  <a:lnTo>
                    <a:pt x="4807377" y="2806527"/>
                  </a:lnTo>
                  <a:lnTo>
                    <a:pt x="4807571" y="2805926"/>
                  </a:lnTo>
                  <a:lnTo>
                    <a:pt x="4808214" y="2805380"/>
                  </a:lnTo>
                  <a:lnTo>
                    <a:pt x="4809964" y="2804401"/>
                  </a:lnTo>
                  <a:lnTo>
                    <a:pt x="4810280" y="2803569"/>
                  </a:lnTo>
                  <a:lnTo>
                    <a:pt x="4810562" y="2801594"/>
                  </a:lnTo>
                  <a:lnTo>
                    <a:pt x="4812165" y="2798185"/>
                  </a:lnTo>
                  <a:lnTo>
                    <a:pt x="4812553" y="2796069"/>
                  </a:lnTo>
                  <a:lnTo>
                    <a:pt x="4812464" y="2795057"/>
                  </a:lnTo>
                  <a:lnTo>
                    <a:pt x="4812076" y="2792987"/>
                  </a:lnTo>
                  <a:lnTo>
                    <a:pt x="4812061" y="2791869"/>
                  </a:lnTo>
                  <a:lnTo>
                    <a:pt x="4812735" y="2789312"/>
                  </a:lnTo>
                  <a:lnTo>
                    <a:pt x="4812890" y="2787140"/>
                  </a:lnTo>
                  <a:lnTo>
                    <a:pt x="4813085" y="2786178"/>
                  </a:lnTo>
                  <a:lnTo>
                    <a:pt x="4813060" y="2785120"/>
                  </a:lnTo>
                  <a:lnTo>
                    <a:pt x="4812476" y="2783793"/>
                  </a:lnTo>
                  <a:lnTo>
                    <a:pt x="4811553" y="2782037"/>
                  </a:lnTo>
                  <a:lnTo>
                    <a:pt x="4811869" y="2781635"/>
                  </a:lnTo>
                  <a:lnTo>
                    <a:pt x="4812717" y="2781560"/>
                  </a:lnTo>
                  <a:lnTo>
                    <a:pt x="4813407" y="2780813"/>
                  </a:lnTo>
                  <a:lnTo>
                    <a:pt x="4813809" y="2779698"/>
                  </a:lnTo>
                  <a:lnTo>
                    <a:pt x="4812962" y="2779073"/>
                  </a:lnTo>
                  <a:lnTo>
                    <a:pt x="4812210" y="2778929"/>
                  </a:lnTo>
                  <a:lnTo>
                    <a:pt x="4810616" y="2779139"/>
                  </a:lnTo>
                  <a:lnTo>
                    <a:pt x="4810308" y="2780366"/>
                  </a:lnTo>
                  <a:lnTo>
                    <a:pt x="4809701" y="2780347"/>
                  </a:lnTo>
                  <a:lnTo>
                    <a:pt x="4809031" y="2779868"/>
                  </a:lnTo>
                  <a:lnTo>
                    <a:pt x="4808053" y="2779611"/>
                  </a:lnTo>
                  <a:lnTo>
                    <a:pt x="4808274" y="2778527"/>
                  </a:lnTo>
                  <a:lnTo>
                    <a:pt x="4809008" y="2776621"/>
                  </a:lnTo>
                  <a:lnTo>
                    <a:pt x="4807674" y="2776549"/>
                  </a:lnTo>
                  <a:lnTo>
                    <a:pt x="4805646" y="2778247"/>
                  </a:lnTo>
                  <a:lnTo>
                    <a:pt x="4804024" y="2778305"/>
                  </a:lnTo>
                  <a:lnTo>
                    <a:pt x="4803552" y="2777953"/>
                  </a:lnTo>
                  <a:lnTo>
                    <a:pt x="4802141" y="2776632"/>
                  </a:lnTo>
                  <a:lnTo>
                    <a:pt x="4801614" y="2776269"/>
                  </a:lnTo>
                  <a:lnTo>
                    <a:pt x="4800726" y="2776057"/>
                  </a:lnTo>
                  <a:lnTo>
                    <a:pt x="4799938" y="2776034"/>
                  </a:lnTo>
                  <a:lnTo>
                    <a:pt x="4799224" y="2776236"/>
                  </a:lnTo>
                  <a:lnTo>
                    <a:pt x="4798549" y="2776683"/>
                  </a:lnTo>
                  <a:lnTo>
                    <a:pt x="4799288" y="2775394"/>
                  </a:lnTo>
                  <a:lnTo>
                    <a:pt x="4802959" y="2773587"/>
                  </a:lnTo>
                  <a:lnTo>
                    <a:pt x="4803828" y="2774062"/>
                  </a:lnTo>
                  <a:lnTo>
                    <a:pt x="4805268" y="2775135"/>
                  </a:lnTo>
                  <a:lnTo>
                    <a:pt x="4806659" y="2775438"/>
                  </a:lnTo>
                  <a:lnTo>
                    <a:pt x="4807391" y="2773620"/>
                  </a:lnTo>
                  <a:lnTo>
                    <a:pt x="4808953" y="2771007"/>
                  </a:lnTo>
                  <a:lnTo>
                    <a:pt x="4809307" y="2769508"/>
                  </a:lnTo>
                  <a:lnTo>
                    <a:pt x="4808049" y="2768102"/>
                  </a:lnTo>
                  <a:lnTo>
                    <a:pt x="4806727" y="2767990"/>
                  </a:lnTo>
                  <a:lnTo>
                    <a:pt x="4804173" y="2769338"/>
                  </a:lnTo>
                  <a:lnTo>
                    <a:pt x="4802671" y="2769228"/>
                  </a:lnTo>
                  <a:lnTo>
                    <a:pt x="4804899" y="2767637"/>
                  </a:lnTo>
                  <a:lnTo>
                    <a:pt x="4806691" y="2765678"/>
                  </a:lnTo>
                  <a:lnTo>
                    <a:pt x="4807233" y="2763011"/>
                  </a:lnTo>
                  <a:lnTo>
                    <a:pt x="4805727" y="2759288"/>
                  </a:lnTo>
                  <a:lnTo>
                    <a:pt x="4805892" y="2758372"/>
                  </a:lnTo>
                  <a:lnTo>
                    <a:pt x="4807704" y="2755589"/>
                  </a:lnTo>
                  <a:lnTo>
                    <a:pt x="4808141" y="2754337"/>
                  </a:lnTo>
                  <a:lnTo>
                    <a:pt x="4807858" y="2752915"/>
                  </a:lnTo>
                  <a:lnTo>
                    <a:pt x="4807076" y="2751983"/>
                  </a:lnTo>
                  <a:lnTo>
                    <a:pt x="4804117" y="2749880"/>
                  </a:lnTo>
                  <a:lnTo>
                    <a:pt x="4804828" y="2747465"/>
                  </a:lnTo>
                  <a:lnTo>
                    <a:pt x="4805570" y="2747592"/>
                  </a:lnTo>
                  <a:lnTo>
                    <a:pt x="4806142" y="2747476"/>
                  </a:lnTo>
                  <a:lnTo>
                    <a:pt x="4807204" y="2746777"/>
                  </a:lnTo>
                  <a:lnTo>
                    <a:pt x="4805913" y="2745927"/>
                  </a:lnTo>
                  <a:lnTo>
                    <a:pt x="4804706" y="2745433"/>
                  </a:lnTo>
                  <a:lnTo>
                    <a:pt x="4802046" y="2744868"/>
                  </a:lnTo>
                  <a:lnTo>
                    <a:pt x="4802081" y="2743765"/>
                  </a:lnTo>
                  <a:lnTo>
                    <a:pt x="4802348" y="2741908"/>
                  </a:lnTo>
                  <a:lnTo>
                    <a:pt x="4802365" y="2741068"/>
                  </a:lnTo>
                  <a:lnTo>
                    <a:pt x="4801572" y="2737811"/>
                  </a:lnTo>
                  <a:lnTo>
                    <a:pt x="4801448" y="2736607"/>
                  </a:lnTo>
                  <a:lnTo>
                    <a:pt x="4801569" y="2734701"/>
                  </a:lnTo>
                  <a:lnTo>
                    <a:pt x="4802812" y="2729694"/>
                  </a:lnTo>
                  <a:lnTo>
                    <a:pt x="4808598" y="2717229"/>
                  </a:lnTo>
                  <a:lnTo>
                    <a:pt x="4810756" y="2714435"/>
                  </a:lnTo>
                  <a:lnTo>
                    <a:pt x="4813283" y="2712112"/>
                  </a:lnTo>
                  <a:lnTo>
                    <a:pt x="4813910" y="2710906"/>
                  </a:lnTo>
                  <a:lnTo>
                    <a:pt x="4814575" y="2706780"/>
                  </a:lnTo>
                  <a:lnTo>
                    <a:pt x="4815082" y="2705138"/>
                  </a:lnTo>
                  <a:lnTo>
                    <a:pt x="4818550" y="2700795"/>
                  </a:lnTo>
                  <a:lnTo>
                    <a:pt x="4818640" y="2699435"/>
                  </a:lnTo>
                  <a:lnTo>
                    <a:pt x="4818557" y="2698003"/>
                  </a:lnTo>
                  <a:lnTo>
                    <a:pt x="4819335" y="2696167"/>
                  </a:lnTo>
                  <a:lnTo>
                    <a:pt x="4822915" y="2691173"/>
                  </a:lnTo>
                  <a:lnTo>
                    <a:pt x="4823540" y="2689862"/>
                  </a:lnTo>
                  <a:lnTo>
                    <a:pt x="4823927" y="2687140"/>
                  </a:lnTo>
                  <a:lnTo>
                    <a:pt x="4825052" y="2683711"/>
                  </a:lnTo>
                  <a:lnTo>
                    <a:pt x="4825664" y="2682737"/>
                  </a:lnTo>
                  <a:lnTo>
                    <a:pt x="4828623" y="2673663"/>
                  </a:lnTo>
                  <a:lnTo>
                    <a:pt x="4829753" y="2674291"/>
                  </a:lnTo>
                  <a:lnTo>
                    <a:pt x="4830889" y="2674054"/>
                  </a:lnTo>
                  <a:lnTo>
                    <a:pt x="4831457" y="2673175"/>
                  </a:lnTo>
                  <a:lnTo>
                    <a:pt x="4831917" y="2672095"/>
                  </a:lnTo>
                  <a:lnTo>
                    <a:pt x="4832691" y="2671214"/>
                  </a:lnTo>
                  <a:lnTo>
                    <a:pt x="4832903" y="2678184"/>
                  </a:lnTo>
                  <a:lnTo>
                    <a:pt x="4833810" y="2680016"/>
                  </a:lnTo>
                  <a:lnTo>
                    <a:pt x="4835711" y="2678250"/>
                  </a:lnTo>
                  <a:lnTo>
                    <a:pt x="4836326" y="2681612"/>
                  </a:lnTo>
                  <a:lnTo>
                    <a:pt x="4836440" y="2685115"/>
                  </a:lnTo>
                  <a:lnTo>
                    <a:pt x="4837716" y="2684908"/>
                  </a:lnTo>
                  <a:lnTo>
                    <a:pt x="4838614" y="2684218"/>
                  </a:lnTo>
                  <a:lnTo>
                    <a:pt x="4840142" y="2682405"/>
                  </a:lnTo>
                  <a:lnTo>
                    <a:pt x="4843906" y="2679643"/>
                  </a:lnTo>
                  <a:lnTo>
                    <a:pt x="4846253" y="2678939"/>
                  </a:lnTo>
                  <a:lnTo>
                    <a:pt x="4849112" y="2678563"/>
                  </a:lnTo>
                  <a:lnTo>
                    <a:pt x="4851651" y="2677736"/>
                  </a:lnTo>
                  <a:lnTo>
                    <a:pt x="4853020" y="2675715"/>
                  </a:lnTo>
                  <a:lnTo>
                    <a:pt x="4851752" y="2675784"/>
                  </a:lnTo>
                  <a:lnTo>
                    <a:pt x="4849394" y="2676847"/>
                  </a:lnTo>
                  <a:lnTo>
                    <a:pt x="4848011" y="2676624"/>
                  </a:lnTo>
                  <a:lnTo>
                    <a:pt x="4846988" y="2675688"/>
                  </a:lnTo>
                  <a:lnTo>
                    <a:pt x="4846117" y="2674474"/>
                  </a:lnTo>
                  <a:lnTo>
                    <a:pt x="4845238" y="2673631"/>
                  </a:lnTo>
                  <a:lnTo>
                    <a:pt x="4841490" y="2674087"/>
                  </a:lnTo>
                  <a:lnTo>
                    <a:pt x="4840659" y="2671717"/>
                  </a:lnTo>
                  <a:lnTo>
                    <a:pt x="4841073" y="2670331"/>
                  </a:lnTo>
                  <a:lnTo>
                    <a:pt x="4842117" y="2673549"/>
                  </a:lnTo>
                  <a:lnTo>
                    <a:pt x="4842768" y="2671689"/>
                  </a:lnTo>
                  <a:lnTo>
                    <a:pt x="4843050" y="2666860"/>
                  </a:lnTo>
                  <a:lnTo>
                    <a:pt x="4843902" y="2664839"/>
                  </a:lnTo>
                  <a:lnTo>
                    <a:pt x="4843934" y="2666313"/>
                  </a:lnTo>
                  <a:lnTo>
                    <a:pt x="4844014" y="2667061"/>
                  </a:lnTo>
                  <a:lnTo>
                    <a:pt x="4844461" y="2667361"/>
                  </a:lnTo>
                  <a:lnTo>
                    <a:pt x="4844953" y="2667385"/>
                  </a:lnTo>
                  <a:lnTo>
                    <a:pt x="4845480" y="2667786"/>
                  </a:lnTo>
                  <a:lnTo>
                    <a:pt x="4846422" y="2668202"/>
                  </a:lnTo>
                  <a:lnTo>
                    <a:pt x="4847735" y="2667907"/>
                  </a:lnTo>
                  <a:lnTo>
                    <a:pt x="4848918" y="2667172"/>
                  </a:lnTo>
                  <a:lnTo>
                    <a:pt x="4849470" y="2666271"/>
                  </a:lnTo>
                  <a:lnTo>
                    <a:pt x="4849056" y="2666025"/>
                  </a:lnTo>
                  <a:lnTo>
                    <a:pt x="4848787" y="2666008"/>
                  </a:lnTo>
                  <a:lnTo>
                    <a:pt x="4848562" y="2666103"/>
                  </a:lnTo>
                  <a:lnTo>
                    <a:pt x="4848274" y="2666149"/>
                  </a:lnTo>
                  <a:lnTo>
                    <a:pt x="4849980" y="2661702"/>
                  </a:lnTo>
                  <a:lnTo>
                    <a:pt x="4850697" y="2660645"/>
                  </a:lnTo>
                  <a:lnTo>
                    <a:pt x="4853192" y="2660225"/>
                  </a:lnTo>
                  <a:lnTo>
                    <a:pt x="4854223" y="2661452"/>
                  </a:lnTo>
                  <a:lnTo>
                    <a:pt x="4854489" y="2661195"/>
                  </a:lnTo>
                  <a:lnTo>
                    <a:pt x="4854345" y="2660382"/>
                  </a:lnTo>
                  <a:lnTo>
                    <a:pt x="4854161" y="2659937"/>
                  </a:lnTo>
                  <a:lnTo>
                    <a:pt x="4856465" y="2658675"/>
                  </a:lnTo>
                  <a:close/>
                  <a:moveTo>
                    <a:pt x="170033" y="2652833"/>
                  </a:moveTo>
                  <a:lnTo>
                    <a:pt x="171926" y="2652991"/>
                  </a:lnTo>
                  <a:lnTo>
                    <a:pt x="171930" y="2656137"/>
                  </a:lnTo>
                  <a:lnTo>
                    <a:pt x="172381" y="2660318"/>
                  </a:lnTo>
                  <a:lnTo>
                    <a:pt x="171432" y="2661923"/>
                  </a:lnTo>
                  <a:lnTo>
                    <a:pt x="167963" y="2661000"/>
                  </a:lnTo>
                  <a:lnTo>
                    <a:pt x="166292" y="2658946"/>
                  </a:lnTo>
                  <a:lnTo>
                    <a:pt x="166945" y="2657064"/>
                  </a:lnTo>
                  <a:lnTo>
                    <a:pt x="164468" y="2656133"/>
                  </a:lnTo>
                  <a:lnTo>
                    <a:pt x="166023" y="2654416"/>
                  </a:lnTo>
                  <a:close/>
                  <a:moveTo>
                    <a:pt x="220135" y="2640558"/>
                  </a:moveTo>
                  <a:lnTo>
                    <a:pt x="219642" y="2641292"/>
                  </a:lnTo>
                  <a:lnTo>
                    <a:pt x="219185" y="2641755"/>
                  </a:lnTo>
                  <a:lnTo>
                    <a:pt x="218749" y="2642014"/>
                  </a:lnTo>
                  <a:lnTo>
                    <a:pt x="218302" y="2642176"/>
                  </a:lnTo>
                  <a:lnTo>
                    <a:pt x="218598" y="2642288"/>
                  </a:lnTo>
                  <a:lnTo>
                    <a:pt x="219421" y="2642810"/>
                  </a:lnTo>
                  <a:lnTo>
                    <a:pt x="218959" y="2643378"/>
                  </a:lnTo>
                  <a:lnTo>
                    <a:pt x="218087" y="2644680"/>
                  </a:lnTo>
                  <a:lnTo>
                    <a:pt x="217640" y="2645241"/>
                  </a:lnTo>
                  <a:lnTo>
                    <a:pt x="215960" y="2646669"/>
                  </a:lnTo>
                  <a:lnTo>
                    <a:pt x="214261" y="2647365"/>
                  </a:lnTo>
                  <a:lnTo>
                    <a:pt x="211073" y="2647533"/>
                  </a:lnTo>
                  <a:lnTo>
                    <a:pt x="210208" y="2647354"/>
                  </a:lnTo>
                  <a:lnTo>
                    <a:pt x="208627" y="2646670"/>
                  </a:lnTo>
                  <a:lnTo>
                    <a:pt x="207739" y="2646499"/>
                  </a:lnTo>
                  <a:lnTo>
                    <a:pt x="205882" y="2646461"/>
                  </a:lnTo>
                  <a:lnTo>
                    <a:pt x="205074" y="2646216"/>
                  </a:lnTo>
                  <a:lnTo>
                    <a:pt x="205483" y="2645634"/>
                  </a:lnTo>
                  <a:lnTo>
                    <a:pt x="209105" y="2643637"/>
                  </a:lnTo>
                  <a:lnTo>
                    <a:pt x="210960" y="2642955"/>
                  </a:lnTo>
                  <a:lnTo>
                    <a:pt x="214182" y="2642968"/>
                  </a:lnTo>
                  <a:lnTo>
                    <a:pt x="218369" y="2640571"/>
                  </a:lnTo>
                  <a:close/>
                  <a:moveTo>
                    <a:pt x="172127" y="2635859"/>
                  </a:moveTo>
                  <a:lnTo>
                    <a:pt x="173395" y="2636132"/>
                  </a:lnTo>
                  <a:lnTo>
                    <a:pt x="174193" y="2636951"/>
                  </a:lnTo>
                  <a:lnTo>
                    <a:pt x="173954" y="2638285"/>
                  </a:lnTo>
                  <a:lnTo>
                    <a:pt x="175553" y="2637848"/>
                  </a:lnTo>
                  <a:lnTo>
                    <a:pt x="176135" y="2638679"/>
                  </a:lnTo>
                  <a:lnTo>
                    <a:pt x="176416" y="2640000"/>
                  </a:lnTo>
                  <a:lnTo>
                    <a:pt x="177113" y="2641063"/>
                  </a:lnTo>
                  <a:lnTo>
                    <a:pt x="178272" y="2640930"/>
                  </a:lnTo>
                  <a:lnTo>
                    <a:pt x="179913" y="2640449"/>
                  </a:lnTo>
                  <a:lnTo>
                    <a:pt x="181037" y="2640558"/>
                  </a:lnTo>
                  <a:lnTo>
                    <a:pt x="180651" y="2642161"/>
                  </a:lnTo>
                  <a:lnTo>
                    <a:pt x="180336" y="2642946"/>
                  </a:lnTo>
                  <a:lnTo>
                    <a:pt x="180261" y="2643288"/>
                  </a:lnTo>
                  <a:lnTo>
                    <a:pt x="180344" y="2643712"/>
                  </a:lnTo>
                  <a:lnTo>
                    <a:pt x="178054" y="2646226"/>
                  </a:lnTo>
                  <a:lnTo>
                    <a:pt x="176967" y="2647183"/>
                  </a:lnTo>
                  <a:lnTo>
                    <a:pt x="175597" y="2647954"/>
                  </a:lnTo>
                  <a:lnTo>
                    <a:pt x="171178" y="2649071"/>
                  </a:lnTo>
                  <a:lnTo>
                    <a:pt x="170282" y="2649623"/>
                  </a:lnTo>
                  <a:lnTo>
                    <a:pt x="160494" y="2651289"/>
                  </a:lnTo>
                  <a:lnTo>
                    <a:pt x="160478" y="2650368"/>
                  </a:lnTo>
                  <a:lnTo>
                    <a:pt x="160930" y="2649641"/>
                  </a:lnTo>
                  <a:lnTo>
                    <a:pt x="161568" y="2649008"/>
                  </a:lnTo>
                  <a:lnTo>
                    <a:pt x="162088" y="2648368"/>
                  </a:lnTo>
                  <a:lnTo>
                    <a:pt x="164952" y="2643119"/>
                  </a:lnTo>
                  <a:lnTo>
                    <a:pt x="165658" y="2642231"/>
                  </a:lnTo>
                  <a:lnTo>
                    <a:pt x="166926" y="2641707"/>
                  </a:lnTo>
                  <a:lnTo>
                    <a:pt x="167875" y="2640620"/>
                  </a:lnTo>
                  <a:lnTo>
                    <a:pt x="168980" y="2639794"/>
                  </a:lnTo>
                  <a:lnTo>
                    <a:pt x="169515" y="2639240"/>
                  </a:lnTo>
                  <a:lnTo>
                    <a:pt x="169777" y="2638589"/>
                  </a:lnTo>
                  <a:lnTo>
                    <a:pt x="169964" y="2637724"/>
                  </a:lnTo>
                  <a:lnTo>
                    <a:pt x="170297" y="2636835"/>
                  </a:lnTo>
                  <a:lnTo>
                    <a:pt x="170972" y="2636120"/>
                  </a:lnTo>
                  <a:close/>
                  <a:moveTo>
                    <a:pt x="203397" y="2631809"/>
                  </a:moveTo>
                  <a:lnTo>
                    <a:pt x="205114" y="2632098"/>
                  </a:lnTo>
                  <a:lnTo>
                    <a:pt x="205961" y="2633429"/>
                  </a:lnTo>
                  <a:lnTo>
                    <a:pt x="205968" y="2634665"/>
                  </a:lnTo>
                  <a:lnTo>
                    <a:pt x="205674" y="2637574"/>
                  </a:lnTo>
                  <a:lnTo>
                    <a:pt x="204866" y="2638226"/>
                  </a:lnTo>
                  <a:lnTo>
                    <a:pt x="202893" y="2640325"/>
                  </a:lnTo>
                  <a:lnTo>
                    <a:pt x="202257" y="2641219"/>
                  </a:lnTo>
                  <a:lnTo>
                    <a:pt x="201205" y="2642254"/>
                  </a:lnTo>
                  <a:lnTo>
                    <a:pt x="200332" y="2641724"/>
                  </a:lnTo>
                  <a:lnTo>
                    <a:pt x="199067" y="2639825"/>
                  </a:lnTo>
                  <a:lnTo>
                    <a:pt x="198745" y="2640134"/>
                  </a:lnTo>
                  <a:lnTo>
                    <a:pt x="197846" y="2640553"/>
                  </a:lnTo>
                  <a:lnTo>
                    <a:pt x="196917" y="2640565"/>
                  </a:lnTo>
                  <a:lnTo>
                    <a:pt x="196509" y="2639653"/>
                  </a:lnTo>
                  <a:lnTo>
                    <a:pt x="196389" y="2638588"/>
                  </a:lnTo>
                  <a:lnTo>
                    <a:pt x="195803" y="2636419"/>
                  </a:lnTo>
                  <a:lnTo>
                    <a:pt x="195675" y="2635292"/>
                  </a:lnTo>
                  <a:lnTo>
                    <a:pt x="195544" y="2634728"/>
                  </a:lnTo>
                  <a:lnTo>
                    <a:pt x="195404" y="2633451"/>
                  </a:lnTo>
                  <a:lnTo>
                    <a:pt x="195607" y="2632361"/>
                  </a:lnTo>
                  <a:lnTo>
                    <a:pt x="196520" y="2632331"/>
                  </a:lnTo>
                  <a:lnTo>
                    <a:pt x="197334" y="2632644"/>
                  </a:lnTo>
                  <a:lnTo>
                    <a:pt x="198051" y="2632651"/>
                  </a:lnTo>
                  <a:close/>
                  <a:moveTo>
                    <a:pt x="162140" y="2630304"/>
                  </a:moveTo>
                  <a:lnTo>
                    <a:pt x="164299" y="2631850"/>
                  </a:lnTo>
                  <a:lnTo>
                    <a:pt x="163638" y="2633959"/>
                  </a:lnTo>
                  <a:lnTo>
                    <a:pt x="161622" y="2635085"/>
                  </a:lnTo>
                  <a:lnTo>
                    <a:pt x="160158" y="2634942"/>
                  </a:lnTo>
                  <a:lnTo>
                    <a:pt x="160246" y="2633302"/>
                  </a:lnTo>
                  <a:close/>
                  <a:moveTo>
                    <a:pt x="3296341" y="2625881"/>
                  </a:moveTo>
                  <a:lnTo>
                    <a:pt x="3296000" y="2625984"/>
                  </a:lnTo>
                  <a:lnTo>
                    <a:pt x="3302417" y="2626801"/>
                  </a:lnTo>
                  <a:lnTo>
                    <a:pt x="3310672" y="2630379"/>
                  </a:lnTo>
                  <a:lnTo>
                    <a:pt x="3312403" y="2630388"/>
                  </a:lnTo>
                  <a:lnTo>
                    <a:pt x="3312596" y="2631040"/>
                  </a:lnTo>
                  <a:lnTo>
                    <a:pt x="3311073" y="2631962"/>
                  </a:lnTo>
                  <a:lnTo>
                    <a:pt x="3308582" y="2631601"/>
                  </a:lnTo>
                  <a:lnTo>
                    <a:pt x="3294666" y="2627093"/>
                  </a:lnTo>
                  <a:lnTo>
                    <a:pt x="3294475" y="2626439"/>
                  </a:lnTo>
                  <a:lnTo>
                    <a:pt x="3295859" y="2625914"/>
                  </a:lnTo>
                  <a:close/>
                  <a:moveTo>
                    <a:pt x="232935" y="2620072"/>
                  </a:moveTo>
                  <a:lnTo>
                    <a:pt x="232943" y="2621965"/>
                  </a:lnTo>
                  <a:lnTo>
                    <a:pt x="232405" y="2624819"/>
                  </a:lnTo>
                  <a:lnTo>
                    <a:pt x="231458" y="2627051"/>
                  </a:lnTo>
                  <a:lnTo>
                    <a:pt x="229919" y="2628909"/>
                  </a:lnTo>
                  <a:lnTo>
                    <a:pt x="227637" y="2630601"/>
                  </a:lnTo>
                  <a:lnTo>
                    <a:pt x="226522" y="2631153"/>
                  </a:lnTo>
                  <a:lnTo>
                    <a:pt x="224404" y="2631868"/>
                  </a:lnTo>
                  <a:lnTo>
                    <a:pt x="223248" y="2632446"/>
                  </a:lnTo>
                  <a:lnTo>
                    <a:pt x="219050" y="2635918"/>
                  </a:lnTo>
                  <a:lnTo>
                    <a:pt x="217837" y="2636685"/>
                  </a:lnTo>
                  <a:lnTo>
                    <a:pt x="216831" y="2636943"/>
                  </a:lnTo>
                  <a:lnTo>
                    <a:pt x="213810" y="2636967"/>
                  </a:lnTo>
                  <a:lnTo>
                    <a:pt x="209761" y="2638383"/>
                  </a:lnTo>
                  <a:lnTo>
                    <a:pt x="207560" y="2638656"/>
                  </a:lnTo>
                  <a:lnTo>
                    <a:pt x="206918" y="2638546"/>
                  </a:lnTo>
                  <a:lnTo>
                    <a:pt x="206977" y="2637852"/>
                  </a:lnTo>
                  <a:lnTo>
                    <a:pt x="206904" y="2635692"/>
                  </a:lnTo>
                  <a:lnTo>
                    <a:pt x="206781" y="2635006"/>
                  </a:lnTo>
                  <a:lnTo>
                    <a:pt x="206859" y="2633573"/>
                  </a:lnTo>
                  <a:lnTo>
                    <a:pt x="207080" y="2631971"/>
                  </a:lnTo>
                  <a:lnTo>
                    <a:pt x="207406" y="2630741"/>
                  </a:lnTo>
                  <a:lnTo>
                    <a:pt x="210609" y="2630129"/>
                  </a:lnTo>
                  <a:lnTo>
                    <a:pt x="225788" y="2623809"/>
                  </a:lnTo>
                  <a:lnTo>
                    <a:pt x="231202" y="2620380"/>
                  </a:lnTo>
                  <a:close/>
                  <a:moveTo>
                    <a:pt x="4839250" y="2614440"/>
                  </a:moveTo>
                  <a:lnTo>
                    <a:pt x="4840614" y="2616897"/>
                  </a:lnTo>
                  <a:lnTo>
                    <a:pt x="4841230" y="2619247"/>
                  </a:lnTo>
                  <a:lnTo>
                    <a:pt x="4842544" y="2626715"/>
                  </a:lnTo>
                  <a:lnTo>
                    <a:pt x="4842254" y="2628717"/>
                  </a:lnTo>
                  <a:lnTo>
                    <a:pt x="4839334" y="2631225"/>
                  </a:lnTo>
                  <a:lnTo>
                    <a:pt x="4837809" y="2631095"/>
                  </a:lnTo>
                  <a:lnTo>
                    <a:pt x="4836613" y="2628265"/>
                  </a:lnTo>
                  <a:lnTo>
                    <a:pt x="4836004" y="2623133"/>
                  </a:lnTo>
                  <a:lnTo>
                    <a:pt x="4836215" y="2622412"/>
                  </a:lnTo>
                  <a:lnTo>
                    <a:pt x="4837278" y="2620454"/>
                  </a:lnTo>
                  <a:lnTo>
                    <a:pt x="4837865" y="2619805"/>
                  </a:lnTo>
                  <a:lnTo>
                    <a:pt x="4838329" y="2618115"/>
                  </a:lnTo>
                  <a:lnTo>
                    <a:pt x="4838636" y="2615576"/>
                  </a:lnTo>
                  <a:close/>
                  <a:moveTo>
                    <a:pt x="32344" y="2608618"/>
                  </a:moveTo>
                  <a:lnTo>
                    <a:pt x="33471" y="2610228"/>
                  </a:lnTo>
                  <a:lnTo>
                    <a:pt x="34263" y="2612332"/>
                  </a:lnTo>
                  <a:lnTo>
                    <a:pt x="35174" y="2612980"/>
                  </a:lnTo>
                  <a:lnTo>
                    <a:pt x="36105" y="2612843"/>
                  </a:lnTo>
                  <a:lnTo>
                    <a:pt x="36921" y="2613468"/>
                  </a:lnTo>
                  <a:lnTo>
                    <a:pt x="37517" y="2614460"/>
                  </a:lnTo>
                  <a:lnTo>
                    <a:pt x="37763" y="2615480"/>
                  </a:lnTo>
                  <a:lnTo>
                    <a:pt x="37857" y="2616483"/>
                  </a:lnTo>
                  <a:lnTo>
                    <a:pt x="38064" y="2617069"/>
                  </a:lnTo>
                  <a:lnTo>
                    <a:pt x="41143" y="2621201"/>
                  </a:lnTo>
                  <a:lnTo>
                    <a:pt x="44028" y="2623376"/>
                  </a:lnTo>
                  <a:lnTo>
                    <a:pt x="45539" y="2623888"/>
                  </a:lnTo>
                  <a:lnTo>
                    <a:pt x="49047" y="2624238"/>
                  </a:lnTo>
                  <a:lnTo>
                    <a:pt x="50697" y="2624867"/>
                  </a:lnTo>
                  <a:lnTo>
                    <a:pt x="51898" y="2626175"/>
                  </a:lnTo>
                  <a:lnTo>
                    <a:pt x="53430" y="2629522"/>
                  </a:lnTo>
                  <a:lnTo>
                    <a:pt x="54622" y="2630807"/>
                  </a:lnTo>
                  <a:lnTo>
                    <a:pt x="54542" y="2632070"/>
                  </a:lnTo>
                  <a:lnTo>
                    <a:pt x="53471" y="2634382"/>
                  </a:lnTo>
                  <a:lnTo>
                    <a:pt x="52086" y="2636761"/>
                  </a:lnTo>
                  <a:lnTo>
                    <a:pt x="51097" y="2638207"/>
                  </a:lnTo>
                  <a:lnTo>
                    <a:pt x="49157" y="2639742"/>
                  </a:lnTo>
                  <a:lnTo>
                    <a:pt x="47647" y="2639801"/>
                  </a:lnTo>
                  <a:lnTo>
                    <a:pt x="46175" y="2639468"/>
                  </a:lnTo>
                  <a:lnTo>
                    <a:pt x="44357" y="2639832"/>
                  </a:lnTo>
                  <a:lnTo>
                    <a:pt x="41038" y="2641677"/>
                  </a:lnTo>
                  <a:lnTo>
                    <a:pt x="39732" y="2643162"/>
                  </a:lnTo>
                  <a:lnTo>
                    <a:pt x="40273" y="2644779"/>
                  </a:lnTo>
                  <a:lnTo>
                    <a:pt x="40807" y="2644707"/>
                  </a:lnTo>
                  <a:lnTo>
                    <a:pt x="43217" y="2643566"/>
                  </a:lnTo>
                  <a:lnTo>
                    <a:pt x="44090" y="2643321"/>
                  </a:lnTo>
                  <a:lnTo>
                    <a:pt x="44846" y="2643390"/>
                  </a:lnTo>
                  <a:lnTo>
                    <a:pt x="46226" y="2644062"/>
                  </a:lnTo>
                  <a:lnTo>
                    <a:pt x="47588" y="2644022"/>
                  </a:lnTo>
                  <a:lnTo>
                    <a:pt x="49217" y="2642854"/>
                  </a:lnTo>
                  <a:lnTo>
                    <a:pt x="50804" y="2641097"/>
                  </a:lnTo>
                  <a:lnTo>
                    <a:pt x="52043" y="2639266"/>
                  </a:lnTo>
                  <a:lnTo>
                    <a:pt x="53046" y="2639093"/>
                  </a:lnTo>
                  <a:lnTo>
                    <a:pt x="58122" y="2639969"/>
                  </a:lnTo>
                  <a:lnTo>
                    <a:pt x="59691" y="2639437"/>
                  </a:lnTo>
                  <a:lnTo>
                    <a:pt x="61195" y="2638687"/>
                  </a:lnTo>
                  <a:lnTo>
                    <a:pt x="62757" y="2638245"/>
                  </a:lnTo>
                  <a:lnTo>
                    <a:pt x="69448" y="2640675"/>
                  </a:lnTo>
                  <a:lnTo>
                    <a:pt x="69934" y="2641461"/>
                  </a:lnTo>
                  <a:lnTo>
                    <a:pt x="69674" y="2643008"/>
                  </a:lnTo>
                  <a:lnTo>
                    <a:pt x="70423" y="2646484"/>
                  </a:lnTo>
                  <a:lnTo>
                    <a:pt x="69905" y="2648483"/>
                  </a:lnTo>
                  <a:lnTo>
                    <a:pt x="69115" y="2649639"/>
                  </a:lnTo>
                  <a:lnTo>
                    <a:pt x="68693" y="2650122"/>
                  </a:lnTo>
                  <a:lnTo>
                    <a:pt x="68651" y="2650639"/>
                  </a:lnTo>
                  <a:lnTo>
                    <a:pt x="68989" y="2651866"/>
                  </a:lnTo>
                  <a:lnTo>
                    <a:pt x="69492" y="2652703"/>
                  </a:lnTo>
                  <a:lnTo>
                    <a:pt x="70880" y="2654015"/>
                  </a:lnTo>
                  <a:lnTo>
                    <a:pt x="71235" y="2655059"/>
                  </a:lnTo>
                  <a:lnTo>
                    <a:pt x="71055" y="2656997"/>
                  </a:lnTo>
                  <a:lnTo>
                    <a:pt x="70295" y="2658863"/>
                  </a:lnTo>
                  <a:lnTo>
                    <a:pt x="69075" y="2660654"/>
                  </a:lnTo>
                  <a:lnTo>
                    <a:pt x="67555" y="2662357"/>
                  </a:lnTo>
                  <a:lnTo>
                    <a:pt x="67569" y="2663756"/>
                  </a:lnTo>
                  <a:lnTo>
                    <a:pt x="67367" y="2666341"/>
                  </a:lnTo>
                  <a:lnTo>
                    <a:pt x="66941" y="2668733"/>
                  </a:lnTo>
                  <a:lnTo>
                    <a:pt x="66287" y="2669529"/>
                  </a:lnTo>
                  <a:lnTo>
                    <a:pt x="63156" y="2671561"/>
                  </a:lnTo>
                  <a:lnTo>
                    <a:pt x="62309" y="2671668"/>
                  </a:lnTo>
                  <a:lnTo>
                    <a:pt x="60582" y="2670901"/>
                  </a:lnTo>
                  <a:lnTo>
                    <a:pt x="59754" y="2670809"/>
                  </a:lnTo>
                  <a:lnTo>
                    <a:pt x="58050" y="2671806"/>
                  </a:lnTo>
                  <a:lnTo>
                    <a:pt x="56251" y="2673333"/>
                  </a:lnTo>
                  <a:lnTo>
                    <a:pt x="54386" y="2674455"/>
                  </a:lnTo>
                  <a:lnTo>
                    <a:pt x="52487" y="2674264"/>
                  </a:lnTo>
                  <a:lnTo>
                    <a:pt x="46258" y="2671413"/>
                  </a:lnTo>
                  <a:lnTo>
                    <a:pt x="44611" y="2671534"/>
                  </a:lnTo>
                  <a:lnTo>
                    <a:pt x="41091" y="2672787"/>
                  </a:lnTo>
                  <a:lnTo>
                    <a:pt x="39714" y="2672665"/>
                  </a:lnTo>
                  <a:lnTo>
                    <a:pt x="38265" y="2672184"/>
                  </a:lnTo>
                  <a:lnTo>
                    <a:pt x="34810" y="2671876"/>
                  </a:lnTo>
                  <a:lnTo>
                    <a:pt x="33151" y="2671269"/>
                  </a:lnTo>
                  <a:lnTo>
                    <a:pt x="30238" y="2669115"/>
                  </a:lnTo>
                  <a:lnTo>
                    <a:pt x="28506" y="2668361"/>
                  </a:lnTo>
                  <a:lnTo>
                    <a:pt x="26810" y="2668633"/>
                  </a:lnTo>
                  <a:lnTo>
                    <a:pt x="25620" y="2669672"/>
                  </a:lnTo>
                  <a:lnTo>
                    <a:pt x="25958" y="2670168"/>
                  </a:lnTo>
                  <a:lnTo>
                    <a:pt x="27714" y="2670551"/>
                  </a:lnTo>
                  <a:lnTo>
                    <a:pt x="28551" y="2671135"/>
                  </a:lnTo>
                  <a:lnTo>
                    <a:pt x="28969" y="2671711"/>
                  </a:lnTo>
                  <a:lnTo>
                    <a:pt x="28999" y="2672525"/>
                  </a:lnTo>
                  <a:lnTo>
                    <a:pt x="28673" y="2673778"/>
                  </a:lnTo>
                  <a:lnTo>
                    <a:pt x="28297" y="2674304"/>
                  </a:lnTo>
                  <a:lnTo>
                    <a:pt x="26406" y="2675962"/>
                  </a:lnTo>
                  <a:lnTo>
                    <a:pt x="27657" y="2676048"/>
                  </a:lnTo>
                  <a:lnTo>
                    <a:pt x="30081" y="2674686"/>
                  </a:lnTo>
                  <a:lnTo>
                    <a:pt x="31295" y="2674512"/>
                  </a:lnTo>
                  <a:lnTo>
                    <a:pt x="31865" y="2675103"/>
                  </a:lnTo>
                  <a:lnTo>
                    <a:pt x="32500" y="2677416"/>
                  </a:lnTo>
                  <a:lnTo>
                    <a:pt x="33187" y="2678297"/>
                  </a:lnTo>
                  <a:lnTo>
                    <a:pt x="35422" y="2679020"/>
                  </a:lnTo>
                  <a:lnTo>
                    <a:pt x="40393" y="2679495"/>
                  </a:lnTo>
                  <a:lnTo>
                    <a:pt x="42582" y="2680624"/>
                  </a:lnTo>
                  <a:lnTo>
                    <a:pt x="39665" y="2682024"/>
                  </a:lnTo>
                  <a:lnTo>
                    <a:pt x="36763" y="2681960"/>
                  </a:lnTo>
                  <a:lnTo>
                    <a:pt x="33676" y="2682403"/>
                  </a:lnTo>
                  <a:lnTo>
                    <a:pt x="30199" y="2685311"/>
                  </a:lnTo>
                  <a:lnTo>
                    <a:pt x="31113" y="2685782"/>
                  </a:lnTo>
                  <a:lnTo>
                    <a:pt x="32101" y="2685475"/>
                  </a:lnTo>
                  <a:lnTo>
                    <a:pt x="33186" y="2684844"/>
                  </a:lnTo>
                  <a:lnTo>
                    <a:pt x="34377" y="2684367"/>
                  </a:lnTo>
                  <a:lnTo>
                    <a:pt x="36315" y="2684453"/>
                  </a:lnTo>
                  <a:lnTo>
                    <a:pt x="38123" y="2684905"/>
                  </a:lnTo>
                  <a:lnTo>
                    <a:pt x="41503" y="2687015"/>
                  </a:lnTo>
                  <a:lnTo>
                    <a:pt x="43354" y="2687502"/>
                  </a:lnTo>
                  <a:lnTo>
                    <a:pt x="45284" y="2686566"/>
                  </a:lnTo>
                  <a:lnTo>
                    <a:pt x="44302" y="2686031"/>
                  </a:lnTo>
                  <a:lnTo>
                    <a:pt x="43246" y="2685012"/>
                  </a:lnTo>
                  <a:lnTo>
                    <a:pt x="42628" y="2683759"/>
                  </a:lnTo>
                  <a:lnTo>
                    <a:pt x="42968" y="2682539"/>
                  </a:lnTo>
                  <a:lnTo>
                    <a:pt x="44455" y="2681767"/>
                  </a:lnTo>
                  <a:lnTo>
                    <a:pt x="45757" y="2682435"/>
                  </a:lnTo>
                  <a:lnTo>
                    <a:pt x="47696" y="2684543"/>
                  </a:lnTo>
                  <a:lnTo>
                    <a:pt x="49093" y="2686747"/>
                  </a:lnTo>
                  <a:lnTo>
                    <a:pt x="49939" y="2687317"/>
                  </a:lnTo>
                  <a:lnTo>
                    <a:pt x="51056" y="2686183"/>
                  </a:lnTo>
                  <a:lnTo>
                    <a:pt x="52071" y="2685326"/>
                  </a:lnTo>
                  <a:lnTo>
                    <a:pt x="54708" y="2684525"/>
                  </a:lnTo>
                  <a:lnTo>
                    <a:pt x="55719" y="2683295"/>
                  </a:lnTo>
                  <a:lnTo>
                    <a:pt x="55939" y="2681914"/>
                  </a:lnTo>
                  <a:lnTo>
                    <a:pt x="55353" y="2679606"/>
                  </a:lnTo>
                  <a:lnTo>
                    <a:pt x="55671" y="2678023"/>
                  </a:lnTo>
                  <a:lnTo>
                    <a:pt x="56792" y="2676308"/>
                  </a:lnTo>
                  <a:lnTo>
                    <a:pt x="58065" y="2675342"/>
                  </a:lnTo>
                  <a:lnTo>
                    <a:pt x="59228" y="2674709"/>
                  </a:lnTo>
                  <a:lnTo>
                    <a:pt x="60001" y="2674021"/>
                  </a:lnTo>
                  <a:lnTo>
                    <a:pt x="60731" y="2673621"/>
                  </a:lnTo>
                  <a:lnTo>
                    <a:pt x="64634" y="2672457"/>
                  </a:lnTo>
                  <a:lnTo>
                    <a:pt x="68239" y="2669986"/>
                  </a:lnTo>
                  <a:lnTo>
                    <a:pt x="69502" y="2668852"/>
                  </a:lnTo>
                  <a:lnTo>
                    <a:pt x="69582" y="2667692"/>
                  </a:lnTo>
                  <a:lnTo>
                    <a:pt x="69470" y="2664923"/>
                  </a:lnTo>
                  <a:lnTo>
                    <a:pt x="69601" y="2664072"/>
                  </a:lnTo>
                  <a:lnTo>
                    <a:pt x="70198" y="2662829"/>
                  </a:lnTo>
                  <a:lnTo>
                    <a:pt x="71293" y="2659380"/>
                  </a:lnTo>
                  <a:lnTo>
                    <a:pt x="72529" y="2657037"/>
                  </a:lnTo>
                  <a:lnTo>
                    <a:pt x="73043" y="2655843"/>
                  </a:lnTo>
                  <a:lnTo>
                    <a:pt x="72944" y="2655132"/>
                  </a:lnTo>
                  <a:lnTo>
                    <a:pt x="72497" y="2654486"/>
                  </a:lnTo>
                  <a:lnTo>
                    <a:pt x="72203" y="2653371"/>
                  </a:lnTo>
                  <a:lnTo>
                    <a:pt x="71990" y="2650985"/>
                  </a:lnTo>
                  <a:lnTo>
                    <a:pt x="72922" y="2651301"/>
                  </a:lnTo>
                  <a:lnTo>
                    <a:pt x="74264" y="2653673"/>
                  </a:lnTo>
                  <a:lnTo>
                    <a:pt x="78260" y="2657497"/>
                  </a:lnTo>
                  <a:lnTo>
                    <a:pt x="81326" y="2658953"/>
                  </a:lnTo>
                  <a:lnTo>
                    <a:pt x="86314" y="2660128"/>
                  </a:lnTo>
                  <a:lnTo>
                    <a:pt x="90602" y="2659266"/>
                  </a:lnTo>
                  <a:lnTo>
                    <a:pt x="95151" y="2660291"/>
                  </a:lnTo>
                  <a:lnTo>
                    <a:pt x="98498" y="2659472"/>
                  </a:lnTo>
                  <a:lnTo>
                    <a:pt x="100728" y="2659580"/>
                  </a:lnTo>
                  <a:lnTo>
                    <a:pt x="101835" y="2659448"/>
                  </a:lnTo>
                  <a:lnTo>
                    <a:pt x="103204" y="2658897"/>
                  </a:lnTo>
                  <a:lnTo>
                    <a:pt x="104583" y="2658139"/>
                  </a:lnTo>
                  <a:lnTo>
                    <a:pt x="107068" y="2656395"/>
                  </a:lnTo>
                  <a:lnTo>
                    <a:pt x="106578" y="2657083"/>
                  </a:lnTo>
                  <a:lnTo>
                    <a:pt x="106324" y="2657320"/>
                  </a:lnTo>
                  <a:lnTo>
                    <a:pt x="105929" y="2657458"/>
                  </a:lnTo>
                  <a:lnTo>
                    <a:pt x="105798" y="2658459"/>
                  </a:lnTo>
                  <a:lnTo>
                    <a:pt x="105505" y="2659269"/>
                  </a:lnTo>
                  <a:lnTo>
                    <a:pt x="105046" y="2659840"/>
                  </a:lnTo>
                  <a:lnTo>
                    <a:pt x="104439" y="2660132"/>
                  </a:lnTo>
                  <a:lnTo>
                    <a:pt x="101848" y="2664461"/>
                  </a:lnTo>
                  <a:lnTo>
                    <a:pt x="99018" y="2668496"/>
                  </a:lnTo>
                  <a:lnTo>
                    <a:pt x="95965" y="2672061"/>
                  </a:lnTo>
                  <a:lnTo>
                    <a:pt x="92720" y="2674972"/>
                  </a:lnTo>
                  <a:lnTo>
                    <a:pt x="88903" y="2677453"/>
                  </a:lnTo>
                  <a:lnTo>
                    <a:pt x="81743" y="2681017"/>
                  </a:lnTo>
                  <a:lnTo>
                    <a:pt x="77857" y="2683483"/>
                  </a:lnTo>
                  <a:lnTo>
                    <a:pt x="76314" y="2684770"/>
                  </a:lnTo>
                  <a:lnTo>
                    <a:pt x="75062" y="2686199"/>
                  </a:lnTo>
                  <a:lnTo>
                    <a:pt x="73870" y="2687981"/>
                  </a:lnTo>
                  <a:lnTo>
                    <a:pt x="72514" y="2690334"/>
                  </a:lnTo>
                  <a:lnTo>
                    <a:pt x="71272" y="2692178"/>
                  </a:lnTo>
                  <a:lnTo>
                    <a:pt x="69780" y="2693868"/>
                  </a:lnTo>
                  <a:lnTo>
                    <a:pt x="68121" y="2695391"/>
                  </a:lnTo>
                  <a:lnTo>
                    <a:pt x="64592" y="2698120"/>
                  </a:lnTo>
                  <a:lnTo>
                    <a:pt x="62811" y="2699802"/>
                  </a:lnTo>
                  <a:lnTo>
                    <a:pt x="61448" y="2701859"/>
                  </a:lnTo>
                  <a:lnTo>
                    <a:pt x="60859" y="2704362"/>
                  </a:lnTo>
                  <a:lnTo>
                    <a:pt x="60495" y="2705410"/>
                  </a:lnTo>
                  <a:lnTo>
                    <a:pt x="59685" y="2706429"/>
                  </a:lnTo>
                  <a:lnTo>
                    <a:pt x="58726" y="2707275"/>
                  </a:lnTo>
                  <a:lnTo>
                    <a:pt x="57950" y="2707837"/>
                  </a:lnTo>
                  <a:lnTo>
                    <a:pt x="57111" y="2708755"/>
                  </a:lnTo>
                  <a:lnTo>
                    <a:pt x="56636" y="2709991"/>
                  </a:lnTo>
                  <a:lnTo>
                    <a:pt x="56124" y="2712410"/>
                  </a:lnTo>
                  <a:lnTo>
                    <a:pt x="54936" y="2716203"/>
                  </a:lnTo>
                  <a:lnTo>
                    <a:pt x="54250" y="2717700"/>
                  </a:lnTo>
                  <a:lnTo>
                    <a:pt x="51330" y="2722222"/>
                  </a:lnTo>
                  <a:lnTo>
                    <a:pt x="50741" y="2723581"/>
                  </a:lnTo>
                  <a:lnTo>
                    <a:pt x="50310" y="2725539"/>
                  </a:lnTo>
                  <a:lnTo>
                    <a:pt x="48507" y="2726507"/>
                  </a:lnTo>
                  <a:lnTo>
                    <a:pt x="43224" y="2730864"/>
                  </a:lnTo>
                  <a:lnTo>
                    <a:pt x="40855" y="2732248"/>
                  </a:lnTo>
                  <a:lnTo>
                    <a:pt x="39154" y="2732164"/>
                  </a:lnTo>
                  <a:lnTo>
                    <a:pt x="34316" y="2729121"/>
                  </a:lnTo>
                  <a:lnTo>
                    <a:pt x="29945" y="2727579"/>
                  </a:lnTo>
                  <a:lnTo>
                    <a:pt x="27631" y="2727628"/>
                  </a:lnTo>
                  <a:lnTo>
                    <a:pt x="26773" y="2727171"/>
                  </a:lnTo>
                  <a:lnTo>
                    <a:pt x="25862" y="2727055"/>
                  </a:lnTo>
                  <a:lnTo>
                    <a:pt x="24856" y="2728095"/>
                  </a:lnTo>
                  <a:lnTo>
                    <a:pt x="23988" y="2728868"/>
                  </a:lnTo>
                  <a:lnTo>
                    <a:pt x="23209" y="2728442"/>
                  </a:lnTo>
                  <a:lnTo>
                    <a:pt x="22029" y="2726773"/>
                  </a:lnTo>
                  <a:lnTo>
                    <a:pt x="22197" y="2728686"/>
                  </a:lnTo>
                  <a:lnTo>
                    <a:pt x="22876" y="2729599"/>
                  </a:lnTo>
                  <a:lnTo>
                    <a:pt x="25094" y="2730383"/>
                  </a:lnTo>
                  <a:lnTo>
                    <a:pt x="29700" y="2733173"/>
                  </a:lnTo>
                  <a:lnTo>
                    <a:pt x="28512" y="2734030"/>
                  </a:lnTo>
                  <a:lnTo>
                    <a:pt x="26812" y="2734619"/>
                  </a:lnTo>
                  <a:lnTo>
                    <a:pt x="25039" y="2734887"/>
                  </a:lnTo>
                  <a:lnTo>
                    <a:pt x="23623" y="2734810"/>
                  </a:lnTo>
                  <a:lnTo>
                    <a:pt x="21718" y="2733986"/>
                  </a:lnTo>
                  <a:lnTo>
                    <a:pt x="20403" y="2732610"/>
                  </a:lnTo>
                  <a:lnTo>
                    <a:pt x="19648" y="2730699"/>
                  </a:lnTo>
                  <a:lnTo>
                    <a:pt x="19377" y="2728299"/>
                  </a:lnTo>
                  <a:lnTo>
                    <a:pt x="19058" y="2727090"/>
                  </a:lnTo>
                  <a:lnTo>
                    <a:pt x="18393" y="2727653"/>
                  </a:lnTo>
                  <a:lnTo>
                    <a:pt x="17711" y="2728863"/>
                  </a:lnTo>
                  <a:lnTo>
                    <a:pt x="17343" y="2729640"/>
                  </a:lnTo>
                  <a:lnTo>
                    <a:pt x="16769" y="2729895"/>
                  </a:lnTo>
                  <a:lnTo>
                    <a:pt x="15854" y="2729754"/>
                  </a:lnTo>
                  <a:lnTo>
                    <a:pt x="13550" y="2728954"/>
                  </a:lnTo>
                  <a:lnTo>
                    <a:pt x="11593" y="2728963"/>
                  </a:lnTo>
                  <a:lnTo>
                    <a:pt x="10691" y="2728689"/>
                  </a:lnTo>
                  <a:lnTo>
                    <a:pt x="9105" y="2727688"/>
                  </a:lnTo>
                  <a:lnTo>
                    <a:pt x="8454" y="2727060"/>
                  </a:lnTo>
                  <a:lnTo>
                    <a:pt x="7967" y="2726230"/>
                  </a:lnTo>
                  <a:lnTo>
                    <a:pt x="9074" y="2725405"/>
                  </a:lnTo>
                  <a:lnTo>
                    <a:pt x="9622" y="2724864"/>
                  </a:lnTo>
                  <a:lnTo>
                    <a:pt x="10038" y="2724305"/>
                  </a:lnTo>
                  <a:lnTo>
                    <a:pt x="10281" y="2723473"/>
                  </a:lnTo>
                  <a:lnTo>
                    <a:pt x="10061" y="2722953"/>
                  </a:lnTo>
                  <a:lnTo>
                    <a:pt x="9644" y="2722791"/>
                  </a:lnTo>
                  <a:lnTo>
                    <a:pt x="9282" y="2723013"/>
                  </a:lnTo>
                  <a:lnTo>
                    <a:pt x="7998" y="2724199"/>
                  </a:lnTo>
                  <a:lnTo>
                    <a:pt x="6922" y="2723602"/>
                  </a:lnTo>
                  <a:lnTo>
                    <a:pt x="5648" y="2721223"/>
                  </a:lnTo>
                  <a:lnTo>
                    <a:pt x="6018" y="2720573"/>
                  </a:lnTo>
                  <a:lnTo>
                    <a:pt x="7528" y="2720622"/>
                  </a:lnTo>
                  <a:lnTo>
                    <a:pt x="6993" y="2719637"/>
                  </a:lnTo>
                  <a:lnTo>
                    <a:pt x="5415" y="2718229"/>
                  </a:lnTo>
                  <a:lnTo>
                    <a:pt x="4852" y="2717225"/>
                  </a:lnTo>
                  <a:lnTo>
                    <a:pt x="6522" y="2716606"/>
                  </a:lnTo>
                  <a:lnTo>
                    <a:pt x="7226" y="2716172"/>
                  </a:lnTo>
                  <a:lnTo>
                    <a:pt x="7884" y="2715500"/>
                  </a:lnTo>
                  <a:lnTo>
                    <a:pt x="6837" y="2714837"/>
                  </a:lnTo>
                  <a:lnTo>
                    <a:pt x="4828" y="2710999"/>
                  </a:lnTo>
                  <a:lnTo>
                    <a:pt x="2856" y="2709104"/>
                  </a:lnTo>
                  <a:lnTo>
                    <a:pt x="587" y="2707588"/>
                  </a:lnTo>
                  <a:lnTo>
                    <a:pt x="2144" y="2706353"/>
                  </a:lnTo>
                  <a:lnTo>
                    <a:pt x="4057" y="2706258"/>
                  </a:lnTo>
                  <a:lnTo>
                    <a:pt x="7770" y="2706748"/>
                  </a:lnTo>
                  <a:lnTo>
                    <a:pt x="7944" y="2706588"/>
                  </a:lnTo>
                  <a:lnTo>
                    <a:pt x="8239" y="2706232"/>
                  </a:lnTo>
                  <a:lnTo>
                    <a:pt x="8597" y="2705861"/>
                  </a:lnTo>
                  <a:lnTo>
                    <a:pt x="8958" y="2705645"/>
                  </a:lnTo>
                  <a:lnTo>
                    <a:pt x="11219" y="2706158"/>
                  </a:lnTo>
                  <a:lnTo>
                    <a:pt x="11676" y="2706998"/>
                  </a:lnTo>
                  <a:lnTo>
                    <a:pt x="12038" y="2708103"/>
                  </a:lnTo>
                  <a:lnTo>
                    <a:pt x="12578" y="2708513"/>
                  </a:lnTo>
                  <a:lnTo>
                    <a:pt x="13617" y="2707240"/>
                  </a:lnTo>
                  <a:lnTo>
                    <a:pt x="12464" y="2705262"/>
                  </a:lnTo>
                  <a:lnTo>
                    <a:pt x="957" y="2700707"/>
                  </a:lnTo>
                  <a:lnTo>
                    <a:pt x="2221" y="2699667"/>
                  </a:lnTo>
                  <a:lnTo>
                    <a:pt x="6256" y="2697207"/>
                  </a:lnTo>
                  <a:lnTo>
                    <a:pt x="7318" y="2696744"/>
                  </a:lnTo>
                  <a:lnTo>
                    <a:pt x="7944" y="2697177"/>
                  </a:lnTo>
                  <a:lnTo>
                    <a:pt x="9040" y="2699177"/>
                  </a:lnTo>
                  <a:lnTo>
                    <a:pt x="9598" y="2699898"/>
                  </a:lnTo>
                  <a:lnTo>
                    <a:pt x="16052" y="2703868"/>
                  </a:lnTo>
                  <a:lnTo>
                    <a:pt x="16584" y="2704602"/>
                  </a:lnTo>
                  <a:lnTo>
                    <a:pt x="16763" y="2706528"/>
                  </a:lnTo>
                  <a:lnTo>
                    <a:pt x="17458" y="2707769"/>
                  </a:lnTo>
                  <a:lnTo>
                    <a:pt x="17706" y="2709732"/>
                  </a:lnTo>
                  <a:lnTo>
                    <a:pt x="18876" y="2711162"/>
                  </a:lnTo>
                  <a:lnTo>
                    <a:pt x="19139" y="2712095"/>
                  </a:lnTo>
                  <a:lnTo>
                    <a:pt x="19081" y="2713176"/>
                  </a:lnTo>
                  <a:lnTo>
                    <a:pt x="18821" y="2714326"/>
                  </a:lnTo>
                  <a:lnTo>
                    <a:pt x="21462" y="2711617"/>
                  </a:lnTo>
                  <a:lnTo>
                    <a:pt x="21181" y="2708822"/>
                  </a:lnTo>
                  <a:lnTo>
                    <a:pt x="18677" y="2703734"/>
                  </a:lnTo>
                  <a:lnTo>
                    <a:pt x="18762" y="2702743"/>
                  </a:lnTo>
                  <a:lnTo>
                    <a:pt x="19323" y="2700544"/>
                  </a:lnTo>
                  <a:lnTo>
                    <a:pt x="19398" y="2699791"/>
                  </a:lnTo>
                  <a:lnTo>
                    <a:pt x="19040" y="2698975"/>
                  </a:lnTo>
                  <a:lnTo>
                    <a:pt x="17764" y="2698056"/>
                  </a:lnTo>
                  <a:lnTo>
                    <a:pt x="13656" y="2693736"/>
                  </a:lnTo>
                  <a:lnTo>
                    <a:pt x="12959" y="2692328"/>
                  </a:lnTo>
                  <a:lnTo>
                    <a:pt x="14553" y="2690341"/>
                  </a:lnTo>
                  <a:lnTo>
                    <a:pt x="15324" y="2688244"/>
                  </a:lnTo>
                  <a:lnTo>
                    <a:pt x="15230" y="2687171"/>
                  </a:lnTo>
                  <a:lnTo>
                    <a:pt x="12639" y="2689850"/>
                  </a:lnTo>
                  <a:lnTo>
                    <a:pt x="11067" y="2689748"/>
                  </a:lnTo>
                  <a:lnTo>
                    <a:pt x="9726" y="2688579"/>
                  </a:lnTo>
                  <a:lnTo>
                    <a:pt x="8811" y="2687044"/>
                  </a:lnTo>
                  <a:lnTo>
                    <a:pt x="9184" y="2686395"/>
                  </a:lnTo>
                  <a:lnTo>
                    <a:pt x="10492" y="2686132"/>
                  </a:lnTo>
                  <a:lnTo>
                    <a:pt x="12044" y="2685318"/>
                  </a:lnTo>
                  <a:lnTo>
                    <a:pt x="13126" y="2684071"/>
                  </a:lnTo>
                  <a:lnTo>
                    <a:pt x="12986" y="2682524"/>
                  </a:lnTo>
                  <a:lnTo>
                    <a:pt x="12294" y="2682112"/>
                  </a:lnTo>
                  <a:lnTo>
                    <a:pt x="11596" y="2682664"/>
                  </a:lnTo>
                  <a:lnTo>
                    <a:pt x="10974" y="2683430"/>
                  </a:lnTo>
                  <a:lnTo>
                    <a:pt x="10483" y="2683692"/>
                  </a:lnTo>
                  <a:lnTo>
                    <a:pt x="9871" y="2683522"/>
                  </a:lnTo>
                  <a:lnTo>
                    <a:pt x="4576" y="2683408"/>
                  </a:lnTo>
                  <a:lnTo>
                    <a:pt x="3383" y="2682934"/>
                  </a:lnTo>
                  <a:lnTo>
                    <a:pt x="3169" y="2681784"/>
                  </a:lnTo>
                  <a:lnTo>
                    <a:pt x="4081" y="2680648"/>
                  </a:lnTo>
                  <a:lnTo>
                    <a:pt x="7117" y="2679615"/>
                  </a:lnTo>
                  <a:lnTo>
                    <a:pt x="8375" y="2678866"/>
                  </a:lnTo>
                  <a:lnTo>
                    <a:pt x="2753" y="2675370"/>
                  </a:lnTo>
                  <a:lnTo>
                    <a:pt x="3762" y="2674971"/>
                  </a:lnTo>
                  <a:lnTo>
                    <a:pt x="5569" y="2673537"/>
                  </a:lnTo>
                  <a:lnTo>
                    <a:pt x="6528" y="2673326"/>
                  </a:lnTo>
                  <a:lnTo>
                    <a:pt x="6365" y="2671814"/>
                  </a:lnTo>
                  <a:lnTo>
                    <a:pt x="5071" y="2671276"/>
                  </a:lnTo>
                  <a:lnTo>
                    <a:pt x="3358" y="2671058"/>
                  </a:lnTo>
                  <a:lnTo>
                    <a:pt x="1968" y="2670485"/>
                  </a:lnTo>
                  <a:lnTo>
                    <a:pt x="3326" y="2668771"/>
                  </a:lnTo>
                  <a:lnTo>
                    <a:pt x="3060" y="2666884"/>
                  </a:lnTo>
                  <a:lnTo>
                    <a:pt x="4659" y="2666801"/>
                  </a:lnTo>
                  <a:lnTo>
                    <a:pt x="5834" y="2667523"/>
                  </a:lnTo>
                  <a:lnTo>
                    <a:pt x="7964" y="2670057"/>
                  </a:lnTo>
                  <a:lnTo>
                    <a:pt x="9146" y="2670080"/>
                  </a:lnTo>
                  <a:lnTo>
                    <a:pt x="10151" y="2667453"/>
                  </a:lnTo>
                  <a:lnTo>
                    <a:pt x="7681" y="2659792"/>
                  </a:lnTo>
                  <a:lnTo>
                    <a:pt x="7298" y="2656996"/>
                  </a:lnTo>
                  <a:lnTo>
                    <a:pt x="7652" y="2657994"/>
                  </a:lnTo>
                  <a:lnTo>
                    <a:pt x="8221" y="2658486"/>
                  </a:lnTo>
                  <a:lnTo>
                    <a:pt x="8989" y="2658399"/>
                  </a:lnTo>
                  <a:lnTo>
                    <a:pt x="9949" y="2657686"/>
                  </a:lnTo>
                  <a:lnTo>
                    <a:pt x="10349" y="2658796"/>
                  </a:lnTo>
                  <a:lnTo>
                    <a:pt x="11109" y="2659490"/>
                  </a:lnTo>
                  <a:lnTo>
                    <a:pt x="11844" y="2659429"/>
                  </a:lnTo>
                  <a:lnTo>
                    <a:pt x="12154" y="2658268"/>
                  </a:lnTo>
                  <a:lnTo>
                    <a:pt x="11622" y="2657150"/>
                  </a:lnTo>
                  <a:lnTo>
                    <a:pt x="10732" y="2656149"/>
                  </a:lnTo>
                  <a:lnTo>
                    <a:pt x="10461" y="2655024"/>
                  </a:lnTo>
                  <a:lnTo>
                    <a:pt x="11792" y="2653556"/>
                  </a:lnTo>
                  <a:lnTo>
                    <a:pt x="12063" y="2652497"/>
                  </a:lnTo>
                  <a:lnTo>
                    <a:pt x="13282" y="2650886"/>
                  </a:lnTo>
                  <a:lnTo>
                    <a:pt x="13328" y="2650117"/>
                  </a:lnTo>
                  <a:lnTo>
                    <a:pt x="12758" y="2649603"/>
                  </a:lnTo>
                  <a:lnTo>
                    <a:pt x="12046" y="2649793"/>
                  </a:lnTo>
                  <a:lnTo>
                    <a:pt x="11311" y="2650184"/>
                  </a:lnTo>
                  <a:lnTo>
                    <a:pt x="10652" y="2650282"/>
                  </a:lnTo>
                  <a:lnTo>
                    <a:pt x="10095" y="2649902"/>
                  </a:lnTo>
                  <a:lnTo>
                    <a:pt x="9728" y="2648989"/>
                  </a:lnTo>
                  <a:lnTo>
                    <a:pt x="8821" y="2647917"/>
                  </a:lnTo>
                  <a:lnTo>
                    <a:pt x="7597" y="2645279"/>
                  </a:lnTo>
                  <a:lnTo>
                    <a:pt x="7356" y="2644172"/>
                  </a:lnTo>
                  <a:lnTo>
                    <a:pt x="7926" y="2643067"/>
                  </a:lnTo>
                  <a:lnTo>
                    <a:pt x="9212" y="2642666"/>
                  </a:lnTo>
                  <a:lnTo>
                    <a:pt x="11500" y="2642802"/>
                  </a:lnTo>
                  <a:lnTo>
                    <a:pt x="11656" y="2640834"/>
                  </a:lnTo>
                  <a:lnTo>
                    <a:pt x="10919" y="2636871"/>
                  </a:lnTo>
                  <a:lnTo>
                    <a:pt x="10807" y="2634829"/>
                  </a:lnTo>
                  <a:lnTo>
                    <a:pt x="11604" y="2632584"/>
                  </a:lnTo>
                  <a:lnTo>
                    <a:pt x="13068" y="2631169"/>
                  </a:lnTo>
                  <a:lnTo>
                    <a:pt x="14533" y="2630179"/>
                  </a:lnTo>
                  <a:lnTo>
                    <a:pt x="15319" y="2629238"/>
                  </a:lnTo>
                  <a:lnTo>
                    <a:pt x="17151" y="2628621"/>
                  </a:lnTo>
                  <a:lnTo>
                    <a:pt x="18087" y="2627100"/>
                  </a:lnTo>
                  <a:lnTo>
                    <a:pt x="18761" y="2625372"/>
                  </a:lnTo>
                  <a:lnTo>
                    <a:pt x="19797" y="2624103"/>
                  </a:lnTo>
                  <a:lnTo>
                    <a:pt x="20171" y="2624149"/>
                  </a:lnTo>
                  <a:lnTo>
                    <a:pt x="20919" y="2624923"/>
                  </a:lnTo>
                  <a:lnTo>
                    <a:pt x="21306" y="2625050"/>
                  </a:lnTo>
                  <a:lnTo>
                    <a:pt x="21713" y="2624842"/>
                  </a:lnTo>
                  <a:lnTo>
                    <a:pt x="21957" y="2624538"/>
                  </a:lnTo>
                  <a:lnTo>
                    <a:pt x="22166" y="2624227"/>
                  </a:lnTo>
                  <a:lnTo>
                    <a:pt x="22464" y="2624010"/>
                  </a:lnTo>
                  <a:lnTo>
                    <a:pt x="23821" y="2623498"/>
                  </a:lnTo>
                  <a:lnTo>
                    <a:pt x="24669" y="2623016"/>
                  </a:lnTo>
                  <a:lnTo>
                    <a:pt x="25483" y="2622301"/>
                  </a:lnTo>
                  <a:lnTo>
                    <a:pt x="25335" y="2621457"/>
                  </a:lnTo>
                  <a:lnTo>
                    <a:pt x="25542" y="2620540"/>
                  </a:lnTo>
                  <a:lnTo>
                    <a:pt x="25907" y="2619534"/>
                  </a:lnTo>
                  <a:lnTo>
                    <a:pt x="26756" y="2616507"/>
                  </a:lnTo>
                  <a:lnTo>
                    <a:pt x="26716" y="2615820"/>
                  </a:lnTo>
                  <a:lnTo>
                    <a:pt x="26221" y="2614910"/>
                  </a:lnTo>
                  <a:lnTo>
                    <a:pt x="30871" y="2612226"/>
                  </a:lnTo>
                  <a:lnTo>
                    <a:pt x="32013" y="2610808"/>
                  </a:lnTo>
                  <a:lnTo>
                    <a:pt x="30394" y="2609499"/>
                  </a:lnTo>
                  <a:close/>
                  <a:moveTo>
                    <a:pt x="35958" y="2601430"/>
                  </a:moveTo>
                  <a:lnTo>
                    <a:pt x="37268" y="2601926"/>
                  </a:lnTo>
                  <a:lnTo>
                    <a:pt x="38892" y="2603416"/>
                  </a:lnTo>
                  <a:lnTo>
                    <a:pt x="39369" y="2604035"/>
                  </a:lnTo>
                  <a:lnTo>
                    <a:pt x="39853" y="2605194"/>
                  </a:lnTo>
                  <a:lnTo>
                    <a:pt x="40059" y="2606090"/>
                  </a:lnTo>
                  <a:lnTo>
                    <a:pt x="39873" y="2606729"/>
                  </a:lnTo>
                  <a:lnTo>
                    <a:pt x="38378" y="2607876"/>
                  </a:lnTo>
                  <a:lnTo>
                    <a:pt x="37523" y="2609075"/>
                  </a:lnTo>
                  <a:lnTo>
                    <a:pt x="37167" y="2609850"/>
                  </a:lnTo>
                  <a:lnTo>
                    <a:pt x="36598" y="2609962"/>
                  </a:lnTo>
                  <a:lnTo>
                    <a:pt x="35583" y="2609742"/>
                  </a:lnTo>
                  <a:lnTo>
                    <a:pt x="35168" y="2608915"/>
                  </a:lnTo>
                  <a:lnTo>
                    <a:pt x="35667" y="2607736"/>
                  </a:lnTo>
                  <a:lnTo>
                    <a:pt x="35857" y="2606708"/>
                  </a:lnTo>
                  <a:lnTo>
                    <a:pt x="35247" y="2606090"/>
                  </a:lnTo>
                  <a:lnTo>
                    <a:pt x="34829" y="2605496"/>
                  </a:lnTo>
                  <a:lnTo>
                    <a:pt x="34594" y="2604929"/>
                  </a:lnTo>
                  <a:lnTo>
                    <a:pt x="33314" y="2603958"/>
                  </a:lnTo>
                  <a:lnTo>
                    <a:pt x="33506" y="2603058"/>
                  </a:lnTo>
                  <a:lnTo>
                    <a:pt x="34600" y="2601946"/>
                  </a:lnTo>
                  <a:close/>
                  <a:moveTo>
                    <a:pt x="3242797" y="2600146"/>
                  </a:moveTo>
                  <a:lnTo>
                    <a:pt x="3243430" y="2600811"/>
                  </a:lnTo>
                  <a:lnTo>
                    <a:pt x="3244041" y="2601329"/>
                  </a:lnTo>
                  <a:lnTo>
                    <a:pt x="3244644" y="2601670"/>
                  </a:lnTo>
                  <a:lnTo>
                    <a:pt x="3245241" y="2601846"/>
                  </a:lnTo>
                  <a:lnTo>
                    <a:pt x="3246226" y="2603002"/>
                  </a:lnTo>
                  <a:lnTo>
                    <a:pt x="3248469" y="2604392"/>
                  </a:lnTo>
                  <a:lnTo>
                    <a:pt x="3249462" y="2605291"/>
                  </a:lnTo>
                  <a:lnTo>
                    <a:pt x="3249132" y="2605890"/>
                  </a:lnTo>
                  <a:lnTo>
                    <a:pt x="3248700" y="2606158"/>
                  </a:lnTo>
                  <a:lnTo>
                    <a:pt x="3248190" y="2606134"/>
                  </a:lnTo>
                  <a:lnTo>
                    <a:pt x="3247600" y="2605827"/>
                  </a:lnTo>
                  <a:lnTo>
                    <a:pt x="3247783" y="2606477"/>
                  </a:lnTo>
                  <a:lnTo>
                    <a:pt x="3249123" y="2607527"/>
                  </a:lnTo>
                  <a:lnTo>
                    <a:pt x="3258666" y="2611925"/>
                  </a:lnTo>
                  <a:lnTo>
                    <a:pt x="3260299" y="2612183"/>
                  </a:lnTo>
                  <a:lnTo>
                    <a:pt x="3260522" y="2612970"/>
                  </a:lnTo>
                  <a:lnTo>
                    <a:pt x="3249349" y="2609714"/>
                  </a:lnTo>
                  <a:lnTo>
                    <a:pt x="3245738" y="2607916"/>
                  </a:lnTo>
                  <a:lnTo>
                    <a:pt x="3245821" y="2607133"/>
                  </a:lnTo>
                  <a:lnTo>
                    <a:pt x="3245992" y="2606584"/>
                  </a:lnTo>
                  <a:lnTo>
                    <a:pt x="3246318" y="2606241"/>
                  </a:lnTo>
                  <a:lnTo>
                    <a:pt x="3246856" y="2606041"/>
                  </a:lnTo>
                  <a:lnTo>
                    <a:pt x="3246655" y="2605326"/>
                  </a:lnTo>
                  <a:lnTo>
                    <a:pt x="3245412" y="2604891"/>
                  </a:lnTo>
                  <a:lnTo>
                    <a:pt x="3244331" y="2603832"/>
                  </a:lnTo>
                  <a:lnTo>
                    <a:pt x="3243446" y="2602227"/>
                  </a:lnTo>
                  <a:close/>
                  <a:moveTo>
                    <a:pt x="3242146" y="2588342"/>
                  </a:moveTo>
                  <a:lnTo>
                    <a:pt x="3242989" y="2588668"/>
                  </a:lnTo>
                  <a:lnTo>
                    <a:pt x="3242680" y="2589035"/>
                  </a:lnTo>
                  <a:lnTo>
                    <a:pt x="3243487" y="2589177"/>
                  </a:lnTo>
                  <a:lnTo>
                    <a:pt x="3243783" y="2589814"/>
                  </a:lnTo>
                  <a:lnTo>
                    <a:pt x="3244009" y="2590370"/>
                  </a:lnTo>
                  <a:lnTo>
                    <a:pt x="3244242" y="2590487"/>
                  </a:lnTo>
                  <a:lnTo>
                    <a:pt x="3244386" y="2590964"/>
                  </a:lnTo>
                  <a:lnTo>
                    <a:pt x="3244261" y="2591301"/>
                  </a:lnTo>
                  <a:lnTo>
                    <a:pt x="3243710" y="2591209"/>
                  </a:lnTo>
                  <a:lnTo>
                    <a:pt x="3243171" y="2591448"/>
                  </a:lnTo>
                  <a:lnTo>
                    <a:pt x="3242867" y="2591383"/>
                  </a:lnTo>
                  <a:lnTo>
                    <a:pt x="3242695" y="2590923"/>
                  </a:lnTo>
                  <a:lnTo>
                    <a:pt x="3242461" y="2590736"/>
                  </a:lnTo>
                  <a:lnTo>
                    <a:pt x="3240943" y="2591144"/>
                  </a:lnTo>
                  <a:lnTo>
                    <a:pt x="3240355" y="2591520"/>
                  </a:lnTo>
                  <a:lnTo>
                    <a:pt x="3239878" y="2591555"/>
                  </a:lnTo>
                  <a:lnTo>
                    <a:pt x="3239541" y="2590912"/>
                  </a:lnTo>
                  <a:lnTo>
                    <a:pt x="3239643" y="2590281"/>
                  </a:lnTo>
                  <a:lnTo>
                    <a:pt x="3239926" y="2590047"/>
                  </a:lnTo>
                  <a:lnTo>
                    <a:pt x="3240267" y="2590033"/>
                  </a:lnTo>
                  <a:lnTo>
                    <a:pt x="3240661" y="2590221"/>
                  </a:lnTo>
                  <a:lnTo>
                    <a:pt x="3240986" y="2590156"/>
                  </a:lnTo>
                  <a:lnTo>
                    <a:pt x="3241163" y="2589818"/>
                  </a:lnTo>
                  <a:lnTo>
                    <a:pt x="3240850" y="2589560"/>
                  </a:lnTo>
                  <a:lnTo>
                    <a:pt x="3240050" y="2589434"/>
                  </a:lnTo>
                  <a:lnTo>
                    <a:pt x="3240394" y="2588827"/>
                  </a:lnTo>
                  <a:close/>
                  <a:moveTo>
                    <a:pt x="3225314" y="2585927"/>
                  </a:moveTo>
                  <a:lnTo>
                    <a:pt x="3226260" y="2586990"/>
                  </a:lnTo>
                  <a:lnTo>
                    <a:pt x="3227685" y="2589013"/>
                  </a:lnTo>
                  <a:lnTo>
                    <a:pt x="3228197" y="2589949"/>
                  </a:lnTo>
                  <a:lnTo>
                    <a:pt x="3229251" y="2591125"/>
                  </a:lnTo>
                  <a:lnTo>
                    <a:pt x="3229214" y="2591353"/>
                  </a:lnTo>
                  <a:lnTo>
                    <a:pt x="3228335" y="2590876"/>
                  </a:lnTo>
                  <a:lnTo>
                    <a:pt x="3228060" y="2590626"/>
                  </a:lnTo>
                  <a:lnTo>
                    <a:pt x="3227794" y="2590258"/>
                  </a:lnTo>
                  <a:lnTo>
                    <a:pt x="3227572" y="2590076"/>
                  </a:lnTo>
                  <a:lnTo>
                    <a:pt x="3227148" y="2590048"/>
                  </a:lnTo>
                  <a:lnTo>
                    <a:pt x="3226268" y="2589774"/>
                  </a:lnTo>
                  <a:lnTo>
                    <a:pt x="3225635" y="2589422"/>
                  </a:lnTo>
                  <a:lnTo>
                    <a:pt x="3225304" y="2589076"/>
                  </a:lnTo>
                  <a:lnTo>
                    <a:pt x="3225179" y="2588502"/>
                  </a:lnTo>
                  <a:lnTo>
                    <a:pt x="3225341" y="2588045"/>
                  </a:lnTo>
                  <a:lnTo>
                    <a:pt x="3224764" y="2586166"/>
                  </a:lnTo>
                  <a:close/>
                  <a:moveTo>
                    <a:pt x="3130436" y="2583809"/>
                  </a:moveTo>
                  <a:lnTo>
                    <a:pt x="3131231" y="2584097"/>
                  </a:lnTo>
                  <a:lnTo>
                    <a:pt x="3131623" y="2584648"/>
                  </a:lnTo>
                  <a:lnTo>
                    <a:pt x="3131595" y="2585247"/>
                  </a:lnTo>
                  <a:lnTo>
                    <a:pt x="3131159" y="2585758"/>
                  </a:lnTo>
                  <a:lnTo>
                    <a:pt x="3129470" y="2585983"/>
                  </a:lnTo>
                  <a:lnTo>
                    <a:pt x="3129095" y="2585473"/>
                  </a:lnTo>
                  <a:lnTo>
                    <a:pt x="3129604" y="2584523"/>
                  </a:lnTo>
                  <a:close/>
                  <a:moveTo>
                    <a:pt x="4763444" y="2566554"/>
                  </a:moveTo>
                  <a:lnTo>
                    <a:pt x="4764158" y="2567173"/>
                  </a:lnTo>
                  <a:lnTo>
                    <a:pt x="4765144" y="2568943"/>
                  </a:lnTo>
                  <a:lnTo>
                    <a:pt x="4765958" y="2570009"/>
                  </a:lnTo>
                  <a:lnTo>
                    <a:pt x="4765164" y="2571214"/>
                  </a:lnTo>
                  <a:lnTo>
                    <a:pt x="4763252" y="2572096"/>
                  </a:lnTo>
                  <a:lnTo>
                    <a:pt x="4762190" y="2571108"/>
                  </a:lnTo>
                  <a:lnTo>
                    <a:pt x="4760783" y="2571101"/>
                  </a:lnTo>
                  <a:lnTo>
                    <a:pt x="4759432" y="2570428"/>
                  </a:lnTo>
                  <a:lnTo>
                    <a:pt x="4759135" y="2569088"/>
                  </a:lnTo>
                  <a:lnTo>
                    <a:pt x="4761155" y="2567920"/>
                  </a:lnTo>
                  <a:lnTo>
                    <a:pt x="4762322" y="2567272"/>
                  </a:lnTo>
                  <a:close/>
                  <a:moveTo>
                    <a:pt x="4749677" y="2543209"/>
                  </a:moveTo>
                  <a:lnTo>
                    <a:pt x="4750701" y="2543392"/>
                  </a:lnTo>
                  <a:lnTo>
                    <a:pt x="4750679" y="2544551"/>
                  </a:lnTo>
                  <a:lnTo>
                    <a:pt x="4750987" y="2545158"/>
                  </a:lnTo>
                  <a:lnTo>
                    <a:pt x="4751718" y="2544308"/>
                  </a:lnTo>
                  <a:lnTo>
                    <a:pt x="4752413" y="2545045"/>
                  </a:lnTo>
                  <a:lnTo>
                    <a:pt x="4752377" y="2546631"/>
                  </a:lnTo>
                  <a:lnTo>
                    <a:pt x="4752997" y="2548150"/>
                  </a:lnTo>
                  <a:lnTo>
                    <a:pt x="4753704" y="2549501"/>
                  </a:lnTo>
                  <a:lnTo>
                    <a:pt x="4753267" y="2550340"/>
                  </a:lnTo>
                  <a:lnTo>
                    <a:pt x="4751327" y="2549687"/>
                  </a:lnTo>
                  <a:lnTo>
                    <a:pt x="4749628" y="2548648"/>
                  </a:lnTo>
                  <a:lnTo>
                    <a:pt x="4747936" y="2547916"/>
                  </a:lnTo>
                  <a:lnTo>
                    <a:pt x="4747122" y="2546853"/>
                  </a:lnTo>
                  <a:lnTo>
                    <a:pt x="4749146" y="2544950"/>
                  </a:lnTo>
                  <a:lnTo>
                    <a:pt x="4749034" y="2543890"/>
                  </a:lnTo>
                  <a:close/>
                  <a:moveTo>
                    <a:pt x="3124671" y="2542316"/>
                  </a:moveTo>
                  <a:lnTo>
                    <a:pt x="3124619" y="2543279"/>
                  </a:lnTo>
                  <a:lnTo>
                    <a:pt x="3124712" y="2543729"/>
                  </a:lnTo>
                  <a:lnTo>
                    <a:pt x="3125002" y="2543994"/>
                  </a:lnTo>
                  <a:lnTo>
                    <a:pt x="3125553" y="2544394"/>
                  </a:lnTo>
                  <a:lnTo>
                    <a:pt x="3125570" y="2545059"/>
                  </a:lnTo>
                  <a:lnTo>
                    <a:pt x="3125512" y="2545487"/>
                  </a:lnTo>
                  <a:lnTo>
                    <a:pt x="3125376" y="2545770"/>
                  </a:lnTo>
                  <a:lnTo>
                    <a:pt x="3125185" y="2546026"/>
                  </a:lnTo>
                  <a:lnTo>
                    <a:pt x="3125078" y="2547734"/>
                  </a:lnTo>
                  <a:lnTo>
                    <a:pt x="3124521" y="2551457"/>
                  </a:lnTo>
                  <a:lnTo>
                    <a:pt x="3124722" y="2553471"/>
                  </a:lnTo>
                  <a:lnTo>
                    <a:pt x="3124733" y="2555346"/>
                  </a:lnTo>
                  <a:lnTo>
                    <a:pt x="3124034" y="2555984"/>
                  </a:lnTo>
                  <a:lnTo>
                    <a:pt x="3123290" y="2554995"/>
                  </a:lnTo>
                  <a:lnTo>
                    <a:pt x="3123181" y="2552008"/>
                  </a:lnTo>
                  <a:lnTo>
                    <a:pt x="3122781" y="2552110"/>
                  </a:lnTo>
                  <a:lnTo>
                    <a:pt x="3123340" y="2548993"/>
                  </a:lnTo>
                  <a:lnTo>
                    <a:pt x="3123339" y="2547983"/>
                  </a:lnTo>
                  <a:lnTo>
                    <a:pt x="3122816" y="2548172"/>
                  </a:lnTo>
                  <a:lnTo>
                    <a:pt x="3122337" y="2548162"/>
                  </a:lnTo>
                  <a:lnTo>
                    <a:pt x="3121342" y="2547788"/>
                  </a:lnTo>
                  <a:lnTo>
                    <a:pt x="3123744" y="2543262"/>
                  </a:lnTo>
                  <a:close/>
                  <a:moveTo>
                    <a:pt x="286837" y="2540279"/>
                  </a:moveTo>
                  <a:lnTo>
                    <a:pt x="286834" y="2540284"/>
                  </a:lnTo>
                  <a:lnTo>
                    <a:pt x="286832" y="2540287"/>
                  </a:lnTo>
                  <a:lnTo>
                    <a:pt x="286834" y="2540283"/>
                  </a:lnTo>
                  <a:close/>
                  <a:moveTo>
                    <a:pt x="4746035" y="2536003"/>
                  </a:moveTo>
                  <a:lnTo>
                    <a:pt x="4747748" y="2536616"/>
                  </a:lnTo>
                  <a:lnTo>
                    <a:pt x="4748933" y="2537930"/>
                  </a:lnTo>
                  <a:lnTo>
                    <a:pt x="4748650" y="2539595"/>
                  </a:lnTo>
                  <a:lnTo>
                    <a:pt x="4750075" y="2540523"/>
                  </a:lnTo>
                  <a:lnTo>
                    <a:pt x="4749579" y="2541721"/>
                  </a:lnTo>
                  <a:lnTo>
                    <a:pt x="4747958" y="2542289"/>
                  </a:lnTo>
                  <a:lnTo>
                    <a:pt x="4747669" y="2543645"/>
                  </a:lnTo>
                  <a:lnTo>
                    <a:pt x="4746175" y="2544847"/>
                  </a:lnTo>
                  <a:lnTo>
                    <a:pt x="4744648" y="2545553"/>
                  </a:lnTo>
                  <a:lnTo>
                    <a:pt x="4743632" y="2544637"/>
                  </a:lnTo>
                  <a:lnTo>
                    <a:pt x="4742578" y="2542919"/>
                  </a:lnTo>
                  <a:lnTo>
                    <a:pt x="4742338" y="2541223"/>
                  </a:lnTo>
                  <a:lnTo>
                    <a:pt x="4742533" y="2539728"/>
                  </a:lnTo>
                  <a:lnTo>
                    <a:pt x="4743697" y="2539078"/>
                  </a:lnTo>
                  <a:lnTo>
                    <a:pt x="4744749" y="2536326"/>
                  </a:lnTo>
                  <a:close/>
                  <a:moveTo>
                    <a:pt x="4642043" y="2526900"/>
                  </a:moveTo>
                  <a:lnTo>
                    <a:pt x="4641710" y="2528677"/>
                  </a:lnTo>
                  <a:lnTo>
                    <a:pt x="4641876" y="2530802"/>
                  </a:lnTo>
                  <a:lnTo>
                    <a:pt x="4641291" y="2531776"/>
                  </a:lnTo>
                  <a:lnTo>
                    <a:pt x="4641919" y="2533154"/>
                  </a:lnTo>
                  <a:lnTo>
                    <a:pt x="4642637" y="2534047"/>
                  </a:lnTo>
                  <a:lnTo>
                    <a:pt x="4642611" y="2535045"/>
                  </a:lnTo>
                  <a:lnTo>
                    <a:pt x="4641872" y="2536406"/>
                  </a:lnTo>
                  <a:lnTo>
                    <a:pt x="4639486" y="2537535"/>
                  </a:lnTo>
                  <a:lnTo>
                    <a:pt x="4637805" y="2537046"/>
                  </a:lnTo>
                  <a:lnTo>
                    <a:pt x="4636958" y="2535119"/>
                  </a:lnTo>
                  <a:lnTo>
                    <a:pt x="4636825" y="2533249"/>
                  </a:lnTo>
                  <a:lnTo>
                    <a:pt x="4637344" y="2531341"/>
                  </a:lnTo>
                  <a:lnTo>
                    <a:pt x="4638737" y="2530357"/>
                  </a:lnTo>
                  <a:lnTo>
                    <a:pt x="4640006" y="2529600"/>
                  </a:lnTo>
                  <a:lnTo>
                    <a:pt x="4640529" y="2528530"/>
                  </a:lnTo>
                  <a:lnTo>
                    <a:pt x="4641174" y="2527233"/>
                  </a:lnTo>
                  <a:close/>
                  <a:moveTo>
                    <a:pt x="3116838" y="2521037"/>
                  </a:moveTo>
                  <a:lnTo>
                    <a:pt x="3117164" y="2521523"/>
                  </a:lnTo>
                  <a:lnTo>
                    <a:pt x="3117392" y="2522497"/>
                  </a:lnTo>
                  <a:lnTo>
                    <a:pt x="3116954" y="2523597"/>
                  </a:lnTo>
                  <a:lnTo>
                    <a:pt x="3116125" y="2526646"/>
                  </a:lnTo>
                  <a:lnTo>
                    <a:pt x="3115375" y="2527173"/>
                  </a:lnTo>
                  <a:lnTo>
                    <a:pt x="3114836" y="2526673"/>
                  </a:lnTo>
                  <a:lnTo>
                    <a:pt x="3114544" y="2526118"/>
                  </a:lnTo>
                  <a:lnTo>
                    <a:pt x="3113842" y="2525858"/>
                  </a:lnTo>
                  <a:lnTo>
                    <a:pt x="3114047" y="2524938"/>
                  </a:lnTo>
                  <a:lnTo>
                    <a:pt x="3115694" y="2522956"/>
                  </a:lnTo>
                  <a:lnTo>
                    <a:pt x="3115821" y="2522308"/>
                  </a:lnTo>
                  <a:lnTo>
                    <a:pt x="3116670" y="2521393"/>
                  </a:lnTo>
                  <a:close/>
                  <a:moveTo>
                    <a:pt x="3123563" y="2517741"/>
                  </a:moveTo>
                  <a:lnTo>
                    <a:pt x="3124183" y="2517875"/>
                  </a:lnTo>
                  <a:lnTo>
                    <a:pt x="3124158" y="2518285"/>
                  </a:lnTo>
                  <a:lnTo>
                    <a:pt x="3123716" y="2518887"/>
                  </a:lnTo>
                  <a:lnTo>
                    <a:pt x="3123652" y="2519725"/>
                  </a:lnTo>
                  <a:lnTo>
                    <a:pt x="3123726" y="2520584"/>
                  </a:lnTo>
                  <a:lnTo>
                    <a:pt x="3123386" y="2520910"/>
                  </a:lnTo>
                  <a:lnTo>
                    <a:pt x="3122837" y="2520901"/>
                  </a:lnTo>
                  <a:lnTo>
                    <a:pt x="3122813" y="2521306"/>
                  </a:lnTo>
                  <a:lnTo>
                    <a:pt x="3122972" y="2522023"/>
                  </a:lnTo>
                  <a:lnTo>
                    <a:pt x="3122808" y="2522750"/>
                  </a:lnTo>
                  <a:lnTo>
                    <a:pt x="3122714" y="2523591"/>
                  </a:lnTo>
                  <a:lnTo>
                    <a:pt x="3122530" y="2524631"/>
                  </a:lnTo>
                  <a:lnTo>
                    <a:pt x="3121905" y="2525298"/>
                  </a:lnTo>
                  <a:lnTo>
                    <a:pt x="3121382" y="2524293"/>
                  </a:lnTo>
                  <a:lnTo>
                    <a:pt x="3121383" y="2522130"/>
                  </a:lnTo>
                  <a:lnTo>
                    <a:pt x="3121814" y="2520063"/>
                  </a:lnTo>
                  <a:lnTo>
                    <a:pt x="3122664" y="2518424"/>
                  </a:lnTo>
                  <a:lnTo>
                    <a:pt x="3123197" y="2517790"/>
                  </a:lnTo>
                  <a:close/>
                  <a:moveTo>
                    <a:pt x="3131293" y="2513477"/>
                  </a:moveTo>
                  <a:lnTo>
                    <a:pt x="3132303" y="2514270"/>
                  </a:lnTo>
                  <a:lnTo>
                    <a:pt x="3134718" y="2514303"/>
                  </a:lnTo>
                  <a:lnTo>
                    <a:pt x="3135892" y="2514657"/>
                  </a:lnTo>
                  <a:lnTo>
                    <a:pt x="3135723" y="2515543"/>
                  </a:lnTo>
                  <a:lnTo>
                    <a:pt x="3135703" y="2516127"/>
                  </a:lnTo>
                  <a:lnTo>
                    <a:pt x="3135876" y="2516726"/>
                  </a:lnTo>
                  <a:lnTo>
                    <a:pt x="3136274" y="2517641"/>
                  </a:lnTo>
                  <a:lnTo>
                    <a:pt x="3136037" y="2517708"/>
                  </a:lnTo>
                  <a:lnTo>
                    <a:pt x="3135916" y="2517901"/>
                  </a:lnTo>
                  <a:lnTo>
                    <a:pt x="3135716" y="2518487"/>
                  </a:lnTo>
                  <a:lnTo>
                    <a:pt x="3134047" y="2519899"/>
                  </a:lnTo>
                  <a:lnTo>
                    <a:pt x="3133378" y="2520695"/>
                  </a:lnTo>
                  <a:lnTo>
                    <a:pt x="3132908" y="2521962"/>
                  </a:lnTo>
                  <a:lnTo>
                    <a:pt x="3132831" y="2522533"/>
                  </a:lnTo>
                  <a:lnTo>
                    <a:pt x="3132740" y="2524313"/>
                  </a:lnTo>
                  <a:lnTo>
                    <a:pt x="3132476" y="2524979"/>
                  </a:lnTo>
                  <a:lnTo>
                    <a:pt x="3132017" y="2525393"/>
                  </a:lnTo>
                  <a:lnTo>
                    <a:pt x="3131006" y="2525960"/>
                  </a:lnTo>
                  <a:lnTo>
                    <a:pt x="3130097" y="2526868"/>
                  </a:lnTo>
                  <a:lnTo>
                    <a:pt x="3129575" y="2527214"/>
                  </a:lnTo>
                  <a:lnTo>
                    <a:pt x="3129009" y="2527251"/>
                  </a:lnTo>
                  <a:lnTo>
                    <a:pt x="3128084" y="2526926"/>
                  </a:lnTo>
                  <a:lnTo>
                    <a:pt x="3127971" y="2526666"/>
                  </a:lnTo>
                  <a:lnTo>
                    <a:pt x="3128119" y="2526077"/>
                  </a:lnTo>
                  <a:lnTo>
                    <a:pt x="3127989" y="2524779"/>
                  </a:lnTo>
                  <a:lnTo>
                    <a:pt x="3128182" y="2523649"/>
                  </a:lnTo>
                  <a:lnTo>
                    <a:pt x="3128912" y="2522728"/>
                  </a:lnTo>
                  <a:lnTo>
                    <a:pt x="3129379" y="2521725"/>
                  </a:lnTo>
                  <a:lnTo>
                    <a:pt x="3128785" y="2520299"/>
                  </a:lnTo>
                  <a:lnTo>
                    <a:pt x="3129338" y="2519571"/>
                  </a:lnTo>
                  <a:lnTo>
                    <a:pt x="3130059" y="2519499"/>
                  </a:lnTo>
                  <a:lnTo>
                    <a:pt x="3130875" y="2519639"/>
                  </a:lnTo>
                  <a:lnTo>
                    <a:pt x="3131691" y="2519541"/>
                  </a:lnTo>
                  <a:lnTo>
                    <a:pt x="3131523" y="2518887"/>
                  </a:lnTo>
                  <a:lnTo>
                    <a:pt x="3131232" y="2518636"/>
                  </a:lnTo>
                  <a:lnTo>
                    <a:pt x="3130789" y="2518007"/>
                  </a:lnTo>
                  <a:lnTo>
                    <a:pt x="3130407" y="2517560"/>
                  </a:lnTo>
                  <a:lnTo>
                    <a:pt x="3130828" y="2516881"/>
                  </a:lnTo>
                  <a:lnTo>
                    <a:pt x="3131028" y="2515918"/>
                  </a:lnTo>
                  <a:lnTo>
                    <a:pt x="3131052" y="2514772"/>
                  </a:lnTo>
                  <a:lnTo>
                    <a:pt x="3130930" y="2513572"/>
                  </a:lnTo>
                  <a:lnTo>
                    <a:pt x="3131329" y="2514089"/>
                  </a:lnTo>
                  <a:lnTo>
                    <a:pt x="3131407" y="2513999"/>
                  </a:lnTo>
                  <a:close/>
                  <a:moveTo>
                    <a:pt x="4646620" y="2511088"/>
                  </a:moveTo>
                  <a:lnTo>
                    <a:pt x="4648572" y="2511908"/>
                  </a:lnTo>
                  <a:lnTo>
                    <a:pt x="4647558" y="2514334"/>
                  </a:lnTo>
                  <a:lnTo>
                    <a:pt x="4646814" y="2516813"/>
                  </a:lnTo>
                  <a:lnTo>
                    <a:pt x="4644874" y="2518182"/>
                  </a:lnTo>
                  <a:lnTo>
                    <a:pt x="4644074" y="2520212"/>
                  </a:lnTo>
                  <a:lnTo>
                    <a:pt x="4641699" y="2520916"/>
                  </a:lnTo>
                  <a:lnTo>
                    <a:pt x="4638661" y="2519154"/>
                  </a:lnTo>
                  <a:lnTo>
                    <a:pt x="4637837" y="2516806"/>
                  </a:lnTo>
                  <a:lnTo>
                    <a:pt x="4639507" y="2515381"/>
                  </a:lnTo>
                  <a:lnTo>
                    <a:pt x="4642641" y="2515119"/>
                  </a:lnTo>
                  <a:lnTo>
                    <a:pt x="4643874" y="2513029"/>
                  </a:lnTo>
                  <a:close/>
                  <a:moveTo>
                    <a:pt x="4722496" y="2500782"/>
                  </a:moveTo>
                  <a:lnTo>
                    <a:pt x="4724022" y="2501254"/>
                  </a:lnTo>
                  <a:lnTo>
                    <a:pt x="4724776" y="2502092"/>
                  </a:lnTo>
                  <a:lnTo>
                    <a:pt x="4725624" y="2502597"/>
                  </a:lnTo>
                  <a:lnTo>
                    <a:pt x="4725793" y="2503135"/>
                  </a:lnTo>
                  <a:lnTo>
                    <a:pt x="4724372" y="2502916"/>
                  </a:lnTo>
                  <a:lnTo>
                    <a:pt x="4722945" y="2503164"/>
                  </a:lnTo>
                  <a:lnTo>
                    <a:pt x="4721904" y="2503989"/>
                  </a:lnTo>
                  <a:lnTo>
                    <a:pt x="4722435" y="2505255"/>
                  </a:lnTo>
                  <a:lnTo>
                    <a:pt x="4722718" y="2506436"/>
                  </a:lnTo>
                  <a:lnTo>
                    <a:pt x="4724096" y="2506686"/>
                  </a:lnTo>
                  <a:lnTo>
                    <a:pt x="4725305" y="2506398"/>
                  </a:lnTo>
                  <a:lnTo>
                    <a:pt x="4726380" y="2506671"/>
                  </a:lnTo>
                  <a:lnTo>
                    <a:pt x="4726873" y="2507501"/>
                  </a:lnTo>
                  <a:lnTo>
                    <a:pt x="4725400" y="2507585"/>
                  </a:lnTo>
                  <a:lnTo>
                    <a:pt x="4723857" y="2507851"/>
                  </a:lnTo>
                  <a:lnTo>
                    <a:pt x="4723914" y="2508602"/>
                  </a:lnTo>
                  <a:lnTo>
                    <a:pt x="4725708" y="2508616"/>
                  </a:lnTo>
                  <a:lnTo>
                    <a:pt x="4726552" y="2508924"/>
                  </a:lnTo>
                  <a:lnTo>
                    <a:pt x="4725868" y="2509424"/>
                  </a:lnTo>
                  <a:lnTo>
                    <a:pt x="4723468" y="2509456"/>
                  </a:lnTo>
                  <a:lnTo>
                    <a:pt x="4721225" y="2510102"/>
                  </a:lnTo>
                  <a:lnTo>
                    <a:pt x="4718732" y="2511325"/>
                  </a:lnTo>
                  <a:lnTo>
                    <a:pt x="4717081" y="2511142"/>
                  </a:lnTo>
                  <a:lnTo>
                    <a:pt x="4714820" y="2512329"/>
                  </a:lnTo>
                  <a:lnTo>
                    <a:pt x="4713313" y="2512173"/>
                  </a:lnTo>
                  <a:lnTo>
                    <a:pt x="4712186" y="2510683"/>
                  </a:lnTo>
                  <a:lnTo>
                    <a:pt x="4711216" y="2509805"/>
                  </a:lnTo>
                  <a:lnTo>
                    <a:pt x="4711081" y="2507988"/>
                  </a:lnTo>
                  <a:lnTo>
                    <a:pt x="4713129" y="2505437"/>
                  </a:lnTo>
                  <a:lnTo>
                    <a:pt x="4713856" y="2504907"/>
                  </a:lnTo>
                  <a:lnTo>
                    <a:pt x="4714158" y="2504026"/>
                  </a:lnTo>
                  <a:lnTo>
                    <a:pt x="4714710" y="2503426"/>
                  </a:lnTo>
                  <a:lnTo>
                    <a:pt x="4716086" y="2504338"/>
                  </a:lnTo>
                  <a:lnTo>
                    <a:pt x="4718120" y="2503383"/>
                  </a:lnTo>
                  <a:lnTo>
                    <a:pt x="4719381" y="2502793"/>
                  </a:lnTo>
                  <a:lnTo>
                    <a:pt x="4719298" y="2501532"/>
                  </a:lnTo>
                  <a:lnTo>
                    <a:pt x="4720077" y="2501360"/>
                  </a:lnTo>
                  <a:lnTo>
                    <a:pt x="4721464" y="2501337"/>
                  </a:lnTo>
                  <a:close/>
                  <a:moveTo>
                    <a:pt x="3141829" y="2493670"/>
                  </a:moveTo>
                  <a:lnTo>
                    <a:pt x="3142971" y="2494185"/>
                  </a:lnTo>
                  <a:lnTo>
                    <a:pt x="3143683" y="2494870"/>
                  </a:lnTo>
                  <a:lnTo>
                    <a:pt x="3144393" y="2495233"/>
                  </a:lnTo>
                  <a:lnTo>
                    <a:pt x="3145129" y="2495261"/>
                  </a:lnTo>
                  <a:lnTo>
                    <a:pt x="3145904" y="2494944"/>
                  </a:lnTo>
                  <a:lnTo>
                    <a:pt x="3145740" y="2496672"/>
                  </a:lnTo>
                  <a:lnTo>
                    <a:pt x="3145406" y="2498174"/>
                  </a:lnTo>
                  <a:lnTo>
                    <a:pt x="3144343" y="2500773"/>
                  </a:lnTo>
                  <a:lnTo>
                    <a:pt x="3143460" y="2502053"/>
                  </a:lnTo>
                  <a:lnTo>
                    <a:pt x="3142908" y="2502559"/>
                  </a:lnTo>
                  <a:lnTo>
                    <a:pt x="3142340" y="2502848"/>
                  </a:lnTo>
                  <a:lnTo>
                    <a:pt x="3141989" y="2503355"/>
                  </a:lnTo>
                  <a:lnTo>
                    <a:pt x="3141103" y="2506268"/>
                  </a:lnTo>
                  <a:lnTo>
                    <a:pt x="3138907" y="2508220"/>
                  </a:lnTo>
                  <a:lnTo>
                    <a:pt x="3137504" y="2508811"/>
                  </a:lnTo>
                  <a:lnTo>
                    <a:pt x="3136570" y="2508303"/>
                  </a:lnTo>
                  <a:lnTo>
                    <a:pt x="3136717" y="2506990"/>
                  </a:lnTo>
                  <a:lnTo>
                    <a:pt x="3137324" y="2505354"/>
                  </a:lnTo>
                  <a:lnTo>
                    <a:pt x="3137408" y="2503869"/>
                  </a:lnTo>
                  <a:lnTo>
                    <a:pt x="3135968" y="2502994"/>
                  </a:lnTo>
                  <a:lnTo>
                    <a:pt x="3136049" y="2504265"/>
                  </a:lnTo>
                  <a:lnTo>
                    <a:pt x="3135811" y="2504972"/>
                  </a:lnTo>
                  <a:lnTo>
                    <a:pt x="3135452" y="2505613"/>
                  </a:lnTo>
                  <a:lnTo>
                    <a:pt x="3135156" y="2506643"/>
                  </a:lnTo>
                  <a:lnTo>
                    <a:pt x="3134910" y="2507080"/>
                  </a:lnTo>
                  <a:lnTo>
                    <a:pt x="3134524" y="2507297"/>
                  </a:lnTo>
                  <a:lnTo>
                    <a:pt x="3134236" y="2507644"/>
                  </a:lnTo>
                  <a:lnTo>
                    <a:pt x="3134296" y="2508483"/>
                  </a:lnTo>
                  <a:lnTo>
                    <a:pt x="3134537" y="2509399"/>
                  </a:lnTo>
                  <a:lnTo>
                    <a:pt x="3134686" y="2510215"/>
                  </a:lnTo>
                  <a:lnTo>
                    <a:pt x="3134623" y="2510830"/>
                  </a:lnTo>
                  <a:lnTo>
                    <a:pt x="3134215" y="2511167"/>
                  </a:lnTo>
                  <a:lnTo>
                    <a:pt x="3133212" y="2510998"/>
                  </a:lnTo>
                  <a:lnTo>
                    <a:pt x="3132952" y="2510009"/>
                  </a:lnTo>
                  <a:lnTo>
                    <a:pt x="3133766" y="2501960"/>
                  </a:lnTo>
                  <a:lnTo>
                    <a:pt x="3134303" y="2499929"/>
                  </a:lnTo>
                  <a:lnTo>
                    <a:pt x="3134770" y="2499006"/>
                  </a:lnTo>
                  <a:lnTo>
                    <a:pt x="3136183" y="2497809"/>
                  </a:lnTo>
                  <a:lnTo>
                    <a:pt x="3136923" y="2495442"/>
                  </a:lnTo>
                  <a:lnTo>
                    <a:pt x="3137520" y="2494797"/>
                  </a:lnTo>
                  <a:lnTo>
                    <a:pt x="3137792" y="2494596"/>
                  </a:lnTo>
                  <a:lnTo>
                    <a:pt x="3138262" y="2493942"/>
                  </a:lnTo>
                  <a:lnTo>
                    <a:pt x="3138608" y="2493735"/>
                  </a:lnTo>
                  <a:lnTo>
                    <a:pt x="3138941" y="2493982"/>
                  </a:lnTo>
                  <a:lnTo>
                    <a:pt x="3139749" y="2495314"/>
                  </a:lnTo>
                  <a:lnTo>
                    <a:pt x="3140255" y="2495607"/>
                  </a:lnTo>
                  <a:lnTo>
                    <a:pt x="3140699" y="2495130"/>
                  </a:lnTo>
                  <a:lnTo>
                    <a:pt x="3141145" y="2494239"/>
                  </a:lnTo>
                  <a:close/>
                  <a:moveTo>
                    <a:pt x="4594204" y="2484136"/>
                  </a:moveTo>
                  <a:lnTo>
                    <a:pt x="4593982" y="2485334"/>
                  </a:lnTo>
                  <a:lnTo>
                    <a:pt x="4593568" y="2486494"/>
                  </a:lnTo>
                  <a:lnTo>
                    <a:pt x="4594570" y="2487000"/>
                  </a:lnTo>
                  <a:lnTo>
                    <a:pt x="4595958" y="2487582"/>
                  </a:lnTo>
                  <a:lnTo>
                    <a:pt x="4595698" y="2488980"/>
                  </a:lnTo>
                  <a:lnTo>
                    <a:pt x="4593856" y="2489240"/>
                  </a:lnTo>
                  <a:lnTo>
                    <a:pt x="4591781" y="2489145"/>
                  </a:lnTo>
                  <a:lnTo>
                    <a:pt x="4591159" y="2488196"/>
                  </a:lnTo>
                  <a:lnTo>
                    <a:pt x="4591611" y="2486836"/>
                  </a:lnTo>
                  <a:lnTo>
                    <a:pt x="4592136" y="2485077"/>
                  </a:lnTo>
                  <a:close/>
                  <a:moveTo>
                    <a:pt x="4585017" y="2462704"/>
                  </a:moveTo>
                  <a:lnTo>
                    <a:pt x="4586175" y="2463447"/>
                  </a:lnTo>
                  <a:lnTo>
                    <a:pt x="4587255" y="2464070"/>
                  </a:lnTo>
                  <a:lnTo>
                    <a:pt x="4589189" y="2465478"/>
                  </a:lnTo>
                  <a:lnTo>
                    <a:pt x="4587657" y="2466213"/>
                  </a:lnTo>
                  <a:lnTo>
                    <a:pt x="4585692" y="2465522"/>
                  </a:lnTo>
                  <a:lnTo>
                    <a:pt x="4584705" y="2467087"/>
                  </a:lnTo>
                  <a:lnTo>
                    <a:pt x="4583094" y="2467186"/>
                  </a:lnTo>
                  <a:lnTo>
                    <a:pt x="4582582" y="2465640"/>
                  </a:lnTo>
                  <a:lnTo>
                    <a:pt x="4584681" y="2463982"/>
                  </a:lnTo>
                  <a:close/>
                  <a:moveTo>
                    <a:pt x="4577378" y="2456327"/>
                  </a:moveTo>
                  <a:lnTo>
                    <a:pt x="4578315" y="2457368"/>
                  </a:lnTo>
                  <a:lnTo>
                    <a:pt x="4578356" y="2458781"/>
                  </a:lnTo>
                  <a:lnTo>
                    <a:pt x="4579694" y="2459275"/>
                  </a:lnTo>
                  <a:lnTo>
                    <a:pt x="4580942" y="2459440"/>
                  </a:lnTo>
                  <a:lnTo>
                    <a:pt x="4581646" y="2460513"/>
                  </a:lnTo>
                  <a:lnTo>
                    <a:pt x="4582306" y="2463061"/>
                  </a:lnTo>
                  <a:lnTo>
                    <a:pt x="4581154" y="2464009"/>
                  </a:lnTo>
                  <a:lnTo>
                    <a:pt x="4578702" y="2465873"/>
                  </a:lnTo>
                  <a:lnTo>
                    <a:pt x="4577224" y="2466131"/>
                  </a:lnTo>
                  <a:lnTo>
                    <a:pt x="4576052" y="2464732"/>
                  </a:lnTo>
                  <a:lnTo>
                    <a:pt x="4575861" y="2462510"/>
                  </a:lnTo>
                  <a:lnTo>
                    <a:pt x="4575126" y="2461196"/>
                  </a:lnTo>
                  <a:lnTo>
                    <a:pt x="4576201" y="2457815"/>
                  </a:lnTo>
                  <a:close/>
                  <a:moveTo>
                    <a:pt x="4522500" y="2448329"/>
                  </a:moveTo>
                  <a:lnTo>
                    <a:pt x="4524506" y="2451155"/>
                  </a:lnTo>
                  <a:lnTo>
                    <a:pt x="4524523" y="2452086"/>
                  </a:lnTo>
                  <a:lnTo>
                    <a:pt x="4523998" y="2452772"/>
                  </a:lnTo>
                  <a:lnTo>
                    <a:pt x="4523564" y="2453752"/>
                  </a:lnTo>
                  <a:lnTo>
                    <a:pt x="4523661" y="2454822"/>
                  </a:lnTo>
                  <a:lnTo>
                    <a:pt x="4524601" y="2457002"/>
                  </a:lnTo>
                  <a:lnTo>
                    <a:pt x="4524933" y="2458267"/>
                  </a:lnTo>
                  <a:lnTo>
                    <a:pt x="4525335" y="2458895"/>
                  </a:lnTo>
                  <a:lnTo>
                    <a:pt x="4526054" y="2458985"/>
                  </a:lnTo>
                  <a:lnTo>
                    <a:pt x="4526637" y="2459429"/>
                  </a:lnTo>
                  <a:lnTo>
                    <a:pt x="4527066" y="2460194"/>
                  </a:lnTo>
                  <a:lnTo>
                    <a:pt x="4527335" y="2461227"/>
                  </a:lnTo>
                  <a:lnTo>
                    <a:pt x="4528108" y="2460339"/>
                  </a:lnTo>
                  <a:lnTo>
                    <a:pt x="4528414" y="2457307"/>
                  </a:lnTo>
                  <a:lnTo>
                    <a:pt x="4528879" y="2456912"/>
                  </a:lnTo>
                  <a:lnTo>
                    <a:pt x="4530080" y="2457417"/>
                  </a:lnTo>
                  <a:lnTo>
                    <a:pt x="4531432" y="2457688"/>
                  </a:lnTo>
                  <a:lnTo>
                    <a:pt x="4532405" y="2457282"/>
                  </a:lnTo>
                  <a:lnTo>
                    <a:pt x="4532477" y="2455797"/>
                  </a:lnTo>
                  <a:lnTo>
                    <a:pt x="4531490" y="2454906"/>
                  </a:lnTo>
                  <a:lnTo>
                    <a:pt x="4531567" y="2454267"/>
                  </a:lnTo>
                  <a:lnTo>
                    <a:pt x="4532360" y="2453991"/>
                  </a:lnTo>
                  <a:lnTo>
                    <a:pt x="4533506" y="2454176"/>
                  </a:lnTo>
                  <a:lnTo>
                    <a:pt x="4534066" y="2456628"/>
                  </a:lnTo>
                  <a:lnTo>
                    <a:pt x="4533238" y="2458202"/>
                  </a:lnTo>
                  <a:lnTo>
                    <a:pt x="4530518" y="2459865"/>
                  </a:lnTo>
                  <a:lnTo>
                    <a:pt x="4529636" y="2461177"/>
                  </a:lnTo>
                  <a:lnTo>
                    <a:pt x="4528898" y="2465147"/>
                  </a:lnTo>
                  <a:lnTo>
                    <a:pt x="4528331" y="2466824"/>
                  </a:lnTo>
                  <a:lnTo>
                    <a:pt x="4526926" y="2468232"/>
                  </a:lnTo>
                  <a:lnTo>
                    <a:pt x="4520924" y="2470907"/>
                  </a:lnTo>
                  <a:lnTo>
                    <a:pt x="4520117" y="2470935"/>
                  </a:lnTo>
                  <a:lnTo>
                    <a:pt x="4519257" y="2470523"/>
                  </a:lnTo>
                  <a:lnTo>
                    <a:pt x="4518422" y="2469570"/>
                  </a:lnTo>
                  <a:lnTo>
                    <a:pt x="4517550" y="2468222"/>
                  </a:lnTo>
                  <a:lnTo>
                    <a:pt x="4517158" y="2467847"/>
                  </a:lnTo>
                  <a:lnTo>
                    <a:pt x="4516669" y="2467803"/>
                  </a:lnTo>
                  <a:lnTo>
                    <a:pt x="4515507" y="2467441"/>
                  </a:lnTo>
                  <a:lnTo>
                    <a:pt x="4513985" y="2466540"/>
                  </a:lnTo>
                  <a:lnTo>
                    <a:pt x="4512157" y="2465061"/>
                  </a:lnTo>
                  <a:lnTo>
                    <a:pt x="4510966" y="2463433"/>
                  </a:lnTo>
                  <a:lnTo>
                    <a:pt x="4511377" y="2462100"/>
                  </a:lnTo>
                  <a:lnTo>
                    <a:pt x="4512110" y="2462021"/>
                  </a:lnTo>
                  <a:lnTo>
                    <a:pt x="4513720" y="2462801"/>
                  </a:lnTo>
                  <a:lnTo>
                    <a:pt x="4514361" y="2462780"/>
                  </a:lnTo>
                  <a:lnTo>
                    <a:pt x="4514828" y="2462109"/>
                  </a:lnTo>
                  <a:lnTo>
                    <a:pt x="4515160" y="2460160"/>
                  </a:lnTo>
                  <a:lnTo>
                    <a:pt x="4515445" y="2459321"/>
                  </a:lnTo>
                  <a:lnTo>
                    <a:pt x="4515980" y="2458809"/>
                  </a:lnTo>
                  <a:lnTo>
                    <a:pt x="4517352" y="2458141"/>
                  </a:lnTo>
                  <a:lnTo>
                    <a:pt x="4517907" y="2457636"/>
                  </a:lnTo>
                  <a:lnTo>
                    <a:pt x="4518171" y="2456822"/>
                  </a:lnTo>
                  <a:lnTo>
                    <a:pt x="4518289" y="2455006"/>
                  </a:lnTo>
                  <a:lnTo>
                    <a:pt x="4518631" y="2454420"/>
                  </a:lnTo>
                  <a:lnTo>
                    <a:pt x="4519569" y="2453332"/>
                  </a:lnTo>
                  <a:lnTo>
                    <a:pt x="4520865" y="2450526"/>
                  </a:lnTo>
                  <a:lnTo>
                    <a:pt x="4521872" y="2449465"/>
                  </a:lnTo>
                  <a:lnTo>
                    <a:pt x="4522150" y="2448949"/>
                  </a:lnTo>
                  <a:lnTo>
                    <a:pt x="4522238" y="2448379"/>
                  </a:lnTo>
                  <a:close/>
                  <a:moveTo>
                    <a:pt x="4319582" y="2447515"/>
                  </a:moveTo>
                  <a:lnTo>
                    <a:pt x="4319927" y="2448641"/>
                  </a:lnTo>
                  <a:lnTo>
                    <a:pt x="4319991" y="2449027"/>
                  </a:lnTo>
                  <a:lnTo>
                    <a:pt x="4320689" y="2450669"/>
                  </a:lnTo>
                  <a:lnTo>
                    <a:pt x="4321569" y="2450066"/>
                  </a:lnTo>
                  <a:lnTo>
                    <a:pt x="4322548" y="2448600"/>
                  </a:lnTo>
                  <a:lnTo>
                    <a:pt x="4323504" y="2447631"/>
                  </a:lnTo>
                  <a:lnTo>
                    <a:pt x="4323759" y="2450621"/>
                  </a:lnTo>
                  <a:lnTo>
                    <a:pt x="4322853" y="2453394"/>
                  </a:lnTo>
                  <a:lnTo>
                    <a:pt x="4317814" y="2459259"/>
                  </a:lnTo>
                  <a:lnTo>
                    <a:pt x="4316571" y="2460044"/>
                  </a:lnTo>
                  <a:lnTo>
                    <a:pt x="4315417" y="2459344"/>
                  </a:lnTo>
                  <a:lnTo>
                    <a:pt x="4315475" y="2458131"/>
                  </a:lnTo>
                  <a:lnTo>
                    <a:pt x="4316628" y="2457087"/>
                  </a:lnTo>
                  <a:lnTo>
                    <a:pt x="4319100" y="2455766"/>
                  </a:lnTo>
                  <a:lnTo>
                    <a:pt x="4318757" y="2455181"/>
                  </a:lnTo>
                  <a:lnTo>
                    <a:pt x="4316484" y="2455673"/>
                  </a:lnTo>
                  <a:lnTo>
                    <a:pt x="4315248" y="2455445"/>
                  </a:lnTo>
                  <a:lnTo>
                    <a:pt x="4314031" y="2454516"/>
                  </a:lnTo>
                  <a:lnTo>
                    <a:pt x="4313191" y="2453173"/>
                  </a:lnTo>
                  <a:lnTo>
                    <a:pt x="4312806" y="2451794"/>
                  </a:lnTo>
                  <a:lnTo>
                    <a:pt x="4312826" y="2450599"/>
                  </a:lnTo>
                  <a:lnTo>
                    <a:pt x="4313160" y="2449760"/>
                  </a:lnTo>
                  <a:lnTo>
                    <a:pt x="4315085" y="2450110"/>
                  </a:lnTo>
                  <a:lnTo>
                    <a:pt x="4316571" y="2449651"/>
                  </a:lnTo>
                  <a:close/>
                  <a:moveTo>
                    <a:pt x="4292239" y="2437046"/>
                  </a:moveTo>
                  <a:lnTo>
                    <a:pt x="4292651" y="2437751"/>
                  </a:lnTo>
                  <a:lnTo>
                    <a:pt x="4292039" y="2439248"/>
                  </a:lnTo>
                  <a:lnTo>
                    <a:pt x="4292566" y="2440213"/>
                  </a:lnTo>
                  <a:lnTo>
                    <a:pt x="4293690" y="2440697"/>
                  </a:lnTo>
                  <a:lnTo>
                    <a:pt x="4294895" y="2440769"/>
                  </a:lnTo>
                  <a:lnTo>
                    <a:pt x="4299592" y="2439745"/>
                  </a:lnTo>
                  <a:lnTo>
                    <a:pt x="4301353" y="2440279"/>
                  </a:lnTo>
                  <a:lnTo>
                    <a:pt x="4300828" y="2440946"/>
                  </a:lnTo>
                  <a:lnTo>
                    <a:pt x="4300911" y="2441741"/>
                  </a:lnTo>
                  <a:lnTo>
                    <a:pt x="4301241" y="2442675"/>
                  </a:lnTo>
                  <a:lnTo>
                    <a:pt x="4301436" y="2443758"/>
                  </a:lnTo>
                  <a:lnTo>
                    <a:pt x="4301378" y="2444634"/>
                  </a:lnTo>
                  <a:lnTo>
                    <a:pt x="4301199" y="2445501"/>
                  </a:lnTo>
                  <a:lnTo>
                    <a:pt x="4300906" y="2446317"/>
                  </a:lnTo>
                  <a:lnTo>
                    <a:pt x="4300491" y="2447064"/>
                  </a:lnTo>
                  <a:lnTo>
                    <a:pt x="4300836" y="2447653"/>
                  </a:lnTo>
                  <a:lnTo>
                    <a:pt x="4304158" y="2447067"/>
                  </a:lnTo>
                  <a:lnTo>
                    <a:pt x="4305423" y="2447205"/>
                  </a:lnTo>
                  <a:lnTo>
                    <a:pt x="4305166" y="2448494"/>
                  </a:lnTo>
                  <a:lnTo>
                    <a:pt x="4304616" y="2448961"/>
                  </a:lnTo>
                  <a:lnTo>
                    <a:pt x="4302723" y="2450047"/>
                  </a:lnTo>
                  <a:lnTo>
                    <a:pt x="4292636" y="2453384"/>
                  </a:lnTo>
                  <a:lnTo>
                    <a:pt x="4290599" y="2453178"/>
                  </a:lnTo>
                  <a:lnTo>
                    <a:pt x="4289017" y="2452329"/>
                  </a:lnTo>
                  <a:lnTo>
                    <a:pt x="4287056" y="2450676"/>
                  </a:lnTo>
                  <a:lnTo>
                    <a:pt x="4285921" y="2448844"/>
                  </a:lnTo>
                  <a:lnTo>
                    <a:pt x="4286793" y="2447454"/>
                  </a:lnTo>
                  <a:lnTo>
                    <a:pt x="4287202" y="2448156"/>
                  </a:lnTo>
                  <a:lnTo>
                    <a:pt x="4286820" y="2448391"/>
                  </a:lnTo>
                  <a:lnTo>
                    <a:pt x="4287196" y="2449039"/>
                  </a:lnTo>
                  <a:lnTo>
                    <a:pt x="4288475" y="2449425"/>
                  </a:lnTo>
                  <a:lnTo>
                    <a:pt x="4289315" y="2448918"/>
                  </a:lnTo>
                  <a:lnTo>
                    <a:pt x="4290747" y="2446850"/>
                  </a:lnTo>
                  <a:lnTo>
                    <a:pt x="4289857" y="2446026"/>
                  </a:lnTo>
                  <a:lnTo>
                    <a:pt x="4289291" y="2446107"/>
                  </a:lnTo>
                  <a:lnTo>
                    <a:pt x="4289022" y="2446840"/>
                  </a:lnTo>
                  <a:lnTo>
                    <a:pt x="4288986" y="2447937"/>
                  </a:lnTo>
                  <a:lnTo>
                    <a:pt x="4287742" y="2446686"/>
                  </a:lnTo>
                  <a:lnTo>
                    <a:pt x="4288198" y="2445492"/>
                  </a:lnTo>
                  <a:lnTo>
                    <a:pt x="4289915" y="2443851"/>
                  </a:lnTo>
                  <a:lnTo>
                    <a:pt x="4289578" y="2443010"/>
                  </a:lnTo>
                  <a:lnTo>
                    <a:pt x="4288837" y="2441989"/>
                  </a:lnTo>
                  <a:lnTo>
                    <a:pt x="4288307" y="2441016"/>
                  </a:lnTo>
                  <a:lnTo>
                    <a:pt x="4288583" y="2440269"/>
                  </a:lnTo>
                  <a:lnTo>
                    <a:pt x="4289125" y="2439860"/>
                  </a:lnTo>
                  <a:lnTo>
                    <a:pt x="4289384" y="2439349"/>
                  </a:lnTo>
                  <a:lnTo>
                    <a:pt x="4289267" y="2438597"/>
                  </a:lnTo>
                  <a:lnTo>
                    <a:pt x="4288677" y="2437494"/>
                  </a:lnTo>
                  <a:lnTo>
                    <a:pt x="4289734" y="2437437"/>
                  </a:lnTo>
                  <a:lnTo>
                    <a:pt x="4290077" y="2437503"/>
                  </a:lnTo>
                  <a:close/>
                  <a:moveTo>
                    <a:pt x="4257158" y="2426826"/>
                  </a:moveTo>
                  <a:lnTo>
                    <a:pt x="4258145" y="2427348"/>
                  </a:lnTo>
                  <a:lnTo>
                    <a:pt x="4260763" y="2428006"/>
                  </a:lnTo>
                  <a:lnTo>
                    <a:pt x="4261547" y="2428609"/>
                  </a:lnTo>
                  <a:lnTo>
                    <a:pt x="4261689" y="2429841"/>
                  </a:lnTo>
                  <a:lnTo>
                    <a:pt x="4260411" y="2431359"/>
                  </a:lnTo>
                  <a:lnTo>
                    <a:pt x="4260598" y="2432782"/>
                  </a:lnTo>
                  <a:lnTo>
                    <a:pt x="4261367" y="2432538"/>
                  </a:lnTo>
                  <a:lnTo>
                    <a:pt x="4263013" y="2432718"/>
                  </a:lnTo>
                  <a:lnTo>
                    <a:pt x="4263800" y="2432503"/>
                  </a:lnTo>
                  <a:lnTo>
                    <a:pt x="4264171" y="2433145"/>
                  </a:lnTo>
                  <a:lnTo>
                    <a:pt x="4262060" y="2435314"/>
                  </a:lnTo>
                  <a:lnTo>
                    <a:pt x="4261351" y="2435741"/>
                  </a:lnTo>
                  <a:lnTo>
                    <a:pt x="4259961" y="2435978"/>
                  </a:lnTo>
                  <a:lnTo>
                    <a:pt x="4254337" y="2438159"/>
                  </a:lnTo>
                  <a:lnTo>
                    <a:pt x="4246952" y="2438788"/>
                  </a:lnTo>
                  <a:lnTo>
                    <a:pt x="4245327" y="2438478"/>
                  </a:lnTo>
                  <a:lnTo>
                    <a:pt x="4243308" y="2437071"/>
                  </a:lnTo>
                  <a:lnTo>
                    <a:pt x="4242465" y="2436715"/>
                  </a:lnTo>
                  <a:lnTo>
                    <a:pt x="4241673" y="2436663"/>
                  </a:lnTo>
                  <a:lnTo>
                    <a:pt x="4240311" y="2436849"/>
                  </a:lnTo>
                  <a:lnTo>
                    <a:pt x="4239617" y="2436684"/>
                  </a:lnTo>
                  <a:lnTo>
                    <a:pt x="4239245" y="2436033"/>
                  </a:lnTo>
                  <a:lnTo>
                    <a:pt x="4252097" y="2431856"/>
                  </a:lnTo>
                  <a:lnTo>
                    <a:pt x="4253742" y="2430751"/>
                  </a:lnTo>
                  <a:lnTo>
                    <a:pt x="4253362" y="2430982"/>
                  </a:lnTo>
                  <a:lnTo>
                    <a:pt x="4254343" y="2429945"/>
                  </a:lnTo>
                  <a:lnTo>
                    <a:pt x="4255143" y="2428506"/>
                  </a:lnTo>
                  <a:lnTo>
                    <a:pt x="4256100" y="2427436"/>
                  </a:lnTo>
                  <a:lnTo>
                    <a:pt x="4257569" y="2427538"/>
                  </a:lnTo>
                  <a:close/>
                  <a:moveTo>
                    <a:pt x="4266666" y="2411088"/>
                  </a:moveTo>
                  <a:lnTo>
                    <a:pt x="4268501" y="2411156"/>
                  </a:lnTo>
                  <a:lnTo>
                    <a:pt x="4267884" y="2412146"/>
                  </a:lnTo>
                  <a:lnTo>
                    <a:pt x="4267145" y="2412843"/>
                  </a:lnTo>
                  <a:lnTo>
                    <a:pt x="4266581" y="2413673"/>
                  </a:lnTo>
                  <a:lnTo>
                    <a:pt x="4266495" y="2415031"/>
                  </a:lnTo>
                  <a:lnTo>
                    <a:pt x="4267711" y="2414884"/>
                  </a:lnTo>
                  <a:lnTo>
                    <a:pt x="4268644" y="2413869"/>
                  </a:lnTo>
                  <a:lnTo>
                    <a:pt x="4269728" y="2413099"/>
                  </a:lnTo>
                  <a:lnTo>
                    <a:pt x="4271402" y="2413687"/>
                  </a:lnTo>
                  <a:lnTo>
                    <a:pt x="4258979" y="2420042"/>
                  </a:lnTo>
                  <a:lnTo>
                    <a:pt x="4253515" y="2421156"/>
                  </a:lnTo>
                  <a:lnTo>
                    <a:pt x="4252418" y="2421826"/>
                  </a:lnTo>
                  <a:lnTo>
                    <a:pt x="4252773" y="2422007"/>
                  </a:lnTo>
                  <a:lnTo>
                    <a:pt x="4253535" y="2422546"/>
                  </a:lnTo>
                  <a:lnTo>
                    <a:pt x="4253901" y="2422756"/>
                  </a:lnTo>
                  <a:lnTo>
                    <a:pt x="4253865" y="2424064"/>
                  </a:lnTo>
                  <a:lnTo>
                    <a:pt x="4253392" y="2424776"/>
                  </a:lnTo>
                  <a:lnTo>
                    <a:pt x="4252552" y="2424865"/>
                  </a:lnTo>
                  <a:lnTo>
                    <a:pt x="4251424" y="2424267"/>
                  </a:lnTo>
                  <a:lnTo>
                    <a:pt x="4251803" y="2424036"/>
                  </a:lnTo>
                  <a:lnTo>
                    <a:pt x="4249727" y="2423482"/>
                  </a:lnTo>
                  <a:lnTo>
                    <a:pt x="4248027" y="2424330"/>
                  </a:lnTo>
                  <a:lnTo>
                    <a:pt x="4246515" y="2425594"/>
                  </a:lnTo>
                  <a:lnTo>
                    <a:pt x="4245015" y="2426333"/>
                  </a:lnTo>
                  <a:lnTo>
                    <a:pt x="4244677" y="2425745"/>
                  </a:lnTo>
                  <a:lnTo>
                    <a:pt x="4245378" y="2425320"/>
                  </a:lnTo>
                  <a:lnTo>
                    <a:pt x="4244968" y="2424608"/>
                  </a:lnTo>
                  <a:lnTo>
                    <a:pt x="4244442" y="2424572"/>
                  </a:lnTo>
                  <a:lnTo>
                    <a:pt x="4243999" y="2424397"/>
                  </a:lnTo>
                  <a:lnTo>
                    <a:pt x="4243204" y="2423925"/>
                  </a:lnTo>
                  <a:lnTo>
                    <a:pt x="4253884" y="2419817"/>
                  </a:lnTo>
                  <a:lnTo>
                    <a:pt x="4254778" y="2418627"/>
                  </a:lnTo>
                  <a:lnTo>
                    <a:pt x="4254316" y="2417717"/>
                  </a:lnTo>
                  <a:lnTo>
                    <a:pt x="4252589" y="2417957"/>
                  </a:lnTo>
                  <a:lnTo>
                    <a:pt x="4242778" y="2422440"/>
                  </a:lnTo>
                  <a:lnTo>
                    <a:pt x="4242624" y="2420816"/>
                  </a:lnTo>
                  <a:lnTo>
                    <a:pt x="4243507" y="2420357"/>
                  </a:lnTo>
                  <a:lnTo>
                    <a:pt x="4244632" y="2420133"/>
                  </a:lnTo>
                  <a:lnTo>
                    <a:pt x="4245204" y="2419211"/>
                  </a:lnTo>
                  <a:lnTo>
                    <a:pt x="4244377" y="2419003"/>
                  </a:lnTo>
                  <a:lnTo>
                    <a:pt x="4243461" y="2418579"/>
                  </a:lnTo>
                  <a:lnTo>
                    <a:pt x="4241931" y="2417618"/>
                  </a:lnTo>
                  <a:lnTo>
                    <a:pt x="4241590" y="2417027"/>
                  </a:lnTo>
                  <a:lnTo>
                    <a:pt x="4242035" y="2416474"/>
                  </a:lnTo>
                  <a:lnTo>
                    <a:pt x="4244032" y="2415540"/>
                  </a:lnTo>
                  <a:lnTo>
                    <a:pt x="4245211" y="2415387"/>
                  </a:lnTo>
                  <a:lnTo>
                    <a:pt x="4249357" y="2413353"/>
                  </a:lnTo>
                  <a:lnTo>
                    <a:pt x="4250495" y="2413327"/>
                  </a:lnTo>
                  <a:lnTo>
                    <a:pt x="4252919" y="2413706"/>
                  </a:lnTo>
                  <a:lnTo>
                    <a:pt x="4254744" y="2413416"/>
                  </a:lnTo>
                  <a:lnTo>
                    <a:pt x="4256351" y="2412723"/>
                  </a:lnTo>
                  <a:lnTo>
                    <a:pt x="4258011" y="2412516"/>
                  </a:lnTo>
                  <a:lnTo>
                    <a:pt x="4259986" y="2413675"/>
                  </a:lnTo>
                  <a:lnTo>
                    <a:pt x="4258618" y="2416076"/>
                  </a:lnTo>
                  <a:lnTo>
                    <a:pt x="4257920" y="2416703"/>
                  </a:lnTo>
                  <a:lnTo>
                    <a:pt x="4258332" y="2417413"/>
                  </a:lnTo>
                  <a:lnTo>
                    <a:pt x="4258958" y="2417181"/>
                  </a:lnTo>
                  <a:lnTo>
                    <a:pt x="4260231" y="2417013"/>
                  </a:lnTo>
                  <a:lnTo>
                    <a:pt x="4260766" y="2416716"/>
                  </a:lnTo>
                  <a:lnTo>
                    <a:pt x="4261271" y="2415950"/>
                  </a:lnTo>
                  <a:lnTo>
                    <a:pt x="4261453" y="2414744"/>
                  </a:lnTo>
                  <a:lnTo>
                    <a:pt x="4264867" y="2411977"/>
                  </a:lnTo>
                  <a:close/>
                  <a:moveTo>
                    <a:pt x="3840673" y="2403241"/>
                  </a:moveTo>
                  <a:lnTo>
                    <a:pt x="3842961" y="2403493"/>
                  </a:lnTo>
                  <a:lnTo>
                    <a:pt x="3847588" y="2409034"/>
                  </a:lnTo>
                  <a:lnTo>
                    <a:pt x="3849689" y="2414126"/>
                  </a:lnTo>
                  <a:lnTo>
                    <a:pt x="3847926" y="2417234"/>
                  </a:lnTo>
                  <a:lnTo>
                    <a:pt x="3844570" y="2417332"/>
                  </a:lnTo>
                  <a:lnTo>
                    <a:pt x="3841559" y="2414390"/>
                  </a:lnTo>
                  <a:lnTo>
                    <a:pt x="3840052" y="2410627"/>
                  </a:lnTo>
                  <a:lnTo>
                    <a:pt x="3839366" y="2406312"/>
                  </a:lnTo>
                  <a:close/>
                  <a:moveTo>
                    <a:pt x="4260597" y="2389088"/>
                  </a:moveTo>
                  <a:lnTo>
                    <a:pt x="4261632" y="2389328"/>
                  </a:lnTo>
                  <a:lnTo>
                    <a:pt x="4262035" y="2390418"/>
                  </a:lnTo>
                  <a:lnTo>
                    <a:pt x="4262381" y="2391007"/>
                  </a:lnTo>
                  <a:lnTo>
                    <a:pt x="4263104" y="2390558"/>
                  </a:lnTo>
                  <a:lnTo>
                    <a:pt x="4263215" y="2391797"/>
                  </a:lnTo>
                  <a:lnTo>
                    <a:pt x="4262978" y="2393629"/>
                  </a:lnTo>
                  <a:lnTo>
                    <a:pt x="4263275" y="2394942"/>
                  </a:lnTo>
                  <a:lnTo>
                    <a:pt x="4264615" y="2393072"/>
                  </a:lnTo>
                  <a:lnTo>
                    <a:pt x="4265316" y="2392716"/>
                  </a:lnTo>
                  <a:lnTo>
                    <a:pt x="4265729" y="2393421"/>
                  </a:lnTo>
                  <a:lnTo>
                    <a:pt x="4265058" y="2393932"/>
                  </a:lnTo>
                  <a:lnTo>
                    <a:pt x="4264029" y="2396228"/>
                  </a:lnTo>
                  <a:lnTo>
                    <a:pt x="4261812" y="2397946"/>
                  </a:lnTo>
                  <a:lnTo>
                    <a:pt x="4261285" y="2398807"/>
                  </a:lnTo>
                  <a:lnTo>
                    <a:pt x="4261085" y="2400955"/>
                  </a:lnTo>
                  <a:lnTo>
                    <a:pt x="4260794" y="2401911"/>
                  </a:lnTo>
                  <a:lnTo>
                    <a:pt x="4259958" y="2402264"/>
                  </a:lnTo>
                  <a:lnTo>
                    <a:pt x="4259363" y="2401986"/>
                  </a:lnTo>
                  <a:lnTo>
                    <a:pt x="4258099" y="2400720"/>
                  </a:lnTo>
                  <a:lnTo>
                    <a:pt x="4257470" y="2400279"/>
                  </a:lnTo>
                  <a:lnTo>
                    <a:pt x="4257237" y="2399763"/>
                  </a:lnTo>
                  <a:lnTo>
                    <a:pt x="4257232" y="2399587"/>
                  </a:lnTo>
                  <a:lnTo>
                    <a:pt x="4257153" y="2399432"/>
                  </a:lnTo>
                  <a:lnTo>
                    <a:pt x="4256719" y="2398991"/>
                  </a:lnTo>
                  <a:lnTo>
                    <a:pt x="4257511" y="2396217"/>
                  </a:lnTo>
                  <a:lnTo>
                    <a:pt x="4257476" y="2395441"/>
                  </a:lnTo>
                  <a:lnTo>
                    <a:pt x="4257218" y="2394105"/>
                  </a:lnTo>
                  <a:lnTo>
                    <a:pt x="4257950" y="2393281"/>
                  </a:lnTo>
                  <a:lnTo>
                    <a:pt x="4259930" y="2392524"/>
                  </a:lnTo>
                  <a:lnTo>
                    <a:pt x="4259585" y="2391935"/>
                  </a:lnTo>
                  <a:lnTo>
                    <a:pt x="4258302" y="2392087"/>
                  </a:lnTo>
                  <a:lnTo>
                    <a:pt x="4257645" y="2392048"/>
                  </a:lnTo>
                  <a:lnTo>
                    <a:pt x="4257125" y="2391692"/>
                  </a:lnTo>
                  <a:lnTo>
                    <a:pt x="4256660" y="2390610"/>
                  </a:lnTo>
                  <a:lnTo>
                    <a:pt x="4257011" y="2390062"/>
                  </a:lnTo>
                  <a:lnTo>
                    <a:pt x="4257737" y="2389887"/>
                  </a:lnTo>
                  <a:lnTo>
                    <a:pt x="4258414" y="2389935"/>
                  </a:lnTo>
                  <a:lnTo>
                    <a:pt x="4259374" y="2389388"/>
                  </a:lnTo>
                  <a:close/>
                  <a:moveTo>
                    <a:pt x="2421573" y="2383004"/>
                  </a:moveTo>
                  <a:lnTo>
                    <a:pt x="2422695" y="2384246"/>
                  </a:lnTo>
                  <a:lnTo>
                    <a:pt x="2423804" y="2385182"/>
                  </a:lnTo>
                  <a:lnTo>
                    <a:pt x="2423682" y="2385603"/>
                  </a:lnTo>
                  <a:lnTo>
                    <a:pt x="2423545" y="2386691"/>
                  </a:lnTo>
                  <a:lnTo>
                    <a:pt x="2426211" y="2388015"/>
                  </a:lnTo>
                  <a:lnTo>
                    <a:pt x="2427132" y="2387969"/>
                  </a:lnTo>
                  <a:lnTo>
                    <a:pt x="2426235" y="2390335"/>
                  </a:lnTo>
                  <a:lnTo>
                    <a:pt x="2424536" y="2393010"/>
                  </a:lnTo>
                  <a:lnTo>
                    <a:pt x="2422637" y="2394735"/>
                  </a:lnTo>
                  <a:lnTo>
                    <a:pt x="2421132" y="2394222"/>
                  </a:lnTo>
                  <a:lnTo>
                    <a:pt x="2420324" y="2393046"/>
                  </a:lnTo>
                  <a:lnTo>
                    <a:pt x="2418736" y="2390064"/>
                  </a:lnTo>
                  <a:lnTo>
                    <a:pt x="2417713" y="2389193"/>
                  </a:lnTo>
                  <a:lnTo>
                    <a:pt x="2415333" y="2389984"/>
                  </a:lnTo>
                  <a:lnTo>
                    <a:pt x="2414245" y="2389556"/>
                  </a:lnTo>
                  <a:lnTo>
                    <a:pt x="2413653" y="2386881"/>
                  </a:lnTo>
                  <a:lnTo>
                    <a:pt x="2414043" y="2385392"/>
                  </a:lnTo>
                  <a:lnTo>
                    <a:pt x="2415104" y="2384795"/>
                  </a:lnTo>
                  <a:lnTo>
                    <a:pt x="2419740" y="2384808"/>
                  </a:lnTo>
                  <a:lnTo>
                    <a:pt x="2420705" y="2384348"/>
                  </a:lnTo>
                  <a:close/>
                  <a:moveTo>
                    <a:pt x="2435230" y="2381068"/>
                  </a:moveTo>
                  <a:lnTo>
                    <a:pt x="2436677" y="2382396"/>
                  </a:lnTo>
                  <a:lnTo>
                    <a:pt x="2435921" y="2383128"/>
                  </a:lnTo>
                  <a:lnTo>
                    <a:pt x="2434351" y="2382372"/>
                  </a:lnTo>
                  <a:lnTo>
                    <a:pt x="2433371" y="2383594"/>
                  </a:lnTo>
                  <a:lnTo>
                    <a:pt x="2432025" y="2383184"/>
                  </a:lnTo>
                  <a:lnTo>
                    <a:pt x="2431373" y="2382327"/>
                  </a:lnTo>
                  <a:lnTo>
                    <a:pt x="2432557" y="2381268"/>
                  </a:lnTo>
                  <a:close/>
                  <a:moveTo>
                    <a:pt x="3742082" y="2377879"/>
                  </a:moveTo>
                  <a:lnTo>
                    <a:pt x="3743109" y="2378741"/>
                  </a:lnTo>
                  <a:lnTo>
                    <a:pt x="3744338" y="2380063"/>
                  </a:lnTo>
                  <a:lnTo>
                    <a:pt x="3743023" y="2382746"/>
                  </a:lnTo>
                  <a:lnTo>
                    <a:pt x="3740569" y="2385056"/>
                  </a:lnTo>
                  <a:lnTo>
                    <a:pt x="3738367" y="2386704"/>
                  </a:lnTo>
                  <a:lnTo>
                    <a:pt x="3738214" y="2385119"/>
                  </a:lnTo>
                  <a:lnTo>
                    <a:pt x="3738534" y="2381891"/>
                  </a:lnTo>
                  <a:lnTo>
                    <a:pt x="3738975" y="2379932"/>
                  </a:lnTo>
                  <a:close/>
                  <a:moveTo>
                    <a:pt x="4233672" y="2372849"/>
                  </a:moveTo>
                  <a:lnTo>
                    <a:pt x="4234418" y="2372978"/>
                  </a:lnTo>
                  <a:lnTo>
                    <a:pt x="4234550" y="2376711"/>
                  </a:lnTo>
                  <a:lnTo>
                    <a:pt x="4234048" y="2378925"/>
                  </a:lnTo>
                  <a:lnTo>
                    <a:pt x="4234023" y="2380327"/>
                  </a:lnTo>
                  <a:lnTo>
                    <a:pt x="4234901" y="2380004"/>
                  </a:lnTo>
                  <a:lnTo>
                    <a:pt x="4235769" y="2379885"/>
                  </a:lnTo>
                  <a:lnTo>
                    <a:pt x="4236727" y="2380036"/>
                  </a:lnTo>
                  <a:lnTo>
                    <a:pt x="4237881" y="2380521"/>
                  </a:lnTo>
                  <a:lnTo>
                    <a:pt x="4237656" y="2382314"/>
                  </a:lnTo>
                  <a:lnTo>
                    <a:pt x="4236956" y="2384692"/>
                  </a:lnTo>
                  <a:lnTo>
                    <a:pt x="4235889" y="2386592"/>
                  </a:lnTo>
                  <a:lnTo>
                    <a:pt x="4234548" y="2386951"/>
                  </a:lnTo>
                  <a:lnTo>
                    <a:pt x="4234649" y="2385927"/>
                  </a:lnTo>
                  <a:lnTo>
                    <a:pt x="4234279" y="2385352"/>
                  </a:lnTo>
                  <a:lnTo>
                    <a:pt x="4233582" y="2385198"/>
                  </a:lnTo>
                  <a:lnTo>
                    <a:pt x="4232727" y="2385428"/>
                  </a:lnTo>
                  <a:lnTo>
                    <a:pt x="4232208" y="2386112"/>
                  </a:lnTo>
                  <a:lnTo>
                    <a:pt x="4231932" y="2387190"/>
                  </a:lnTo>
                  <a:lnTo>
                    <a:pt x="4231949" y="2388111"/>
                  </a:lnTo>
                  <a:lnTo>
                    <a:pt x="4232743" y="2388614"/>
                  </a:lnTo>
                  <a:lnTo>
                    <a:pt x="4233009" y="2389691"/>
                  </a:lnTo>
                  <a:lnTo>
                    <a:pt x="4233046" y="2390908"/>
                  </a:lnTo>
                  <a:lnTo>
                    <a:pt x="4232815" y="2391609"/>
                  </a:lnTo>
                  <a:lnTo>
                    <a:pt x="4232308" y="2392049"/>
                  </a:lnTo>
                  <a:lnTo>
                    <a:pt x="4231189" y="2393635"/>
                  </a:lnTo>
                  <a:lnTo>
                    <a:pt x="4230914" y="2394435"/>
                  </a:lnTo>
                  <a:lnTo>
                    <a:pt x="4230855" y="2395261"/>
                  </a:lnTo>
                  <a:lnTo>
                    <a:pt x="4230962" y="2396099"/>
                  </a:lnTo>
                  <a:lnTo>
                    <a:pt x="4231324" y="2396825"/>
                  </a:lnTo>
                  <a:lnTo>
                    <a:pt x="4232070" y="2397322"/>
                  </a:lnTo>
                  <a:lnTo>
                    <a:pt x="4232949" y="2397162"/>
                  </a:lnTo>
                  <a:lnTo>
                    <a:pt x="4233347" y="2396214"/>
                  </a:lnTo>
                  <a:lnTo>
                    <a:pt x="4233567" y="2395082"/>
                  </a:lnTo>
                  <a:lnTo>
                    <a:pt x="4234254" y="2393753"/>
                  </a:lnTo>
                  <a:lnTo>
                    <a:pt x="4234485" y="2391855"/>
                  </a:lnTo>
                  <a:lnTo>
                    <a:pt x="4234918" y="2391193"/>
                  </a:lnTo>
                  <a:lnTo>
                    <a:pt x="4235715" y="2390784"/>
                  </a:lnTo>
                  <a:lnTo>
                    <a:pt x="4239794" y="2389607"/>
                  </a:lnTo>
                  <a:lnTo>
                    <a:pt x="4241098" y="2389844"/>
                  </a:lnTo>
                  <a:lnTo>
                    <a:pt x="4242355" y="2390953"/>
                  </a:lnTo>
                  <a:lnTo>
                    <a:pt x="4243841" y="2393193"/>
                  </a:lnTo>
                  <a:lnTo>
                    <a:pt x="4246100" y="2397080"/>
                  </a:lnTo>
                  <a:lnTo>
                    <a:pt x="4246638" y="2398567"/>
                  </a:lnTo>
                  <a:lnTo>
                    <a:pt x="4246253" y="2399179"/>
                  </a:lnTo>
                  <a:lnTo>
                    <a:pt x="4245697" y="2399588"/>
                  </a:lnTo>
                  <a:lnTo>
                    <a:pt x="4245718" y="2400470"/>
                  </a:lnTo>
                  <a:lnTo>
                    <a:pt x="4246420" y="2401312"/>
                  </a:lnTo>
                  <a:lnTo>
                    <a:pt x="4248203" y="2401852"/>
                  </a:lnTo>
                  <a:lnTo>
                    <a:pt x="4248953" y="2402806"/>
                  </a:lnTo>
                  <a:lnTo>
                    <a:pt x="4249098" y="2404099"/>
                  </a:lnTo>
                  <a:lnTo>
                    <a:pt x="4248523" y="2404938"/>
                  </a:lnTo>
                  <a:lnTo>
                    <a:pt x="4246891" y="2405822"/>
                  </a:lnTo>
                  <a:lnTo>
                    <a:pt x="4245629" y="2405862"/>
                  </a:lnTo>
                  <a:lnTo>
                    <a:pt x="4240478" y="2403674"/>
                  </a:lnTo>
                  <a:lnTo>
                    <a:pt x="4238984" y="2403415"/>
                  </a:lnTo>
                  <a:lnTo>
                    <a:pt x="4238250" y="2403449"/>
                  </a:lnTo>
                  <a:lnTo>
                    <a:pt x="4237640" y="2403648"/>
                  </a:lnTo>
                  <a:lnTo>
                    <a:pt x="4236886" y="2403559"/>
                  </a:lnTo>
                  <a:lnTo>
                    <a:pt x="4235137" y="2402215"/>
                  </a:lnTo>
                  <a:lnTo>
                    <a:pt x="4233254" y="2402098"/>
                  </a:lnTo>
                  <a:lnTo>
                    <a:pt x="4232069" y="2401314"/>
                  </a:lnTo>
                  <a:lnTo>
                    <a:pt x="4230838" y="2400767"/>
                  </a:lnTo>
                  <a:lnTo>
                    <a:pt x="4229718" y="2401374"/>
                  </a:lnTo>
                  <a:lnTo>
                    <a:pt x="4229315" y="2400674"/>
                  </a:lnTo>
                  <a:lnTo>
                    <a:pt x="4229017" y="2398552"/>
                  </a:lnTo>
                  <a:lnTo>
                    <a:pt x="4227582" y="2394928"/>
                  </a:lnTo>
                  <a:lnTo>
                    <a:pt x="4225835" y="2391607"/>
                  </a:lnTo>
                  <a:lnTo>
                    <a:pt x="4224583" y="2390394"/>
                  </a:lnTo>
                  <a:lnTo>
                    <a:pt x="4224009" y="2389954"/>
                  </a:lnTo>
                  <a:lnTo>
                    <a:pt x="4223690" y="2388367"/>
                  </a:lnTo>
                  <a:lnTo>
                    <a:pt x="4223565" y="2385757"/>
                  </a:lnTo>
                  <a:lnTo>
                    <a:pt x="4224580" y="2383436"/>
                  </a:lnTo>
                  <a:lnTo>
                    <a:pt x="4225726" y="2381817"/>
                  </a:lnTo>
                  <a:lnTo>
                    <a:pt x="4226064" y="2380785"/>
                  </a:lnTo>
                  <a:lnTo>
                    <a:pt x="4225456" y="2379351"/>
                  </a:lnTo>
                  <a:lnTo>
                    <a:pt x="4224677" y="2378007"/>
                  </a:lnTo>
                  <a:lnTo>
                    <a:pt x="4224522" y="2377281"/>
                  </a:lnTo>
                  <a:lnTo>
                    <a:pt x="4225193" y="2376610"/>
                  </a:lnTo>
                  <a:lnTo>
                    <a:pt x="4225601" y="2375827"/>
                  </a:lnTo>
                  <a:lnTo>
                    <a:pt x="4226101" y="2375165"/>
                  </a:lnTo>
                  <a:lnTo>
                    <a:pt x="4227062" y="2374854"/>
                  </a:lnTo>
                  <a:lnTo>
                    <a:pt x="4228311" y="2375122"/>
                  </a:lnTo>
                  <a:lnTo>
                    <a:pt x="4229756" y="2375639"/>
                  </a:lnTo>
                  <a:lnTo>
                    <a:pt x="4231053" y="2375802"/>
                  </a:lnTo>
                  <a:lnTo>
                    <a:pt x="4231857" y="2374990"/>
                  </a:lnTo>
                  <a:lnTo>
                    <a:pt x="4232279" y="2374045"/>
                  </a:lnTo>
                  <a:lnTo>
                    <a:pt x="4232928" y="2373270"/>
                  </a:lnTo>
                  <a:close/>
                  <a:moveTo>
                    <a:pt x="3203409" y="2368150"/>
                  </a:moveTo>
                  <a:lnTo>
                    <a:pt x="3203602" y="2369003"/>
                  </a:lnTo>
                  <a:lnTo>
                    <a:pt x="3204042" y="2370408"/>
                  </a:lnTo>
                  <a:lnTo>
                    <a:pt x="3204075" y="2370431"/>
                  </a:lnTo>
                  <a:lnTo>
                    <a:pt x="3203696" y="2370543"/>
                  </a:lnTo>
                  <a:lnTo>
                    <a:pt x="3199334" y="2376432"/>
                  </a:lnTo>
                  <a:lnTo>
                    <a:pt x="3201433" y="2375007"/>
                  </a:lnTo>
                  <a:lnTo>
                    <a:pt x="3202290" y="2374782"/>
                  </a:lnTo>
                  <a:lnTo>
                    <a:pt x="3202499" y="2375499"/>
                  </a:lnTo>
                  <a:lnTo>
                    <a:pt x="3199981" y="2377846"/>
                  </a:lnTo>
                  <a:lnTo>
                    <a:pt x="3192009" y="2382460"/>
                  </a:lnTo>
                  <a:lnTo>
                    <a:pt x="3188443" y="2386271"/>
                  </a:lnTo>
                  <a:lnTo>
                    <a:pt x="3183881" y="2387923"/>
                  </a:lnTo>
                  <a:lnTo>
                    <a:pt x="3182946" y="2387882"/>
                  </a:lnTo>
                  <a:lnTo>
                    <a:pt x="3182999" y="2387149"/>
                  </a:lnTo>
                  <a:lnTo>
                    <a:pt x="3185009" y="2383629"/>
                  </a:lnTo>
                  <a:lnTo>
                    <a:pt x="3185287" y="2382854"/>
                  </a:lnTo>
                  <a:lnTo>
                    <a:pt x="3185279" y="2382004"/>
                  </a:lnTo>
                  <a:lnTo>
                    <a:pt x="3185134" y="2381017"/>
                  </a:lnTo>
                  <a:lnTo>
                    <a:pt x="3185169" y="2380146"/>
                  </a:lnTo>
                  <a:lnTo>
                    <a:pt x="3185703" y="2379630"/>
                  </a:lnTo>
                  <a:lnTo>
                    <a:pt x="3202221" y="2369355"/>
                  </a:lnTo>
                  <a:lnTo>
                    <a:pt x="3202369" y="2368458"/>
                  </a:lnTo>
                  <a:lnTo>
                    <a:pt x="3202784" y="2368539"/>
                  </a:lnTo>
                  <a:lnTo>
                    <a:pt x="3202951" y="2368699"/>
                  </a:lnTo>
                  <a:lnTo>
                    <a:pt x="3203088" y="2368658"/>
                  </a:lnTo>
                  <a:close/>
                  <a:moveTo>
                    <a:pt x="3730442" y="2368048"/>
                  </a:moveTo>
                  <a:lnTo>
                    <a:pt x="3731553" y="2368850"/>
                  </a:lnTo>
                  <a:lnTo>
                    <a:pt x="3733413" y="2370280"/>
                  </a:lnTo>
                  <a:lnTo>
                    <a:pt x="3735062" y="2371661"/>
                  </a:lnTo>
                  <a:lnTo>
                    <a:pt x="3736053" y="2373386"/>
                  </a:lnTo>
                  <a:lnTo>
                    <a:pt x="3734445" y="2375361"/>
                  </a:lnTo>
                  <a:lnTo>
                    <a:pt x="3735690" y="2375382"/>
                  </a:lnTo>
                  <a:lnTo>
                    <a:pt x="3734196" y="2377836"/>
                  </a:lnTo>
                  <a:lnTo>
                    <a:pt x="3733431" y="2379240"/>
                  </a:lnTo>
                  <a:lnTo>
                    <a:pt x="3733562" y="2380630"/>
                  </a:lnTo>
                  <a:lnTo>
                    <a:pt x="3732918" y="2381974"/>
                  </a:lnTo>
                  <a:lnTo>
                    <a:pt x="3733032" y="2382637"/>
                  </a:lnTo>
                  <a:lnTo>
                    <a:pt x="3731783" y="2385236"/>
                  </a:lnTo>
                  <a:lnTo>
                    <a:pt x="3731666" y="2386951"/>
                  </a:lnTo>
                  <a:lnTo>
                    <a:pt x="3733071" y="2388383"/>
                  </a:lnTo>
                  <a:lnTo>
                    <a:pt x="3732526" y="2389749"/>
                  </a:lnTo>
                  <a:lnTo>
                    <a:pt x="3731277" y="2389568"/>
                  </a:lnTo>
                  <a:lnTo>
                    <a:pt x="3728307" y="2388083"/>
                  </a:lnTo>
                  <a:lnTo>
                    <a:pt x="3728719" y="2390350"/>
                  </a:lnTo>
                  <a:lnTo>
                    <a:pt x="3728372" y="2392049"/>
                  </a:lnTo>
                  <a:lnTo>
                    <a:pt x="3727333" y="2392683"/>
                  </a:lnTo>
                  <a:lnTo>
                    <a:pt x="3725699" y="2391735"/>
                  </a:lnTo>
                  <a:lnTo>
                    <a:pt x="3725710" y="2390481"/>
                  </a:lnTo>
                  <a:lnTo>
                    <a:pt x="3725979" y="2388073"/>
                  </a:lnTo>
                  <a:lnTo>
                    <a:pt x="3725948" y="2386613"/>
                  </a:lnTo>
                  <a:lnTo>
                    <a:pt x="3725796" y="2386109"/>
                  </a:lnTo>
                  <a:lnTo>
                    <a:pt x="3724893" y="2384218"/>
                  </a:lnTo>
                  <a:lnTo>
                    <a:pt x="3724901" y="2383769"/>
                  </a:lnTo>
                  <a:lnTo>
                    <a:pt x="3725106" y="2383190"/>
                  </a:lnTo>
                  <a:lnTo>
                    <a:pt x="3725255" y="2382491"/>
                  </a:lnTo>
                  <a:lnTo>
                    <a:pt x="3724820" y="2380422"/>
                  </a:lnTo>
                  <a:lnTo>
                    <a:pt x="3725031" y="2379831"/>
                  </a:lnTo>
                  <a:lnTo>
                    <a:pt x="3724935" y="2379282"/>
                  </a:lnTo>
                  <a:lnTo>
                    <a:pt x="3723729" y="2378135"/>
                  </a:lnTo>
                  <a:lnTo>
                    <a:pt x="3720460" y="2375957"/>
                  </a:lnTo>
                  <a:lnTo>
                    <a:pt x="3718359" y="2373752"/>
                  </a:lnTo>
                  <a:lnTo>
                    <a:pt x="3718968" y="2372800"/>
                  </a:lnTo>
                  <a:lnTo>
                    <a:pt x="3720429" y="2372255"/>
                  </a:lnTo>
                  <a:lnTo>
                    <a:pt x="3720882" y="2371250"/>
                  </a:lnTo>
                  <a:lnTo>
                    <a:pt x="3723849" y="2369752"/>
                  </a:lnTo>
                  <a:lnTo>
                    <a:pt x="3725897" y="2369357"/>
                  </a:lnTo>
                  <a:lnTo>
                    <a:pt x="3727698" y="2368943"/>
                  </a:lnTo>
                  <a:lnTo>
                    <a:pt x="3728870" y="2369669"/>
                  </a:lnTo>
                  <a:close/>
                  <a:moveTo>
                    <a:pt x="2439347" y="2366968"/>
                  </a:moveTo>
                  <a:lnTo>
                    <a:pt x="2442463" y="2368297"/>
                  </a:lnTo>
                  <a:lnTo>
                    <a:pt x="2442889" y="2370479"/>
                  </a:lnTo>
                  <a:lnTo>
                    <a:pt x="2442134" y="2372048"/>
                  </a:lnTo>
                  <a:lnTo>
                    <a:pt x="2440198" y="2370495"/>
                  </a:lnTo>
                  <a:lnTo>
                    <a:pt x="2439832" y="2368863"/>
                  </a:lnTo>
                  <a:close/>
                  <a:moveTo>
                    <a:pt x="2455976" y="2328134"/>
                  </a:moveTo>
                  <a:lnTo>
                    <a:pt x="2456920" y="2328259"/>
                  </a:lnTo>
                  <a:lnTo>
                    <a:pt x="2457860" y="2328678"/>
                  </a:lnTo>
                  <a:lnTo>
                    <a:pt x="2458669" y="2329289"/>
                  </a:lnTo>
                  <a:lnTo>
                    <a:pt x="2460270" y="2330133"/>
                  </a:lnTo>
                  <a:lnTo>
                    <a:pt x="2465266" y="2329192"/>
                  </a:lnTo>
                  <a:lnTo>
                    <a:pt x="2465325" y="2330007"/>
                  </a:lnTo>
                  <a:lnTo>
                    <a:pt x="2464320" y="2330080"/>
                  </a:lnTo>
                  <a:lnTo>
                    <a:pt x="2461187" y="2334033"/>
                  </a:lnTo>
                  <a:lnTo>
                    <a:pt x="2460589" y="2334449"/>
                  </a:lnTo>
                  <a:lnTo>
                    <a:pt x="2459446" y="2333819"/>
                  </a:lnTo>
                  <a:lnTo>
                    <a:pt x="2456325" y="2334935"/>
                  </a:lnTo>
                  <a:lnTo>
                    <a:pt x="2454875" y="2334475"/>
                  </a:lnTo>
                  <a:lnTo>
                    <a:pt x="2456465" y="2332136"/>
                  </a:lnTo>
                  <a:lnTo>
                    <a:pt x="2457371" y="2331298"/>
                  </a:lnTo>
                  <a:lnTo>
                    <a:pt x="2458455" y="2331169"/>
                  </a:lnTo>
                  <a:lnTo>
                    <a:pt x="2457291" y="2329728"/>
                  </a:lnTo>
                  <a:lnTo>
                    <a:pt x="2456080" y="2330075"/>
                  </a:lnTo>
                  <a:lnTo>
                    <a:pt x="2454842" y="2331042"/>
                  </a:lnTo>
                  <a:lnTo>
                    <a:pt x="2453605" y="2331506"/>
                  </a:lnTo>
                  <a:lnTo>
                    <a:pt x="2453558" y="2330837"/>
                  </a:lnTo>
                  <a:lnTo>
                    <a:pt x="2454159" y="2330369"/>
                  </a:lnTo>
                  <a:lnTo>
                    <a:pt x="2454458" y="2329707"/>
                  </a:lnTo>
                  <a:lnTo>
                    <a:pt x="2454701" y="2329000"/>
                  </a:lnTo>
                  <a:lnTo>
                    <a:pt x="2455149" y="2328413"/>
                  </a:lnTo>
                  <a:close/>
                  <a:moveTo>
                    <a:pt x="2445529" y="2327384"/>
                  </a:moveTo>
                  <a:lnTo>
                    <a:pt x="2447462" y="2328990"/>
                  </a:lnTo>
                  <a:lnTo>
                    <a:pt x="2450693" y="2329039"/>
                  </a:lnTo>
                  <a:lnTo>
                    <a:pt x="2452075" y="2329372"/>
                  </a:lnTo>
                  <a:lnTo>
                    <a:pt x="2451736" y="2330352"/>
                  </a:lnTo>
                  <a:lnTo>
                    <a:pt x="2451280" y="2330944"/>
                  </a:lnTo>
                  <a:lnTo>
                    <a:pt x="2450733" y="2331181"/>
                  </a:lnTo>
                  <a:lnTo>
                    <a:pt x="2450114" y="2331072"/>
                  </a:lnTo>
                  <a:lnTo>
                    <a:pt x="2445392" y="2332874"/>
                  </a:lnTo>
                  <a:lnTo>
                    <a:pt x="2444001" y="2332797"/>
                  </a:lnTo>
                  <a:lnTo>
                    <a:pt x="2442692" y="2332073"/>
                  </a:lnTo>
                  <a:lnTo>
                    <a:pt x="2442221" y="2331200"/>
                  </a:lnTo>
                  <a:lnTo>
                    <a:pt x="2443332" y="2330705"/>
                  </a:lnTo>
                  <a:lnTo>
                    <a:pt x="2444231" y="2329908"/>
                  </a:lnTo>
                  <a:lnTo>
                    <a:pt x="2444906" y="2328430"/>
                  </a:lnTo>
                  <a:close/>
                  <a:moveTo>
                    <a:pt x="4172863" y="2326831"/>
                  </a:moveTo>
                  <a:lnTo>
                    <a:pt x="4177461" y="2327834"/>
                  </a:lnTo>
                  <a:lnTo>
                    <a:pt x="4179223" y="2329397"/>
                  </a:lnTo>
                  <a:lnTo>
                    <a:pt x="4180103" y="2332560"/>
                  </a:lnTo>
                  <a:lnTo>
                    <a:pt x="4179596" y="2334485"/>
                  </a:lnTo>
                  <a:lnTo>
                    <a:pt x="4176723" y="2340726"/>
                  </a:lnTo>
                  <a:lnTo>
                    <a:pt x="4176160" y="2341503"/>
                  </a:lnTo>
                  <a:lnTo>
                    <a:pt x="4173503" y="2340820"/>
                  </a:lnTo>
                  <a:lnTo>
                    <a:pt x="4170382" y="2339477"/>
                  </a:lnTo>
                  <a:lnTo>
                    <a:pt x="4168394" y="2338265"/>
                  </a:lnTo>
                  <a:lnTo>
                    <a:pt x="4166729" y="2335499"/>
                  </a:lnTo>
                  <a:lnTo>
                    <a:pt x="4166343" y="2332481"/>
                  </a:lnTo>
                  <a:lnTo>
                    <a:pt x="4166984" y="2329954"/>
                  </a:lnTo>
                  <a:lnTo>
                    <a:pt x="4168381" y="2328659"/>
                  </a:lnTo>
                  <a:lnTo>
                    <a:pt x="4168711" y="2331312"/>
                  </a:lnTo>
                  <a:lnTo>
                    <a:pt x="4169239" y="2332490"/>
                  </a:lnTo>
                  <a:lnTo>
                    <a:pt x="4170309" y="2332737"/>
                  </a:lnTo>
                  <a:lnTo>
                    <a:pt x="4170843" y="2331894"/>
                  </a:lnTo>
                  <a:lnTo>
                    <a:pt x="4170211" y="2328713"/>
                  </a:lnTo>
                  <a:lnTo>
                    <a:pt x="4170422" y="2327429"/>
                  </a:lnTo>
                  <a:lnTo>
                    <a:pt x="4171076" y="2327769"/>
                  </a:lnTo>
                  <a:lnTo>
                    <a:pt x="4171681" y="2327639"/>
                  </a:lnTo>
                  <a:close/>
                  <a:moveTo>
                    <a:pt x="4185392" y="2326049"/>
                  </a:moveTo>
                  <a:lnTo>
                    <a:pt x="4186489" y="2326526"/>
                  </a:lnTo>
                  <a:lnTo>
                    <a:pt x="4186863" y="2326565"/>
                  </a:lnTo>
                  <a:lnTo>
                    <a:pt x="4187179" y="2326639"/>
                  </a:lnTo>
                  <a:lnTo>
                    <a:pt x="4187498" y="2326868"/>
                  </a:lnTo>
                  <a:lnTo>
                    <a:pt x="4187888" y="2327352"/>
                  </a:lnTo>
                  <a:lnTo>
                    <a:pt x="4187109" y="2327874"/>
                  </a:lnTo>
                  <a:lnTo>
                    <a:pt x="4186500" y="2328667"/>
                  </a:lnTo>
                  <a:lnTo>
                    <a:pt x="4185576" y="2330505"/>
                  </a:lnTo>
                  <a:lnTo>
                    <a:pt x="4186350" y="2330593"/>
                  </a:lnTo>
                  <a:lnTo>
                    <a:pt x="4187094" y="2330501"/>
                  </a:lnTo>
                  <a:lnTo>
                    <a:pt x="4187768" y="2330228"/>
                  </a:lnTo>
                  <a:lnTo>
                    <a:pt x="4188370" y="2329772"/>
                  </a:lnTo>
                  <a:lnTo>
                    <a:pt x="4188746" y="2330421"/>
                  </a:lnTo>
                  <a:lnTo>
                    <a:pt x="4188469" y="2331087"/>
                  </a:lnTo>
                  <a:lnTo>
                    <a:pt x="4188427" y="2332607"/>
                  </a:lnTo>
                  <a:lnTo>
                    <a:pt x="4188201" y="2333382"/>
                  </a:lnTo>
                  <a:lnTo>
                    <a:pt x="4187606" y="2334031"/>
                  </a:lnTo>
                  <a:lnTo>
                    <a:pt x="4183713" y="2336158"/>
                  </a:lnTo>
                  <a:lnTo>
                    <a:pt x="4182882" y="2337021"/>
                  </a:lnTo>
                  <a:lnTo>
                    <a:pt x="4182506" y="2338298"/>
                  </a:lnTo>
                  <a:lnTo>
                    <a:pt x="4182485" y="2340356"/>
                  </a:lnTo>
                  <a:lnTo>
                    <a:pt x="4183312" y="2340451"/>
                  </a:lnTo>
                  <a:lnTo>
                    <a:pt x="4184224" y="2340139"/>
                  </a:lnTo>
                  <a:lnTo>
                    <a:pt x="4184829" y="2339491"/>
                  </a:lnTo>
                  <a:lnTo>
                    <a:pt x="4184712" y="2338560"/>
                  </a:lnTo>
                  <a:lnTo>
                    <a:pt x="4184829" y="2337831"/>
                  </a:lnTo>
                  <a:lnTo>
                    <a:pt x="4185696" y="2337169"/>
                  </a:lnTo>
                  <a:lnTo>
                    <a:pt x="4190383" y="2335541"/>
                  </a:lnTo>
                  <a:lnTo>
                    <a:pt x="4193828" y="2335216"/>
                  </a:lnTo>
                  <a:lnTo>
                    <a:pt x="4194171" y="2335807"/>
                  </a:lnTo>
                  <a:lnTo>
                    <a:pt x="4193277" y="2338265"/>
                  </a:lnTo>
                  <a:lnTo>
                    <a:pt x="4191561" y="2339439"/>
                  </a:lnTo>
                  <a:lnTo>
                    <a:pt x="4182406" y="2342991"/>
                  </a:lnTo>
                  <a:lnTo>
                    <a:pt x="4179636" y="2343068"/>
                  </a:lnTo>
                  <a:lnTo>
                    <a:pt x="4177985" y="2341321"/>
                  </a:lnTo>
                  <a:lnTo>
                    <a:pt x="4178207" y="2340384"/>
                  </a:lnTo>
                  <a:lnTo>
                    <a:pt x="4180307" y="2337295"/>
                  </a:lnTo>
                  <a:lnTo>
                    <a:pt x="4181177" y="2334922"/>
                  </a:lnTo>
                  <a:lnTo>
                    <a:pt x="4181420" y="2333662"/>
                  </a:lnTo>
                  <a:lnTo>
                    <a:pt x="4181466" y="2332210"/>
                  </a:lnTo>
                  <a:lnTo>
                    <a:pt x="4181061" y="2329337"/>
                  </a:lnTo>
                  <a:lnTo>
                    <a:pt x="4181173" y="2328376"/>
                  </a:lnTo>
                  <a:lnTo>
                    <a:pt x="4181939" y="2327458"/>
                  </a:lnTo>
                  <a:lnTo>
                    <a:pt x="4184148" y="2326225"/>
                  </a:lnTo>
                  <a:close/>
                  <a:moveTo>
                    <a:pt x="4167105" y="2298612"/>
                  </a:moveTo>
                  <a:lnTo>
                    <a:pt x="4167658" y="2300126"/>
                  </a:lnTo>
                  <a:lnTo>
                    <a:pt x="4167957" y="2302625"/>
                  </a:lnTo>
                  <a:lnTo>
                    <a:pt x="4168392" y="2304044"/>
                  </a:lnTo>
                  <a:lnTo>
                    <a:pt x="4170358" y="2302028"/>
                  </a:lnTo>
                  <a:lnTo>
                    <a:pt x="4171500" y="2301490"/>
                  </a:lnTo>
                  <a:lnTo>
                    <a:pt x="4171834" y="2302829"/>
                  </a:lnTo>
                  <a:lnTo>
                    <a:pt x="4172169" y="2302625"/>
                  </a:lnTo>
                  <a:lnTo>
                    <a:pt x="4172318" y="2303611"/>
                  </a:lnTo>
                  <a:lnTo>
                    <a:pt x="4172281" y="2304449"/>
                  </a:lnTo>
                  <a:lnTo>
                    <a:pt x="4171989" y="2306248"/>
                  </a:lnTo>
                  <a:lnTo>
                    <a:pt x="4172210" y="2306051"/>
                  </a:lnTo>
                  <a:lnTo>
                    <a:pt x="4173003" y="2305631"/>
                  </a:lnTo>
                  <a:lnTo>
                    <a:pt x="4173740" y="2308099"/>
                  </a:lnTo>
                  <a:lnTo>
                    <a:pt x="4173203" y="2308986"/>
                  </a:lnTo>
                  <a:lnTo>
                    <a:pt x="4172249" y="2309351"/>
                  </a:lnTo>
                  <a:lnTo>
                    <a:pt x="4171233" y="2311535"/>
                  </a:lnTo>
                  <a:lnTo>
                    <a:pt x="4169787" y="2311482"/>
                  </a:lnTo>
                  <a:lnTo>
                    <a:pt x="4168038" y="2310757"/>
                  </a:lnTo>
                  <a:lnTo>
                    <a:pt x="4166586" y="2309961"/>
                  </a:lnTo>
                  <a:lnTo>
                    <a:pt x="4164973" y="2309606"/>
                  </a:lnTo>
                  <a:lnTo>
                    <a:pt x="4164625" y="2309362"/>
                  </a:lnTo>
                  <a:lnTo>
                    <a:pt x="4164145" y="2308530"/>
                  </a:lnTo>
                  <a:lnTo>
                    <a:pt x="4163676" y="2307833"/>
                  </a:lnTo>
                  <a:lnTo>
                    <a:pt x="4163177" y="2307435"/>
                  </a:lnTo>
                  <a:lnTo>
                    <a:pt x="4162653" y="2307523"/>
                  </a:lnTo>
                  <a:lnTo>
                    <a:pt x="4162321" y="2308705"/>
                  </a:lnTo>
                  <a:lnTo>
                    <a:pt x="4162535" y="2310287"/>
                  </a:lnTo>
                  <a:lnTo>
                    <a:pt x="4162336" y="2311440"/>
                  </a:lnTo>
                  <a:lnTo>
                    <a:pt x="4160736" y="2311311"/>
                  </a:lnTo>
                  <a:lnTo>
                    <a:pt x="4160315" y="2308743"/>
                  </a:lnTo>
                  <a:lnTo>
                    <a:pt x="4161257" y="2300657"/>
                  </a:lnTo>
                  <a:lnTo>
                    <a:pt x="4161967" y="2300054"/>
                  </a:lnTo>
                  <a:lnTo>
                    <a:pt x="4164071" y="2299655"/>
                  </a:lnTo>
                  <a:lnTo>
                    <a:pt x="4165388" y="2300314"/>
                  </a:lnTo>
                  <a:lnTo>
                    <a:pt x="4166041" y="2300434"/>
                  </a:lnTo>
                  <a:lnTo>
                    <a:pt x="4165812" y="2299194"/>
                  </a:lnTo>
                  <a:lnTo>
                    <a:pt x="4166128" y="2298814"/>
                  </a:lnTo>
                  <a:lnTo>
                    <a:pt x="4166635" y="2298621"/>
                  </a:lnTo>
                  <a:close/>
                  <a:moveTo>
                    <a:pt x="2486224" y="2298275"/>
                  </a:moveTo>
                  <a:lnTo>
                    <a:pt x="2486667" y="2298338"/>
                  </a:lnTo>
                  <a:lnTo>
                    <a:pt x="2487094" y="2298616"/>
                  </a:lnTo>
                  <a:lnTo>
                    <a:pt x="2487516" y="2299040"/>
                  </a:lnTo>
                  <a:lnTo>
                    <a:pt x="2490019" y="2299708"/>
                  </a:lnTo>
                  <a:lnTo>
                    <a:pt x="2490729" y="2300212"/>
                  </a:lnTo>
                  <a:lnTo>
                    <a:pt x="2491235" y="2301026"/>
                  </a:lnTo>
                  <a:lnTo>
                    <a:pt x="2491722" y="2302181"/>
                  </a:lnTo>
                  <a:lnTo>
                    <a:pt x="2491852" y="2303025"/>
                  </a:lnTo>
                  <a:lnTo>
                    <a:pt x="2491289" y="2302879"/>
                  </a:lnTo>
                  <a:lnTo>
                    <a:pt x="2486866" y="2300161"/>
                  </a:lnTo>
                  <a:lnTo>
                    <a:pt x="2485753" y="2298433"/>
                  </a:lnTo>
                  <a:close/>
                  <a:moveTo>
                    <a:pt x="4150945" y="2297888"/>
                  </a:moveTo>
                  <a:lnTo>
                    <a:pt x="4151767" y="2298123"/>
                  </a:lnTo>
                  <a:lnTo>
                    <a:pt x="4152276" y="2299480"/>
                  </a:lnTo>
                  <a:lnTo>
                    <a:pt x="4152697" y="2302078"/>
                  </a:lnTo>
                  <a:lnTo>
                    <a:pt x="4155393" y="2300452"/>
                  </a:lnTo>
                  <a:lnTo>
                    <a:pt x="4157542" y="2302451"/>
                  </a:lnTo>
                  <a:lnTo>
                    <a:pt x="4158002" y="2303268"/>
                  </a:lnTo>
                  <a:lnTo>
                    <a:pt x="4158354" y="2304871"/>
                  </a:lnTo>
                  <a:lnTo>
                    <a:pt x="4158388" y="2306229"/>
                  </a:lnTo>
                  <a:lnTo>
                    <a:pt x="4157718" y="2308062"/>
                  </a:lnTo>
                  <a:lnTo>
                    <a:pt x="4157501" y="2309283"/>
                  </a:lnTo>
                  <a:lnTo>
                    <a:pt x="4156412" y="2310685"/>
                  </a:lnTo>
                  <a:lnTo>
                    <a:pt x="4154011" y="2310295"/>
                  </a:lnTo>
                  <a:lnTo>
                    <a:pt x="4151314" y="2309410"/>
                  </a:lnTo>
                  <a:lnTo>
                    <a:pt x="4149350" y="2309340"/>
                  </a:lnTo>
                  <a:lnTo>
                    <a:pt x="4149043" y="2310008"/>
                  </a:lnTo>
                  <a:lnTo>
                    <a:pt x="4148674" y="2312042"/>
                  </a:lnTo>
                  <a:lnTo>
                    <a:pt x="4148421" y="2312115"/>
                  </a:lnTo>
                  <a:lnTo>
                    <a:pt x="4147468" y="2310974"/>
                  </a:lnTo>
                  <a:lnTo>
                    <a:pt x="4146853" y="2310780"/>
                  </a:lnTo>
                  <a:lnTo>
                    <a:pt x="4146509" y="2310356"/>
                  </a:lnTo>
                  <a:lnTo>
                    <a:pt x="4146359" y="2308510"/>
                  </a:lnTo>
                  <a:lnTo>
                    <a:pt x="4146679" y="2303156"/>
                  </a:lnTo>
                  <a:lnTo>
                    <a:pt x="4147323" y="2300820"/>
                  </a:lnTo>
                  <a:lnTo>
                    <a:pt x="4148432" y="2299402"/>
                  </a:lnTo>
                  <a:close/>
                  <a:moveTo>
                    <a:pt x="2507561" y="2293443"/>
                  </a:moveTo>
                  <a:lnTo>
                    <a:pt x="2513311" y="2294627"/>
                  </a:lnTo>
                  <a:lnTo>
                    <a:pt x="2517782" y="2294443"/>
                  </a:lnTo>
                  <a:lnTo>
                    <a:pt x="2520997" y="2296187"/>
                  </a:lnTo>
                  <a:lnTo>
                    <a:pt x="2520804" y="2296739"/>
                  </a:lnTo>
                  <a:lnTo>
                    <a:pt x="2520591" y="2296790"/>
                  </a:lnTo>
                  <a:lnTo>
                    <a:pt x="2519976" y="2296279"/>
                  </a:lnTo>
                  <a:lnTo>
                    <a:pt x="2512825" y="2296916"/>
                  </a:lnTo>
                  <a:lnTo>
                    <a:pt x="2510026" y="2295801"/>
                  </a:lnTo>
                  <a:lnTo>
                    <a:pt x="2509097" y="2295677"/>
                  </a:lnTo>
                  <a:lnTo>
                    <a:pt x="2507400" y="2296024"/>
                  </a:lnTo>
                  <a:lnTo>
                    <a:pt x="2506530" y="2295703"/>
                  </a:lnTo>
                  <a:lnTo>
                    <a:pt x="2506400" y="2294413"/>
                  </a:lnTo>
                  <a:close/>
                  <a:moveTo>
                    <a:pt x="3089846" y="2220253"/>
                  </a:moveTo>
                  <a:lnTo>
                    <a:pt x="3090844" y="2220293"/>
                  </a:lnTo>
                  <a:lnTo>
                    <a:pt x="3090543" y="2220375"/>
                  </a:lnTo>
                  <a:lnTo>
                    <a:pt x="3091192" y="2220649"/>
                  </a:lnTo>
                  <a:lnTo>
                    <a:pt x="3092486" y="2221664"/>
                  </a:lnTo>
                  <a:lnTo>
                    <a:pt x="3093141" y="2222060"/>
                  </a:lnTo>
                  <a:lnTo>
                    <a:pt x="3094047" y="2222189"/>
                  </a:lnTo>
                  <a:lnTo>
                    <a:pt x="3094930" y="2222111"/>
                  </a:lnTo>
                  <a:lnTo>
                    <a:pt x="3095823" y="2222239"/>
                  </a:lnTo>
                  <a:lnTo>
                    <a:pt x="3096764" y="2222953"/>
                  </a:lnTo>
                  <a:lnTo>
                    <a:pt x="3097256" y="2223795"/>
                  </a:lnTo>
                  <a:lnTo>
                    <a:pt x="3098473" y="2226215"/>
                  </a:lnTo>
                  <a:lnTo>
                    <a:pt x="3098892" y="2226667"/>
                  </a:lnTo>
                  <a:lnTo>
                    <a:pt x="3099472" y="2226797"/>
                  </a:lnTo>
                  <a:lnTo>
                    <a:pt x="3101965" y="2228133"/>
                  </a:lnTo>
                  <a:lnTo>
                    <a:pt x="3102437" y="2228777"/>
                  </a:lnTo>
                  <a:lnTo>
                    <a:pt x="3103634" y="2230712"/>
                  </a:lnTo>
                  <a:lnTo>
                    <a:pt x="3104342" y="2231426"/>
                  </a:lnTo>
                  <a:lnTo>
                    <a:pt x="3105138" y="2231684"/>
                  </a:lnTo>
                  <a:lnTo>
                    <a:pt x="3106809" y="2231824"/>
                  </a:lnTo>
                  <a:lnTo>
                    <a:pt x="3107656" y="2232396"/>
                  </a:lnTo>
                  <a:lnTo>
                    <a:pt x="3109060" y="2234286"/>
                  </a:lnTo>
                  <a:lnTo>
                    <a:pt x="3109571" y="2235764"/>
                  </a:lnTo>
                  <a:lnTo>
                    <a:pt x="3109731" y="2237258"/>
                  </a:lnTo>
                  <a:lnTo>
                    <a:pt x="3110063" y="2239125"/>
                  </a:lnTo>
                  <a:lnTo>
                    <a:pt x="3111514" y="2243427"/>
                  </a:lnTo>
                  <a:lnTo>
                    <a:pt x="3111935" y="2245360"/>
                  </a:lnTo>
                  <a:lnTo>
                    <a:pt x="3111857" y="2247544"/>
                  </a:lnTo>
                  <a:lnTo>
                    <a:pt x="3111285" y="2251718"/>
                  </a:lnTo>
                  <a:lnTo>
                    <a:pt x="3111260" y="2254033"/>
                  </a:lnTo>
                  <a:lnTo>
                    <a:pt x="3111602" y="2256525"/>
                  </a:lnTo>
                  <a:lnTo>
                    <a:pt x="3111967" y="2257739"/>
                  </a:lnTo>
                  <a:lnTo>
                    <a:pt x="3112838" y="2259783"/>
                  </a:lnTo>
                  <a:lnTo>
                    <a:pt x="3113735" y="2262656"/>
                  </a:lnTo>
                  <a:lnTo>
                    <a:pt x="3113472" y="2262498"/>
                  </a:lnTo>
                  <a:lnTo>
                    <a:pt x="3112753" y="2262476"/>
                  </a:lnTo>
                  <a:lnTo>
                    <a:pt x="3112282" y="2262348"/>
                  </a:lnTo>
                  <a:lnTo>
                    <a:pt x="3111225" y="2261533"/>
                  </a:lnTo>
                  <a:lnTo>
                    <a:pt x="3110626" y="2261441"/>
                  </a:lnTo>
                  <a:lnTo>
                    <a:pt x="3110362" y="2262032"/>
                  </a:lnTo>
                  <a:lnTo>
                    <a:pt x="3110447" y="2263181"/>
                  </a:lnTo>
                  <a:lnTo>
                    <a:pt x="3110828" y="2265402"/>
                  </a:lnTo>
                  <a:lnTo>
                    <a:pt x="3110835" y="2266905"/>
                  </a:lnTo>
                  <a:lnTo>
                    <a:pt x="3110670" y="2267781"/>
                  </a:lnTo>
                  <a:lnTo>
                    <a:pt x="3110085" y="2269411"/>
                  </a:lnTo>
                  <a:lnTo>
                    <a:pt x="3109852" y="2270681"/>
                  </a:lnTo>
                  <a:lnTo>
                    <a:pt x="3109838" y="2271709"/>
                  </a:lnTo>
                  <a:lnTo>
                    <a:pt x="3109950" y="2274092"/>
                  </a:lnTo>
                  <a:lnTo>
                    <a:pt x="3109557" y="2276047"/>
                  </a:lnTo>
                  <a:lnTo>
                    <a:pt x="3108300" y="2280079"/>
                  </a:lnTo>
                  <a:lnTo>
                    <a:pt x="3108622" y="2281431"/>
                  </a:lnTo>
                  <a:lnTo>
                    <a:pt x="3108754" y="2282626"/>
                  </a:lnTo>
                  <a:lnTo>
                    <a:pt x="3108800" y="2283804"/>
                  </a:lnTo>
                  <a:lnTo>
                    <a:pt x="3108677" y="2284816"/>
                  </a:lnTo>
                  <a:lnTo>
                    <a:pt x="3109096" y="2286741"/>
                  </a:lnTo>
                  <a:lnTo>
                    <a:pt x="3108605" y="2285380"/>
                  </a:lnTo>
                  <a:lnTo>
                    <a:pt x="3109221" y="2287861"/>
                  </a:lnTo>
                  <a:lnTo>
                    <a:pt x="3109349" y="2289832"/>
                  </a:lnTo>
                  <a:lnTo>
                    <a:pt x="3109104" y="2291842"/>
                  </a:lnTo>
                  <a:lnTo>
                    <a:pt x="3108632" y="2294350"/>
                  </a:lnTo>
                  <a:lnTo>
                    <a:pt x="3107548" y="2296573"/>
                  </a:lnTo>
                  <a:lnTo>
                    <a:pt x="3107679" y="2301509"/>
                  </a:lnTo>
                  <a:lnTo>
                    <a:pt x="3107265" y="2302406"/>
                  </a:lnTo>
                  <a:lnTo>
                    <a:pt x="3106182" y="2305845"/>
                  </a:lnTo>
                  <a:lnTo>
                    <a:pt x="3104790" y="2307767"/>
                  </a:lnTo>
                  <a:lnTo>
                    <a:pt x="3104533" y="2308680"/>
                  </a:lnTo>
                  <a:lnTo>
                    <a:pt x="3104247" y="2310897"/>
                  </a:lnTo>
                  <a:lnTo>
                    <a:pt x="3103922" y="2311408"/>
                  </a:lnTo>
                  <a:lnTo>
                    <a:pt x="3101579" y="2312963"/>
                  </a:lnTo>
                  <a:lnTo>
                    <a:pt x="3100431" y="2313383"/>
                  </a:lnTo>
                  <a:lnTo>
                    <a:pt x="3099143" y="2312698"/>
                  </a:lnTo>
                  <a:lnTo>
                    <a:pt x="3098964" y="2312359"/>
                  </a:lnTo>
                  <a:lnTo>
                    <a:pt x="3098535" y="2311249"/>
                  </a:lnTo>
                  <a:lnTo>
                    <a:pt x="3098228" y="2310770"/>
                  </a:lnTo>
                  <a:lnTo>
                    <a:pt x="3097714" y="2310313"/>
                  </a:lnTo>
                  <a:lnTo>
                    <a:pt x="3096871" y="2309909"/>
                  </a:lnTo>
                  <a:lnTo>
                    <a:pt x="3096463" y="2309627"/>
                  </a:lnTo>
                  <a:lnTo>
                    <a:pt x="3093795" y="2306473"/>
                  </a:lnTo>
                  <a:lnTo>
                    <a:pt x="3091525" y="2303296"/>
                  </a:lnTo>
                  <a:lnTo>
                    <a:pt x="3090820" y="2302711"/>
                  </a:lnTo>
                  <a:lnTo>
                    <a:pt x="3090220" y="2302512"/>
                  </a:lnTo>
                  <a:lnTo>
                    <a:pt x="3087942" y="2301087"/>
                  </a:lnTo>
                  <a:lnTo>
                    <a:pt x="3086045" y="2300912"/>
                  </a:lnTo>
                  <a:lnTo>
                    <a:pt x="3084642" y="2299268"/>
                  </a:lnTo>
                  <a:lnTo>
                    <a:pt x="3084295" y="2298124"/>
                  </a:lnTo>
                  <a:lnTo>
                    <a:pt x="3081138" y="2297283"/>
                  </a:lnTo>
                  <a:lnTo>
                    <a:pt x="3079757" y="2296676"/>
                  </a:lnTo>
                  <a:lnTo>
                    <a:pt x="3077511" y="2296729"/>
                  </a:lnTo>
                  <a:lnTo>
                    <a:pt x="3075875" y="2295368"/>
                  </a:lnTo>
                  <a:lnTo>
                    <a:pt x="3074993" y="2294386"/>
                  </a:lnTo>
                  <a:lnTo>
                    <a:pt x="3074443" y="2293568"/>
                  </a:lnTo>
                  <a:lnTo>
                    <a:pt x="3074298" y="2292263"/>
                  </a:lnTo>
                  <a:lnTo>
                    <a:pt x="3072900" y="2291472"/>
                  </a:lnTo>
                  <a:lnTo>
                    <a:pt x="3071233" y="2289107"/>
                  </a:lnTo>
                  <a:lnTo>
                    <a:pt x="3070420" y="2285580"/>
                  </a:lnTo>
                  <a:lnTo>
                    <a:pt x="3069260" y="2284094"/>
                  </a:lnTo>
                  <a:lnTo>
                    <a:pt x="3068509" y="2282898"/>
                  </a:lnTo>
                  <a:lnTo>
                    <a:pt x="3067979" y="2281589"/>
                  </a:lnTo>
                  <a:lnTo>
                    <a:pt x="3067722" y="2275927"/>
                  </a:lnTo>
                  <a:lnTo>
                    <a:pt x="3066943" y="2272249"/>
                  </a:lnTo>
                  <a:lnTo>
                    <a:pt x="3066329" y="2268365"/>
                  </a:lnTo>
                  <a:lnTo>
                    <a:pt x="3066847" y="2263701"/>
                  </a:lnTo>
                  <a:lnTo>
                    <a:pt x="3065740" y="2258746"/>
                  </a:lnTo>
                  <a:lnTo>
                    <a:pt x="3066815" y="2251486"/>
                  </a:lnTo>
                  <a:lnTo>
                    <a:pt x="3067926" y="2248827"/>
                  </a:lnTo>
                  <a:lnTo>
                    <a:pt x="3069613" y="2245447"/>
                  </a:lnTo>
                  <a:lnTo>
                    <a:pt x="3070686" y="2241571"/>
                  </a:lnTo>
                  <a:lnTo>
                    <a:pt x="3072046" y="2237756"/>
                  </a:lnTo>
                  <a:lnTo>
                    <a:pt x="3071743" y="2234124"/>
                  </a:lnTo>
                  <a:lnTo>
                    <a:pt x="3072281" y="2231338"/>
                  </a:lnTo>
                  <a:lnTo>
                    <a:pt x="3072755" y="2229688"/>
                  </a:lnTo>
                  <a:lnTo>
                    <a:pt x="3073476" y="2228575"/>
                  </a:lnTo>
                  <a:lnTo>
                    <a:pt x="3075387" y="2226391"/>
                  </a:lnTo>
                  <a:lnTo>
                    <a:pt x="3076883" y="2224870"/>
                  </a:lnTo>
                  <a:lnTo>
                    <a:pt x="3077639" y="2225076"/>
                  </a:lnTo>
                  <a:lnTo>
                    <a:pt x="3078455" y="2225643"/>
                  </a:lnTo>
                  <a:lnTo>
                    <a:pt x="3079266" y="2225908"/>
                  </a:lnTo>
                  <a:lnTo>
                    <a:pt x="3080598" y="2224538"/>
                  </a:lnTo>
                  <a:lnTo>
                    <a:pt x="3081415" y="2224215"/>
                  </a:lnTo>
                  <a:lnTo>
                    <a:pt x="3082305" y="2224296"/>
                  </a:lnTo>
                  <a:lnTo>
                    <a:pt x="3083118" y="2224803"/>
                  </a:lnTo>
                  <a:lnTo>
                    <a:pt x="3082813" y="2225472"/>
                  </a:lnTo>
                  <a:lnTo>
                    <a:pt x="3082889" y="2226194"/>
                  </a:lnTo>
                  <a:lnTo>
                    <a:pt x="3083308" y="2226706"/>
                  </a:lnTo>
                  <a:lnTo>
                    <a:pt x="3084047" y="2226796"/>
                  </a:lnTo>
                  <a:lnTo>
                    <a:pt x="3084671" y="2226294"/>
                  </a:lnTo>
                  <a:lnTo>
                    <a:pt x="3085419" y="2224527"/>
                  </a:lnTo>
                  <a:lnTo>
                    <a:pt x="3086216" y="2223581"/>
                  </a:lnTo>
                  <a:lnTo>
                    <a:pt x="3086972" y="2221733"/>
                  </a:lnTo>
                  <a:lnTo>
                    <a:pt x="3087375" y="2221244"/>
                  </a:lnTo>
                  <a:close/>
                  <a:moveTo>
                    <a:pt x="2525419" y="2204228"/>
                  </a:moveTo>
                  <a:lnTo>
                    <a:pt x="2528980" y="2204888"/>
                  </a:lnTo>
                  <a:lnTo>
                    <a:pt x="2530589" y="2205911"/>
                  </a:lnTo>
                  <a:lnTo>
                    <a:pt x="2530902" y="2206322"/>
                  </a:lnTo>
                  <a:lnTo>
                    <a:pt x="2531130" y="2206742"/>
                  </a:lnTo>
                  <a:lnTo>
                    <a:pt x="2531372" y="2207084"/>
                  </a:lnTo>
                  <a:lnTo>
                    <a:pt x="2531719" y="2207229"/>
                  </a:lnTo>
                  <a:lnTo>
                    <a:pt x="2531136" y="2209195"/>
                  </a:lnTo>
                  <a:lnTo>
                    <a:pt x="2529869" y="2209968"/>
                  </a:lnTo>
                  <a:lnTo>
                    <a:pt x="2526974" y="2210057"/>
                  </a:lnTo>
                  <a:lnTo>
                    <a:pt x="2526056" y="2209502"/>
                  </a:lnTo>
                  <a:lnTo>
                    <a:pt x="2525196" y="2207996"/>
                  </a:lnTo>
                  <a:lnTo>
                    <a:pt x="2523756" y="2204314"/>
                  </a:lnTo>
                  <a:close/>
                  <a:moveTo>
                    <a:pt x="2522986" y="2198482"/>
                  </a:moveTo>
                  <a:lnTo>
                    <a:pt x="2524880" y="2198896"/>
                  </a:lnTo>
                  <a:lnTo>
                    <a:pt x="2526864" y="2200701"/>
                  </a:lnTo>
                  <a:lnTo>
                    <a:pt x="2527507" y="2201643"/>
                  </a:lnTo>
                  <a:lnTo>
                    <a:pt x="2526955" y="2202878"/>
                  </a:lnTo>
                  <a:lnTo>
                    <a:pt x="2526133" y="2203117"/>
                  </a:lnTo>
                  <a:lnTo>
                    <a:pt x="2524263" y="2202768"/>
                  </a:lnTo>
                  <a:lnTo>
                    <a:pt x="2523386" y="2203082"/>
                  </a:lnTo>
                  <a:lnTo>
                    <a:pt x="2521978" y="2204249"/>
                  </a:lnTo>
                  <a:lnTo>
                    <a:pt x="2521095" y="2204563"/>
                  </a:lnTo>
                  <a:lnTo>
                    <a:pt x="2519145" y="2203995"/>
                  </a:lnTo>
                  <a:lnTo>
                    <a:pt x="2514977" y="2200893"/>
                  </a:lnTo>
                  <a:lnTo>
                    <a:pt x="2512960" y="2200002"/>
                  </a:lnTo>
                  <a:lnTo>
                    <a:pt x="2512898" y="2199326"/>
                  </a:lnTo>
                  <a:lnTo>
                    <a:pt x="2523144" y="2201374"/>
                  </a:lnTo>
                  <a:lnTo>
                    <a:pt x="2522181" y="2200595"/>
                  </a:lnTo>
                  <a:lnTo>
                    <a:pt x="2521736" y="2200022"/>
                  </a:lnTo>
                  <a:lnTo>
                    <a:pt x="2521279" y="2199235"/>
                  </a:lnTo>
                  <a:lnTo>
                    <a:pt x="2522103" y="2198609"/>
                  </a:lnTo>
                  <a:close/>
                  <a:moveTo>
                    <a:pt x="3719623" y="2198257"/>
                  </a:moveTo>
                  <a:lnTo>
                    <a:pt x="3721506" y="2200059"/>
                  </a:lnTo>
                  <a:lnTo>
                    <a:pt x="3724732" y="2202529"/>
                  </a:lnTo>
                  <a:lnTo>
                    <a:pt x="3727715" y="2203776"/>
                  </a:lnTo>
                  <a:lnTo>
                    <a:pt x="3729474" y="2204353"/>
                  </a:lnTo>
                  <a:lnTo>
                    <a:pt x="3731761" y="2204133"/>
                  </a:lnTo>
                  <a:lnTo>
                    <a:pt x="3733545" y="2206177"/>
                  </a:lnTo>
                  <a:lnTo>
                    <a:pt x="3734864" y="2211541"/>
                  </a:lnTo>
                  <a:lnTo>
                    <a:pt x="3734653" y="2216190"/>
                  </a:lnTo>
                  <a:lnTo>
                    <a:pt x="3733748" y="2216900"/>
                  </a:lnTo>
                  <a:lnTo>
                    <a:pt x="3733855" y="2220470"/>
                  </a:lnTo>
                  <a:lnTo>
                    <a:pt x="3733323" y="2222500"/>
                  </a:lnTo>
                  <a:lnTo>
                    <a:pt x="3734950" y="2225423"/>
                  </a:lnTo>
                  <a:lnTo>
                    <a:pt x="3734678" y="2226993"/>
                  </a:lnTo>
                  <a:lnTo>
                    <a:pt x="3733991" y="2227431"/>
                  </a:lnTo>
                  <a:lnTo>
                    <a:pt x="3732870" y="2227172"/>
                  </a:lnTo>
                  <a:lnTo>
                    <a:pt x="3730216" y="2228672"/>
                  </a:lnTo>
                  <a:lnTo>
                    <a:pt x="3729872" y="2229509"/>
                  </a:lnTo>
                  <a:lnTo>
                    <a:pt x="3729642" y="2230888"/>
                  </a:lnTo>
                  <a:lnTo>
                    <a:pt x="3728998" y="2232370"/>
                  </a:lnTo>
                  <a:lnTo>
                    <a:pt x="3727743" y="2233236"/>
                  </a:lnTo>
                  <a:lnTo>
                    <a:pt x="3726508" y="2234899"/>
                  </a:lnTo>
                  <a:lnTo>
                    <a:pt x="3726952" y="2236952"/>
                  </a:lnTo>
                  <a:lnTo>
                    <a:pt x="3726397" y="2238734"/>
                  </a:lnTo>
                  <a:lnTo>
                    <a:pt x="3724909" y="2240299"/>
                  </a:lnTo>
                  <a:lnTo>
                    <a:pt x="3722957" y="2241479"/>
                  </a:lnTo>
                  <a:lnTo>
                    <a:pt x="3722081" y="2244342"/>
                  </a:lnTo>
                  <a:lnTo>
                    <a:pt x="3719472" y="2245648"/>
                  </a:lnTo>
                  <a:lnTo>
                    <a:pt x="3716708" y="2245365"/>
                  </a:lnTo>
                  <a:lnTo>
                    <a:pt x="3713471" y="2240872"/>
                  </a:lnTo>
                  <a:lnTo>
                    <a:pt x="3712350" y="2235556"/>
                  </a:lnTo>
                  <a:lnTo>
                    <a:pt x="3710987" y="2227914"/>
                  </a:lnTo>
                  <a:lnTo>
                    <a:pt x="3710578" y="2221288"/>
                  </a:lnTo>
                  <a:lnTo>
                    <a:pt x="3710145" y="2216887"/>
                  </a:lnTo>
                  <a:lnTo>
                    <a:pt x="3709262" y="2212893"/>
                  </a:lnTo>
                  <a:lnTo>
                    <a:pt x="3707999" y="2203860"/>
                  </a:lnTo>
                  <a:lnTo>
                    <a:pt x="3712815" y="2200229"/>
                  </a:lnTo>
                  <a:lnTo>
                    <a:pt x="3714359" y="2199829"/>
                  </a:lnTo>
                  <a:lnTo>
                    <a:pt x="3715625" y="2199689"/>
                  </a:lnTo>
                  <a:lnTo>
                    <a:pt x="3718382" y="2199245"/>
                  </a:lnTo>
                  <a:close/>
                  <a:moveTo>
                    <a:pt x="3518803" y="2198041"/>
                  </a:moveTo>
                  <a:lnTo>
                    <a:pt x="3519716" y="2199745"/>
                  </a:lnTo>
                  <a:lnTo>
                    <a:pt x="3520328" y="2201587"/>
                  </a:lnTo>
                  <a:lnTo>
                    <a:pt x="3519151" y="2202345"/>
                  </a:lnTo>
                  <a:lnTo>
                    <a:pt x="3517190" y="2203608"/>
                  </a:lnTo>
                  <a:lnTo>
                    <a:pt x="3515513" y="2203573"/>
                  </a:lnTo>
                  <a:lnTo>
                    <a:pt x="3514648" y="2201334"/>
                  </a:lnTo>
                  <a:lnTo>
                    <a:pt x="3515437" y="2199875"/>
                  </a:lnTo>
                  <a:close/>
                  <a:moveTo>
                    <a:pt x="3607038" y="2196531"/>
                  </a:moveTo>
                  <a:lnTo>
                    <a:pt x="3607917" y="2198356"/>
                  </a:lnTo>
                  <a:lnTo>
                    <a:pt x="3609021" y="2199455"/>
                  </a:lnTo>
                  <a:lnTo>
                    <a:pt x="3607757" y="2201689"/>
                  </a:lnTo>
                  <a:lnTo>
                    <a:pt x="3608656" y="2203714"/>
                  </a:lnTo>
                  <a:lnTo>
                    <a:pt x="3608138" y="2205473"/>
                  </a:lnTo>
                  <a:lnTo>
                    <a:pt x="3608881" y="2207917"/>
                  </a:lnTo>
                  <a:lnTo>
                    <a:pt x="3607390" y="2207953"/>
                  </a:lnTo>
                  <a:lnTo>
                    <a:pt x="3606050" y="2204467"/>
                  </a:lnTo>
                  <a:lnTo>
                    <a:pt x="3604304" y="2201922"/>
                  </a:lnTo>
                  <a:lnTo>
                    <a:pt x="3604614" y="2199078"/>
                  </a:lnTo>
                  <a:lnTo>
                    <a:pt x="3605288" y="2196902"/>
                  </a:lnTo>
                  <a:close/>
                  <a:moveTo>
                    <a:pt x="2485403" y="2194601"/>
                  </a:moveTo>
                  <a:lnTo>
                    <a:pt x="2488459" y="2194660"/>
                  </a:lnTo>
                  <a:lnTo>
                    <a:pt x="2489322" y="2195391"/>
                  </a:lnTo>
                  <a:lnTo>
                    <a:pt x="2491719" y="2196486"/>
                  </a:lnTo>
                  <a:lnTo>
                    <a:pt x="2493687" y="2196854"/>
                  </a:lnTo>
                  <a:lnTo>
                    <a:pt x="2496861" y="2199315"/>
                  </a:lnTo>
                  <a:lnTo>
                    <a:pt x="2491247" y="2199792"/>
                  </a:lnTo>
                  <a:lnTo>
                    <a:pt x="2492024" y="2201152"/>
                  </a:lnTo>
                  <a:lnTo>
                    <a:pt x="2491272" y="2201313"/>
                  </a:lnTo>
                  <a:lnTo>
                    <a:pt x="2490356" y="2201265"/>
                  </a:lnTo>
                  <a:lnTo>
                    <a:pt x="2489460" y="2200948"/>
                  </a:lnTo>
                  <a:lnTo>
                    <a:pt x="2488765" y="2200311"/>
                  </a:lnTo>
                  <a:lnTo>
                    <a:pt x="2488372" y="2199310"/>
                  </a:lnTo>
                  <a:lnTo>
                    <a:pt x="2488131" y="2198230"/>
                  </a:lnTo>
                  <a:lnTo>
                    <a:pt x="2487764" y="2197382"/>
                  </a:lnTo>
                  <a:lnTo>
                    <a:pt x="2486999" y="2197094"/>
                  </a:lnTo>
                  <a:lnTo>
                    <a:pt x="2486439" y="2197011"/>
                  </a:lnTo>
                  <a:lnTo>
                    <a:pt x="2485579" y="2196681"/>
                  </a:lnTo>
                  <a:lnTo>
                    <a:pt x="2484875" y="2196025"/>
                  </a:lnTo>
                  <a:lnTo>
                    <a:pt x="2484800" y="2194963"/>
                  </a:lnTo>
                  <a:close/>
                  <a:moveTo>
                    <a:pt x="2943904" y="2192225"/>
                  </a:moveTo>
                  <a:lnTo>
                    <a:pt x="2946479" y="2192603"/>
                  </a:lnTo>
                  <a:lnTo>
                    <a:pt x="2947641" y="2192417"/>
                  </a:lnTo>
                  <a:lnTo>
                    <a:pt x="2947309" y="2192494"/>
                  </a:lnTo>
                  <a:lnTo>
                    <a:pt x="2951683" y="2193462"/>
                  </a:lnTo>
                  <a:lnTo>
                    <a:pt x="2960457" y="2192926"/>
                  </a:lnTo>
                  <a:lnTo>
                    <a:pt x="2962506" y="2193576"/>
                  </a:lnTo>
                  <a:lnTo>
                    <a:pt x="2964695" y="2195321"/>
                  </a:lnTo>
                  <a:lnTo>
                    <a:pt x="2964148" y="2196835"/>
                  </a:lnTo>
                  <a:lnTo>
                    <a:pt x="2963670" y="2198729"/>
                  </a:lnTo>
                  <a:lnTo>
                    <a:pt x="2963648" y="2200873"/>
                  </a:lnTo>
                  <a:lnTo>
                    <a:pt x="2964447" y="2203124"/>
                  </a:lnTo>
                  <a:lnTo>
                    <a:pt x="2963336" y="2204043"/>
                  </a:lnTo>
                  <a:lnTo>
                    <a:pt x="2962875" y="2204741"/>
                  </a:lnTo>
                  <a:lnTo>
                    <a:pt x="2962616" y="2205848"/>
                  </a:lnTo>
                  <a:lnTo>
                    <a:pt x="2963620" y="2206553"/>
                  </a:lnTo>
                  <a:lnTo>
                    <a:pt x="2963670" y="2207629"/>
                  </a:lnTo>
                  <a:lnTo>
                    <a:pt x="2962836" y="2209629"/>
                  </a:lnTo>
                  <a:lnTo>
                    <a:pt x="2964524" y="2211868"/>
                  </a:lnTo>
                  <a:lnTo>
                    <a:pt x="2965494" y="2213389"/>
                  </a:lnTo>
                  <a:lnTo>
                    <a:pt x="2966205" y="2215045"/>
                  </a:lnTo>
                  <a:lnTo>
                    <a:pt x="2966435" y="2216855"/>
                  </a:lnTo>
                  <a:lnTo>
                    <a:pt x="2966281" y="2218878"/>
                  </a:lnTo>
                  <a:lnTo>
                    <a:pt x="2965797" y="2220558"/>
                  </a:lnTo>
                  <a:lnTo>
                    <a:pt x="2964182" y="2222189"/>
                  </a:lnTo>
                  <a:lnTo>
                    <a:pt x="2962718" y="2225207"/>
                  </a:lnTo>
                  <a:lnTo>
                    <a:pt x="2961084" y="2226806"/>
                  </a:lnTo>
                  <a:lnTo>
                    <a:pt x="2959071" y="2231332"/>
                  </a:lnTo>
                  <a:lnTo>
                    <a:pt x="2957959" y="2232457"/>
                  </a:lnTo>
                  <a:lnTo>
                    <a:pt x="2952040" y="2236370"/>
                  </a:lnTo>
                  <a:lnTo>
                    <a:pt x="2951492" y="2238024"/>
                  </a:lnTo>
                  <a:lnTo>
                    <a:pt x="2950167" y="2239120"/>
                  </a:lnTo>
                  <a:lnTo>
                    <a:pt x="2949484" y="2240371"/>
                  </a:lnTo>
                  <a:lnTo>
                    <a:pt x="2948597" y="2243272"/>
                  </a:lnTo>
                  <a:lnTo>
                    <a:pt x="2948449" y="2244801"/>
                  </a:lnTo>
                  <a:lnTo>
                    <a:pt x="2948471" y="2249839"/>
                  </a:lnTo>
                  <a:lnTo>
                    <a:pt x="2940550" y="2260110"/>
                  </a:lnTo>
                  <a:lnTo>
                    <a:pt x="2936465" y="2270639"/>
                  </a:lnTo>
                  <a:lnTo>
                    <a:pt x="2930458" y="2279014"/>
                  </a:lnTo>
                  <a:lnTo>
                    <a:pt x="2923510" y="2287274"/>
                  </a:lnTo>
                  <a:lnTo>
                    <a:pt x="2920352" y="2289138"/>
                  </a:lnTo>
                  <a:lnTo>
                    <a:pt x="2919626" y="2288789"/>
                  </a:lnTo>
                  <a:lnTo>
                    <a:pt x="2918958" y="2287864"/>
                  </a:lnTo>
                  <a:lnTo>
                    <a:pt x="2917967" y="2286058"/>
                  </a:lnTo>
                  <a:lnTo>
                    <a:pt x="2917229" y="2285135"/>
                  </a:lnTo>
                  <a:lnTo>
                    <a:pt x="2915945" y="2284164"/>
                  </a:lnTo>
                  <a:lnTo>
                    <a:pt x="2912601" y="2282696"/>
                  </a:lnTo>
                  <a:lnTo>
                    <a:pt x="2911371" y="2282577"/>
                  </a:lnTo>
                  <a:lnTo>
                    <a:pt x="2904858" y="2285414"/>
                  </a:lnTo>
                  <a:lnTo>
                    <a:pt x="2894258" y="2298154"/>
                  </a:lnTo>
                  <a:lnTo>
                    <a:pt x="2892688" y="2298655"/>
                  </a:lnTo>
                  <a:lnTo>
                    <a:pt x="2891605" y="2296968"/>
                  </a:lnTo>
                  <a:lnTo>
                    <a:pt x="2890181" y="2288470"/>
                  </a:lnTo>
                  <a:lnTo>
                    <a:pt x="2888592" y="2283647"/>
                  </a:lnTo>
                  <a:lnTo>
                    <a:pt x="2886737" y="2281305"/>
                  </a:lnTo>
                  <a:lnTo>
                    <a:pt x="2877028" y="2273786"/>
                  </a:lnTo>
                  <a:lnTo>
                    <a:pt x="2874938" y="2271026"/>
                  </a:lnTo>
                  <a:lnTo>
                    <a:pt x="2874208" y="2267232"/>
                  </a:lnTo>
                  <a:lnTo>
                    <a:pt x="2875097" y="2263461"/>
                  </a:lnTo>
                  <a:lnTo>
                    <a:pt x="2882954" y="2253267"/>
                  </a:lnTo>
                  <a:lnTo>
                    <a:pt x="2884253" y="2248597"/>
                  </a:lnTo>
                  <a:lnTo>
                    <a:pt x="2884181" y="2245997"/>
                  </a:lnTo>
                  <a:lnTo>
                    <a:pt x="2884328" y="2245372"/>
                  </a:lnTo>
                  <a:lnTo>
                    <a:pt x="2884895" y="2244995"/>
                  </a:lnTo>
                  <a:lnTo>
                    <a:pt x="2887120" y="2241224"/>
                  </a:lnTo>
                  <a:lnTo>
                    <a:pt x="2887682" y="2239586"/>
                  </a:lnTo>
                  <a:lnTo>
                    <a:pt x="2887913" y="2237594"/>
                  </a:lnTo>
                  <a:lnTo>
                    <a:pt x="2887637" y="2235122"/>
                  </a:lnTo>
                  <a:lnTo>
                    <a:pt x="2887238" y="2233984"/>
                  </a:lnTo>
                  <a:lnTo>
                    <a:pt x="2886779" y="2233136"/>
                  </a:lnTo>
                  <a:lnTo>
                    <a:pt x="2886478" y="2232200"/>
                  </a:lnTo>
                  <a:lnTo>
                    <a:pt x="2886666" y="2229572"/>
                  </a:lnTo>
                  <a:lnTo>
                    <a:pt x="2886393" y="2225823"/>
                  </a:lnTo>
                  <a:lnTo>
                    <a:pt x="2886697" y="2223712"/>
                  </a:lnTo>
                  <a:lnTo>
                    <a:pt x="2888165" y="2221265"/>
                  </a:lnTo>
                  <a:lnTo>
                    <a:pt x="2889287" y="2217390"/>
                  </a:lnTo>
                  <a:lnTo>
                    <a:pt x="2890137" y="2215630"/>
                  </a:lnTo>
                  <a:lnTo>
                    <a:pt x="2895194" y="2210247"/>
                  </a:lnTo>
                  <a:lnTo>
                    <a:pt x="2895617" y="2210083"/>
                  </a:lnTo>
                  <a:lnTo>
                    <a:pt x="2896123" y="2210735"/>
                  </a:lnTo>
                  <a:lnTo>
                    <a:pt x="2896598" y="2211165"/>
                  </a:lnTo>
                  <a:lnTo>
                    <a:pt x="2897087" y="2211297"/>
                  </a:lnTo>
                  <a:lnTo>
                    <a:pt x="2898735" y="2211191"/>
                  </a:lnTo>
                  <a:lnTo>
                    <a:pt x="2899955" y="2211729"/>
                  </a:lnTo>
                  <a:lnTo>
                    <a:pt x="2901090" y="2212904"/>
                  </a:lnTo>
                  <a:lnTo>
                    <a:pt x="2902496" y="2214717"/>
                  </a:lnTo>
                  <a:lnTo>
                    <a:pt x="2905727" y="2217336"/>
                  </a:lnTo>
                  <a:lnTo>
                    <a:pt x="2908690" y="2217282"/>
                  </a:lnTo>
                  <a:lnTo>
                    <a:pt x="2911337" y="2215547"/>
                  </a:lnTo>
                  <a:lnTo>
                    <a:pt x="2921999" y="2203580"/>
                  </a:lnTo>
                  <a:lnTo>
                    <a:pt x="2923961" y="2202378"/>
                  </a:lnTo>
                  <a:lnTo>
                    <a:pt x="2928269" y="2201325"/>
                  </a:lnTo>
                  <a:lnTo>
                    <a:pt x="2937668" y="2201227"/>
                  </a:lnTo>
                  <a:lnTo>
                    <a:pt x="2939551" y="2199631"/>
                  </a:lnTo>
                  <a:lnTo>
                    <a:pt x="2939111" y="2198755"/>
                  </a:lnTo>
                  <a:lnTo>
                    <a:pt x="2938870" y="2197948"/>
                  </a:lnTo>
                  <a:lnTo>
                    <a:pt x="2938879" y="2197234"/>
                  </a:lnTo>
                  <a:lnTo>
                    <a:pt x="2939192" y="2196657"/>
                  </a:lnTo>
                  <a:lnTo>
                    <a:pt x="2938889" y="2196726"/>
                  </a:lnTo>
                  <a:lnTo>
                    <a:pt x="2940000" y="2196432"/>
                  </a:lnTo>
                  <a:lnTo>
                    <a:pt x="2941121" y="2195573"/>
                  </a:lnTo>
                  <a:lnTo>
                    <a:pt x="2942129" y="2194370"/>
                  </a:lnTo>
                  <a:lnTo>
                    <a:pt x="2942913" y="2193096"/>
                  </a:lnTo>
                  <a:close/>
                  <a:moveTo>
                    <a:pt x="3165110" y="2178171"/>
                  </a:moveTo>
                  <a:lnTo>
                    <a:pt x="3167037" y="2178829"/>
                  </a:lnTo>
                  <a:lnTo>
                    <a:pt x="3168702" y="2181296"/>
                  </a:lnTo>
                  <a:lnTo>
                    <a:pt x="3167914" y="2182889"/>
                  </a:lnTo>
                  <a:lnTo>
                    <a:pt x="3164565" y="2184266"/>
                  </a:lnTo>
                  <a:lnTo>
                    <a:pt x="3156714" y="2185067"/>
                  </a:lnTo>
                  <a:lnTo>
                    <a:pt x="3155687" y="2184886"/>
                  </a:lnTo>
                  <a:lnTo>
                    <a:pt x="3155023" y="2184012"/>
                  </a:lnTo>
                  <a:lnTo>
                    <a:pt x="3154952" y="2182960"/>
                  </a:lnTo>
                  <a:lnTo>
                    <a:pt x="3155695" y="2182249"/>
                  </a:lnTo>
                  <a:close/>
                  <a:moveTo>
                    <a:pt x="3177182" y="2175289"/>
                  </a:moveTo>
                  <a:lnTo>
                    <a:pt x="3178215" y="2175413"/>
                  </a:lnTo>
                  <a:lnTo>
                    <a:pt x="3177484" y="2177929"/>
                  </a:lnTo>
                  <a:lnTo>
                    <a:pt x="3176917" y="2178900"/>
                  </a:lnTo>
                  <a:lnTo>
                    <a:pt x="3175406" y="2178637"/>
                  </a:lnTo>
                  <a:lnTo>
                    <a:pt x="3174802" y="2179729"/>
                  </a:lnTo>
                  <a:lnTo>
                    <a:pt x="3174292" y="2181184"/>
                  </a:lnTo>
                  <a:lnTo>
                    <a:pt x="3173803" y="2182171"/>
                  </a:lnTo>
                  <a:lnTo>
                    <a:pt x="3172972" y="2182546"/>
                  </a:lnTo>
                  <a:lnTo>
                    <a:pt x="3171812" y="2182639"/>
                  </a:lnTo>
                  <a:lnTo>
                    <a:pt x="3170697" y="2182309"/>
                  </a:lnTo>
                  <a:lnTo>
                    <a:pt x="3170003" y="2181445"/>
                  </a:lnTo>
                  <a:lnTo>
                    <a:pt x="3169475" y="2180103"/>
                  </a:lnTo>
                  <a:lnTo>
                    <a:pt x="3168872" y="2179104"/>
                  </a:lnTo>
                  <a:lnTo>
                    <a:pt x="3168229" y="2178165"/>
                  </a:lnTo>
                  <a:lnTo>
                    <a:pt x="3167564" y="2177036"/>
                  </a:lnTo>
                  <a:lnTo>
                    <a:pt x="3167945" y="2176990"/>
                  </a:lnTo>
                  <a:lnTo>
                    <a:pt x="3168319" y="2177030"/>
                  </a:lnTo>
                  <a:lnTo>
                    <a:pt x="3168697" y="2177152"/>
                  </a:lnTo>
                  <a:lnTo>
                    <a:pt x="3169090" y="2177354"/>
                  </a:lnTo>
                  <a:lnTo>
                    <a:pt x="3169607" y="2177140"/>
                  </a:lnTo>
                  <a:lnTo>
                    <a:pt x="3170523" y="2176247"/>
                  </a:lnTo>
                  <a:lnTo>
                    <a:pt x="3170865" y="2176031"/>
                  </a:lnTo>
                  <a:lnTo>
                    <a:pt x="3171487" y="2176176"/>
                  </a:lnTo>
                  <a:lnTo>
                    <a:pt x="3172761" y="2176862"/>
                  </a:lnTo>
                  <a:lnTo>
                    <a:pt x="3173310" y="2176918"/>
                  </a:lnTo>
                  <a:close/>
                  <a:moveTo>
                    <a:pt x="3943554" y="2171046"/>
                  </a:moveTo>
                  <a:lnTo>
                    <a:pt x="3944706" y="2171604"/>
                  </a:lnTo>
                  <a:lnTo>
                    <a:pt x="3944679" y="2171982"/>
                  </a:lnTo>
                  <a:lnTo>
                    <a:pt x="3944713" y="2173243"/>
                  </a:lnTo>
                  <a:lnTo>
                    <a:pt x="3945552" y="2174075"/>
                  </a:lnTo>
                  <a:lnTo>
                    <a:pt x="3947891" y="2175918"/>
                  </a:lnTo>
                  <a:lnTo>
                    <a:pt x="3945974" y="2177771"/>
                  </a:lnTo>
                  <a:lnTo>
                    <a:pt x="3947673" y="2178602"/>
                  </a:lnTo>
                  <a:lnTo>
                    <a:pt x="3951908" y="2178044"/>
                  </a:lnTo>
                  <a:lnTo>
                    <a:pt x="3954000" y="2179282"/>
                  </a:lnTo>
                  <a:lnTo>
                    <a:pt x="3953772" y="2180133"/>
                  </a:lnTo>
                  <a:lnTo>
                    <a:pt x="3953904" y="2182360"/>
                  </a:lnTo>
                  <a:lnTo>
                    <a:pt x="3953659" y="2182994"/>
                  </a:lnTo>
                  <a:lnTo>
                    <a:pt x="3951233" y="2184401"/>
                  </a:lnTo>
                  <a:lnTo>
                    <a:pt x="3950674" y="2185222"/>
                  </a:lnTo>
                  <a:lnTo>
                    <a:pt x="3949672" y="2187810"/>
                  </a:lnTo>
                  <a:lnTo>
                    <a:pt x="3949031" y="2188598"/>
                  </a:lnTo>
                  <a:lnTo>
                    <a:pt x="3948267" y="2188902"/>
                  </a:lnTo>
                  <a:lnTo>
                    <a:pt x="3946349" y="2188806"/>
                  </a:lnTo>
                  <a:lnTo>
                    <a:pt x="3946720" y="2187218"/>
                  </a:lnTo>
                  <a:lnTo>
                    <a:pt x="3946943" y="2186755"/>
                  </a:lnTo>
                  <a:lnTo>
                    <a:pt x="3945855" y="2186570"/>
                  </a:lnTo>
                  <a:lnTo>
                    <a:pt x="3944964" y="2186955"/>
                  </a:lnTo>
                  <a:lnTo>
                    <a:pt x="3944050" y="2187142"/>
                  </a:lnTo>
                  <a:lnTo>
                    <a:pt x="3942911" y="2186350"/>
                  </a:lnTo>
                  <a:lnTo>
                    <a:pt x="3942416" y="2184631"/>
                  </a:lnTo>
                  <a:lnTo>
                    <a:pt x="3942330" y="2183897"/>
                  </a:lnTo>
                  <a:lnTo>
                    <a:pt x="3942468" y="2183170"/>
                  </a:lnTo>
                  <a:lnTo>
                    <a:pt x="3943047" y="2182673"/>
                  </a:lnTo>
                  <a:lnTo>
                    <a:pt x="3943971" y="2182730"/>
                  </a:lnTo>
                  <a:lnTo>
                    <a:pt x="3944983" y="2182963"/>
                  </a:lnTo>
                  <a:lnTo>
                    <a:pt x="3945806" y="2183015"/>
                  </a:lnTo>
                  <a:lnTo>
                    <a:pt x="3945111" y="2182206"/>
                  </a:lnTo>
                  <a:lnTo>
                    <a:pt x="3944386" y="2181582"/>
                  </a:lnTo>
                  <a:lnTo>
                    <a:pt x="3943677" y="2181195"/>
                  </a:lnTo>
                  <a:lnTo>
                    <a:pt x="3943019" y="2181061"/>
                  </a:lnTo>
                  <a:lnTo>
                    <a:pt x="3941310" y="2175036"/>
                  </a:lnTo>
                  <a:lnTo>
                    <a:pt x="3941138" y="2173601"/>
                  </a:lnTo>
                  <a:lnTo>
                    <a:pt x="3941566" y="2172256"/>
                  </a:lnTo>
                  <a:lnTo>
                    <a:pt x="3942440" y="2171332"/>
                  </a:lnTo>
                  <a:close/>
                  <a:moveTo>
                    <a:pt x="2412381" y="2167653"/>
                  </a:moveTo>
                  <a:lnTo>
                    <a:pt x="2413361" y="2168582"/>
                  </a:lnTo>
                  <a:lnTo>
                    <a:pt x="2414088" y="2170131"/>
                  </a:lnTo>
                  <a:lnTo>
                    <a:pt x="2414296" y="2171239"/>
                  </a:lnTo>
                  <a:lnTo>
                    <a:pt x="2413841" y="2171782"/>
                  </a:lnTo>
                  <a:lnTo>
                    <a:pt x="2409902" y="2170716"/>
                  </a:lnTo>
                  <a:lnTo>
                    <a:pt x="2408530" y="2169738"/>
                  </a:lnTo>
                  <a:lnTo>
                    <a:pt x="2407762" y="2168173"/>
                  </a:lnTo>
                  <a:close/>
                  <a:moveTo>
                    <a:pt x="3465638" y="2152633"/>
                  </a:moveTo>
                  <a:lnTo>
                    <a:pt x="3467062" y="2153226"/>
                  </a:lnTo>
                  <a:lnTo>
                    <a:pt x="3471084" y="2153649"/>
                  </a:lnTo>
                  <a:lnTo>
                    <a:pt x="3472671" y="2153797"/>
                  </a:lnTo>
                  <a:lnTo>
                    <a:pt x="3474117" y="2154593"/>
                  </a:lnTo>
                  <a:lnTo>
                    <a:pt x="3472386" y="2156048"/>
                  </a:lnTo>
                  <a:lnTo>
                    <a:pt x="3470404" y="2157102"/>
                  </a:lnTo>
                  <a:lnTo>
                    <a:pt x="3467351" y="2155949"/>
                  </a:lnTo>
                  <a:lnTo>
                    <a:pt x="3465425" y="2154563"/>
                  </a:lnTo>
                  <a:close/>
                  <a:moveTo>
                    <a:pt x="3446036" y="2144640"/>
                  </a:moveTo>
                  <a:lnTo>
                    <a:pt x="3447624" y="2144791"/>
                  </a:lnTo>
                  <a:lnTo>
                    <a:pt x="3450937" y="2145396"/>
                  </a:lnTo>
                  <a:lnTo>
                    <a:pt x="3450424" y="2147460"/>
                  </a:lnTo>
                  <a:lnTo>
                    <a:pt x="3447963" y="2146978"/>
                  </a:lnTo>
                  <a:lnTo>
                    <a:pt x="3445178" y="2146423"/>
                  </a:lnTo>
                  <a:lnTo>
                    <a:pt x="3443755" y="2145834"/>
                  </a:lnTo>
                  <a:close/>
                  <a:moveTo>
                    <a:pt x="3883418" y="2125484"/>
                  </a:moveTo>
                  <a:lnTo>
                    <a:pt x="3884475" y="2125913"/>
                  </a:lnTo>
                  <a:lnTo>
                    <a:pt x="3885612" y="2126190"/>
                  </a:lnTo>
                  <a:lnTo>
                    <a:pt x="3886498" y="2126728"/>
                  </a:lnTo>
                  <a:lnTo>
                    <a:pt x="3886817" y="2127976"/>
                  </a:lnTo>
                  <a:lnTo>
                    <a:pt x="3887628" y="2127259"/>
                  </a:lnTo>
                  <a:lnTo>
                    <a:pt x="3888549" y="2126962"/>
                  </a:lnTo>
                  <a:lnTo>
                    <a:pt x="3889423" y="2127551"/>
                  </a:lnTo>
                  <a:lnTo>
                    <a:pt x="3890112" y="2129503"/>
                  </a:lnTo>
                  <a:lnTo>
                    <a:pt x="3891619" y="2129275"/>
                  </a:lnTo>
                  <a:lnTo>
                    <a:pt x="3892702" y="2130158"/>
                  </a:lnTo>
                  <a:lnTo>
                    <a:pt x="3893624" y="2131833"/>
                  </a:lnTo>
                  <a:lnTo>
                    <a:pt x="3894606" y="2133955"/>
                  </a:lnTo>
                  <a:lnTo>
                    <a:pt x="3894898" y="2133794"/>
                  </a:lnTo>
                  <a:lnTo>
                    <a:pt x="3895130" y="2130798"/>
                  </a:lnTo>
                  <a:lnTo>
                    <a:pt x="3895292" y="2130239"/>
                  </a:lnTo>
                  <a:lnTo>
                    <a:pt x="3897865" y="2128816"/>
                  </a:lnTo>
                  <a:lnTo>
                    <a:pt x="3898571" y="2128998"/>
                  </a:lnTo>
                  <a:lnTo>
                    <a:pt x="3899064" y="2130068"/>
                  </a:lnTo>
                  <a:lnTo>
                    <a:pt x="3899358" y="2131351"/>
                  </a:lnTo>
                  <a:lnTo>
                    <a:pt x="3899400" y="2131660"/>
                  </a:lnTo>
                  <a:lnTo>
                    <a:pt x="3899475" y="2132200"/>
                  </a:lnTo>
                  <a:lnTo>
                    <a:pt x="3899421" y="2132812"/>
                  </a:lnTo>
                  <a:lnTo>
                    <a:pt x="3898871" y="2134173"/>
                  </a:lnTo>
                  <a:lnTo>
                    <a:pt x="3898894" y="2134631"/>
                  </a:lnTo>
                  <a:lnTo>
                    <a:pt x="3898955" y="2135016"/>
                  </a:lnTo>
                  <a:lnTo>
                    <a:pt x="3898985" y="2135397"/>
                  </a:lnTo>
                  <a:lnTo>
                    <a:pt x="3898915" y="2135864"/>
                  </a:lnTo>
                  <a:lnTo>
                    <a:pt x="3899301" y="2136585"/>
                  </a:lnTo>
                  <a:lnTo>
                    <a:pt x="3901717" y="2137731"/>
                  </a:lnTo>
                  <a:lnTo>
                    <a:pt x="3903008" y="2138580"/>
                  </a:lnTo>
                  <a:lnTo>
                    <a:pt x="3904165" y="2139885"/>
                  </a:lnTo>
                  <a:lnTo>
                    <a:pt x="3901250" y="2139582"/>
                  </a:lnTo>
                  <a:lnTo>
                    <a:pt x="3898096" y="2139083"/>
                  </a:lnTo>
                  <a:lnTo>
                    <a:pt x="3893112" y="2138282"/>
                  </a:lnTo>
                  <a:lnTo>
                    <a:pt x="3891511" y="2138229"/>
                  </a:lnTo>
                  <a:lnTo>
                    <a:pt x="3890070" y="2138511"/>
                  </a:lnTo>
                  <a:lnTo>
                    <a:pt x="3887273" y="2139774"/>
                  </a:lnTo>
                  <a:lnTo>
                    <a:pt x="3886000" y="2140018"/>
                  </a:lnTo>
                  <a:lnTo>
                    <a:pt x="3884418" y="2139763"/>
                  </a:lnTo>
                  <a:lnTo>
                    <a:pt x="3878796" y="2137625"/>
                  </a:lnTo>
                  <a:lnTo>
                    <a:pt x="3876118" y="2135966"/>
                  </a:lnTo>
                  <a:lnTo>
                    <a:pt x="3874478" y="2133719"/>
                  </a:lnTo>
                  <a:lnTo>
                    <a:pt x="3875081" y="2130902"/>
                  </a:lnTo>
                  <a:lnTo>
                    <a:pt x="3875977" y="2130291"/>
                  </a:lnTo>
                  <a:lnTo>
                    <a:pt x="3880148" y="2129066"/>
                  </a:lnTo>
                  <a:lnTo>
                    <a:pt x="3882112" y="2127715"/>
                  </a:lnTo>
                  <a:lnTo>
                    <a:pt x="3882955" y="2126707"/>
                  </a:lnTo>
                  <a:close/>
                  <a:moveTo>
                    <a:pt x="3344996" y="2108853"/>
                  </a:moveTo>
                  <a:lnTo>
                    <a:pt x="3345926" y="2109036"/>
                  </a:lnTo>
                  <a:lnTo>
                    <a:pt x="3347071" y="2110023"/>
                  </a:lnTo>
                  <a:lnTo>
                    <a:pt x="3350203" y="2113609"/>
                  </a:lnTo>
                  <a:lnTo>
                    <a:pt x="3350663" y="2114451"/>
                  </a:lnTo>
                  <a:lnTo>
                    <a:pt x="3343705" y="2117827"/>
                  </a:lnTo>
                  <a:lnTo>
                    <a:pt x="3330455" y="2118970"/>
                  </a:lnTo>
                  <a:lnTo>
                    <a:pt x="3328634" y="2118576"/>
                  </a:lnTo>
                  <a:lnTo>
                    <a:pt x="3326969" y="2117607"/>
                  </a:lnTo>
                  <a:lnTo>
                    <a:pt x="3326212" y="2117299"/>
                  </a:lnTo>
                  <a:lnTo>
                    <a:pt x="3321833" y="2118090"/>
                  </a:lnTo>
                  <a:lnTo>
                    <a:pt x="3320914" y="2117764"/>
                  </a:lnTo>
                  <a:lnTo>
                    <a:pt x="3319530" y="2116833"/>
                  </a:lnTo>
                  <a:lnTo>
                    <a:pt x="3314299" y="2114938"/>
                  </a:lnTo>
                  <a:lnTo>
                    <a:pt x="3314892" y="2113546"/>
                  </a:lnTo>
                  <a:lnTo>
                    <a:pt x="3317729" y="2111401"/>
                  </a:lnTo>
                  <a:lnTo>
                    <a:pt x="3318336" y="2109798"/>
                  </a:lnTo>
                  <a:lnTo>
                    <a:pt x="3318797" y="2109351"/>
                  </a:lnTo>
                  <a:lnTo>
                    <a:pt x="3319414" y="2109242"/>
                  </a:lnTo>
                  <a:lnTo>
                    <a:pt x="3320714" y="2109458"/>
                  </a:lnTo>
                  <a:lnTo>
                    <a:pt x="3321337" y="2109298"/>
                  </a:lnTo>
                  <a:lnTo>
                    <a:pt x="3321824" y="2109824"/>
                  </a:lnTo>
                  <a:lnTo>
                    <a:pt x="3322452" y="2110302"/>
                  </a:lnTo>
                  <a:lnTo>
                    <a:pt x="3323107" y="2110661"/>
                  </a:lnTo>
                  <a:lnTo>
                    <a:pt x="3323668" y="2110832"/>
                  </a:lnTo>
                  <a:lnTo>
                    <a:pt x="3324075" y="2110736"/>
                  </a:lnTo>
                  <a:lnTo>
                    <a:pt x="3324865" y="2110221"/>
                  </a:lnTo>
                  <a:lnTo>
                    <a:pt x="3325293" y="2110241"/>
                  </a:lnTo>
                  <a:lnTo>
                    <a:pt x="3326389" y="2111057"/>
                  </a:lnTo>
                  <a:lnTo>
                    <a:pt x="3326920" y="2111631"/>
                  </a:lnTo>
                  <a:lnTo>
                    <a:pt x="3326759" y="2112406"/>
                  </a:lnTo>
                  <a:lnTo>
                    <a:pt x="3327313" y="2113058"/>
                  </a:lnTo>
                  <a:lnTo>
                    <a:pt x="3328058" y="2113626"/>
                  </a:lnTo>
                  <a:lnTo>
                    <a:pt x="3328591" y="2113816"/>
                  </a:lnTo>
                  <a:lnTo>
                    <a:pt x="3338745" y="2109225"/>
                  </a:lnTo>
                  <a:lnTo>
                    <a:pt x="3339567" y="2109169"/>
                  </a:lnTo>
                  <a:lnTo>
                    <a:pt x="3341365" y="2109608"/>
                  </a:lnTo>
                  <a:close/>
                  <a:moveTo>
                    <a:pt x="3875238" y="2105397"/>
                  </a:moveTo>
                  <a:lnTo>
                    <a:pt x="3875718" y="2105730"/>
                  </a:lnTo>
                  <a:lnTo>
                    <a:pt x="3876021" y="2106379"/>
                  </a:lnTo>
                  <a:lnTo>
                    <a:pt x="3876432" y="2107082"/>
                  </a:lnTo>
                  <a:lnTo>
                    <a:pt x="3877296" y="2109054"/>
                  </a:lnTo>
                  <a:lnTo>
                    <a:pt x="3877806" y="2111294"/>
                  </a:lnTo>
                  <a:lnTo>
                    <a:pt x="3877828" y="2113230"/>
                  </a:lnTo>
                  <a:lnTo>
                    <a:pt x="3876774" y="2114986"/>
                  </a:lnTo>
                  <a:lnTo>
                    <a:pt x="3876216" y="2117464"/>
                  </a:lnTo>
                  <a:lnTo>
                    <a:pt x="3875448" y="2117533"/>
                  </a:lnTo>
                  <a:lnTo>
                    <a:pt x="3874601" y="2117121"/>
                  </a:lnTo>
                  <a:lnTo>
                    <a:pt x="3874088" y="2116490"/>
                  </a:lnTo>
                  <a:lnTo>
                    <a:pt x="3874678" y="2114847"/>
                  </a:lnTo>
                  <a:lnTo>
                    <a:pt x="3874879" y="2108792"/>
                  </a:lnTo>
                  <a:lnTo>
                    <a:pt x="3874476" y="2106046"/>
                  </a:lnTo>
                  <a:lnTo>
                    <a:pt x="3874624" y="2105516"/>
                  </a:lnTo>
                  <a:close/>
                  <a:moveTo>
                    <a:pt x="3136811" y="2086055"/>
                  </a:moveTo>
                  <a:lnTo>
                    <a:pt x="3139437" y="2086122"/>
                  </a:lnTo>
                  <a:lnTo>
                    <a:pt x="3141245" y="2087875"/>
                  </a:lnTo>
                  <a:lnTo>
                    <a:pt x="3140870" y="2088189"/>
                  </a:lnTo>
                  <a:lnTo>
                    <a:pt x="3140673" y="2088528"/>
                  </a:lnTo>
                  <a:lnTo>
                    <a:pt x="3140384" y="2089700"/>
                  </a:lnTo>
                  <a:lnTo>
                    <a:pt x="3141556" y="2090098"/>
                  </a:lnTo>
                  <a:lnTo>
                    <a:pt x="3142765" y="2090236"/>
                  </a:lnTo>
                  <a:lnTo>
                    <a:pt x="3144982" y="2089931"/>
                  </a:lnTo>
                  <a:lnTo>
                    <a:pt x="3145750" y="2089380"/>
                  </a:lnTo>
                  <a:lnTo>
                    <a:pt x="3147089" y="2087708"/>
                  </a:lnTo>
                  <a:lnTo>
                    <a:pt x="3148034" y="2087362"/>
                  </a:lnTo>
                  <a:lnTo>
                    <a:pt x="3148098" y="2087873"/>
                  </a:lnTo>
                  <a:lnTo>
                    <a:pt x="3148343" y="2089083"/>
                  </a:lnTo>
                  <a:lnTo>
                    <a:pt x="3148402" y="2089596"/>
                  </a:lnTo>
                  <a:lnTo>
                    <a:pt x="3149093" y="2089342"/>
                  </a:lnTo>
                  <a:lnTo>
                    <a:pt x="3149836" y="2089412"/>
                  </a:lnTo>
                  <a:lnTo>
                    <a:pt x="3150612" y="2089755"/>
                  </a:lnTo>
                  <a:lnTo>
                    <a:pt x="3151404" y="2090307"/>
                  </a:lnTo>
                  <a:lnTo>
                    <a:pt x="3151115" y="2090452"/>
                  </a:lnTo>
                  <a:lnTo>
                    <a:pt x="3150652" y="2091252"/>
                  </a:lnTo>
                  <a:lnTo>
                    <a:pt x="3151036" y="2091329"/>
                  </a:lnTo>
                  <a:lnTo>
                    <a:pt x="3151752" y="2091640"/>
                  </a:lnTo>
                  <a:lnTo>
                    <a:pt x="3152162" y="2091639"/>
                  </a:lnTo>
                  <a:lnTo>
                    <a:pt x="3152128" y="2092088"/>
                  </a:lnTo>
                  <a:lnTo>
                    <a:pt x="3152142" y="2092498"/>
                  </a:lnTo>
                  <a:lnTo>
                    <a:pt x="3152117" y="2092902"/>
                  </a:lnTo>
                  <a:lnTo>
                    <a:pt x="3151952" y="2093339"/>
                  </a:lnTo>
                  <a:lnTo>
                    <a:pt x="3153242" y="2095313"/>
                  </a:lnTo>
                  <a:lnTo>
                    <a:pt x="3154724" y="2096347"/>
                  </a:lnTo>
                  <a:lnTo>
                    <a:pt x="3156286" y="2097076"/>
                  </a:lnTo>
                  <a:lnTo>
                    <a:pt x="3157805" y="2098135"/>
                  </a:lnTo>
                  <a:lnTo>
                    <a:pt x="3158344" y="2098872"/>
                  </a:lnTo>
                  <a:lnTo>
                    <a:pt x="3159150" y="2100478"/>
                  </a:lnTo>
                  <a:lnTo>
                    <a:pt x="3159630" y="2101061"/>
                  </a:lnTo>
                  <a:lnTo>
                    <a:pt x="3160409" y="2101197"/>
                  </a:lnTo>
                  <a:lnTo>
                    <a:pt x="3161300" y="2101163"/>
                  </a:lnTo>
                  <a:lnTo>
                    <a:pt x="3161972" y="2101677"/>
                  </a:lnTo>
                  <a:lnTo>
                    <a:pt x="3162077" y="2103430"/>
                  </a:lnTo>
                  <a:lnTo>
                    <a:pt x="3161035" y="2107528"/>
                  </a:lnTo>
                  <a:lnTo>
                    <a:pt x="3160849" y="2109910"/>
                  </a:lnTo>
                  <a:lnTo>
                    <a:pt x="3161719" y="2111431"/>
                  </a:lnTo>
                  <a:lnTo>
                    <a:pt x="3161939" y="2112146"/>
                  </a:lnTo>
                  <a:lnTo>
                    <a:pt x="3159281" y="2117727"/>
                  </a:lnTo>
                  <a:lnTo>
                    <a:pt x="3156816" y="2120334"/>
                  </a:lnTo>
                  <a:lnTo>
                    <a:pt x="3154974" y="2122802"/>
                  </a:lnTo>
                  <a:lnTo>
                    <a:pt x="3152139" y="2124599"/>
                  </a:lnTo>
                  <a:lnTo>
                    <a:pt x="3149506" y="2126940"/>
                  </a:lnTo>
                  <a:lnTo>
                    <a:pt x="3147141" y="2127837"/>
                  </a:lnTo>
                  <a:lnTo>
                    <a:pt x="3145899" y="2126809"/>
                  </a:lnTo>
                  <a:lnTo>
                    <a:pt x="3140843" y="2124828"/>
                  </a:lnTo>
                  <a:lnTo>
                    <a:pt x="3140464" y="2123329"/>
                  </a:lnTo>
                  <a:lnTo>
                    <a:pt x="3139332" y="2122972"/>
                  </a:lnTo>
                  <a:lnTo>
                    <a:pt x="3137958" y="2122962"/>
                  </a:lnTo>
                  <a:lnTo>
                    <a:pt x="3136830" y="2122481"/>
                  </a:lnTo>
                  <a:lnTo>
                    <a:pt x="3135641" y="2121323"/>
                  </a:lnTo>
                  <a:lnTo>
                    <a:pt x="3134098" y="2120112"/>
                  </a:lnTo>
                  <a:lnTo>
                    <a:pt x="3132596" y="2119204"/>
                  </a:lnTo>
                  <a:lnTo>
                    <a:pt x="3130678" y="2118731"/>
                  </a:lnTo>
                  <a:lnTo>
                    <a:pt x="3128129" y="2116926"/>
                  </a:lnTo>
                  <a:lnTo>
                    <a:pt x="3123425" y="2112695"/>
                  </a:lnTo>
                  <a:lnTo>
                    <a:pt x="3121857" y="2111966"/>
                  </a:lnTo>
                  <a:lnTo>
                    <a:pt x="3114501" y="2106803"/>
                  </a:lnTo>
                  <a:lnTo>
                    <a:pt x="3112156" y="2106007"/>
                  </a:lnTo>
                  <a:lnTo>
                    <a:pt x="3111479" y="2105603"/>
                  </a:lnTo>
                  <a:lnTo>
                    <a:pt x="3109957" y="2104313"/>
                  </a:lnTo>
                  <a:lnTo>
                    <a:pt x="3110286" y="2101882"/>
                  </a:lnTo>
                  <a:lnTo>
                    <a:pt x="3109034" y="2101383"/>
                  </a:lnTo>
                  <a:lnTo>
                    <a:pt x="3109001" y="2099832"/>
                  </a:lnTo>
                  <a:lnTo>
                    <a:pt x="3107561" y="2098293"/>
                  </a:lnTo>
                  <a:lnTo>
                    <a:pt x="3107663" y="2094179"/>
                  </a:lnTo>
                  <a:lnTo>
                    <a:pt x="3108431" y="2090981"/>
                  </a:lnTo>
                  <a:lnTo>
                    <a:pt x="3110236" y="2089506"/>
                  </a:lnTo>
                  <a:lnTo>
                    <a:pt x="3112264" y="2091900"/>
                  </a:lnTo>
                  <a:lnTo>
                    <a:pt x="3115051" y="2095414"/>
                  </a:lnTo>
                  <a:lnTo>
                    <a:pt x="3118938" y="2091165"/>
                  </a:lnTo>
                  <a:lnTo>
                    <a:pt x="3122877" y="2088743"/>
                  </a:lnTo>
                  <a:lnTo>
                    <a:pt x="3124202" y="2088756"/>
                  </a:lnTo>
                  <a:lnTo>
                    <a:pt x="3127160" y="2089580"/>
                  </a:lnTo>
                  <a:lnTo>
                    <a:pt x="3128474" y="2089400"/>
                  </a:lnTo>
                  <a:lnTo>
                    <a:pt x="3129101" y="2087956"/>
                  </a:lnTo>
                  <a:lnTo>
                    <a:pt x="3129506" y="2087602"/>
                  </a:lnTo>
                  <a:lnTo>
                    <a:pt x="3132400" y="2087446"/>
                  </a:lnTo>
                  <a:close/>
                  <a:moveTo>
                    <a:pt x="3166004" y="2053514"/>
                  </a:moveTo>
                  <a:lnTo>
                    <a:pt x="3188822" y="2059675"/>
                  </a:lnTo>
                  <a:lnTo>
                    <a:pt x="3188536" y="2060282"/>
                  </a:lnTo>
                  <a:lnTo>
                    <a:pt x="3188408" y="2060450"/>
                  </a:lnTo>
                  <a:lnTo>
                    <a:pt x="3189656" y="2061923"/>
                  </a:lnTo>
                  <a:lnTo>
                    <a:pt x="3191323" y="2062619"/>
                  </a:lnTo>
                  <a:lnTo>
                    <a:pt x="3192968" y="2062768"/>
                  </a:lnTo>
                  <a:lnTo>
                    <a:pt x="3194144" y="2062591"/>
                  </a:lnTo>
                  <a:lnTo>
                    <a:pt x="3194595" y="2063104"/>
                  </a:lnTo>
                  <a:lnTo>
                    <a:pt x="3192528" y="2067902"/>
                  </a:lnTo>
                  <a:lnTo>
                    <a:pt x="3194227" y="2068338"/>
                  </a:lnTo>
                  <a:lnTo>
                    <a:pt x="3197894" y="2067341"/>
                  </a:lnTo>
                  <a:lnTo>
                    <a:pt x="3199828" y="2067744"/>
                  </a:lnTo>
                  <a:lnTo>
                    <a:pt x="3199788" y="2068310"/>
                  </a:lnTo>
                  <a:lnTo>
                    <a:pt x="3199650" y="2068594"/>
                  </a:lnTo>
                  <a:lnTo>
                    <a:pt x="3198847" y="2068918"/>
                  </a:lnTo>
                  <a:lnTo>
                    <a:pt x="3197931" y="2072017"/>
                  </a:lnTo>
                  <a:lnTo>
                    <a:pt x="3197171" y="2072859"/>
                  </a:lnTo>
                  <a:lnTo>
                    <a:pt x="3195695" y="2072300"/>
                  </a:lnTo>
                  <a:lnTo>
                    <a:pt x="3195946" y="2073075"/>
                  </a:lnTo>
                  <a:lnTo>
                    <a:pt x="3197082" y="2074054"/>
                  </a:lnTo>
                  <a:lnTo>
                    <a:pt x="3197117" y="2076319"/>
                  </a:lnTo>
                  <a:lnTo>
                    <a:pt x="3196539" y="2078745"/>
                  </a:lnTo>
                  <a:lnTo>
                    <a:pt x="3195835" y="2080190"/>
                  </a:lnTo>
                  <a:lnTo>
                    <a:pt x="3194765" y="2080606"/>
                  </a:lnTo>
                  <a:lnTo>
                    <a:pt x="3192301" y="2080112"/>
                  </a:lnTo>
                  <a:lnTo>
                    <a:pt x="3189305" y="2080432"/>
                  </a:lnTo>
                  <a:lnTo>
                    <a:pt x="3188275" y="2080272"/>
                  </a:lnTo>
                  <a:lnTo>
                    <a:pt x="3187271" y="2079738"/>
                  </a:lnTo>
                  <a:lnTo>
                    <a:pt x="3186938" y="2078639"/>
                  </a:lnTo>
                  <a:lnTo>
                    <a:pt x="3185702" y="2078600"/>
                  </a:lnTo>
                  <a:lnTo>
                    <a:pt x="3183148" y="2079489"/>
                  </a:lnTo>
                  <a:lnTo>
                    <a:pt x="3182134" y="2080323"/>
                  </a:lnTo>
                  <a:lnTo>
                    <a:pt x="3181588" y="2080450"/>
                  </a:lnTo>
                  <a:lnTo>
                    <a:pt x="3180135" y="2079386"/>
                  </a:lnTo>
                  <a:lnTo>
                    <a:pt x="3178187" y="2078786"/>
                  </a:lnTo>
                  <a:lnTo>
                    <a:pt x="3176192" y="2076996"/>
                  </a:lnTo>
                  <a:lnTo>
                    <a:pt x="3174479" y="2076166"/>
                  </a:lnTo>
                  <a:lnTo>
                    <a:pt x="3170444" y="2073297"/>
                  </a:lnTo>
                  <a:lnTo>
                    <a:pt x="3169946" y="2072642"/>
                  </a:lnTo>
                  <a:lnTo>
                    <a:pt x="3169186" y="2072910"/>
                  </a:lnTo>
                  <a:lnTo>
                    <a:pt x="3168362" y="2072918"/>
                  </a:lnTo>
                  <a:lnTo>
                    <a:pt x="3167504" y="2072657"/>
                  </a:lnTo>
                  <a:lnTo>
                    <a:pt x="3166654" y="2072112"/>
                  </a:lnTo>
                  <a:lnTo>
                    <a:pt x="3166386" y="2071997"/>
                  </a:lnTo>
                  <a:lnTo>
                    <a:pt x="3165840" y="2071963"/>
                  </a:lnTo>
                  <a:lnTo>
                    <a:pt x="3165503" y="2071761"/>
                  </a:lnTo>
                  <a:lnTo>
                    <a:pt x="3165391" y="2071502"/>
                  </a:lnTo>
                  <a:lnTo>
                    <a:pt x="3165163" y="2070593"/>
                  </a:lnTo>
                  <a:lnTo>
                    <a:pt x="3165057" y="2070342"/>
                  </a:lnTo>
                  <a:lnTo>
                    <a:pt x="3164367" y="2069612"/>
                  </a:lnTo>
                  <a:lnTo>
                    <a:pt x="3164085" y="2069490"/>
                  </a:lnTo>
                  <a:lnTo>
                    <a:pt x="3163862" y="2069855"/>
                  </a:lnTo>
                  <a:lnTo>
                    <a:pt x="3162355" y="2068956"/>
                  </a:lnTo>
                  <a:lnTo>
                    <a:pt x="3157721" y="2067945"/>
                  </a:lnTo>
                  <a:lnTo>
                    <a:pt x="3157723" y="2067496"/>
                  </a:lnTo>
                  <a:lnTo>
                    <a:pt x="3157798" y="2067263"/>
                  </a:lnTo>
                  <a:lnTo>
                    <a:pt x="3158081" y="2066979"/>
                  </a:lnTo>
                  <a:lnTo>
                    <a:pt x="3155371" y="2067685"/>
                  </a:lnTo>
                  <a:lnTo>
                    <a:pt x="3154408" y="2067412"/>
                  </a:lnTo>
                  <a:lnTo>
                    <a:pt x="3154660" y="2066937"/>
                  </a:lnTo>
                  <a:lnTo>
                    <a:pt x="3154957" y="2066582"/>
                  </a:lnTo>
                  <a:lnTo>
                    <a:pt x="3155322" y="2066343"/>
                  </a:lnTo>
                  <a:lnTo>
                    <a:pt x="3155761" y="2066206"/>
                  </a:lnTo>
                  <a:lnTo>
                    <a:pt x="3154811" y="2066251"/>
                  </a:lnTo>
                  <a:lnTo>
                    <a:pt x="3153821" y="2065733"/>
                  </a:lnTo>
                  <a:lnTo>
                    <a:pt x="3153367" y="2065008"/>
                  </a:lnTo>
                  <a:lnTo>
                    <a:pt x="3154006" y="2064403"/>
                  </a:lnTo>
                  <a:lnTo>
                    <a:pt x="3158244" y="2063078"/>
                  </a:lnTo>
                  <a:lnTo>
                    <a:pt x="3158001" y="2062301"/>
                  </a:lnTo>
                  <a:lnTo>
                    <a:pt x="3154225" y="2063220"/>
                  </a:lnTo>
                  <a:lnTo>
                    <a:pt x="3152335" y="2062783"/>
                  </a:lnTo>
                  <a:lnTo>
                    <a:pt x="3151794" y="2060723"/>
                  </a:lnTo>
                  <a:lnTo>
                    <a:pt x="3152242" y="2058545"/>
                  </a:lnTo>
                  <a:lnTo>
                    <a:pt x="3153005" y="2056642"/>
                  </a:lnTo>
                  <a:lnTo>
                    <a:pt x="3154149" y="2055371"/>
                  </a:lnTo>
                  <a:lnTo>
                    <a:pt x="3155749" y="2055112"/>
                  </a:lnTo>
                  <a:lnTo>
                    <a:pt x="3158284" y="2055875"/>
                  </a:lnTo>
                  <a:lnTo>
                    <a:pt x="3162521" y="2054615"/>
                  </a:lnTo>
                  <a:lnTo>
                    <a:pt x="3163408" y="2054700"/>
                  </a:lnTo>
                  <a:lnTo>
                    <a:pt x="3165177" y="2055765"/>
                  </a:lnTo>
                  <a:lnTo>
                    <a:pt x="3165896" y="2055902"/>
                  </a:lnTo>
                  <a:lnTo>
                    <a:pt x="3167039" y="2055390"/>
                  </a:lnTo>
                  <a:lnTo>
                    <a:pt x="3167161" y="2054917"/>
                  </a:lnTo>
                  <a:lnTo>
                    <a:pt x="3166249" y="2054286"/>
                  </a:lnTo>
                  <a:close/>
                  <a:moveTo>
                    <a:pt x="2950902" y="2051000"/>
                  </a:moveTo>
                  <a:lnTo>
                    <a:pt x="2953343" y="2051360"/>
                  </a:lnTo>
                  <a:lnTo>
                    <a:pt x="2954291" y="2052986"/>
                  </a:lnTo>
                  <a:lnTo>
                    <a:pt x="2953777" y="2054239"/>
                  </a:lnTo>
                  <a:lnTo>
                    <a:pt x="2952862" y="2055218"/>
                  </a:lnTo>
                  <a:lnTo>
                    <a:pt x="2950885" y="2056254"/>
                  </a:lnTo>
                  <a:lnTo>
                    <a:pt x="2948531" y="2056246"/>
                  </a:lnTo>
                  <a:lnTo>
                    <a:pt x="2947277" y="2055466"/>
                  </a:lnTo>
                  <a:lnTo>
                    <a:pt x="2946935" y="2053654"/>
                  </a:lnTo>
                  <a:lnTo>
                    <a:pt x="2948315" y="2051795"/>
                  </a:lnTo>
                  <a:close/>
                  <a:moveTo>
                    <a:pt x="3487968" y="2032021"/>
                  </a:moveTo>
                  <a:lnTo>
                    <a:pt x="3497929" y="2032924"/>
                  </a:lnTo>
                  <a:lnTo>
                    <a:pt x="3501320" y="2033864"/>
                  </a:lnTo>
                  <a:lnTo>
                    <a:pt x="3504671" y="2033698"/>
                  </a:lnTo>
                  <a:lnTo>
                    <a:pt x="3506250" y="2034991"/>
                  </a:lnTo>
                  <a:lnTo>
                    <a:pt x="3508035" y="2035156"/>
                  </a:lnTo>
                  <a:lnTo>
                    <a:pt x="3509829" y="2035686"/>
                  </a:lnTo>
                  <a:lnTo>
                    <a:pt x="3511067" y="2036605"/>
                  </a:lnTo>
                  <a:lnTo>
                    <a:pt x="3510133" y="2037092"/>
                  </a:lnTo>
                  <a:lnTo>
                    <a:pt x="3509793" y="2037163"/>
                  </a:lnTo>
                  <a:lnTo>
                    <a:pt x="3510091" y="2037851"/>
                  </a:lnTo>
                  <a:lnTo>
                    <a:pt x="3512683" y="2038747"/>
                  </a:lnTo>
                  <a:lnTo>
                    <a:pt x="3515730" y="2038488"/>
                  </a:lnTo>
                  <a:lnTo>
                    <a:pt x="3515049" y="2040025"/>
                  </a:lnTo>
                  <a:lnTo>
                    <a:pt x="3514474" y="2041429"/>
                  </a:lnTo>
                  <a:lnTo>
                    <a:pt x="3515516" y="2041291"/>
                  </a:lnTo>
                  <a:lnTo>
                    <a:pt x="3516985" y="2040866"/>
                  </a:lnTo>
                  <a:lnTo>
                    <a:pt x="3517960" y="2040219"/>
                  </a:lnTo>
                  <a:lnTo>
                    <a:pt x="3519363" y="2040383"/>
                  </a:lnTo>
                  <a:lnTo>
                    <a:pt x="3521101" y="2042041"/>
                  </a:lnTo>
                  <a:lnTo>
                    <a:pt x="3522759" y="2043889"/>
                  </a:lnTo>
                  <a:lnTo>
                    <a:pt x="3524877" y="2043612"/>
                  </a:lnTo>
                  <a:lnTo>
                    <a:pt x="3526786" y="2045185"/>
                  </a:lnTo>
                  <a:lnTo>
                    <a:pt x="3526994" y="2047785"/>
                  </a:lnTo>
                  <a:lnTo>
                    <a:pt x="3526039" y="2050197"/>
                  </a:lnTo>
                  <a:lnTo>
                    <a:pt x="3524360" y="2052012"/>
                  </a:lnTo>
                  <a:lnTo>
                    <a:pt x="3521082" y="2055258"/>
                  </a:lnTo>
                  <a:lnTo>
                    <a:pt x="3517259" y="2056115"/>
                  </a:lnTo>
                  <a:lnTo>
                    <a:pt x="3511271" y="2057837"/>
                  </a:lnTo>
                  <a:lnTo>
                    <a:pt x="3510021" y="2057869"/>
                  </a:lnTo>
                  <a:lnTo>
                    <a:pt x="3507405" y="2056757"/>
                  </a:lnTo>
                  <a:lnTo>
                    <a:pt x="3506313" y="2056720"/>
                  </a:lnTo>
                  <a:lnTo>
                    <a:pt x="3506013" y="2057243"/>
                  </a:lnTo>
                  <a:lnTo>
                    <a:pt x="3505944" y="2059008"/>
                  </a:lnTo>
                  <a:lnTo>
                    <a:pt x="3505498" y="2059595"/>
                  </a:lnTo>
                  <a:lnTo>
                    <a:pt x="3503138" y="2059885"/>
                  </a:lnTo>
                  <a:lnTo>
                    <a:pt x="3502378" y="2059717"/>
                  </a:lnTo>
                  <a:lnTo>
                    <a:pt x="3502580" y="2058261"/>
                  </a:lnTo>
                  <a:lnTo>
                    <a:pt x="3501955" y="2057126"/>
                  </a:lnTo>
                  <a:lnTo>
                    <a:pt x="3501063" y="2055722"/>
                  </a:lnTo>
                  <a:lnTo>
                    <a:pt x="3498132" y="2056141"/>
                  </a:lnTo>
                  <a:lnTo>
                    <a:pt x="3495746" y="2054329"/>
                  </a:lnTo>
                  <a:lnTo>
                    <a:pt x="3493899" y="2049558"/>
                  </a:lnTo>
                  <a:lnTo>
                    <a:pt x="3491497" y="2047501"/>
                  </a:lnTo>
                  <a:lnTo>
                    <a:pt x="3489631" y="2045807"/>
                  </a:lnTo>
                  <a:lnTo>
                    <a:pt x="3485843" y="2044342"/>
                  </a:lnTo>
                  <a:lnTo>
                    <a:pt x="3486306" y="2043368"/>
                  </a:lnTo>
                  <a:lnTo>
                    <a:pt x="3487065" y="2042781"/>
                  </a:lnTo>
                  <a:lnTo>
                    <a:pt x="3487983" y="2042630"/>
                  </a:lnTo>
                  <a:lnTo>
                    <a:pt x="3488960" y="2043007"/>
                  </a:lnTo>
                  <a:lnTo>
                    <a:pt x="3488953" y="2042121"/>
                  </a:lnTo>
                  <a:lnTo>
                    <a:pt x="3489835" y="2042427"/>
                  </a:lnTo>
                  <a:lnTo>
                    <a:pt x="3490974" y="2042360"/>
                  </a:lnTo>
                  <a:lnTo>
                    <a:pt x="3491966" y="2041919"/>
                  </a:lnTo>
                  <a:lnTo>
                    <a:pt x="3492400" y="2041081"/>
                  </a:lnTo>
                  <a:lnTo>
                    <a:pt x="3492209" y="2039736"/>
                  </a:lnTo>
                  <a:lnTo>
                    <a:pt x="3491655" y="2038818"/>
                  </a:lnTo>
                  <a:lnTo>
                    <a:pt x="3490874" y="2038382"/>
                  </a:lnTo>
                  <a:lnTo>
                    <a:pt x="3489986" y="2038487"/>
                  </a:lnTo>
                  <a:lnTo>
                    <a:pt x="3487148" y="2040580"/>
                  </a:lnTo>
                  <a:lnTo>
                    <a:pt x="3485419" y="2041074"/>
                  </a:lnTo>
                  <a:lnTo>
                    <a:pt x="3481822" y="2039235"/>
                  </a:lnTo>
                  <a:lnTo>
                    <a:pt x="3479754" y="2039099"/>
                  </a:lnTo>
                  <a:lnTo>
                    <a:pt x="3477967" y="2039672"/>
                  </a:lnTo>
                  <a:lnTo>
                    <a:pt x="3476797" y="2041731"/>
                  </a:lnTo>
                  <a:lnTo>
                    <a:pt x="3475828" y="2042254"/>
                  </a:lnTo>
                  <a:lnTo>
                    <a:pt x="3472786" y="2043045"/>
                  </a:lnTo>
                  <a:lnTo>
                    <a:pt x="3472113" y="2042884"/>
                  </a:lnTo>
                  <a:lnTo>
                    <a:pt x="3471281" y="2042325"/>
                  </a:lnTo>
                  <a:lnTo>
                    <a:pt x="3472299" y="2040611"/>
                  </a:lnTo>
                  <a:lnTo>
                    <a:pt x="3476118" y="2039629"/>
                  </a:lnTo>
                  <a:lnTo>
                    <a:pt x="3477272" y="2038076"/>
                  </a:lnTo>
                  <a:lnTo>
                    <a:pt x="3471942" y="2039178"/>
                  </a:lnTo>
                  <a:lnTo>
                    <a:pt x="3468971" y="2039088"/>
                  </a:lnTo>
                  <a:lnTo>
                    <a:pt x="3466192" y="2037532"/>
                  </a:lnTo>
                  <a:lnTo>
                    <a:pt x="3465682" y="2036173"/>
                  </a:lnTo>
                  <a:lnTo>
                    <a:pt x="3466851" y="2035403"/>
                  </a:lnTo>
                  <a:close/>
                  <a:moveTo>
                    <a:pt x="3132619" y="2023134"/>
                  </a:moveTo>
                  <a:lnTo>
                    <a:pt x="3135341" y="2023839"/>
                  </a:lnTo>
                  <a:lnTo>
                    <a:pt x="3135563" y="2024554"/>
                  </a:lnTo>
                  <a:lnTo>
                    <a:pt x="3133555" y="2025273"/>
                  </a:lnTo>
                  <a:lnTo>
                    <a:pt x="3132868" y="2026142"/>
                  </a:lnTo>
                  <a:lnTo>
                    <a:pt x="3132477" y="2027782"/>
                  </a:lnTo>
                  <a:lnTo>
                    <a:pt x="3132285" y="2029956"/>
                  </a:lnTo>
                  <a:lnTo>
                    <a:pt x="3130581" y="2035077"/>
                  </a:lnTo>
                  <a:lnTo>
                    <a:pt x="3129682" y="2036527"/>
                  </a:lnTo>
                  <a:lnTo>
                    <a:pt x="3128811" y="2036845"/>
                  </a:lnTo>
                  <a:lnTo>
                    <a:pt x="3126951" y="2036138"/>
                  </a:lnTo>
                  <a:lnTo>
                    <a:pt x="3120546" y="2036646"/>
                  </a:lnTo>
                  <a:lnTo>
                    <a:pt x="3118584" y="2036278"/>
                  </a:lnTo>
                  <a:lnTo>
                    <a:pt x="3117821" y="2036310"/>
                  </a:lnTo>
                  <a:lnTo>
                    <a:pt x="3117148" y="2035722"/>
                  </a:lnTo>
                  <a:lnTo>
                    <a:pt x="3116972" y="2033990"/>
                  </a:lnTo>
                  <a:lnTo>
                    <a:pt x="3117112" y="2032064"/>
                  </a:lnTo>
                  <a:lnTo>
                    <a:pt x="3117373" y="2030901"/>
                  </a:lnTo>
                  <a:lnTo>
                    <a:pt x="3118098" y="2029965"/>
                  </a:lnTo>
                  <a:lnTo>
                    <a:pt x="3119051" y="2029201"/>
                  </a:lnTo>
                  <a:lnTo>
                    <a:pt x="3120985" y="2028250"/>
                  </a:lnTo>
                  <a:lnTo>
                    <a:pt x="3124365" y="2028000"/>
                  </a:lnTo>
                  <a:lnTo>
                    <a:pt x="3125086" y="2026998"/>
                  </a:lnTo>
                  <a:lnTo>
                    <a:pt x="3124508" y="2026323"/>
                  </a:lnTo>
                  <a:close/>
                  <a:moveTo>
                    <a:pt x="3760032" y="2019760"/>
                  </a:moveTo>
                  <a:lnTo>
                    <a:pt x="3762641" y="2020450"/>
                  </a:lnTo>
                  <a:lnTo>
                    <a:pt x="3762410" y="2021052"/>
                  </a:lnTo>
                  <a:lnTo>
                    <a:pt x="3761334" y="2022483"/>
                  </a:lnTo>
                  <a:lnTo>
                    <a:pt x="3761822" y="2023151"/>
                  </a:lnTo>
                  <a:lnTo>
                    <a:pt x="3762434" y="2023631"/>
                  </a:lnTo>
                  <a:lnTo>
                    <a:pt x="3762944" y="2023726"/>
                  </a:lnTo>
                  <a:lnTo>
                    <a:pt x="3763117" y="2023200"/>
                  </a:lnTo>
                  <a:lnTo>
                    <a:pt x="3763230" y="2021887"/>
                  </a:lnTo>
                  <a:lnTo>
                    <a:pt x="3763723" y="2020919"/>
                  </a:lnTo>
                  <a:lnTo>
                    <a:pt x="3764538" y="2020883"/>
                  </a:lnTo>
                  <a:lnTo>
                    <a:pt x="3765620" y="2022343"/>
                  </a:lnTo>
                  <a:lnTo>
                    <a:pt x="3766385" y="2023172"/>
                  </a:lnTo>
                  <a:lnTo>
                    <a:pt x="3767877" y="2025137"/>
                  </a:lnTo>
                  <a:lnTo>
                    <a:pt x="3768028" y="2025391"/>
                  </a:lnTo>
                  <a:lnTo>
                    <a:pt x="3770380" y="2027180"/>
                  </a:lnTo>
                  <a:lnTo>
                    <a:pt x="3770953" y="2027999"/>
                  </a:lnTo>
                  <a:lnTo>
                    <a:pt x="3770722" y="2029280"/>
                  </a:lnTo>
                  <a:lnTo>
                    <a:pt x="3769015" y="2029293"/>
                  </a:lnTo>
                  <a:lnTo>
                    <a:pt x="3766842" y="2028565"/>
                  </a:lnTo>
                  <a:lnTo>
                    <a:pt x="3765216" y="2027640"/>
                  </a:lnTo>
                  <a:lnTo>
                    <a:pt x="3765697" y="2030165"/>
                  </a:lnTo>
                  <a:lnTo>
                    <a:pt x="3764718" y="2031292"/>
                  </a:lnTo>
                  <a:lnTo>
                    <a:pt x="3761575" y="2032098"/>
                  </a:lnTo>
                  <a:lnTo>
                    <a:pt x="3760133" y="2032068"/>
                  </a:lnTo>
                  <a:lnTo>
                    <a:pt x="3758087" y="2031390"/>
                  </a:lnTo>
                  <a:lnTo>
                    <a:pt x="3756611" y="2030418"/>
                  </a:lnTo>
                  <a:lnTo>
                    <a:pt x="3758000" y="2026965"/>
                  </a:lnTo>
                  <a:lnTo>
                    <a:pt x="3758769" y="2022825"/>
                  </a:lnTo>
                  <a:close/>
                  <a:moveTo>
                    <a:pt x="3819223" y="2013971"/>
                  </a:moveTo>
                  <a:lnTo>
                    <a:pt x="3819111" y="2015726"/>
                  </a:lnTo>
                  <a:lnTo>
                    <a:pt x="3818150" y="2018150"/>
                  </a:lnTo>
                  <a:lnTo>
                    <a:pt x="3817962" y="2019797"/>
                  </a:lnTo>
                  <a:lnTo>
                    <a:pt x="3818811" y="2019837"/>
                  </a:lnTo>
                  <a:lnTo>
                    <a:pt x="3819327" y="2018973"/>
                  </a:lnTo>
                  <a:lnTo>
                    <a:pt x="3819765" y="2017769"/>
                  </a:lnTo>
                  <a:lnTo>
                    <a:pt x="3820364" y="2016772"/>
                  </a:lnTo>
                  <a:lnTo>
                    <a:pt x="3820749" y="2017489"/>
                  </a:lnTo>
                  <a:lnTo>
                    <a:pt x="3820427" y="2018446"/>
                  </a:lnTo>
                  <a:lnTo>
                    <a:pt x="3820782" y="2019107"/>
                  </a:lnTo>
                  <a:lnTo>
                    <a:pt x="3823046" y="2017512"/>
                  </a:lnTo>
                  <a:lnTo>
                    <a:pt x="3823893" y="2017398"/>
                  </a:lnTo>
                  <a:lnTo>
                    <a:pt x="3824656" y="2017616"/>
                  </a:lnTo>
                  <a:lnTo>
                    <a:pt x="3825304" y="2017994"/>
                  </a:lnTo>
                  <a:lnTo>
                    <a:pt x="3825588" y="2018521"/>
                  </a:lnTo>
                  <a:lnTo>
                    <a:pt x="3825267" y="2019209"/>
                  </a:lnTo>
                  <a:lnTo>
                    <a:pt x="3825279" y="2020156"/>
                  </a:lnTo>
                  <a:lnTo>
                    <a:pt x="3825009" y="2023059"/>
                  </a:lnTo>
                  <a:lnTo>
                    <a:pt x="3824702" y="2023804"/>
                  </a:lnTo>
                  <a:lnTo>
                    <a:pt x="3824584" y="2024277"/>
                  </a:lnTo>
                  <a:lnTo>
                    <a:pt x="3824808" y="2025067"/>
                  </a:lnTo>
                  <a:lnTo>
                    <a:pt x="3825174" y="2025768"/>
                  </a:lnTo>
                  <a:lnTo>
                    <a:pt x="3825500" y="2026002"/>
                  </a:lnTo>
                  <a:lnTo>
                    <a:pt x="3826413" y="2025526"/>
                  </a:lnTo>
                  <a:lnTo>
                    <a:pt x="3826907" y="2025474"/>
                  </a:lnTo>
                  <a:lnTo>
                    <a:pt x="3827536" y="2025664"/>
                  </a:lnTo>
                  <a:lnTo>
                    <a:pt x="3827028" y="2028513"/>
                  </a:lnTo>
                  <a:lnTo>
                    <a:pt x="3828449" y="2027764"/>
                  </a:lnTo>
                  <a:lnTo>
                    <a:pt x="3829203" y="2027976"/>
                  </a:lnTo>
                  <a:lnTo>
                    <a:pt x="3829674" y="2029314"/>
                  </a:lnTo>
                  <a:lnTo>
                    <a:pt x="3829870" y="2030272"/>
                  </a:lnTo>
                  <a:lnTo>
                    <a:pt x="3830511" y="2032159"/>
                  </a:lnTo>
                  <a:lnTo>
                    <a:pt x="3830824" y="2033354"/>
                  </a:lnTo>
                  <a:lnTo>
                    <a:pt x="3830715" y="2035842"/>
                  </a:lnTo>
                  <a:lnTo>
                    <a:pt x="3828674" y="2038775"/>
                  </a:lnTo>
                  <a:lnTo>
                    <a:pt x="3828622" y="2040546"/>
                  </a:lnTo>
                  <a:lnTo>
                    <a:pt x="3829985" y="2041665"/>
                  </a:lnTo>
                  <a:lnTo>
                    <a:pt x="3830203" y="2043854"/>
                  </a:lnTo>
                  <a:lnTo>
                    <a:pt x="3829793" y="2047252"/>
                  </a:lnTo>
                  <a:lnTo>
                    <a:pt x="3830230" y="2049244"/>
                  </a:lnTo>
                  <a:lnTo>
                    <a:pt x="3829294" y="2050131"/>
                  </a:lnTo>
                  <a:lnTo>
                    <a:pt x="3827629" y="2049797"/>
                  </a:lnTo>
                  <a:lnTo>
                    <a:pt x="3825869" y="2048110"/>
                  </a:lnTo>
                  <a:lnTo>
                    <a:pt x="3825480" y="2049308"/>
                  </a:lnTo>
                  <a:lnTo>
                    <a:pt x="3824758" y="2050490"/>
                  </a:lnTo>
                  <a:lnTo>
                    <a:pt x="3823756" y="2050816"/>
                  </a:lnTo>
                  <a:lnTo>
                    <a:pt x="3822532" y="2049456"/>
                  </a:lnTo>
                  <a:lnTo>
                    <a:pt x="3822144" y="2047974"/>
                  </a:lnTo>
                  <a:lnTo>
                    <a:pt x="3822519" y="2046869"/>
                  </a:lnTo>
                  <a:lnTo>
                    <a:pt x="3823118" y="2045770"/>
                  </a:lnTo>
                  <a:lnTo>
                    <a:pt x="3823416" y="2044320"/>
                  </a:lnTo>
                  <a:lnTo>
                    <a:pt x="3820454" y="2044222"/>
                  </a:lnTo>
                  <a:lnTo>
                    <a:pt x="3815616" y="2046578"/>
                  </a:lnTo>
                  <a:lnTo>
                    <a:pt x="3812610" y="2045913"/>
                  </a:lnTo>
                  <a:lnTo>
                    <a:pt x="3812232" y="2045198"/>
                  </a:lnTo>
                  <a:lnTo>
                    <a:pt x="3812850" y="2045081"/>
                  </a:lnTo>
                  <a:lnTo>
                    <a:pt x="3813242" y="2044702"/>
                  </a:lnTo>
                  <a:lnTo>
                    <a:pt x="3813344" y="2044027"/>
                  </a:lnTo>
                  <a:lnTo>
                    <a:pt x="3813084" y="2043030"/>
                  </a:lnTo>
                  <a:lnTo>
                    <a:pt x="3810936" y="2044409"/>
                  </a:lnTo>
                  <a:lnTo>
                    <a:pt x="3809672" y="2044752"/>
                  </a:lnTo>
                  <a:lnTo>
                    <a:pt x="3808327" y="2044279"/>
                  </a:lnTo>
                  <a:lnTo>
                    <a:pt x="3807671" y="2043608"/>
                  </a:lnTo>
                  <a:lnTo>
                    <a:pt x="3806627" y="2042027"/>
                  </a:lnTo>
                  <a:lnTo>
                    <a:pt x="3805976" y="2041327"/>
                  </a:lnTo>
                  <a:lnTo>
                    <a:pt x="3805267" y="2041131"/>
                  </a:lnTo>
                  <a:lnTo>
                    <a:pt x="3804535" y="2041434"/>
                  </a:lnTo>
                  <a:lnTo>
                    <a:pt x="3803298" y="2042343"/>
                  </a:lnTo>
                  <a:lnTo>
                    <a:pt x="3802439" y="2042364"/>
                  </a:lnTo>
                  <a:lnTo>
                    <a:pt x="3801567" y="2041808"/>
                  </a:lnTo>
                  <a:lnTo>
                    <a:pt x="3800689" y="2041113"/>
                  </a:lnTo>
                  <a:lnTo>
                    <a:pt x="3799823" y="2040726"/>
                  </a:lnTo>
                  <a:lnTo>
                    <a:pt x="3798998" y="2040814"/>
                  </a:lnTo>
                  <a:lnTo>
                    <a:pt x="3796711" y="2041619"/>
                  </a:lnTo>
                  <a:lnTo>
                    <a:pt x="3795298" y="2041347"/>
                  </a:lnTo>
                  <a:lnTo>
                    <a:pt x="3792156" y="2040129"/>
                  </a:lnTo>
                  <a:lnTo>
                    <a:pt x="3791555" y="2040055"/>
                  </a:lnTo>
                  <a:lnTo>
                    <a:pt x="3790119" y="2039435"/>
                  </a:lnTo>
                  <a:lnTo>
                    <a:pt x="3788866" y="2039520"/>
                  </a:lnTo>
                  <a:lnTo>
                    <a:pt x="3787716" y="2039040"/>
                  </a:lnTo>
                  <a:lnTo>
                    <a:pt x="3786610" y="2036743"/>
                  </a:lnTo>
                  <a:lnTo>
                    <a:pt x="3786119" y="2034285"/>
                  </a:lnTo>
                  <a:lnTo>
                    <a:pt x="3786330" y="2032637"/>
                  </a:lnTo>
                  <a:lnTo>
                    <a:pt x="3787088" y="2031538"/>
                  </a:lnTo>
                  <a:lnTo>
                    <a:pt x="3802588" y="2018775"/>
                  </a:lnTo>
                  <a:lnTo>
                    <a:pt x="3803892" y="2018382"/>
                  </a:lnTo>
                  <a:lnTo>
                    <a:pt x="3806675" y="2018701"/>
                  </a:lnTo>
                  <a:close/>
                  <a:moveTo>
                    <a:pt x="3786909" y="1996488"/>
                  </a:moveTo>
                  <a:lnTo>
                    <a:pt x="3789704" y="1996682"/>
                  </a:lnTo>
                  <a:lnTo>
                    <a:pt x="3793532" y="1999909"/>
                  </a:lnTo>
                  <a:lnTo>
                    <a:pt x="3795669" y="2002721"/>
                  </a:lnTo>
                  <a:lnTo>
                    <a:pt x="3795749" y="2001350"/>
                  </a:lnTo>
                  <a:lnTo>
                    <a:pt x="3795442" y="1999059"/>
                  </a:lnTo>
                  <a:lnTo>
                    <a:pt x="3795409" y="1997769"/>
                  </a:lnTo>
                  <a:lnTo>
                    <a:pt x="3796846" y="1998575"/>
                  </a:lnTo>
                  <a:lnTo>
                    <a:pt x="3798321" y="2001019"/>
                  </a:lnTo>
                  <a:lnTo>
                    <a:pt x="3799630" y="2003497"/>
                  </a:lnTo>
                  <a:lnTo>
                    <a:pt x="3800566" y="2004438"/>
                  </a:lnTo>
                  <a:lnTo>
                    <a:pt x="3800949" y="2003944"/>
                  </a:lnTo>
                  <a:lnTo>
                    <a:pt x="3801381" y="2002487"/>
                  </a:lnTo>
                  <a:lnTo>
                    <a:pt x="3801833" y="2001960"/>
                  </a:lnTo>
                  <a:lnTo>
                    <a:pt x="3802571" y="2001879"/>
                  </a:lnTo>
                  <a:lnTo>
                    <a:pt x="3803234" y="2002352"/>
                  </a:lnTo>
                  <a:lnTo>
                    <a:pt x="3804688" y="2003901"/>
                  </a:lnTo>
                  <a:lnTo>
                    <a:pt x="3807549" y="2005597"/>
                  </a:lnTo>
                  <a:lnTo>
                    <a:pt x="3808295" y="2006198"/>
                  </a:lnTo>
                  <a:lnTo>
                    <a:pt x="3809162" y="2007247"/>
                  </a:lnTo>
                  <a:lnTo>
                    <a:pt x="3809229" y="2007664"/>
                  </a:lnTo>
                  <a:lnTo>
                    <a:pt x="3808937" y="2008038"/>
                  </a:lnTo>
                  <a:lnTo>
                    <a:pt x="3808461" y="2010988"/>
                  </a:lnTo>
                  <a:lnTo>
                    <a:pt x="3807600" y="2012333"/>
                  </a:lnTo>
                  <a:lnTo>
                    <a:pt x="3806332" y="2013056"/>
                  </a:lnTo>
                  <a:lnTo>
                    <a:pt x="3804828" y="2013218"/>
                  </a:lnTo>
                  <a:lnTo>
                    <a:pt x="3799348" y="2011710"/>
                  </a:lnTo>
                  <a:lnTo>
                    <a:pt x="3793609" y="2012862"/>
                  </a:lnTo>
                  <a:lnTo>
                    <a:pt x="3792782" y="2012155"/>
                  </a:lnTo>
                  <a:lnTo>
                    <a:pt x="3791988" y="2011166"/>
                  </a:lnTo>
                  <a:lnTo>
                    <a:pt x="3791016" y="2010392"/>
                  </a:lnTo>
                  <a:lnTo>
                    <a:pt x="3790287" y="2010297"/>
                  </a:lnTo>
                  <a:lnTo>
                    <a:pt x="3789138" y="2010648"/>
                  </a:lnTo>
                  <a:lnTo>
                    <a:pt x="3788224" y="2010272"/>
                  </a:lnTo>
                  <a:lnTo>
                    <a:pt x="3787646" y="2009762"/>
                  </a:lnTo>
                  <a:lnTo>
                    <a:pt x="3784187" y="2006187"/>
                  </a:lnTo>
                  <a:lnTo>
                    <a:pt x="3783268" y="2005094"/>
                  </a:lnTo>
                  <a:lnTo>
                    <a:pt x="3782688" y="2003781"/>
                  </a:lnTo>
                  <a:lnTo>
                    <a:pt x="3782382" y="2001885"/>
                  </a:lnTo>
                  <a:lnTo>
                    <a:pt x="3782624" y="2001303"/>
                  </a:lnTo>
                  <a:lnTo>
                    <a:pt x="3783205" y="2001005"/>
                  </a:lnTo>
                  <a:lnTo>
                    <a:pt x="3783617" y="2000580"/>
                  </a:lnTo>
                  <a:lnTo>
                    <a:pt x="3783394" y="1999633"/>
                  </a:lnTo>
                  <a:lnTo>
                    <a:pt x="3783022" y="1998442"/>
                  </a:lnTo>
                  <a:lnTo>
                    <a:pt x="3783255" y="1997686"/>
                  </a:lnTo>
                  <a:lnTo>
                    <a:pt x="3784319" y="1996959"/>
                  </a:lnTo>
                  <a:close/>
                  <a:moveTo>
                    <a:pt x="2582176" y="1987887"/>
                  </a:moveTo>
                  <a:lnTo>
                    <a:pt x="2582723" y="1988630"/>
                  </a:lnTo>
                  <a:lnTo>
                    <a:pt x="2582932" y="1989341"/>
                  </a:lnTo>
                  <a:lnTo>
                    <a:pt x="2584014" y="1990095"/>
                  </a:lnTo>
                  <a:lnTo>
                    <a:pt x="2584956" y="1990496"/>
                  </a:lnTo>
                  <a:lnTo>
                    <a:pt x="2584528" y="1991174"/>
                  </a:lnTo>
                  <a:lnTo>
                    <a:pt x="2583474" y="1990985"/>
                  </a:lnTo>
                  <a:lnTo>
                    <a:pt x="2582123" y="1990493"/>
                  </a:lnTo>
                  <a:lnTo>
                    <a:pt x="2580887" y="1989556"/>
                  </a:lnTo>
                  <a:lnTo>
                    <a:pt x="2580181" y="1990131"/>
                  </a:lnTo>
                  <a:lnTo>
                    <a:pt x="2579605" y="1990691"/>
                  </a:lnTo>
                  <a:lnTo>
                    <a:pt x="2578822" y="1990240"/>
                  </a:lnTo>
                  <a:lnTo>
                    <a:pt x="2578586" y="1988964"/>
                  </a:lnTo>
                  <a:lnTo>
                    <a:pt x="2578677" y="1988254"/>
                  </a:lnTo>
                  <a:lnTo>
                    <a:pt x="2579226" y="1988697"/>
                  </a:lnTo>
                  <a:lnTo>
                    <a:pt x="2579760" y="1989008"/>
                  </a:lnTo>
                  <a:lnTo>
                    <a:pt x="2580531" y="1988726"/>
                  </a:lnTo>
                  <a:lnTo>
                    <a:pt x="2581220" y="1988921"/>
                  </a:lnTo>
                  <a:close/>
                  <a:moveTo>
                    <a:pt x="3175550" y="1986322"/>
                  </a:moveTo>
                  <a:lnTo>
                    <a:pt x="3176349" y="1988253"/>
                  </a:lnTo>
                  <a:lnTo>
                    <a:pt x="3177949" y="1989734"/>
                  </a:lnTo>
                  <a:lnTo>
                    <a:pt x="3178239" y="1992493"/>
                  </a:lnTo>
                  <a:lnTo>
                    <a:pt x="3175843" y="1991466"/>
                  </a:lnTo>
                  <a:lnTo>
                    <a:pt x="3173600" y="1991160"/>
                  </a:lnTo>
                  <a:lnTo>
                    <a:pt x="3172454" y="1988292"/>
                  </a:lnTo>
                  <a:lnTo>
                    <a:pt x="3173992" y="1986458"/>
                  </a:lnTo>
                  <a:close/>
                  <a:moveTo>
                    <a:pt x="3169371" y="1985018"/>
                  </a:moveTo>
                  <a:lnTo>
                    <a:pt x="3172112" y="1986122"/>
                  </a:lnTo>
                  <a:lnTo>
                    <a:pt x="3171247" y="1988120"/>
                  </a:lnTo>
                  <a:lnTo>
                    <a:pt x="3171344" y="1990182"/>
                  </a:lnTo>
                  <a:lnTo>
                    <a:pt x="3170388" y="1990396"/>
                  </a:lnTo>
                  <a:lnTo>
                    <a:pt x="3168080" y="1988867"/>
                  </a:lnTo>
                  <a:lnTo>
                    <a:pt x="3166526" y="1988136"/>
                  </a:lnTo>
                  <a:lnTo>
                    <a:pt x="3166170" y="1986912"/>
                  </a:lnTo>
                  <a:lnTo>
                    <a:pt x="3167909" y="1986450"/>
                  </a:lnTo>
                  <a:close/>
                  <a:moveTo>
                    <a:pt x="2607796" y="1976691"/>
                  </a:moveTo>
                  <a:lnTo>
                    <a:pt x="2610148" y="1977978"/>
                  </a:lnTo>
                  <a:lnTo>
                    <a:pt x="2610829" y="1979043"/>
                  </a:lnTo>
                  <a:lnTo>
                    <a:pt x="2610079" y="1979462"/>
                  </a:lnTo>
                  <a:lnTo>
                    <a:pt x="2608642" y="1979840"/>
                  </a:lnTo>
                  <a:lnTo>
                    <a:pt x="2606981" y="1980241"/>
                  </a:lnTo>
                  <a:lnTo>
                    <a:pt x="2605699" y="1979411"/>
                  </a:lnTo>
                  <a:lnTo>
                    <a:pt x="2605379" y="1978535"/>
                  </a:lnTo>
                  <a:lnTo>
                    <a:pt x="2605283" y="1977636"/>
                  </a:lnTo>
                  <a:lnTo>
                    <a:pt x="2606895" y="1977297"/>
                  </a:lnTo>
                  <a:close/>
                  <a:moveTo>
                    <a:pt x="3374390" y="1975753"/>
                  </a:moveTo>
                  <a:lnTo>
                    <a:pt x="3375854" y="1976028"/>
                  </a:lnTo>
                  <a:lnTo>
                    <a:pt x="3377220" y="1977556"/>
                  </a:lnTo>
                  <a:lnTo>
                    <a:pt x="3377207" y="1979017"/>
                  </a:lnTo>
                  <a:lnTo>
                    <a:pt x="3376456" y="1979720"/>
                  </a:lnTo>
                  <a:lnTo>
                    <a:pt x="3375616" y="1978975"/>
                  </a:lnTo>
                  <a:lnTo>
                    <a:pt x="3374558" y="1977842"/>
                  </a:lnTo>
                  <a:lnTo>
                    <a:pt x="3373352" y="1978323"/>
                  </a:lnTo>
                  <a:lnTo>
                    <a:pt x="3372316" y="1979625"/>
                  </a:lnTo>
                  <a:lnTo>
                    <a:pt x="3371766" y="1980947"/>
                  </a:lnTo>
                  <a:lnTo>
                    <a:pt x="3372472" y="1981165"/>
                  </a:lnTo>
                  <a:lnTo>
                    <a:pt x="3373767" y="1981211"/>
                  </a:lnTo>
                  <a:lnTo>
                    <a:pt x="3374461" y="1981419"/>
                  </a:lnTo>
                  <a:lnTo>
                    <a:pt x="3372631" y="1984255"/>
                  </a:lnTo>
                  <a:lnTo>
                    <a:pt x="3371290" y="1984817"/>
                  </a:lnTo>
                  <a:lnTo>
                    <a:pt x="3368030" y="1983087"/>
                  </a:lnTo>
                  <a:lnTo>
                    <a:pt x="3366512" y="1983688"/>
                  </a:lnTo>
                  <a:lnTo>
                    <a:pt x="3363706" y="1985684"/>
                  </a:lnTo>
                  <a:lnTo>
                    <a:pt x="3363432" y="1984986"/>
                  </a:lnTo>
                  <a:close/>
                  <a:moveTo>
                    <a:pt x="3319544" y="1935237"/>
                  </a:moveTo>
                  <a:lnTo>
                    <a:pt x="3319786" y="1935865"/>
                  </a:lnTo>
                  <a:lnTo>
                    <a:pt x="3319557" y="1935906"/>
                  </a:lnTo>
                  <a:lnTo>
                    <a:pt x="3319574" y="1936090"/>
                  </a:lnTo>
                  <a:lnTo>
                    <a:pt x="3319687" y="1936362"/>
                  </a:lnTo>
                  <a:lnTo>
                    <a:pt x="3319757" y="1936689"/>
                  </a:lnTo>
                  <a:lnTo>
                    <a:pt x="3319723" y="1937577"/>
                  </a:lnTo>
                  <a:lnTo>
                    <a:pt x="3321152" y="1937900"/>
                  </a:lnTo>
                  <a:lnTo>
                    <a:pt x="3323403" y="1936828"/>
                  </a:lnTo>
                  <a:lnTo>
                    <a:pt x="3324802" y="1937214"/>
                  </a:lnTo>
                  <a:lnTo>
                    <a:pt x="3324201" y="1938485"/>
                  </a:lnTo>
                  <a:lnTo>
                    <a:pt x="3323387" y="1939560"/>
                  </a:lnTo>
                  <a:lnTo>
                    <a:pt x="3321393" y="1940932"/>
                  </a:lnTo>
                  <a:lnTo>
                    <a:pt x="3321667" y="1941228"/>
                  </a:lnTo>
                  <a:lnTo>
                    <a:pt x="3321914" y="1941544"/>
                  </a:lnTo>
                  <a:lnTo>
                    <a:pt x="3322185" y="1941845"/>
                  </a:lnTo>
                  <a:lnTo>
                    <a:pt x="3322536" y="1942096"/>
                  </a:lnTo>
                  <a:lnTo>
                    <a:pt x="3322418" y="1944569"/>
                  </a:lnTo>
                  <a:lnTo>
                    <a:pt x="3322067" y="1945097"/>
                  </a:lnTo>
                  <a:lnTo>
                    <a:pt x="3321248" y="1944600"/>
                  </a:lnTo>
                  <a:lnTo>
                    <a:pt x="3320436" y="1944297"/>
                  </a:lnTo>
                  <a:lnTo>
                    <a:pt x="3319744" y="1944821"/>
                  </a:lnTo>
                  <a:lnTo>
                    <a:pt x="3319117" y="1945607"/>
                  </a:lnTo>
                  <a:lnTo>
                    <a:pt x="3318489" y="1946063"/>
                  </a:lnTo>
                  <a:lnTo>
                    <a:pt x="3318221" y="1945364"/>
                  </a:lnTo>
                  <a:lnTo>
                    <a:pt x="3318637" y="1945156"/>
                  </a:lnTo>
                  <a:lnTo>
                    <a:pt x="3318855" y="1944795"/>
                  </a:lnTo>
                  <a:lnTo>
                    <a:pt x="3318925" y="1944262"/>
                  </a:lnTo>
                  <a:lnTo>
                    <a:pt x="3318892" y="1943501"/>
                  </a:lnTo>
                  <a:lnTo>
                    <a:pt x="3318144" y="1943745"/>
                  </a:lnTo>
                  <a:lnTo>
                    <a:pt x="3316419" y="1945253"/>
                  </a:lnTo>
                  <a:lnTo>
                    <a:pt x="3316197" y="1943523"/>
                  </a:lnTo>
                  <a:lnTo>
                    <a:pt x="3316215" y="1942925"/>
                  </a:lnTo>
                  <a:lnTo>
                    <a:pt x="3315570" y="1941897"/>
                  </a:lnTo>
                  <a:lnTo>
                    <a:pt x="3316329" y="1941577"/>
                  </a:lnTo>
                  <a:lnTo>
                    <a:pt x="3318411" y="1941354"/>
                  </a:lnTo>
                  <a:lnTo>
                    <a:pt x="3318755" y="1940124"/>
                  </a:lnTo>
                  <a:lnTo>
                    <a:pt x="3318362" y="1938746"/>
                  </a:lnTo>
                  <a:lnTo>
                    <a:pt x="3317510" y="1937623"/>
                  </a:lnTo>
                  <a:lnTo>
                    <a:pt x="3316451" y="1937150"/>
                  </a:lnTo>
                  <a:lnTo>
                    <a:pt x="3316210" y="1936522"/>
                  </a:lnTo>
                  <a:close/>
                  <a:moveTo>
                    <a:pt x="3586735" y="1935047"/>
                  </a:moveTo>
                  <a:lnTo>
                    <a:pt x="3592904" y="1938138"/>
                  </a:lnTo>
                  <a:lnTo>
                    <a:pt x="3594719" y="1940948"/>
                  </a:lnTo>
                  <a:lnTo>
                    <a:pt x="3589974" y="1939811"/>
                  </a:lnTo>
                  <a:lnTo>
                    <a:pt x="3585908" y="1938147"/>
                  </a:lnTo>
                  <a:lnTo>
                    <a:pt x="3583437" y="1936158"/>
                  </a:lnTo>
                  <a:close/>
                  <a:moveTo>
                    <a:pt x="3672780" y="1934109"/>
                  </a:moveTo>
                  <a:lnTo>
                    <a:pt x="3679978" y="1934827"/>
                  </a:lnTo>
                  <a:lnTo>
                    <a:pt x="3684507" y="1935536"/>
                  </a:lnTo>
                  <a:lnTo>
                    <a:pt x="3686467" y="1937126"/>
                  </a:lnTo>
                  <a:lnTo>
                    <a:pt x="3683542" y="1938797"/>
                  </a:lnTo>
                  <a:lnTo>
                    <a:pt x="3678394" y="1937855"/>
                  </a:lnTo>
                  <a:lnTo>
                    <a:pt x="3673275" y="1935858"/>
                  </a:lnTo>
                  <a:close/>
                  <a:moveTo>
                    <a:pt x="3586805" y="1929174"/>
                  </a:moveTo>
                  <a:lnTo>
                    <a:pt x="3590738" y="1929651"/>
                  </a:lnTo>
                  <a:lnTo>
                    <a:pt x="3597990" y="1934428"/>
                  </a:lnTo>
                  <a:lnTo>
                    <a:pt x="3601671" y="1937938"/>
                  </a:lnTo>
                  <a:lnTo>
                    <a:pt x="3597483" y="1936439"/>
                  </a:lnTo>
                  <a:lnTo>
                    <a:pt x="3591832" y="1932691"/>
                  </a:lnTo>
                  <a:close/>
                  <a:moveTo>
                    <a:pt x="3645827" y="1927880"/>
                  </a:moveTo>
                  <a:lnTo>
                    <a:pt x="3650262" y="1929051"/>
                  </a:lnTo>
                  <a:lnTo>
                    <a:pt x="3659302" y="1934225"/>
                  </a:lnTo>
                  <a:lnTo>
                    <a:pt x="3662928" y="1937435"/>
                  </a:lnTo>
                  <a:lnTo>
                    <a:pt x="3662904" y="1939841"/>
                  </a:lnTo>
                  <a:lnTo>
                    <a:pt x="3659740" y="1938082"/>
                  </a:lnTo>
                  <a:lnTo>
                    <a:pt x="3655730" y="1936716"/>
                  </a:lnTo>
                  <a:lnTo>
                    <a:pt x="3649692" y="1933168"/>
                  </a:lnTo>
                  <a:lnTo>
                    <a:pt x="3644993" y="1930976"/>
                  </a:lnTo>
                  <a:lnTo>
                    <a:pt x="3642120" y="1929185"/>
                  </a:lnTo>
                  <a:close/>
                  <a:moveTo>
                    <a:pt x="3761408" y="1927453"/>
                  </a:moveTo>
                  <a:lnTo>
                    <a:pt x="3763134" y="1927905"/>
                  </a:lnTo>
                  <a:lnTo>
                    <a:pt x="3765935" y="1928084"/>
                  </a:lnTo>
                  <a:lnTo>
                    <a:pt x="3765699" y="1930589"/>
                  </a:lnTo>
                  <a:lnTo>
                    <a:pt x="3765354" y="1931594"/>
                  </a:lnTo>
                  <a:lnTo>
                    <a:pt x="3764700" y="1932262"/>
                  </a:lnTo>
                  <a:lnTo>
                    <a:pt x="3763751" y="1932628"/>
                  </a:lnTo>
                  <a:lnTo>
                    <a:pt x="3763346" y="1932956"/>
                  </a:lnTo>
                  <a:lnTo>
                    <a:pt x="3763220" y="1933498"/>
                  </a:lnTo>
                  <a:lnTo>
                    <a:pt x="3763205" y="1934846"/>
                  </a:lnTo>
                  <a:lnTo>
                    <a:pt x="3763099" y="1935465"/>
                  </a:lnTo>
                  <a:lnTo>
                    <a:pt x="3762919" y="1935797"/>
                  </a:lnTo>
                  <a:lnTo>
                    <a:pt x="3758811" y="1938145"/>
                  </a:lnTo>
                  <a:lnTo>
                    <a:pt x="3756198" y="1938852"/>
                  </a:lnTo>
                  <a:lnTo>
                    <a:pt x="3754195" y="1937979"/>
                  </a:lnTo>
                  <a:lnTo>
                    <a:pt x="3756492" y="1936078"/>
                  </a:lnTo>
                  <a:lnTo>
                    <a:pt x="3756794" y="1935252"/>
                  </a:lnTo>
                  <a:lnTo>
                    <a:pt x="3756728" y="1934087"/>
                  </a:lnTo>
                  <a:lnTo>
                    <a:pt x="3756762" y="1933020"/>
                  </a:lnTo>
                  <a:lnTo>
                    <a:pt x="3756904" y="1932058"/>
                  </a:lnTo>
                  <a:lnTo>
                    <a:pt x="3757155" y="1931168"/>
                  </a:lnTo>
                  <a:lnTo>
                    <a:pt x="3758065" y="1929679"/>
                  </a:lnTo>
                  <a:lnTo>
                    <a:pt x="3759598" y="1928238"/>
                  </a:lnTo>
                  <a:close/>
                  <a:moveTo>
                    <a:pt x="3787404" y="1922013"/>
                  </a:moveTo>
                  <a:lnTo>
                    <a:pt x="3788890" y="1922251"/>
                  </a:lnTo>
                  <a:lnTo>
                    <a:pt x="3789045" y="1923050"/>
                  </a:lnTo>
                  <a:lnTo>
                    <a:pt x="3789583" y="1923585"/>
                  </a:lnTo>
                  <a:lnTo>
                    <a:pt x="3790280" y="1923851"/>
                  </a:lnTo>
                  <a:lnTo>
                    <a:pt x="3790928" y="1923848"/>
                  </a:lnTo>
                  <a:lnTo>
                    <a:pt x="3791255" y="1924444"/>
                  </a:lnTo>
                  <a:lnTo>
                    <a:pt x="3786556" y="1928790"/>
                  </a:lnTo>
                  <a:lnTo>
                    <a:pt x="3786946" y="1929504"/>
                  </a:lnTo>
                  <a:lnTo>
                    <a:pt x="3788172" y="1929529"/>
                  </a:lnTo>
                  <a:lnTo>
                    <a:pt x="3790340" y="1928701"/>
                  </a:lnTo>
                  <a:lnTo>
                    <a:pt x="3791572" y="1928645"/>
                  </a:lnTo>
                  <a:lnTo>
                    <a:pt x="3791301" y="1931345"/>
                  </a:lnTo>
                  <a:lnTo>
                    <a:pt x="3790837" y="1932550"/>
                  </a:lnTo>
                  <a:lnTo>
                    <a:pt x="3789962" y="1932504"/>
                  </a:lnTo>
                  <a:lnTo>
                    <a:pt x="3789347" y="1932309"/>
                  </a:lnTo>
                  <a:lnTo>
                    <a:pt x="3788558" y="1932394"/>
                  </a:lnTo>
                  <a:lnTo>
                    <a:pt x="3787932" y="1932711"/>
                  </a:lnTo>
                  <a:lnTo>
                    <a:pt x="3787813" y="1933238"/>
                  </a:lnTo>
                  <a:lnTo>
                    <a:pt x="3788303" y="1933682"/>
                  </a:lnTo>
                  <a:lnTo>
                    <a:pt x="3790767" y="1935024"/>
                  </a:lnTo>
                  <a:lnTo>
                    <a:pt x="3789939" y="1938297"/>
                  </a:lnTo>
                  <a:lnTo>
                    <a:pt x="3789186" y="1939823"/>
                  </a:lnTo>
                  <a:lnTo>
                    <a:pt x="3788235" y="1940794"/>
                  </a:lnTo>
                  <a:lnTo>
                    <a:pt x="3788054" y="1941140"/>
                  </a:lnTo>
                  <a:lnTo>
                    <a:pt x="3787966" y="1942292"/>
                  </a:lnTo>
                  <a:lnTo>
                    <a:pt x="3787830" y="1942659"/>
                  </a:lnTo>
                  <a:lnTo>
                    <a:pt x="3787332" y="1942873"/>
                  </a:lnTo>
                  <a:lnTo>
                    <a:pt x="3786207" y="1942851"/>
                  </a:lnTo>
                  <a:lnTo>
                    <a:pt x="3784644" y="1943290"/>
                  </a:lnTo>
                  <a:lnTo>
                    <a:pt x="3782400" y="1943357"/>
                  </a:lnTo>
                  <a:lnTo>
                    <a:pt x="3778405" y="1944942"/>
                  </a:lnTo>
                  <a:lnTo>
                    <a:pt x="3770776" y="1945801"/>
                  </a:lnTo>
                  <a:lnTo>
                    <a:pt x="3768668" y="1944965"/>
                  </a:lnTo>
                  <a:lnTo>
                    <a:pt x="3767836" y="1942440"/>
                  </a:lnTo>
                  <a:lnTo>
                    <a:pt x="3766954" y="1942294"/>
                  </a:lnTo>
                  <a:lnTo>
                    <a:pt x="3766643" y="1942387"/>
                  </a:lnTo>
                  <a:lnTo>
                    <a:pt x="3766743" y="1939262"/>
                  </a:lnTo>
                  <a:lnTo>
                    <a:pt x="3768377" y="1937452"/>
                  </a:lnTo>
                  <a:lnTo>
                    <a:pt x="3772712" y="1935566"/>
                  </a:lnTo>
                  <a:lnTo>
                    <a:pt x="3771555" y="1934895"/>
                  </a:lnTo>
                  <a:lnTo>
                    <a:pt x="3768960" y="1934880"/>
                  </a:lnTo>
                  <a:lnTo>
                    <a:pt x="3767584" y="1934022"/>
                  </a:lnTo>
                  <a:lnTo>
                    <a:pt x="3767243" y="1930631"/>
                  </a:lnTo>
                  <a:lnTo>
                    <a:pt x="3768359" y="1928458"/>
                  </a:lnTo>
                  <a:lnTo>
                    <a:pt x="3770394" y="1927519"/>
                  </a:lnTo>
                  <a:lnTo>
                    <a:pt x="3772796" y="1927820"/>
                  </a:lnTo>
                  <a:lnTo>
                    <a:pt x="3774728" y="1929022"/>
                  </a:lnTo>
                  <a:lnTo>
                    <a:pt x="3775222" y="1929052"/>
                  </a:lnTo>
                  <a:lnTo>
                    <a:pt x="3775488" y="1928634"/>
                  </a:lnTo>
                  <a:lnTo>
                    <a:pt x="3775840" y="1927260"/>
                  </a:lnTo>
                  <a:lnTo>
                    <a:pt x="3776152" y="1926827"/>
                  </a:lnTo>
                  <a:lnTo>
                    <a:pt x="3780668" y="1925112"/>
                  </a:lnTo>
                  <a:lnTo>
                    <a:pt x="3779703" y="1923305"/>
                  </a:lnTo>
                  <a:lnTo>
                    <a:pt x="3780759" y="1922531"/>
                  </a:lnTo>
                  <a:lnTo>
                    <a:pt x="3784239" y="1922348"/>
                  </a:lnTo>
                  <a:lnTo>
                    <a:pt x="3785176" y="1924421"/>
                  </a:lnTo>
                  <a:close/>
                  <a:moveTo>
                    <a:pt x="3588151" y="1917594"/>
                  </a:moveTo>
                  <a:lnTo>
                    <a:pt x="3591201" y="1918168"/>
                  </a:lnTo>
                  <a:lnTo>
                    <a:pt x="3596063" y="1921555"/>
                  </a:lnTo>
                  <a:lnTo>
                    <a:pt x="3597316" y="1923375"/>
                  </a:lnTo>
                  <a:lnTo>
                    <a:pt x="3600178" y="1926224"/>
                  </a:lnTo>
                  <a:lnTo>
                    <a:pt x="3598056" y="1927205"/>
                  </a:lnTo>
                  <a:lnTo>
                    <a:pt x="3593785" y="1923756"/>
                  </a:lnTo>
                  <a:lnTo>
                    <a:pt x="3590099" y="1920243"/>
                  </a:lnTo>
                  <a:close/>
                  <a:moveTo>
                    <a:pt x="2730912" y="1909347"/>
                  </a:moveTo>
                  <a:lnTo>
                    <a:pt x="2732820" y="1913826"/>
                  </a:lnTo>
                  <a:lnTo>
                    <a:pt x="2731922" y="1916387"/>
                  </a:lnTo>
                  <a:lnTo>
                    <a:pt x="2731712" y="1918683"/>
                  </a:lnTo>
                  <a:lnTo>
                    <a:pt x="2732819" y="1920518"/>
                  </a:lnTo>
                  <a:lnTo>
                    <a:pt x="2733316" y="1923059"/>
                  </a:lnTo>
                  <a:lnTo>
                    <a:pt x="2734741" y="1923133"/>
                  </a:lnTo>
                  <a:lnTo>
                    <a:pt x="2735931" y="1921967"/>
                  </a:lnTo>
                  <a:lnTo>
                    <a:pt x="2736257" y="1921024"/>
                  </a:lnTo>
                  <a:lnTo>
                    <a:pt x="2736669" y="1918783"/>
                  </a:lnTo>
                  <a:lnTo>
                    <a:pt x="2737050" y="1917911"/>
                  </a:lnTo>
                  <a:lnTo>
                    <a:pt x="2737694" y="1917506"/>
                  </a:lnTo>
                  <a:lnTo>
                    <a:pt x="2739686" y="1917367"/>
                  </a:lnTo>
                  <a:lnTo>
                    <a:pt x="2745695" y="1919414"/>
                  </a:lnTo>
                  <a:lnTo>
                    <a:pt x="2747379" y="1921341"/>
                  </a:lnTo>
                  <a:lnTo>
                    <a:pt x="2747967" y="1922605"/>
                  </a:lnTo>
                  <a:lnTo>
                    <a:pt x="2747985" y="1923190"/>
                  </a:lnTo>
                  <a:lnTo>
                    <a:pt x="2747837" y="1923587"/>
                  </a:lnTo>
                  <a:lnTo>
                    <a:pt x="2747937" y="1924337"/>
                  </a:lnTo>
                  <a:lnTo>
                    <a:pt x="2748413" y="1925202"/>
                  </a:lnTo>
                  <a:lnTo>
                    <a:pt x="2749002" y="1926083"/>
                  </a:lnTo>
                  <a:lnTo>
                    <a:pt x="2749271" y="1926810"/>
                  </a:lnTo>
                  <a:lnTo>
                    <a:pt x="2748769" y="1927210"/>
                  </a:lnTo>
                  <a:lnTo>
                    <a:pt x="2748102" y="1928182"/>
                  </a:lnTo>
                  <a:lnTo>
                    <a:pt x="2749168" y="1929901"/>
                  </a:lnTo>
                  <a:lnTo>
                    <a:pt x="2754502" y="1935503"/>
                  </a:lnTo>
                  <a:lnTo>
                    <a:pt x="2755768" y="1937446"/>
                  </a:lnTo>
                  <a:lnTo>
                    <a:pt x="2756163" y="1939143"/>
                  </a:lnTo>
                  <a:lnTo>
                    <a:pt x="2755367" y="1941632"/>
                  </a:lnTo>
                  <a:lnTo>
                    <a:pt x="2754197" y="1943167"/>
                  </a:lnTo>
                  <a:lnTo>
                    <a:pt x="2748557" y="1947094"/>
                  </a:lnTo>
                  <a:lnTo>
                    <a:pt x="2746875" y="1946858"/>
                  </a:lnTo>
                  <a:lnTo>
                    <a:pt x="2746270" y="1947324"/>
                  </a:lnTo>
                  <a:lnTo>
                    <a:pt x="2745905" y="1949093"/>
                  </a:lnTo>
                  <a:lnTo>
                    <a:pt x="2749040" y="1952280"/>
                  </a:lnTo>
                  <a:lnTo>
                    <a:pt x="2750697" y="1953558"/>
                  </a:lnTo>
                  <a:lnTo>
                    <a:pt x="2753919" y="1954110"/>
                  </a:lnTo>
                  <a:lnTo>
                    <a:pt x="2758259" y="1956278"/>
                  </a:lnTo>
                  <a:lnTo>
                    <a:pt x="2761434" y="1959122"/>
                  </a:lnTo>
                  <a:lnTo>
                    <a:pt x="2762157" y="1960068"/>
                  </a:lnTo>
                  <a:lnTo>
                    <a:pt x="2762677" y="1961096"/>
                  </a:lnTo>
                  <a:lnTo>
                    <a:pt x="2762833" y="1962080"/>
                  </a:lnTo>
                  <a:lnTo>
                    <a:pt x="2763035" y="1965649"/>
                  </a:lnTo>
                  <a:lnTo>
                    <a:pt x="2762934" y="1966973"/>
                  </a:lnTo>
                  <a:lnTo>
                    <a:pt x="2764322" y="1969593"/>
                  </a:lnTo>
                  <a:lnTo>
                    <a:pt x="2768640" y="1975674"/>
                  </a:lnTo>
                  <a:lnTo>
                    <a:pt x="2769110" y="1976717"/>
                  </a:lnTo>
                  <a:lnTo>
                    <a:pt x="2769296" y="1978002"/>
                  </a:lnTo>
                  <a:lnTo>
                    <a:pt x="2769338" y="1979468"/>
                  </a:lnTo>
                  <a:lnTo>
                    <a:pt x="2769553" y="1980625"/>
                  </a:lnTo>
                  <a:lnTo>
                    <a:pt x="2770247" y="1980983"/>
                  </a:lnTo>
                  <a:lnTo>
                    <a:pt x="2773413" y="1980419"/>
                  </a:lnTo>
                  <a:lnTo>
                    <a:pt x="2774725" y="1979325"/>
                  </a:lnTo>
                  <a:lnTo>
                    <a:pt x="2775526" y="1976949"/>
                  </a:lnTo>
                  <a:lnTo>
                    <a:pt x="2775604" y="1975880"/>
                  </a:lnTo>
                  <a:lnTo>
                    <a:pt x="2775603" y="1972389"/>
                  </a:lnTo>
                  <a:lnTo>
                    <a:pt x="2775738" y="1971911"/>
                  </a:lnTo>
                  <a:lnTo>
                    <a:pt x="2776177" y="1971312"/>
                  </a:lnTo>
                  <a:lnTo>
                    <a:pt x="2776235" y="1970749"/>
                  </a:lnTo>
                  <a:lnTo>
                    <a:pt x="2776102" y="1969960"/>
                  </a:lnTo>
                  <a:lnTo>
                    <a:pt x="2775903" y="1969582"/>
                  </a:lnTo>
                  <a:lnTo>
                    <a:pt x="2775700" y="1969349"/>
                  </a:lnTo>
                  <a:lnTo>
                    <a:pt x="2775556" y="1969015"/>
                  </a:lnTo>
                  <a:lnTo>
                    <a:pt x="2775185" y="1966566"/>
                  </a:lnTo>
                  <a:lnTo>
                    <a:pt x="2775187" y="1964748"/>
                  </a:lnTo>
                  <a:lnTo>
                    <a:pt x="2775540" y="1963011"/>
                  </a:lnTo>
                  <a:lnTo>
                    <a:pt x="2776215" y="1960820"/>
                  </a:lnTo>
                  <a:lnTo>
                    <a:pt x="2777510" y="1954637"/>
                  </a:lnTo>
                  <a:lnTo>
                    <a:pt x="2778513" y="1953032"/>
                  </a:lnTo>
                  <a:lnTo>
                    <a:pt x="2778802" y="1951772"/>
                  </a:lnTo>
                  <a:lnTo>
                    <a:pt x="2779180" y="1949238"/>
                  </a:lnTo>
                  <a:lnTo>
                    <a:pt x="2779780" y="1948534"/>
                  </a:lnTo>
                  <a:lnTo>
                    <a:pt x="2780861" y="1948714"/>
                  </a:lnTo>
                  <a:lnTo>
                    <a:pt x="2782897" y="1949659"/>
                  </a:lnTo>
                  <a:lnTo>
                    <a:pt x="2785995" y="1950340"/>
                  </a:lnTo>
                  <a:lnTo>
                    <a:pt x="2787284" y="1951483"/>
                  </a:lnTo>
                  <a:lnTo>
                    <a:pt x="2787344" y="1953763"/>
                  </a:lnTo>
                  <a:lnTo>
                    <a:pt x="2787209" y="1954884"/>
                  </a:lnTo>
                  <a:lnTo>
                    <a:pt x="2787511" y="1955395"/>
                  </a:lnTo>
                  <a:lnTo>
                    <a:pt x="2788088" y="1955509"/>
                  </a:lnTo>
                  <a:lnTo>
                    <a:pt x="2788777" y="1955415"/>
                  </a:lnTo>
                  <a:lnTo>
                    <a:pt x="2789255" y="1955742"/>
                  </a:lnTo>
                  <a:lnTo>
                    <a:pt x="2790812" y="1957402"/>
                  </a:lnTo>
                  <a:lnTo>
                    <a:pt x="2791487" y="1957858"/>
                  </a:lnTo>
                  <a:lnTo>
                    <a:pt x="2794686" y="1958056"/>
                  </a:lnTo>
                  <a:lnTo>
                    <a:pt x="2798551" y="1959912"/>
                  </a:lnTo>
                  <a:lnTo>
                    <a:pt x="2801378" y="1960136"/>
                  </a:lnTo>
                  <a:lnTo>
                    <a:pt x="2801940" y="1960795"/>
                  </a:lnTo>
                  <a:lnTo>
                    <a:pt x="2802044" y="1961648"/>
                  </a:lnTo>
                  <a:lnTo>
                    <a:pt x="2801909" y="1961951"/>
                  </a:lnTo>
                  <a:lnTo>
                    <a:pt x="2801637" y="1962097"/>
                  </a:lnTo>
                  <a:lnTo>
                    <a:pt x="2801312" y="1962474"/>
                  </a:lnTo>
                  <a:lnTo>
                    <a:pt x="2801090" y="1963094"/>
                  </a:lnTo>
                  <a:lnTo>
                    <a:pt x="2801081" y="1963554"/>
                  </a:lnTo>
                  <a:lnTo>
                    <a:pt x="2801126" y="1963966"/>
                  </a:lnTo>
                  <a:lnTo>
                    <a:pt x="2801066" y="1964454"/>
                  </a:lnTo>
                  <a:lnTo>
                    <a:pt x="2799729" y="1967085"/>
                  </a:lnTo>
                  <a:lnTo>
                    <a:pt x="2799505" y="1967742"/>
                  </a:lnTo>
                  <a:lnTo>
                    <a:pt x="2799951" y="1969257"/>
                  </a:lnTo>
                  <a:lnTo>
                    <a:pt x="2800813" y="1969955"/>
                  </a:lnTo>
                  <a:lnTo>
                    <a:pt x="2802625" y="1970609"/>
                  </a:lnTo>
                  <a:lnTo>
                    <a:pt x="2807110" y="1974297"/>
                  </a:lnTo>
                  <a:lnTo>
                    <a:pt x="2808641" y="1975036"/>
                  </a:lnTo>
                  <a:lnTo>
                    <a:pt x="2809716" y="1975091"/>
                  </a:lnTo>
                  <a:lnTo>
                    <a:pt x="2812950" y="1974164"/>
                  </a:lnTo>
                  <a:lnTo>
                    <a:pt x="2817396" y="1974089"/>
                  </a:lnTo>
                  <a:lnTo>
                    <a:pt x="2815873" y="1975992"/>
                  </a:lnTo>
                  <a:lnTo>
                    <a:pt x="2816812" y="1976757"/>
                  </a:lnTo>
                  <a:lnTo>
                    <a:pt x="2817754" y="1977046"/>
                  </a:lnTo>
                  <a:lnTo>
                    <a:pt x="2819531" y="1976700"/>
                  </a:lnTo>
                  <a:lnTo>
                    <a:pt x="2822234" y="1974483"/>
                  </a:lnTo>
                  <a:lnTo>
                    <a:pt x="2824875" y="1975857"/>
                  </a:lnTo>
                  <a:lnTo>
                    <a:pt x="2832885" y="1974273"/>
                  </a:lnTo>
                  <a:lnTo>
                    <a:pt x="2836640" y="1975063"/>
                  </a:lnTo>
                  <a:lnTo>
                    <a:pt x="2838570" y="1975009"/>
                  </a:lnTo>
                  <a:lnTo>
                    <a:pt x="2840133" y="1975605"/>
                  </a:lnTo>
                  <a:lnTo>
                    <a:pt x="2841484" y="1977508"/>
                  </a:lnTo>
                  <a:lnTo>
                    <a:pt x="2842810" y="1979789"/>
                  </a:lnTo>
                  <a:lnTo>
                    <a:pt x="2844300" y="1981489"/>
                  </a:lnTo>
                  <a:lnTo>
                    <a:pt x="2845044" y="1985820"/>
                  </a:lnTo>
                  <a:lnTo>
                    <a:pt x="2847152" y="1988379"/>
                  </a:lnTo>
                  <a:lnTo>
                    <a:pt x="2851856" y="1991720"/>
                  </a:lnTo>
                  <a:lnTo>
                    <a:pt x="2852375" y="1992618"/>
                  </a:lnTo>
                  <a:lnTo>
                    <a:pt x="2852669" y="1993423"/>
                  </a:lnTo>
                  <a:lnTo>
                    <a:pt x="2852998" y="1993957"/>
                  </a:lnTo>
                  <a:lnTo>
                    <a:pt x="2857750" y="1994308"/>
                  </a:lnTo>
                  <a:lnTo>
                    <a:pt x="2860765" y="1995463"/>
                  </a:lnTo>
                  <a:lnTo>
                    <a:pt x="2862436" y="1995188"/>
                  </a:lnTo>
                  <a:lnTo>
                    <a:pt x="2863083" y="1995293"/>
                  </a:lnTo>
                  <a:lnTo>
                    <a:pt x="2863636" y="1995727"/>
                  </a:lnTo>
                  <a:lnTo>
                    <a:pt x="2864810" y="1996890"/>
                  </a:lnTo>
                  <a:lnTo>
                    <a:pt x="2865694" y="1997474"/>
                  </a:lnTo>
                  <a:lnTo>
                    <a:pt x="2866393" y="1997744"/>
                  </a:lnTo>
                  <a:lnTo>
                    <a:pt x="2869241" y="1998018"/>
                  </a:lnTo>
                  <a:lnTo>
                    <a:pt x="2870328" y="1998639"/>
                  </a:lnTo>
                  <a:lnTo>
                    <a:pt x="2871320" y="1999648"/>
                  </a:lnTo>
                  <a:lnTo>
                    <a:pt x="2874862" y="2004245"/>
                  </a:lnTo>
                  <a:lnTo>
                    <a:pt x="2876143" y="2005422"/>
                  </a:lnTo>
                  <a:lnTo>
                    <a:pt x="2877633" y="2006347"/>
                  </a:lnTo>
                  <a:lnTo>
                    <a:pt x="2879252" y="2006843"/>
                  </a:lnTo>
                  <a:lnTo>
                    <a:pt x="2883378" y="2005895"/>
                  </a:lnTo>
                  <a:lnTo>
                    <a:pt x="2884494" y="2006359"/>
                  </a:lnTo>
                  <a:lnTo>
                    <a:pt x="2887518" y="2008676"/>
                  </a:lnTo>
                  <a:lnTo>
                    <a:pt x="2888159" y="2008986"/>
                  </a:lnTo>
                  <a:lnTo>
                    <a:pt x="2888471" y="2008469"/>
                  </a:lnTo>
                  <a:lnTo>
                    <a:pt x="2890841" y="2007079"/>
                  </a:lnTo>
                  <a:lnTo>
                    <a:pt x="2892703" y="2005314"/>
                  </a:lnTo>
                  <a:lnTo>
                    <a:pt x="2893969" y="2004751"/>
                  </a:lnTo>
                  <a:lnTo>
                    <a:pt x="2895348" y="2004654"/>
                  </a:lnTo>
                  <a:lnTo>
                    <a:pt x="2896830" y="2005040"/>
                  </a:lnTo>
                  <a:lnTo>
                    <a:pt x="2898397" y="2005884"/>
                  </a:lnTo>
                  <a:lnTo>
                    <a:pt x="2900338" y="2007873"/>
                  </a:lnTo>
                  <a:lnTo>
                    <a:pt x="2900868" y="2008107"/>
                  </a:lnTo>
                  <a:lnTo>
                    <a:pt x="2903052" y="2007876"/>
                  </a:lnTo>
                  <a:lnTo>
                    <a:pt x="2903833" y="2008115"/>
                  </a:lnTo>
                  <a:lnTo>
                    <a:pt x="2903812" y="2010465"/>
                  </a:lnTo>
                  <a:lnTo>
                    <a:pt x="2903963" y="2011279"/>
                  </a:lnTo>
                  <a:lnTo>
                    <a:pt x="2908257" y="2010190"/>
                  </a:lnTo>
                  <a:lnTo>
                    <a:pt x="2909471" y="2010455"/>
                  </a:lnTo>
                  <a:lnTo>
                    <a:pt x="2910678" y="2011497"/>
                  </a:lnTo>
                  <a:lnTo>
                    <a:pt x="2911050" y="2012068"/>
                  </a:lnTo>
                  <a:lnTo>
                    <a:pt x="2911737" y="2013377"/>
                  </a:lnTo>
                  <a:lnTo>
                    <a:pt x="2912039" y="2013864"/>
                  </a:lnTo>
                  <a:lnTo>
                    <a:pt x="2924665" y="2023988"/>
                  </a:lnTo>
                  <a:lnTo>
                    <a:pt x="2925713" y="2024054"/>
                  </a:lnTo>
                  <a:lnTo>
                    <a:pt x="2927265" y="2024567"/>
                  </a:lnTo>
                  <a:lnTo>
                    <a:pt x="2928770" y="2025561"/>
                  </a:lnTo>
                  <a:lnTo>
                    <a:pt x="2929676" y="2027045"/>
                  </a:lnTo>
                  <a:lnTo>
                    <a:pt x="2929841" y="2027431"/>
                  </a:lnTo>
                  <a:lnTo>
                    <a:pt x="2930108" y="2027902"/>
                  </a:lnTo>
                  <a:lnTo>
                    <a:pt x="2930396" y="2028565"/>
                  </a:lnTo>
                  <a:lnTo>
                    <a:pt x="2930632" y="2029533"/>
                  </a:lnTo>
                  <a:lnTo>
                    <a:pt x="2930654" y="2030419"/>
                  </a:lnTo>
                  <a:lnTo>
                    <a:pt x="2930327" y="2031732"/>
                  </a:lnTo>
                  <a:lnTo>
                    <a:pt x="2930322" y="2032611"/>
                  </a:lnTo>
                  <a:lnTo>
                    <a:pt x="2930660" y="2034066"/>
                  </a:lnTo>
                  <a:lnTo>
                    <a:pt x="2931270" y="2035689"/>
                  </a:lnTo>
                  <a:lnTo>
                    <a:pt x="2932899" y="2038962"/>
                  </a:lnTo>
                  <a:lnTo>
                    <a:pt x="2932719" y="2039705"/>
                  </a:lnTo>
                  <a:lnTo>
                    <a:pt x="2933447" y="2041355"/>
                  </a:lnTo>
                  <a:lnTo>
                    <a:pt x="2933339" y="2042565"/>
                  </a:lnTo>
                  <a:lnTo>
                    <a:pt x="2933019" y="2043766"/>
                  </a:lnTo>
                  <a:lnTo>
                    <a:pt x="2933104" y="2045442"/>
                  </a:lnTo>
                  <a:lnTo>
                    <a:pt x="2933791" y="2047147"/>
                  </a:lnTo>
                  <a:lnTo>
                    <a:pt x="2934842" y="2048744"/>
                  </a:lnTo>
                  <a:lnTo>
                    <a:pt x="2938005" y="2052321"/>
                  </a:lnTo>
                  <a:lnTo>
                    <a:pt x="2939414" y="2053479"/>
                  </a:lnTo>
                  <a:lnTo>
                    <a:pt x="2940802" y="2054275"/>
                  </a:lnTo>
                  <a:lnTo>
                    <a:pt x="2943008" y="2054768"/>
                  </a:lnTo>
                  <a:lnTo>
                    <a:pt x="2943985" y="2055896"/>
                  </a:lnTo>
                  <a:lnTo>
                    <a:pt x="2945553" y="2058244"/>
                  </a:lnTo>
                  <a:lnTo>
                    <a:pt x="2945623" y="2061356"/>
                  </a:lnTo>
                  <a:lnTo>
                    <a:pt x="2945460" y="2062110"/>
                  </a:lnTo>
                  <a:lnTo>
                    <a:pt x="2946016" y="2063896"/>
                  </a:lnTo>
                  <a:lnTo>
                    <a:pt x="2945335" y="2065241"/>
                  </a:lnTo>
                  <a:lnTo>
                    <a:pt x="2941833" y="2067300"/>
                  </a:lnTo>
                  <a:lnTo>
                    <a:pt x="2939614" y="2069942"/>
                  </a:lnTo>
                  <a:lnTo>
                    <a:pt x="2935743" y="2071855"/>
                  </a:lnTo>
                  <a:lnTo>
                    <a:pt x="2934665" y="2072846"/>
                  </a:lnTo>
                  <a:lnTo>
                    <a:pt x="2933641" y="2074203"/>
                  </a:lnTo>
                  <a:lnTo>
                    <a:pt x="2933123" y="2075683"/>
                  </a:lnTo>
                  <a:lnTo>
                    <a:pt x="2932686" y="2076252"/>
                  </a:lnTo>
                  <a:lnTo>
                    <a:pt x="2932280" y="2075639"/>
                  </a:lnTo>
                  <a:lnTo>
                    <a:pt x="2931808" y="2074704"/>
                  </a:lnTo>
                  <a:lnTo>
                    <a:pt x="2931401" y="2075307"/>
                  </a:lnTo>
                  <a:lnTo>
                    <a:pt x="2931112" y="2076444"/>
                  </a:lnTo>
                  <a:lnTo>
                    <a:pt x="2930993" y="2077130"/>
                  </a:lnTo>
                  <a:lnTo>
                    <a:pt x="2931516" y="2078487"/>
                  </a:lnTo>
                  <a:lnTo>
                    <a:pt x="2931344" y="2079477"/>
                  </a:lnTo>
                  <a:lnTo>
                    <a:pt x="2930978" y="2080354"/>
                  </a:lnTo>
                  <a:lnTo>
                    <a:pt x="2930925" y="2081357"/>
                  </a:lnTo>
                  <a:lnTo>
                    <a:pt x="2931620" y="2082533"/>
                  </a:lnTo>
                  <a:lnTo>
                    <a:pt x="2932684" y="2082831"/>
                  </a:lnTo>
                  <a:lnTo>
                    <a:pt x="2936753" y="2080742"/>
                  </a:lnTo>
                  <a:lnTo>
                    <a:pt x="2941411" y="2079845"/>
                  </a:lnTo>
                  <a:lnTo>
                    <a:pt x="2946723" y="2075596"/>
                  </a:lnTo>
                  <a:lnTo>
                    <a:pt x="2949413" y="2074207"/>
                  </a:lnTo>
                  <a:lnTo>
                    <a:pt x="2953505" y="2073494"/>
                  </a:lnTo>
                  <a:lnTo>
                    <a:pt x="2955447" y="2072440"/>
                  </a:lnTo>
                  <a:lnTo>
                    <a:pt x="2956214" y="2070317"/>
                  </a:lnTo>
                  <a:lnTo>
                    <a:pt x="2955798" y="2069796"/>
                  </a:lnTo>
                  <a:lnTo>
                    <a:pt x="2954556" y="2067655"/>
                  </a:lnTo>
                  <a:lnTo>
                    <a:pt x="2954894" y="2066519"/>
                  </a:lnTo>
                  <a:lnTo>
                    <a:pt x="2955584" y="2065526"/>
                  </a:lnTo>
                  <a:lnTo>
                    <a:pt x="2956457" y="2065024"/>
                  </a:lnTo>
                  <a:lnTo>
                    <a:pt x="2957337" y="2065363"/>
                  </a:lnTo>
                  <a:lnTo>
                    <a:pt x="2956710" y="2066835"/>
                  </a:lnTo>
                  <a:lnTo>
                    <a:pt x="2956451" y="2067192"/>
                  </a:lnTo>
                  <a:lnTo>
                    <a:pt x="2958345" y="2067612"/>
                  </a:lnTo>
                  <a:lnTo>
                    <a:pt x="2961646" y="2066099"/>
                  </a:lnTo>
                  <a:lnTo>
                    <a:pt x="2964719" y="2067961"/>
                  </a:lnTo>
                  <a:lnTo>
                    <a:pt x="2974165" y="2069084"/>
                  </a:lnTo>
                  <a:lnTo>
                    <a:pt x="2978969" y="2071588"/>
                  </a:lnTo>
                  <a:lnTo>
                    <a:pt x="2980964" y="2071099"/>
                  </a:lnTo>
                  <a:lnTo>
                    <a:pt x="2981745" y="2068947"/>
                  </a:lnTo>
                  <a:lnTo>
                    <a:pt x="2980384" y="2067103"/>
                  </a:lnTo>
                  <a:lnTo>
                    <a:pt x="2978252" y="2065411"/>
                  </a:lnTo>
                  <a:lnTo>
                    <a:pt x="2976708" y="2063695"/>
                  </a:lnTo>
                  <a:lnTo>
                    <a:pt x="2977601" y="2061640"/>
                  </a:lnTo>
                  <a:lnTo>
                    <a:pt x="2977898" y="2060496"/>
                  </a:lnTo>
                  <a:lnTo>
                    <a:pt x="2978012" y="2059449"/>
                  </a:lnTo>
                  <a:lnTo>
                    <a:pt x="2976824" y="2057501"/>
                  </a:lnTo>
                  <a:lnTo>
                    <a:pt x="2976351" y="2056863"/>
                  </a:lnTo>
                  <a:lnTo>
                    <a:pt x="2979425" y="2056926"/>
                  </a:lnTo>
                  <a:lnTo>
                    <a:pt x="2982961" y="2058277"/>
                  </a:lnTo>
                  <a:lnTo>
                    <a:pt x="2986543" y="2060660"/>
                  </a:lnTo>
                  <a:lnTo>
                    <a:pt x="2989729" y="2063789"/>
                  </a:lnTo>
                  <a:lnTo>
                    <a:pt x="2990250" y="2064592"/>
                  </a:lnTo>
                  <a:lnTo>
                    <a:pt x="2990676" y="2065378"/>
                  </a:lnTo>
                  <a:lnTo>
                    <a:pt x="2991147" y="2065928"/>
                  </a:lnTo>
                  <a:lnTo>
                    <a:pt x="2995200" y="2065914"/>
                  </a:lnTo>
                  <a:lnTo>
                    <a:pt x="2999089" y="2067427"/>
                  </a:lnTo>
                  <a:lnTo>
                    <a:pt x="3000522" y="2068775"/>
                  </a:lnTo>
                  <a:lnTo>
                    <a:pt x="2999982" y="2070077"/>
                  </a:lnTo>
                  <a:lnTo>
                    <a:pt x="3000280" y="2072964"/>
                  </a:lnTo>
                  <a:lnTo>
                    <a:pt x="3003111" y="2073980"/>
                  </a:lnTo>
                  <a:lnTo>
                    <a:pt x="3001816" y="2075838"/>
                  </a:lnTo>
                  <a:lnTo>
                    <a:pt x="2999938" y="2077031"/>
                  </a:lnTo>
                  <a:lnTo>
                    <a:pt x="2997915" y="2077195"/>
                  </a:lnTo>
                  <a:lnTo>
                    <a:pt x="2993460" y="2076388"/>
                  </a:lnTo>
                  <a:lnTo>
                    <a:pt x="2995520" y="2078615"/>
                  </a:lnTo>
                  <a:lnTo>
                    <a:pt x="2997284" y="2079553"/>
                  </a:lnTo>
                  <a:lnTo>
                    <a:pt x="3010414" y="2079658"/>
                  </a:lnTo>
                  <a:lnTo>
                    <a:pt x="3016200" y="2082821"/>
                  </a:lnTo>
                  <a:lnTo>
                    <a:pt x="3017122" y="2082647"/>
                  </a:lnTo>
                  <a:lnTo>
                    <a:pt x="3018635" y="2081281"/>
                  </a:lnTo>
                  <a:lnTo>
                    <a:pt x="3019516" y="2081242"/>
                  </a:lnTo>
                  <a:lnTo>
                    <a:pt x="3020261" y="2081901"/>
                  </a:lnTo>
                  <a:lnTo>
                    <a:pt x="3021001" y="2082975"/>
                  </a:lnTo>
                  <a:lnTo>
                    <a:pt x="3022278" y="2085145"/>
                  </a:lnTo>
                  <a:lnTo>
                    <a:pt x="3021837" y="2086035"/>
                  </a:lnTo>
                  <a:lnTo>
                    <a:pt x="3022172" y="2087225"/>
                  </a:lnTo>
                  <a:lnTo>
                    <a:pt x="3021643" y="2087743"/>
                  </a:lnTo>
                  <a:lnTo>
                    <a:pt x="3019963" y="2088067"/>
                  </a:lnTo>
                  <a:lnTo>
                    <a:pt x="3017951" y="2089932"/>
                  </a:lnTo>
                  <a:lnTo>
                    <a:pt x="3009774" y="2093754"/>
                  </a:lnTo>
                  <a:lnTo>
                    <a:pt x="3009340" y="2094474"/>
                  </a:lnTo>
                  <a:lnTo>
                    <a:pt x="3008999" y="2095642"/>
                  </a:lnTo>
                  <a:lnTo>
                    <a:pt x="3008959" y="2097781"/>
                  </a:lnTo>
                  <a:lnTo>
                    <a:pt x="3008847" y="2099051"/>
                  </a:lnTo>
                  <a:lnTo>
                    <a:pt x="3008519" y="2099687"/>
                  </a:lnTo>
                  <a:lnTo>
                    <a:pt x="3008140" y="2100111"/>
                  </a:lnTo>
                  <a:lnTo>
                    <a:pt x="3007146" y="2102009"/>
                  </a:lnTo>
                  <a:lnTo>
                    <a:pt x="3006560" y="2104108"/>
                  </a:lnTo>
                  <a:lnTo>
                    <a:pt x="3006121" y="2104910"/>
                  </a:lnTo>
                  <a:lnTo>
                    <a:pt x="3004831" y="2105968"/>
                  </a:lnTo>
                  <a:lnTo>
                    <a:pt x="3001314" y="2111610"/>
                  </a:lnTo>
                  <a:lnTo>
                    <a:pt x="2999462" y="2113285"/>
                  </a:lnTo>
                  <a:lnTo>
                    <a:pt x="2998731" y="2115592"/>
                  </a:lnTo>
                  <a:lnTo>
                    <a:pt x="2998224" y="2116198"/>
                  </a:lnTo>
                  <a:lnTo>
                    <a:pt x="2997900" y="2116459"/>
                  </a:lnTo>
                  <a:lnTo>
                    <a:pt x="2997733" y="2116956"/>
                  </a:lnTo>
                  <a:lnTo>
                    <a:pt x="2997547" y="2118307"/>
                  </a:lnTo>
                  <a:lnTo>
                    <a:pt x="2997324" y="2118753"/>
                  </a:lnTo>
                  <a:lnTo>
                    <a:pt x="2996955" y="2118888"/>
                  </a:lnTo>
                  <a:lnTo>
                    <a:pt x="2996533" y="2118912"/>
                  </a:lnTo>
                  <a:lnTo>
                    <a:pt x="2994649" y="2119554"/>
                  </a:lnTo>
                  <a:lnTo>
                    <a:pt x="2993975" y="2120055"/>
                  </a:lnTo>
                  <a:lnTo>
                    <a:pt x="2993622" y="2121149"/>
                  </a:lnTo>
                  <a:lnTo>
                    <a:pt x="2993723" y="2122321"/>
                  </a:lnTo>
                  <a:lnTo>
                    <a:pt x="2994034" y="2123797"/>
                  </a:lnTo>
                  <a:lnTo>
                    <a:pt x="2994384" y="2125071"/>
                  </a:lnTo>
                  <a:lnTo>
                    <a:pt x="2994575" y="2125601"/>
                  </a:lnTo>
                  <a:lnTo>
                    <a:pt x="2992782" y="2128740"/>
                  </a:lnTo>
                  <a:lnTo>
                    <a:pt x="2992192" y="2129379"/>
                  </a:lnTo>
                  <a:lnTo>
                    <a:pt x="2991357" y="2129712"/>
                  </a:lnTo>
                  <a:lnTo>
                    <a:pt x="2985993" y="2129526"/>
                  </a:lnTo>
                  <a:lnTo>
                    <a:pt x="2980439" y="2126656"/>
                  </a:lnTo>
                  <a:lnTo>
                    <a:pt x="2968201" y="2124229"/>
                  </a:lnTo>
                  <a:lnTo>
                    <a:pt x="2965494" y="2121967"/>
                  </a:lnTo>
                  <a:lnTo>
                    <a:pt x="2963757" y="2121825"/>
                  </a:lnTo>
                  <a:lnTo>
                    <a:pt x="2958994" y="2123602"/>
                  </a:lnTo>
                  <a:lnTo>
                    <a:pt x="2957659" y="2123159"/>
                  </a:lnTo>
                  <a:lnTo>
                    <a:pt x="2956380" y="2122012"/>
                  </a:lnTo>
                  <a:lnTo>
                    <a:pt x="2954931" y="2120288"/>
                  </a:lnTo>
                  <a:lnTo>
                    <a:pt x="2953164" y="2118735"/>
                  </a:lnTo>
                  <a:lnTo>
                    <a:pt x="2951304" y="2118041"/>
                  </a:lnTo>
                  <a:lnTo>
                    <a:pt x="2949497" y="2118019"/>
                  </a:lnTo>
                  <a:lnTo>
                    <a:pt x="2947901" y="2118508"/>
                  </a:lnTo>
                  <a:lnTo>
                    <a:pt x="2945864" y="2119886"/>
                  </a:lnTo>
                  <a:lnTo>
                    <a:pt x="2945138" y="2119998"/>
                  </a:lnTo>
                  <a:lnTo>
                    <a:pt x="2944254" y="2119654"/>
                  </a:lnTo>
                  <a:lnTo>
                    <a:pt x="2942615" y="2118533"/>
                  </a:lnTo>
                  <a:lnTo>
                    <a:pt x="2940136" y="2118284"/>
                  </a:lnTo>
                  <a:lnTo>
                    <a:pt x="2937018" y="2116521"/>
                  </a:lnTo>
                  <a:lnTo>
                    <a:pt x="2935408" y="2116089"/>
                  </a:lnTo>
                  <a:lnTo>
                    <a:pt x="2927626" y="2118442"/>
                  </a:lnTo>
                  <a:lnTo>
                    <a:pt x="2926893" y="2119537"/>
                  </a:lnTo>
                  <a:lnTo>
                    <a:pt x="2927355" y="2121019"/>
                  </a:lnTo>
                  <a:lnTo>
                    <a:pt x="2925564" y="2119131"/>
                  </a:lnTo>
                  <a:lnTo>
                    <a:pt x="2924714" y="2122201"/>
                  </a:lnTo>
                  <a:lnTo>
                    <a:pt x="2922889" y="2122595"/>
                  </a:lnTo>
                  <a:lnTo>
                    <a:pt x="2916417" y="2121201"/>
                  </a:lnTo>
                  <a:lnTo>
                    <a:pt x="2915970" y="2120937"/>
                  </a:lnTo>
                  <a:lnTo>
                    <a:pt x="2915676" y="2120211"/>
                  </a:lnTo>
                  <a:lnTo>
                    <a:pt x="2915279" y="2118226"/>
                  </a:lnTo>
                  <a:lnTo>
                    <a:pt x="2915051" y="2117635"/>
                  </a:lnTo>
                  <a:lnTo>
                    <a:pt x="2912940" y="2116754"/>
                  </a:lnTo>
                  <a:lnTo>
                    <a:pt x="2911736" y="2115786"/>
                  </a:lnTo>
                  <a:lnTo>
                    <a:pt x="2911421" y="2114253"/>
                  </a:lnTo>
                  <a:lnTo>
                    <a:pt x="2911702" y="2111172"/>
                  </a:lnTo>
                  <a:lnTo>
                    <a:pt x="2912032" y="2109716"/>
                  </a:lnTo>
                  <a:lnTo>
                    <a:pt x="2912751" y="2108979"/>
                  </a:lnTo>
                  <a:lnTo>
                    <a:pt x="2913639" y="2108436"/>
                  </a:lnTo>
                  <a:lnTo>
                    <a:pt x="2915419" y="2106500"/>
                  </a:lnTo>
                  <a:lnTo>
                    <a:pt x="2916411" y="2105850"/>
                  </a:lnTo>
                  <a:lnTo>
                    <a:pt x="2917336" y="2105625"/>
                  </a:lnTo>
                  <a:lnTo>
                    <a:pt x="2917572" y="2105398"/>
                  </a:lnTo>
                  <a:lnTo>
                    <a:pt x="2917887" y="2104815"/>
                  </a:lnTo>
                  <a:lnTo>
                    <a:pt x="2917696" y="2104681"/>
                  </a:lnTo>
                  <a:lnTo>
                    <a:pt x="2917787" y="2103415"/>
                  </a:lnTo>
                  <a:lnTo>
                    <a:pt x="2918018" y="2102145"/>
                  </a:lnTo>
                  <a:lnTo>
                    <a:pt x="2918246" y="2101983"/>
                  </a:lnTo>
                  <a:lnTo>
                    <a:pt x="2917799" y="2100498"/>
                  </a:lnTo>
                  <a:lnTo>
                    <a:pt x="2917339" y="2099262"/>
                  </a:lnTo>
                  <a:lnTo>
                    <a:pt x="2917063" y="2098203"/>
                  </a:lnTo>
                  <a:lnTo>
                    <a:pt x="2917160" y="2097255"/>
                  </a:lnTo>
                  <a:lnTo>
                    <a:pt x="2916072" y="2095748"/>
                  </a:lnTo>
                  <a:lnTo>
                    <a:pt x="2914867" y="2094819"/>
                  </a:lnTo>
                  <a:lnTo>
                    <a:pt x="2910112" y="2092851"/>
                  </a:lnTo>
                  <a:lnTo>
                    <a:pt x="2909428" y="2092828"/>
                  </a:lnTo>
                  <a:lnTo>
                    <a:pt x="2908718" y="2092633"/>
                  </a:lnTo>
                  <a:lnTo>
                    <a:pt x="2907433" y="2091342"/>
                  </a:lnTo>
                  <a:lnTo>
                    <a:pt x="2907009" y="2091083"/>
                  </a:lnTo>
                  <a:lnTo>
                    <a:pt x="2897429" y="2093231"/>
                  </a:lnTo>
                  <a:lnTo>
                    <a:pt x="2892298" y="2092839"/>
                  </a:lnTo>
                  <a:lnTo>
                    <a:pt x="2891072" y="2093100"/>
                  </a:lnTo>
                  <a:lnTo>
                    <a:pt x="2887321" y="2094971"/>
                  </a:lnTo>
                  <a:lnTo>
                    <a:pt x="2885786" y="2096636"/>
                  </a:lnTo>
                  <a:lnTo>
                    <a:pt x="2884119" y="2096927"/>
                  </a:lnTo>
                  <a:lnTo>
                    <a:pt x="2882934" y="2098513"/>
                  </a:lnTo>
                  <a:lnTo>
                    <a:pt x="2881661" y="2098357"/>
                  </a:lnTo>
                  <a:lnTo>
                    <a:pt x="2879028" y="2096576"/>
                  </a:lnTo>
                  <a:lnTo>
                    <a:pt x="2879029" y="2096194"/>
                  </a:lnTo>
                  <a:lnTo>
                    <a:pt x="2878974" y="2095432"/>
                  </a:lnTo>
                  <a:lnTo>
                    <a:pt x="2879017" y="2094986"/>
                  </a:lnTo>
                  <a:lnTo>
                    <a:pt x="2878029" y="2094504"/>
                  </a:lnTo>
                  <a:lnTo>
                    <a:pt x="2878026" y="2093727"/>
                  </a:lnTo>
                  <a:lnTo>
                    <a:pt x="2879020" y="2091929"/>
                  </a:lnTo>
                  <a:lnTo>
                    <a:pt x="2879919" y="2088404"/>
                  </a:lnTo>
                  <a:lnTo>
                    <a:pt x="2880956" y="2086801"/>
                  </a:lnTo>
                  <a:lnTo>
                    <a:pt x="2882840" y="2080333"/>
                  </a:lnTo>
                  <a:lnTo>
                    <a:pt x="2883019" y="2079093"/>
                  </a:lnTo>
                  <a:lnTo>
                    <a:pt x="2883013" y="2078066"/>
                  </a:lnTo>
                  <a:lnTo>
                    <a:pt x="2882763" y="2077056"/>
                  </a:lnTo>
                  <a:lnTo>
                    <a:pt x="2882229" y="2075889"/>
                  </a:lnTo>
                  <a:lnTo>
                    <a:pt x="2879794" y="2073245"/>
                  </a:lnTo>
                  <a:lnTo>
                    <a:pt x="2879512" y="2072733"/>
                  </a:lnTo>
                  <a:lnTo>
                    <a:pt x="2876282" y="2073627"/>
                  </a:lnTo>
                  <a:lnTo>
                    <a:pt x="2874829" y="2074592"/>
                  </a:lnTo>
                  <a:lnTo>
                    <a:pt x="2873617" y="2076233"/>
                  </a:lnTo>
                  <a:lnTo>
                    <a:pt x="2873094" y="2078324"/>
                  </a:lnTo>
                  <a:lnTo>
                    <a:pt x="2872869" y="2080582"/>
                  </a:lnTo>
                  <a:lnTo>
                    <a:pt x="2872320" y="2082060"/>
                  </a:lnTo>
                  <a:lnTo>
                    <a:pt x="2870829" y="2081826"/>
                  </a:lnTo>
                  <a:lnTo>
                    <a:pt x="2868906" y="2080970"/>
                  </a:lnTo>
                  <a:lnTo>
                    <a:pt x="2867312" y="2081065"/>
                  </a:lnTo>
                  <a:lnTo>
                    <a:pt x="2865914" y="2081958"/>
                  </a:lnTo>
                  <a:lnTo>
                    <a:pt x="2864566" y="2083508"/>
                  </a:lnTo>
                  <a:lnTo>
                    <a:pt x="2863875" y="2084850"/>
                  </a:lnTo>
                  <a:lnTo>
                    <a:pt x="2863402" y="2085363"/>
                  </a:lnTo>
                  <a:lnTo>
                    <a:pt x="2862640" y="2085520"/>
                  </a:lnTo>
                  <a:lnTo>
                    <a:pt x="2862311" y="2085321"/>
                  </a:lnTo>
                  <a:lnTo>
                    <a:pt x="2861436" y="2084507"/>
                  </a:lnTo>
                  <a:lnTo>
                    <a:pt x="2861017" y="2084259"/>
                  </a:lnTo>
                  <a:lnTo>
                    <a:pt x="2860480" y="2084218"/>
                  </a:lnTo>
                  <a:lnTo>
                    <a:pt x="2857972" y="2085291"/>
                  </a:lnTo>
                  <a:lnTo>
                    <a:pt x="2856952" y="2086586"/>
                  </a:lnTo>
                  <a:lnTo>
                    <a:pt x="2856210" y="2088426"/>
                  </a:lnTo>
                  <a:lnTo>
                    <a:pt x="2855706" y="2090711"/>
                  </a:lnTo>
                  <a:lnTo>
                    <a:pt x="2855692" y="2093084"/>
                  </a:lnTo>
                  <a:lnTo>
                    <a:pt x="2855512" y="2094143"/>
                  </a:lnTo>
                  <a:lnTo>
                    <a:pt x="2854879" y="2094697"/>
                  </a:lnTo>
                  <a:lnTo>
                    <a:pt x="2854009" y="2095164"/>
                  </a:lnTo>
                  <a:lnTo>
                    <a:pt x="2853378" y="2096018"/>
                  </a:lnTo>
                  <a:lnTo>
                    <a:pt x="2852311" y="2098340"/>
                  </a:lnTo>
                  <a:lnTo>
                    <a:pt x="2852964" y="2099912"/>
                  </a:lnTo>
                  <a:lnTo>
                    <a:pt x="2853773" y="2101043"/>
                  </a:lnTo>
                  <a:lnTo>
                    <a:pt x="2856761" y="2104249"/>
                  </a:lnTo>
                  <a:lnTo>
                    <a:pt x="2856984" y="2104611"/>
                  </a:lnTo>
                  <a:lnTo>
                    <a:pt x="2857115" y="2105047"/>
                  </a:lnTo>
                  <a:lnTo>
                    <a:pt x="2857307" y="2105412"/>
                  </a:lnTo>
                  <a:lnTo>
                    <a:pt x="2857744" y="2106010"/>
                  </a:lnTo>
                  <a:lnTo>
                    <a:pt x="2857958" y="2106506"/>
                  </a:lnTo>
                  <a:lnTo>
                    <a:pt x="2857888" y="2106934"/>
                  </a:lnTo>
                  <a:lnTo>
                    <a:pt x="2857725" y="2107372"/>
                  </a:lnTo>
                  <a:lnTo>
                    <a:pt x="2857652" y="2108068"/>
                  </a:lnTo>
                  <a:lnTo>
                    <a:pt x="2857716" y="2110588"/>
                  </a:lnTo>
                  <a:lnTo>
                    <a:pt x="2857288" y="2111862"/>
                  </a:lnTo>
                  <a:lnTo>
                    <a:pt x="2857098" y="2112710"/>
                  </a:lnTo>
                  <a:lnTo>
                    <a:pt x="2857132" y="2113484"/>
                  </a:lnTo>
                  <a:lnTo>
                    <a:pt x="2857839" y="2114771"/>
                  </a:lnTo>
                  <a:lnTo>
                    <a:pt x="2859992" y="2116929"/>
                  </a:lnTo>
                  <a:lnTo>
                    <a:pt x="2860783" y="2117986"/>
                  </a:lnTo>
                  <a:lnTo>
                    <a:pt x="2860181" y="2118070"/>
                  </a:lnTo>
                  <a:lnTo>
                    <a:pt x="2859805" y="2118376"/>
                  </a:lnTo>
                  <a:lnTo>
                    <a:pt x="2859753" y="2118881"/>
                  </a:lnTo>
                  <a:lnTo>
                    <a:pt x="2860113" y="2119583"/>
                  </a:lnTo>
                  <a:lnTo>
                    <a:pt x="2860236" y="2122908"/>
                  </a:lnTo>
                  <a:lnTo>
                    <a:pt x="2860145" y="2123835"/>
                  </a:lnTo>
                  <a:lnTo>
                    <a:pt x="2859547" y="2124613"/>
                  </a:lnTo>
                  <a:lnTo>
                    <a:pt x="2858646" y="2124396"/>
                  </a:lnTo>
                  <a:lnTo>
                    <a:pt x="2856844" y="2123376"/>
                  </a:lnTo>
                  <a:lnTo>
                    <a:pt x="2855451" y="2123545"/>
                  </a:lnTo>
                  <a:lnTo>
                    <a:pt x="2854207" y="2124337"/>
                  </a:lnTo>
                  <a:lnTo>
                    <a:pt x="2853120" y="2125563"/>
                  </a:lnTo>
                  <a:lnTo>
                    <a:pt x="2848925" y="2132196"/>
                  </a:lnTo>
                  <a:lnTo>
                    <a:pt x="2848575" y="2133133"/>
                  </a:lnTo>
                  <a:lnTo>
                    <a:pt x="2848153" y="2134961"/>
                  </a:lnTo>
                  <a:lnTo>
                    <a:pt x="2847863" y="2135451"/>
                  </a:lnTo>
                  <a:lnTo>
                    <a:pt x="2847293" y="2136057"/>
                  </a:lnTo>
                  <a:lnTo>
                    <a:pt x="2845209" y="2137312"/>
                  </a:lnTo>
                  <a:lnTo>
                    <a:pt x="2844678" y="2138109"/>
                  </a:lnTo>
                  <a:lnTo>
                    <a:pt x="2843098" y="2144076"/>
                  </a:lnTo>
                  <a:lnTo>
                    <a:pt x="2842120" y="2145469"/>
                  </a:lnTo>
                  <a:lnTo>
                    <a:pt x="2840556" y="2145664"/>
                  </a:lnTo>
                  <a:lnTo>
                    <a:pt x="2837150" y="2144203"/>
                  </a:lnTo>
                  <a:lnTo>
                    <a:pt x="2835211" y="2145377"/>
                  </a:lnTo>
                  <a:lnTo>
                    <a:pt x="2833548" y="2144936"/>
                  </a:lnTo>
                  <a:lnTo>
                    <a:pt x="2832900" y="2145018"/>
                  </a:lnTo>
                  <a:lnTo>
                    <a:pt x="2832506" y="2145504"/>
                  </a:lnTo>
                  <a:lnTo>
                    <a:pt x="2832403" y="2146000"/>
                  </a:lnTo>
                  <a:lnTo>
                    <a:pt x="2832390" y="2146723"/>
                  </a:lnTo>
                  <a:lnTo>
                    <a:pt x="2832247" y="2147847"/>
                  </a:lnTo>
                  <a:lnTo>
                    <a:pt x="2831903" y="2148857"/>
                  </a:lnTo>
                  <a:lnTo>
                    <a:pt x="2830328" y="2150919"/>
                  </a:lnTo>
                  <a:lnTo>
                    <a:pt x="2828834" y="2153657"/>
                  </a:lnTo>
                  <a:lnTo>
                    <a:pt x="2828267" y="2154352"/>
                  </a:lnTo>
                  <a:lnTo>
                    <a:pt x="2828861" y="2157288"/>
                  </a:lnTo>
                  <a:lnTo>
                    <a:pt x="2827586" y="2162834"/>
                  </a:lnTo>
                  <a:lnTo>
                    <a:pt x="2828345" y="2164978"/>
                  </a:lnTo>
                  <a:lnTo>
                    <a:pt x="2828058" y="2172349"/>
                  </a:lnTo>
                  <a:lnTo>
                    <a:pt x="2827624" y="2173547"/>
                  </a:lnTo>
                  <a:lnTo>
                    <a:pt x="2826529" y="2174737"/>
                  </a:lnTo>
                  <a:lnTo>
                    <a:pt x="2824408" y="2181758"/>
                  </a:lnTo>
                  <a:lnTo>
                    <a:pt x="2823175" y="2182918"/>
                  </a:lnTo>
                  <a:lnTo>
                    <a:pt x="2820279" y="2184231"/>
                  </a:lnTo>
                  <a:lnTo>
                    <a:pt x="2818791" y="2187025"/>
                  </a:lnTo>
                  <a:lnTo>
                    <a:pt x="2817257" y="2188022"/>
                  </a:lnTo>
                  <a:lnTo>
                    <a:pt x="2816266" y="2189991"/>
                  </a:lnTo>
                  <a:lnTo>
                    <a:pt x="2809327" y="2198093"/>
                  </a:lnTo>
                  <a:lnTo>
                    <a:pt x="2803222" y="2203299"/>
                  </a:lnTo>
                  <a:lnTo>
                    <a:pt x="2795257" y="2208501"/>
                  </a:lnTo>
                  <a:lnTo>
                    <a:pt x="2786488" y="2210197"/>
                  </a:lnTo>
                  <a:lnTo>
                    <a:pt x="2783708" y="2209919"/>
                  </a:lnTo>
                  <a:lnTo>
                    <a:pt x="2779207" y="2205823"/>
                  </a:lnTo>
                  <a:lnTo>
                    <a:pt x="2778668" y="2204664"/>
                  </a:lnTo>
                  <a:lnTo>
                    <a:pt x="2777575" y="2201815"/>
                  </a:lnTo>
                  <a:lnTo>
                    <a:pt x="2775475" y="2198741"/>
                  </a:lnTo>
                  <a:lnTo>
                    <a:pt x="2775115" y="2197925"/>
                  </a:lnTo>
                  <a:lnTo>
                    <a:pt x="2774671" y="2196121"/>
                  </a:lnTo>
                  <a:lnTo>
                    <a:pt x="2774382" y="2195419"/>
                  </a:lnTo>
                  <a:lnTo>
                    <a:pt x="2774100" y="2193303"/>
                  </a:lnTo>
                  <a:lnTo>
                    <a:pt x="2772928" y="2187955"/>
                  </a:lnTo>
                  <a:lnTo>
                    <a:pt x="2772508" y="2186671"/>
                  </a:lnTo>
                  <a:lnTo>
                    <a:pt x="2772240" y="2184868"/>
                  </a:lnTo>
                  <a:lnTo>
                    <a:pt x="2771222" y="2180130"/>
                  </a:lnTo>
                  <a:lnTo>
                    <a:pt x="2770960" y="2177852"/>
                  </a:lnTo>
                  <a:lnTo>
                    <a:pt x="2771205" y="2175671"/>
                  </a:lnTo>
                  <a:lnTo>
                    <a:pt x="2771694" y="2173231"/>
                  </a:lnTo>
                  <a:lnTo>
                    <a:pt x="2771928" y="2170794"/>
                  </a:lnTo>
                  <a:lnTo>
                    <a:pt x="2771392" y="2168628"/>
                  </a:lnTo>
                  <a:lnTo>
                    <a:pt x="2771717" y="2168571"/>
                  </a:lnTo>
                  <a:lnTo>
                    <a:pt x="2770993" y="2167264"/>
                  </a:lnTo>
                  <a:lnTo>
                    <a:pt x="2770065" y="2165149"/>
                  </a:lnTo>
                  <a:lnTo>
                    <a:pt x="2769467" y="2163146"/>
                  </a:lnTo>
                  <a:lnTo>
                    <a:pt x="2769736" y="2162179"/>
                  </a:lnTo>
                  <a:lnTo>
                    <a:pt x="2769936" y="2161643"/>
                  </a:lnTo>
                  <a:lnTo>
                    <a:pt x="2770525" y="2159239"/>
                  </a:lnTo>
                  <a:lnTo>
                    <a:pt x="2770620" y="2158545"/>
                  </a:lnTo>
                  <a:lnTo>
                    <a:pt x="2770317" y="2157426"/>
                  </a:lnTo>
                  <a:lnTo>
                    <a:pt x="2769487" y="2155325"/>
                  </a:lnTo>
                  <a:lnTo>
                    <a:pt x="2769190" y="2154249"/>
                  </a:lnTo>
                  <a:lnTo>
                    <a:pt x="2768175" y="2152154"/>
                  </a:lnTo>
                  <a:lnTo>
                    <a:pt x="2766551" y="2151392"/>
                  </a:lnTo>
                  <a:lnTo>
                    <a:pt x="2764811" y="2151056"/>
                  </a:lnTo>
                  <a:lnTo>
                    <a:pt x="2763465" y="2150272"/>
                  </a:lnTo>
                  <a:lnTo>
                    <a:pt x="2762721" y="2148548"/>
                  </a:lnTo>
                  <a:lnTo>
                    <a:pt x="2762394" y="2146494"/>
                  </a:lnTo>
                  <a:lnTo>
                    <a:pt x="2762196" y="2144499"/>
                  </a:lnTo>
                  <a:lnTo>
                    <a:pt x="2761826" y="2142989"/>
                  </a:lnTo>
                  <a:lnTo>
                    <a:pt x="2761698" y="2142254"/>
                  </a:lnTo>
                  <a:lnTo>
                    <a:pt x="2760068" y="2147209"/>
                  </a:lnTo>
                  <a:lnTo>
                    <a:pt x="2759049" y="2149478"/>
                  </a:lnTo>
                  <a:lnTo>
                    <a:pt x="2757948" y="2150538"/>
                  </a:lnTo>
                  <a:lnTo>
                    <a:pt x="2751681" y="2152302"/>
                  </a:lnTo>
                  <a:lnTo>
                    <a:pt x="2740166" y="2159600"/>
                  </a:lnTo>
                  <a:lnTo>
                    <a:pt x="2736843" y="2160682"/>
                  </a:lnTo>
                  <a:lnTo>
                    <a:pt x="2726413" y="2159585"/>
                  </a:lnTo>
                  <a:lnTo>
                    <a:pt x="2719955" y="2161378"/>
                  </a:lnTo>
                  <a:lnTo>
                    <a:pt x="2718693" y="2162335"/>
                  </a:lnTo>
                  <a:lnTo>
                    <a:pt x="2717621" y="2164331"/>
                  </a:lnTo>
                  <a:lnTo>
                    <a:pt x="2715796" y="2168896"/>
                  </a:lnTo>
                  <a:lnTo>
                    <a:pt x="2713365" y="2172328"/>
                  </a:lnTo>
                  <a:lnTo>
                    <a:pt x="2710421" y="2174240"/>
                  </a:lnTo>
                  <a:lnTo>
                    <a:pt x="2701124" y="2176436"/>
                  </a:lnTo>
                  <a:lnTo>
                    <a:pt x="2698129" y="2175921"/>
                  </a:lnTo>
                  <a:lnTo>
                    <a:pt x="2695301" y="2173985"/>
                  </a:lnTo>
                  <a:lnTo>
                    <a:pt x="2692808" y="2170169"/>
                  </a:lnTo>
                  <a:lnTo>
                    <a:pt x="2691760" y="2166226"/>
                  </a:lnTo>
                  <a:lnTo>
                    <a:pt x="2691896" y="2162194"/>
                  </a:lnTo>
                  <a:lnTo>
                    <a:pt x="2692832" y="2158306"/>
                  </a:lnTo>
                  <a:lnTo>
                    <a:pt x="2700699" y="2138670"/>
                  </a:lnTo>
                  <a:lnTo>
                    <a:pt x="2702891" y="2134698"/>
                  </a:lnTo>
                  <a:lnTo>
                    <a:pt x="2715837" y="2125290"/>
                  </a:lnTo>
                  <a:lnTo>
                    <a:pt x="2717218" y="2122918"/>
                  </a:lnTo>
                  <a:lnTo>
                    <a:pt x="2720376" y="2121661"/>
                  </a:lnTo>
                  <a:lnTo>
                    <a:pt x="2723398" y="2117759"/>
                  </a:lnTo>
                  <a:lnTo>
                    <a:pt x="2726193" y="2115195"/>
                  </a:lnTo>
                  <a:lnTo>
                    <a:pt x="2730742" y="2113770"/>
                  </a:lnTo>
                  <a:lnTo>
                    <a:pt x="2732156" y="2112634"/>
                  </a:lnTo>
                  <a:lnTo>
                    <a:pt x="2733017" y="2110698"/>
                  </a:lnTo>
                  <a:lnTo>
                    <a:pt x="2733098" y="2108410"/>
                  </a:lnTo>
                  <a:lnTo>
                    <a:pt x="2732607" y="2106172"/>
                  </a:lnTo>
                  <a:lnTo>
                    <a:pt x="2731765" y="2104120"/>
                  </a:lnTo>
                  <a:lnTo>
                    <a:pt x="2730770" y="2102380"/>
                  </a:lnTo>
                  <a:lnTo>
                    <a:pt x="2729526" y="2101303"/>
                  </a:lnTo>
                  <a:lnTo>
                    <a:pt x="2725980" y="2099112"/>
                  </a:lnTo>
                  <a:lnTo>
                    <a:pt x="2724888" y="2097617"/>
                  </a:lnTo>
                  <a:lnTo>
                    <a:pt x="2724766" y="2096674"/>
                  </a:lnTo>
                  <a:lnTo>
                    <a:pt x="2724892" y="2095698"/>
                  </a:lnTo>
                  <a:lnTo>
                    <a:pt x="2725100" y="2094728"/>
                  </a:lnTo>
                  <a:lnTo>
                    <a:pt x="2725236" y="2093787"/>
                  </a:lnTo>
                  <a:lnTo>
                    <a:pt x="2723986" y="2093380"/>
                  </a:lnTo>
                  <a:lnTo>
                    <a:pt x="2723008" y="2092600"/>
                  </a:lnTo>
                  <a:lnTo>
                    <a:pt x="2722158" y="2091457"/>
                  </a:lnTo>
                  <a:lnTo>
                    <a:pt x="2721290" y="2089907"/>
                  </a:lnTo>
                  <a:lnTo>
                    <a:pt x="2721215" y="2088465"/>
                  </a:lnTo>
                  <a:lnTo>
                    <a:pt x="2720760" y="2087189"/>
                  </a:lnTo>
                  <a:lnTo>
                    <a:pt x="2720199" y="2086012"/>
                  </a:lnTo>
                  <a:lnTo>
                    <a:pt x="2719803" y="2084861"/>
                  </a:lnTo>
                  <a:lnTo>
                    <a:pt x="2719630" y="2082904"/>
                  </a:lnTo>
                  <a:lnTo>
                    <a:pt x="2719883" y="2081719"/>
                  </a:lnTo>
                  <a:lnTo>
                    <a:pt x="2720260" y="2080577"/>
                  </a:lnTo>
                  <a:lnTo>
                    <a:pt x="2720446" y="2078709"/>
                  </a:lnTo>
                  <a:lnTo>
                    <a:pt x="2718727" y="2077717"/>
                  </a:lnTo>
                  <a:lnTo>
                    <a:pt x="2717081" y="2076245"/>
                  </a:lnTo>
                  <a:lnTo>
                    <a:pt x="2717367" y="2074267"/>
                  </a:lnTo>
                  <a:lnTo>
                    <a:pt x="2717228" y="2072224"/>
                  </a:lnTo>
                  <a:lnTo>
                    <a:pt x="2716233" y="2064518"/>
                  </a:lnTo>
                  <a:lnTo>
                    <a:pt x="2715721" y="2062950"/>
                  </a:lnTo>
                  <a:lnTo>
                    <a:pt x="2713642" y="2059293"/>
                  </a:lnTo>
                  <a:lnTo>
                    <a:pt x="2714894" y="2056468"/>
                  </a:lnTo>
                  <a:lnTo>
                    <a:pt x="2715750" y="2052983"/>
                  </a:lnTo>
                  <a:lnTo>
                    <a:pt x="2717907" y="2035617"/>
                  </a:lnTo>
                  <a:lnTo>
                    <a:pt x="2718112" y="2034691"/>
                  </a:lnTo>
                  <a:lnTo>
                    <a:pt x="2718534" y="2034252"/>
                  </a:lnTo>
                  <a:lnTo>
                    <a:pt x="2719919" y="2034052"/>
                  </a:lnTo>
                  <a:lnTo>
                    <a:pt x="2720463" y="2033533"/>
                  </a:lnTo>
                  <a:lnTo>
                    <a:pt x="2720786" y="2032363"/>
                  </a:lnTo>
                  <a:lnTo>
                    <a:pt x="2719747" y="2031703"/>
                  </a:lnTo>
                  <a:lnTo>
                    <a:pt x="2719281" y="2031240"/>
                  </a:lnTo>
                  <a:lnTo>
                    <a:pt x="2718853" y="2030416"/>
                  </a:lnTo>
                  <a:lnTo>
                    <a:pt x="2719895" y="2029598"/>
                  </a:lnTo>
                  <a:lnTo>
                    <a:pt x="2719467" y="2028376"/>
                  </a:lnTo>
                  <a:lnTo>
                    <a:pt x="2717799" y="2026056"/>
                  </a:lnTo>
                  <a:lnTo>
                    <a:pt x="2718744" y="2025061"/>
                  </a:lnTo>
                  <a:lnTo>
                    <a:pt x="2719488" y="2023950"/>
                  </a:lnTo>
                  <a:lnTo>
                    <a:pt x="2719786" y="2022486"/>
                  </a:lnTo>
                  <a:lnTo>
                    <a:pt x="2719412" y="2020432"/>
                  </a:lnTo>
                  <a:lnTo>
                    <a:pt x="2718533" y="2018931"/>
                  </a:lnTo>
                  <a:lnTo>
                    <a:pt x="2716298" y="2017282"/>
                  </a:lnTo>
                  <a:lnTo>
                    <a:pt x="2715446" y="2015870"/>
                  </a:lnTo>
                  <a:lnTo>
                    <a:pt x="2715126" y="2014018"/>
                  </a:lnTo>
                  <a:lnTo>
                    <a:pt x="2715093" y="2011835"/>
                  </a:lnTo>
                  <a:lnTo>
                    <a:pt x="2715234" y="2009762"/>
                  </a:lnTo>
                  <a:lnTo>
                    <a:pt x="2715440" y="2008251"/>
                  </a:lnTo>
                  <a:lnTo>
                    <a:pt x="2715963" y="2006633"/>
                  </a:lnTo>
                  <a:lnTo>
                    <a:pt x="2716673" y="2005167"/>
                  </a:lnTo>
                  <a:lnTo>
                    <a:pt x="2717202" y="2003565"/>
                  </a:lnTo>
                  <a:lnTo>
                    <a:pt x="2717195" y="2001535"/>
                  </a:lnTo>
                  <a:lnTo>
                    <a:pt x="2715940" y="1994142"/>
                  </a:lnTo>
                  <a:lnTo>
                    <a:pt x="2715518" y="1992240"/>
                  </a:lnTo>
                  <a:lnTo>
                    <a:pt x="2714651" y="1989697"/>
                  </a:lnTo>
                  <a:lnTo>
                    <a:pt x="2714316" y="1988307"/>
                  </a:lnTo>
                  <a:lnTo>
                    <a:pt x="2713752" y="1986605"/>
                  </a:lnTo>
                  <a:lnTo>
                    <a:pt x="2712970" y="1984966"/>
                  </a:lnTo>
                  <a:lnTo>
                    <a:pt x="2712429" y="1983183"/>
                  </a:lnTo>
                  <a:lnTo>
                    <a:pt x="2712583" y="1981040"/>
                  </a:lnTo>
                  <a:lnTo>
                    <a:pt x="2713935" y="1976250"/>
                  </a:lnTo>
                  <a:lnTo>
                    <a:pt x="2714578" y="1975003"/>
                  </a:lnTo>
                  <a:lnTo>
                    <a:pt x="2713868" y="1973911"/>
                  </a:lnTo>
                  <a:lnTo>
                    <a:pt x="2712269" y="1973342"/>
                  </a:lnTo>
                  <a:lnTo>
                    <a:pt x="2711618" y="1972410"/>
                  </a:lnTo>
                  <a:lnTo>
                    <a:pt x="2711434" y="1971216"/>
                  </a:lnTo>
                  <a:lnTo>
                    <a:pt x="2711486" y="1969775"/>
                  </a:lnTo>
                  <a:lnTo>
                    <a:pt x="2711666" y="1968416"/>
                  </a:lnTo>
                  <a:lnTo>
                    <a:pt x="2711867" y="1967487"/>
                  </a:lnTo>
                  <a:lnTo>
                    <a:pt x="2711957" y="1965760"/>
                  </a:lnTo>
                  <a:lnTo>
                    <a:pt x="2711361" y="1958157"/>
                  </a:lnTo>
                  <a:lnTo>
                    <a:pt x="2711432" y="1952848"/>
                  </a:lnTo>
                  <a:lnTo>
                    <a:pt x="2711755" y="1950104"/>
                  </a:lnTo>
                  <a:lnTo>
                    <a:pt x="2713065" y="1947697"/>
                  </a:lnTo>
                  <a:lnTo>
                    <a:pt x="2712860" y="1945380"/>
                  </a:lnTo>
                  <a:lnTo>
                    <a:pt x="2711971" y="1941360"/>
                  </a:lnTo>
                  <a:lnTo>
                    <a:pt x="2712778" y="1935978"/>
                  </a:lnTo>
                  <a:lnTo>
                    <a:pt x="2714099" y="1930125"/>
                  </a:lnTo>
                  <a:lnTo>
                    <a:pt x="2721538" y="1917728"/>
                  </a:lnTo>
                  <a:lnTo>
                    <a:pt x="2725774" y="1911767"/>
                  </a:lnTo>
                  <a:lnTo>
                    <a:pt x="2728581" y="1910044"/>
                  </a:lnTo>
                  <a:close/>
                  <a:moveTo>
                    <a:pt x="3294823" y="1906443"/>
                  </a:moveTo>
                  <a:lnTo>
                    <a:pt x="3296311" y="1907083"/>
                  </a:lnTo>
                  <a:lnTo>
                    <a:pt x="3296784" y="1908262"/>
                  </a:lnTo>
                  <a:lnTo>
                    <a:pt x="3297055" y="1908717"/>
                  </a:lnTo>
                  <a:lnTo>
                    <a:pt x="3297433" y="1909130"/>
                  </a:lnTo>
                  <a:lnTo>
                    <a:pt x="3297137" y="1909244"/>
                  </a:lnTo>
                  <a:lnTo>
                    <a:pt x="3297698" y="1909822"/>
                  </a:lnTo>
                  <a:lnTo>
                    <a:pt x="3297401" y="1911032"/>
                  </a:lnTo>
                  <a:lnTo>
                    <a:pt x="3297312" y="1911897"/>
                  </a:lnTo>
                  <a:lnTo>
                    <a:pt x="3297441" y="1912725"/>
                  </a:lnTo>
                  <a:lnTo>
                    <a:pt x="3298126" y="1913805"/>
                  </a:lnTo>
                  <a:lnTo>
                    <a:pt x="3298859" y="1914155"/>
                  </a:lnTo>
                  <a:lnTo>
                    <a:pt x="3299534" y="1914355"/>
                  </a:lnTo>
                  <a:lnTo>
                    <a:pt x="3300038" y="1914968"/>
                  </a:lnTo>
                  <a:lnTo>
                    <a:pt x="3301066" y="1917926"/>
                  </a:lnTo>
                  <a:lnTo>
                    <a:pt x="3301319" y="1919633"/>
                  </a:lnTo>
                  <a:lnTo>
                    <a:pt x="3300964" y="1920909"/>
                  </a:lnTo>
                  <a:lnTo>
                    <a:pt x="3300166" y="1922563"/>
                  </a:lnTo>
                  <a:lnTo>
                    <a:pt x="3301103" y="1924348"/>
                  </a:lnTo>
                  <a:lnTo>
                    <a:pt x="3301626" y="1925805"/>
                  </a:lnTo>
                  <a:lnTo>
                    <a:pt x="3302197" y="1926541"/>
                  </a:lnTo>
                  <a:lnTo>
                    <a:pt x="3303293" y="1926175"/>
                  </a:lnTo>
                  <a:lnTo>
                    <a:pt x="3302850" y="1927428"/>
                  </a:lnTo>
                  <a:lnTo>
                    <a:pt x="3302147" y="1928473"/>
                  </a:lnTo>
                  <a:lnTo>
                    <a:pt x="3301662" y="1929716"/>
                  </a:lnTo>
                  <a:lnTo>
                    <a:pt x="3301862" y="1931524"/>
                  </a:lnTo>
                  <a:lnTo>
                    <a:pt x="3302328" y="1931271"/>
                  </a:lnTo>
                  <a:lnTo>
                    <a:pt x="3302718" y="1931318"/>
                  </a:lnTo>
                  <a:lnTo>
                    <a:pt x="3303129" y="1931709"/>
                  </a:lnTo>
                  <a:lnTo>
                    <a:pt x="3303650" y="1932522"/>
                  </a:lnTo>
                  <a:lnTo>
                    <a:pt x="3301412" y="1933527"/>
                  </a:lnTo>
                  <a:lnTo>
                    <a:pt x="3299533" y="1933644"/>
                  </a:lnTo>
                  <a:lnTo>
                    <a:pt x="3299020" y="1933319"/>
                  </a:lnTo>
                  <a:lnTo>
                    <a:pt x="3296305" y="1926233"/>
                  </a:lnTo>
                  <a:lnTo>
                    <a:pt x="3295255" y="1924253"/>
                  </a:lnTo>
                  <a:lnTo>
                    <a:pt x="3293958" y="1922528"/>
                  </a:lnTo>
                  <a:lnTo>
                    <a:pt x="3294357" y="1920904"/>
                  </a:lnTo>
                  <a:lnTo>
                    <a:pt x="3294692" y="1920119"/>
                  </a:lnTo>
                  <a:lnTo>
                    <a:pt x="3295254" y="1919634"/>
                  </a:lnTo>
                  <a:lnTo>
                    <a:pt x="3295839" y="1919569"/>
                  </a:lnTo>
                  <a:lnTo>
                    <a:pt x="3297024" y="1919695"/>
                  </a:lnTo>
                  <a:lnTo>
                    <a:pt x="3297591" y="1919475"/>
                  </a:lnTo>
                  <a:lnTo>
                    <a:pt x="3297348" y="1918838"/>
                  </a:lnTo>
                  <a:lnTo>
                    <a:pt x="3296363" y="1917954"/>
                  </a:lnTo>
                  <a:lnTo>
                    <a:pt x="3295158" y="1916619"/>
                  </a:lnTo>
                  <a:lnTo>
                    <a:pt x="3294703" y="1915504"/>
                  </a:lnTo>
                  <a:lnTo>
                    <a:pt x="3295991" y="1915276"/>
                  </a:lnTo>
                  <a:lnTo>
                    <a:pt x="3295752" y="1914647"/>
                  </a:lnTo>
                  <a:lnTo>
                    <a:pt x="3291918" y="1914978"/>
                  </a:lnTo>
                  <a:lnTo>
                    <a:pt x="3291015" y="1914767"/>
                  </a:lnTo>
                  <a:lnTo>
                    <a:pt x="3289878" y="1913167"/>
                  </a:lnTo>
                  <a:lnTo>
                    <a:pt x="3290078" y="1911957"/>
                  </a:lnTo>
                  <a:lnTo>
                    <a:pt x="3291210" y="1910298"/>
                  </a:lnTo>
                  <a:lnTo>
                    <a:pt x="3291784" y="1908268"/>
                  </a:lnTo>
                  <a:lnTo>
                    <a:pt x="3293153" y="1906913"/>
                  </a:lnTo>
                  <a:close/>
                  <a:moveTo>
                    <a:pt x="2824508" y="1896914"/>
                  </a:moveTo>
                  <a:lnTo>
                    <a:pt x="2826493" y="1897344"/>
                  </a:lnTo>
                  <a:lnTo>
                    <a:pt x="2827584" y="1897893"/>
                  </a:lnTo>
                  <a:lnTo>
                    <a:pt x="2828476" y="1898769"/>
                  </a:lnTo>
                  <a:lnTo>
                    <a:pt x="2828818" y="1900001"/>
                  </a:lnTo>
                  <a:lnTo>
                    <a:pt x="2828025" y="1900489"/>
                  </a:lnTo>
                  <a:lnTo>
                    <a:pt x="2826132" y="1900375"/>
                  </a:lnTo>
                  <a:lnTo>
                    <a:pt x="2823423" y="1901143"/>
                  </a:lnTo>
                  <a:lnTo>
                    <a:pt x="2822713" y="1901866"/>
                  </a:lnTo>
                  <a:lnTo>
                    <a:pt x="2822514" y="1902440"/>
                  </a:lnTo>
                  <a:lnTo>
                    <a:pt x="2822134" y="1903978"/>
                  </a:lnTo>
                  <a:lnTo>
                    <a:pt x="2821828" y="1904334"/>
                  </a:lnTo>
                  <a:lnTo>
                    <a:pt x="2820068" y="1904706"/>
                  </a:lnTo>
                  <a:lnTo>
                    <a:pt x="2818330" y="1904005"/>
                  </a:lnTo>
                  <a:lnTo>
                    <a:pt x="2816356" y="1902063"/>
                  </a:lnTo>
                  <a:lnTo>
                    <a:pt x="2815436" y="1899899"/>
                  </a:lnTo>
                  <a:lnTo>
                    <a:pt x="2816866" y="1898532"/>
                  </a:lnTo>
                  <a:close/>
                  <a:moveTo>
                    <a:pt x="2747330" y="1894670"/>
                  </a:moveTo>
                  <a:lnTo>
                    <a:pt x="2747815" y="1894761"/>
                  </a:lnTo>
                  <a:lnTo>
                    <a:pt x="2748231" y="1895099"/>
                  </a:lnTo>
                  <a:lnTo>
                    <a:pt x="2748642" y="1895546"/>
                  </a:lnTo>
                  <a:lnTo>
                    <a:pt x="2749414" y="1896175"/>
                  </a:lnTo>
                  <a:lnTo>
                    <a:pt x="2749631" y="1896406"/>
                  </a:lnTo>
                  <a:lnTo>
                    <a:pt x="2749924" y="1896541"/>
                  </a:lnTo>
                  <a:lnTo>
                    <a:pt x="2750450" y="1896511"/>
                  </a:lnTo>
                  <a:lnTo>
                    <a:pt x="2752347" y="1895248"/>
                  </a:lnTo>
                  <a:lnTo>
                    <a:pt x="2753385" y="1895135"/>
                  </a:lnTo>
                  <a:lnTo>
                    <a:pt x="2755248" y="1897483"/>
                  </a:lnTo>
                  <a:lnTo>
                    <a:pt x="2757563" y="1899723"/>
                  </a:lnTo>
                  <a:lnTo>
                    <a:pt x="2757218" y="1900150"/>
                  </a:lnTo>
                  <a:lnTo>
                    <a:pt x="2756929" y="1900679"/>
                  </a:lnTo>
                  <a:lnTo>
                    <a:pt x="2756688" y="1901325"/>
                  </a:lnTo>
                  <a:lnTo>
                    <a:pt x="2756482" y="1902132"/>
                  </a:lnTo>
                  <a:lnTo>
                    <a:pt x="2759893" y="1905150"/>
                  </a:lnTo>
                  <a:lnTo>
                    <a:pt x="2760835" y="1906310"/>
                  </a:lnTo>
                  <a:lnTo>
                    <a:pt x="2761849" y="1907194"/>
                  </a:lnTo>
                  <a:lnTo>
                    <a:pt x="2762997" y="1907749"/>
                  </a:lnTo>
                  <a:lnTo>
                    <a:pt x="2763825" y="1908482"/>
                  </a:lnTo>
                  <a:lnTo>
                    <a:pt x="2763877" y="1909901"/>
                  </a:lnTo>
                  <a:lnTo>
                    <a:pt x="2765753" y="1911633"/>
                  </a:lnTo>
                  <a:lnTo>
                    <a:pt x="2766495" y="1912631"/>
                  </a:lnTo>
                  <a:lnTo>
                    <a:pt x="2766564" y="1914016"/>
                  </a:lnTo>
                  <a:lnTo>
                    <a:pt x="2767135" y="1915485"/>
                  </a:lnTo>
                  <a:lnTo>
                    <a:pt x="2767774" y="1916792"/>
                  </a:lnTo>
                  <a:lnTo>
                    <a:pt x="2770744" y="1921470"/>
                  </a:lnTo>
                  <a:lnTo>
                    <a:pt x="2771276" y="1922707"/>
                  </a:lnTo>
                  <a:lnTo>
                    <a:pt x="2772011" y="1923964"/>
                  </a:lnTo>
                  <a:lnTo>
                    <a:pt x="2772682" y="1925409"/>
                  </a:lnTo>
                  <a:lnTo>
                    <a:pt x="2773094" y="1926077"/>
                  </a:lnTo>
                  <a:lnTo>
                    <a:pt x="2773659" y="1926592"/>
                  </a:lnTo>
                  <a:lnTo>
                    <a:pt x="2774541" y="1926870"/>
                  </a:lnTo>
                  <a:lnTo>
                    <a:pt x="2775087" y="1927556"/>
                  </a:lnTo>
                  <a:lnTo>
                    <a:pt x="2775064" y="1927841"/>
                  </a:lnTo>
                  <a:lnTo>
                    <a:pt x="2774833" y="1928863"/>
                  </a:lnTo>
                  <a:lnTo>
                    <a:pt x="2774796" y="1929133"/>
                  </a:lnTo>
                  <a:lnTo>
                    <a:pt x="2774991" y="1929458"/>
                  </a:lnTo>
                  <a:lnTo>
                    <a:pt x="2775500" y="1930147"/>
                  </a:lnTo>
                  <a:lnTo>
                    <a:pt x="2775660" y="1930487"/>
                  </a:lnTo>
                  <a:lnTo>
                    <a:pt x="2776473" y="1931900"/>
                  </a:lnTo>
                  <a:lnTo>
                    <a:pt x="2776859" y="1932834"/>
                  </a:lnTo>
                  <a:lnTo>
                    <a:pt x="2776513" y="1934014"/>
                  </a:lnTo>
                  <a:lnTo>
                    <a:pt x="2774465" y="1938002"/>
                  </a:lnTo>
                  <a:lnTo>
                    <a:pt x="2773797" y="1940998"/>
                  </a:lnTo>
                  <a:lnTo>
                    <a:pt x="2773283" y="1941929"/>
                  </a:lnTo>
                  <a:lnTo>
                    <a:pt x="2772386" y="1942644"/>
                  </a:lnTo>
                  <a:lnTo>
                    <a:pt x="2770677" y="1942834"/>
                  </a:lnTo>
                  <a:lnTo>
                    <a:pt x="2768255" y="1942105"/>
                  </a:lnTo>
                  <a:lnTo>
                    <a:pt x="2766049" y="1940248"/>
                  </a:lnTo>
                  <a:lnTo>
                    <a:pt x="2764996" y="1937074"/>
                  </a:lnTo>
                  <a:lnTo>
                    <a:pt x="2764695" y="1936525"/>
                  </a:lnTo>
                  <a:lnTo>
                    <a:pt x="2764479" y="1935820"/>
                  </a:lnTo>
                  <a:lnTo>
                    <a:pt x="2764098" y="1933871"/>
                  </a:lnTo>
                  <a:lnTo>
                    <a:pt x="2763587" y="1932557"/>
                  </a:lnTo>
                  <a:lnTo>
                    <a:pt x="2762799" y="1931657"/>
                  </a:lnTo>
                  <a:lnTo>
                    <a:pt x="2760290" y="1929976"/>
                  </a:lnTo>
                  <a:lnTo>
                    <a:pt x="2754410" y="1928132"/>
                  </a:lnTo>
                  <a:lnTo>
                    <a:pt x="2753646" y="1927411"/>
                  </a:lnTo>
                  <a:lnTo>
                    <a:pt x="2752473" y="1925858"/>
                  </a:lnTo>
                  <a:lnTo>
                    <a:pt x="2751459" y="1924888"/>
                  </a:lnTo>
                  <a:lnTo>
                    <a:pt x="2750525" y="1923760"/>
                  </a:lnTo>
                  <a:lnTo>
                    <a:pt x="2749590" y="1921683"/>
                  </a:lnTo>
                  <a:lnTo>
                    <a:pt x="2747723" y="1915599"/>
                  </a:lnTo>
                  <a:lnTo>
                    <a:pt x="2746871" y="1913914"/>
                  </a:lnTo>
                  <a:lnTo>
                    <a:pt x="2747111" y="1911349"/>
                  </a:lnTo>
                  <a:lnTo>
                    <a:pt x="2746174" y="1908554"/>
                  </a:lnTo>
                  <a:lnTo>
                    <a:pt x="2744770" y="1906093"/>
                  </a:lnTo>
                  <a:lnTo>
                    <a:pt x="2743602" y="1904528"/>
                  </a:lnTo>
                  <a:lnTo>
                    <a:pt x="2743763" y="1903442"/>
                  </a:lnTo>
                  <a:lnTo>
                    <a:pt x="2743762" y="1902313"/>
                  </a:lnTo>
                  <a:lnTo>
                    <a:pt x="2743553" y="1901177"/>
                  </a:lnTo>
                  <a:lnTo>
                    <a:pt x="2743082" y="1900081"/>
                  </a:lnTo>
                  <a:lnTo>
                    <a:pt x="2743643" y="1897376"/>
                  </a:lnTo>
                  <a:lnTo>
                    <a:pt x="2744437" y="1895851"/>
                  </a:lnTo>
                  <a:lnTo>
                    <a:pt x="2745615" y="1895092"/>
                  </a:lnTo>
                  <a:close/>
                  <a:moveTo>
                    <a:pt x="2748024" y="1888587"/>
                  </a:moveTo>
                  <a:lnTo>
                    <a:pt x="2749005" y="1889263"/>
                  </a:lnTo>
                  <a:lnTo>
                    <a:pt x="2748933" y="1890376"/>
                  </a:lnTo>
                  <a:lnTo>
                    <a:pt x="2749600" y="1891151"/>
                  </a:lnTo>
                  <a:lnTo>
                    <a:pt x="2748340" y="1892126"/>
                  </a:lnTo>
                  <a:lnTo>
                    <a:pt x="2746954" y="1892529"/>
                  </a:lnTo>
                  <a:lnTo>
                    <a:pt x="2745599" y="1892605"/>
                  </a:lnTo>
                  <a:lnTo>
                    <a:pt x="2744933" y="1891831"/>
                  </a:lnTo>
                  <a:lnTo>
                    <a:pt x="2744879" y="1890146"/>
                  </a:lnTo>
                  <a:lnTo>
                    <a:pt x="2745496" y="1889238"/>
                  </a:lnTo>
                  <a:close/>
                  <a:moveTo>
                    <a:pt x="2772230" y="1876985"/>
                  </a:moveTo>
                  <a:lnTo>
                    <a:pt x="2773416" y="1877282"/>
                  </a:lnTo>
                  <a:lnTo>
                    <a:pt x="2776598" y="1879233"/>
                  </a:lnTo>
                  <a:lnTo>
                    <a:pt x="2784184" y="1881128"/>
                  </a:lnTo>
                  <a:lnTo>
                    <a:pt x="2786043" y="1880823"/>
                  </a:lnTo>
                  <a:lnTo>
                    <a:pt x="2786986" y="1881001"/>
                  </a:lnTo>
                  <a:lnTo>
                    <a:pt x="2787693" y="1881543"/>
                  </a:lnTo>
                  <a:lnTo>
                    <a:pt x="2788272" y="1882179"/>
                  </a:lnTo>
                  <a:lnTo>
                    <a:pt x="2788909" y="1882653"/>
                  </a:lnTo>
                  <a:lnTo>
                    <a:pt x="2789801" y="1882723"/>
                  </a:lnTo>
                  <a:lnTo>
                    <a:pt x="2790300" y="1881933"/>
                  </a:lnTo>
                  <a:lnTo>
                    <a:pt x="2790737" y="1880544"/>
                  </a:lnTo>
                  <a:lnTo>
                    <a:pt x="2791313" y="1879652"/>
                  </a:lnTo>
                  <a:lnTo>
                    <a:pt x="2792241" y="1880361"/>
                  </a:lnTo>
                  <a:lnTo>
                    <a:pt x="2792690" y="1881426"/>
                  </a:lnTo>
                  <a:lnTo>
                    <a:pt x="2793045" y="1882823"/>
                  </a:lnTo>
                  <a:lnTo>
                    <a:pt x="2793276" y="1884160"/>
                  </a:lnTo>
                  <a:lnTo>
                    <a:pt x="2793359" y="1885044"/>
                  </a:lnTo>
                  <a:lnTo>
                    <a:pt x="2794277" y="1885525"/>
                  </a:lnTo>
                  <a:lnTo>
                    <a:pt x="2796129" y="1885991"/>
                  </a:lnTo>
                  <a:lnTo>
                    <a:pt x="2801889" y="1889696"/>
                  </a:lnTo>
                  <a:lnTo>
                    <a:pt x="2804597" y="1890087"/>
                  </a:lnTo>
                  <a:lnTo>
                    <a:pt x="2806267" y="1891011"/>
                  </a:lnTo>
                  <a:lnTo>
                    <a:pt x="2807938" y="1892398"/>
                  </a:lnTo>
                  <a:lnTo>
                    <a:pt x="2809182" y="1894042"/>
                  </a:lnTo>
                  <a:lnTo>
                    <a:pt x="2810624" y="1898671"/>
                  </a:lnTo>
                  <a:lnTo>
                    <a:pt x="2809969" y="1901939"/>
                  </a:lnTo>
                  <a:lnTo>
                    <a:pt x="2806727" y="1906040"/>
                  </a:lnTo>
                  <a:lnTo>
                    <a:pt x="2807631" y="1906956"/>
                  </a:lnTo>
                  <a:lnTo>
                    <a:pt x="2810497" y="1907543"/>
                  </a:lnTo>
                  <a:lnTo>
                    <a:pt x="2810722" y="1907796"/>
                  </a:lnTo>
                  <a:lnTo>
                    <a:pt x="2811000" y="1908229"/>
                  </a:lnTo>
                  <a:lnTo>
                    <a:pt x="2811366" y="1908616"/>
                  </a:lnTo>
                  <a:lnTo>
                    <a:pt x="2811835" y="1908727"/>
                  </a:lnTo>
                  <a:lnTo>
                    <a:pt x="2812951" y="1908495"/>
                  </a:lnTo>
                  <a:lnTo>
                    <a:pt x="2813538" y="1908713"/>
                  </a:lnTo>
                  <a:lnTo>
                    <a:pt x="2815263" y="1910491"/>
                  </a:lnTo>
                  <a:lnTo>
                    <a:pt x="2818786" y="1911075"/>
                  </a:lnTo>
                  <a:lnTo>
                    <a:pt x="2819771" y="1911631"/>
                  </a:lnTo>
                  <a:lnTo>
                    <a:pt x="2820339" y="1912111"/>
                  </a:lnTo>
                  <a:lnTo>
                    <a:pt x="2820656" y="1912657"/>
                  </a:lnTo>
                  <a:lnTo>
                    <a:pt x="2820684" y="1914109"/>
                  </a:lnTo>
                  <a:lnTo>
                    <a:pt x="2820779" y="1914929"/>
                  </a:lnTo>
                  <a:lnTo>
                    <a:pt x="2821051" y="1915244"/>
                  </a:lnTo>
                  <a:lnTo>
                    <a:pt x="2821705" y="1914848"/>
                  </a:lnTo>
                  <a:lnTo>
                    <a:pt x="2822585" y="1913572"/>
                  </a:lnTo>
                  <a:lnTo>
                    <a:pt x="2823284" y="1913179"/>
                  </a:lnTo>
                  <a:lnTo>
                    <a:pt x="2831246" y="1911457"/>
                  </a:lnTo>
                  <a:lnTo>
                    <a:pt x="2833650" y="1911653"/>
                  </a:lnTo>
                  <a:lnTo>
                    <a:pt x="2835196" y="1913062"/>
                  </a:lnTo>
                  <a:lnTo>
                    <a:pt x="2834316" y="1913938"/>
                  </a:lnTo>
                  <a:lnTo>
                    <a:pt x="2833543" y="1915191"/>
                  </a:lnTo>
                  <a:lnTo>
                    <a:pt x="2833455" y="1916542"/>
                  </a:lnTo>
                  <a:lnTo>
                    <a:pt x="2834653" y="1917757"/>
                  </a:lnTo>
                  <a:lnTo>
                    <a:pt x="2834460" y="1918726"/>
                  </a:lnTo>
                  <a:lnTo>
                    <a:pt x="2834118" y="1919349"/>
                  </a:lnTo>
                  <a:lnTo>
                    <a:pt x="2833313" y="1920258"/>
                  </a:lnTo>
                  <a:lnTo>
                    <a:pt x="2833584" y="1920200"/>
                  </a:lnTo>
                  <a:lnTo>
                    <a:pt x="2832979" y="1921525"/>
                  </a:lnTo>
                  <a:lnTo>
                    <a:pt x="2831758" y="1922913"/>
                  </a:lnTo>
                  <a:lnTo>
                    <a:pt x="2830426" y="1923848"/>
                  </a:lnTo>
                  <a:lnTo>
                    <a:pt x="2829478" y="1923781"/>
                  </a:lnTo>
                  <a:lnTo>
                    <a:pt x="2828252" y="1922434"/>
                  </a:lnTo>
                  <a:lnTo>
                    <a:pt x="2827029" y="1921476"/>
                  </a:lnTo>
                  <a:lnTo>
                    <a:pt x="2825803" y="1920877"/>
                  </a:lnTo>
                  <a:lnTo>
                    <a:pt x="2824571" y="1920596"/>
                  </a:lnTo>
                  <a:lnTo>
                    <a:pt x="2819428" y="1921678"/>
                  </a:lnTo>
                  <a:lnTo>
                    <a:pt x="2818139" y="1921313"/>
                  </a:lnTo>
                  <a:lnTo>
                    <a:pt x="2818123" y="1919818"/>
                  </a:lnTo>
                  <a:lnTo>
                    <a:pt x="2818948" y="1916517"/>
                  </a:lnTo>
                  <a:lnTo>
                    <a:pt x="2817477" y="1917179"/>
                  </a:lnTo>
                  <a:lnTo>
                    <a:pt x="2816400" y="1918861"/>
                  </a:lnTo>
                  <a:lnTo>
                    <a:pt x="2816415" y="1920737"/>
                  </a:lnTo>
                  <a:lnTo>
                    <a:pt x="2818216" y="1921932"/>
                  </a:lnTo>
                  <a:lnTo>
                    <a:pt x="2818385" y="1922732"/>
                  </a:lnTo>
                  <a:lnTo>
                    <a:pt x="2816752" y="1922628"/>
                  </a:lnTo>
                  <a:lnTo>
                    <a:pt x="2813379" y="1921559"/>
                  </a:lnTo>
                  <a:lnTo>
                    <a:pt x="2811876" y="1921724"/>
                  </a:lnTo>
                  <a:lnTo>
                    <a:pt x="2809963" y="1924292"/>
                  </a:lnTo>
                  <a:lnTo>
                    <a:pt x="2808906" y="1924595"/>
                  </a:lnTo>
                  <a:lnTo>
                    <a:pt x="2807929" y="1922156"/>
                  </a:lnTo>
                  <a:lnTo>
                    <a:pt x="2808034" y="1921282"/>
                  </a:lnTo>
                  <a:lnTo>
                    <a:pt x="2808644" y="1921021"/>
                  </a:lnTo>
                  <a:lnTo>
                    <a:pt x="2809356" y="1920947"/>
                  </a:lnTo>
                  <a:lnTo>
                    <a:pt x="2809772" y="1920634"/>
                  </a:lnTo>
                  <a:lnTo>
                    <a:pt x="2809871" y="1919643"/>
                  </a:lnTo>
                  <a:lnTo>
                    <a:pt x="2809683" y="1918902"/>
                  </a:lnTo>
                  <a:lnTo>
                    <a:pt x="2809367" y="1918209"/>
                  </a:lnTo>
                  <a:lnTo>
                    <a:pt x="2809087" y="1917354"/>
                  </a:lnTo>
                  <a:lnTo>
                    <a:pt x="2809534" y="1915973"/>
                  </a:lnTo>
                  <a:lnTo>
                    <a:pt x="2810901" y="1914557"/>
                  </a:lnTo>
                  <a:lnTo>
                    <a:pt x="2813503" y="1912941"/>
                  </a:lnTo>
                  <a:lnTo>
                    <a:pt x="2813349" y="1912211"/>
                  </a:lnTo>
                  <a:lnTo>
                    <a:pt x="2811496" y="1911588"/>
                  </a:lnTo>
                  <a:lnTo>
                    <a:pt x="2807041" y="1913515"/>
                  </a:lnTo>
                  <a:lnTo>
                    <a:pt x="2808374" y="1910859"/>
                  </a:lnTo>
                  <a:lnTo>
                    <a:pt x="2808551" y="1910160"/>
                  </a:lnTo>
                  <a:lnTo>
                    <a:pt x="2808112" y="1909103"/>
                  </a:lnTo>
                  <a:lnTo>
                    <a:pt x="2807374" y="1909115"/>
                  </a:lnTo>
                  <a:lnTo>
                    <a:pt x="2804648" y="1910904"/>
                  </a:lnTo>
                  <a:lnTo>
                    <a:pt x="2801668" y="1916206"/>
                  </a:lnTo>
                  <a:lnTo>
                    <a:pt x="2800843" y="1916465"/>
                  </a:lnTo>
                  <a:lnTo>
                    <a:pt x="2800061" y="1915961"/>
                  </a:lnTo>
                  <a:lnTo>
                    <a:pt x="2799292" y="1915175"/>
                  </a:lnTo>
                  <a:lnTo>
                    <a:pt x="2798494" y="1914575"/>
                  </a:lnTo>
                  <a:lnTo>
                    <a:pt x="2797678" y="1914612"/>
                  </a:lnTo>
                  <a:lnTo>
                    <a:pt x="2796354" y="1915660"/>
                  </a:lnTo>
                  <a:lnTo>
                    <a:pt x="2793886" y="1915458"/>
                  </a:lnTo>
                  <a:lnTo>
                    <a:pt x="2793039" y="1915057"/>
                  </a:lnTo>
                  <a:lnTo>
                    <a:pt x="2792849" y="1913772"/>
                  </a:lnTo>
                  <a:lnTo>
                    <a:pt x="2793158" y="1912609"/>
                  </a:lnTo>
                  <a:lnTo>
                    <a:pt x="2793509" y="1911818"/>
                  </a:lnTo>
                  <a:lnTo>
                    <a:pt x="2793735" y="1910920"/>
                  </a:lnTo>
                  <a:lnTo>
                    <a:pt x="2793683" y="1909458"/>
                  </a:lnTo>
                  <a:lnTo>
                    <a:pt x="2793023" y="1907333"/>
                  </a:lnTo>
                  <a:lnTo>
                    <a:pt x="2791977" y="1905282"/>
                  </a:lnTo>
                  <a:lnTo>
                    <a:pt x="2791097" y="1903247"/>
                  </a:lnTo>
                  <a:lnTo>
                    <a:pt x="2790789" y="1899924"/>
                  </a:lnTo>
                  <a:lnTo>
                    <a:pt x="2790071" y="1898976"/>
                  </a:lnTo>
                  <a:lnTo>
                    <a:pt x="2789201" y="1898393"/>
                  </a:lnTo>
                  <a:lnTo>
                    <a:pt x="2787594" y="1898121"/>
                  </a:lnTo>
                  <a:lnTo>
                    <a:pt x="2787316" y="1897330"/>
                  </a:lnTo>
                  <a:lnTo>
                    <a:pt x="2787273" y="1896101"/>
                  </a:lnTo>
                  <a:lnTo>
                    <a:pt x="2786962" y="1894695"/>
                  </a:lnTo>
                  <a:lnTo>
                    <a:pt x="2786323" y="1893559"/>
                  </a:lnTo>
                  <a:lnTo>
                    <a:pt x="2785758" y="1893169"/>
                  </a:lnTo>
                  <a:lnTo>
                    <a:pt x="2784438" y="1892924"/>
                  </a:lnTo>
                  <a:lnTo>
                    <a:pt x="2781487" y="1890902"/>
                  </a:lnTo>
                  <a:lnTo>
                    <a:pt x="2780585" y="1890718"/>
                  </a:lnTo>
                  <a:lnTo>
                    <a:pt x="2777906" y="1891328"/>
                  </a:lnTo>
                  <a:lnTo>
                    <a:pt x="2776632" y="1890913"/>
                  </a:lnTo>
                  <a:lnTo>
                    <a:pt x="2775059" y="1889379"/>
                  </a:lnTo>
                  <a:lnTo>
                    <a:pt x="2773404" y="1887118"/>
                  </a:lnTo>
                  <a:lnTo>
                    <a:pt x="2771971" y="1884813"/>
                  </a:lnTo>
                  <a:lnTo>
                    <a:pt x="2772292" y="1884751"/>
                  </a:lnTo>
                  <a:lnTo>
                    <a:pt x="2771811" y="1884007"/>
                  </a:lnTo>
                  <a:lnTo>
                    <a:pt x="2771988" y="1883216"/>
                  </a:lnTo>
                  <a:lnTo>
                    <a:pt x="2771667" y="1883279"/>
                  </a:lnTo>
                  <a:lnTo>
                    <a:pt x="2771608" y="1881779"/>
                  </a:lnTo>
                  <a:lnTo>
                    <a:pt x="2771224" y="1880319"/>
                  </a:lnTo>
                  <a:lnTo>
                    <a:pt x="2770803" y="1879048"/>
                  </a:lnTo>
                  <a:lnTo>
                    <a:pt x="2770641" y="1878097"/>
                  </a:lnTo>
                  <a:lnTo>
                    <a:pt x="2771160" y="1877158"/>
                  </a:lnTo>
                  <a:close/>
                  <a:moveTo>
                    <a:pt x="2810916" y="1876057"/>
                  </a:moveTo>
                  <a:lnTo>
                    <a:pt x="2810997" y="1876748"/>
                  </a:lnTo>
                  <a:lnTo>
                    <a:pt x="2811156" y="1877341"/>
                  </a:lnTo>
                  <a:lnTo>
                    <a:pt x="2811690" y="1878514"/>
                  </a:lnTo>
                  <a:lnTo>
                    <a:pt x="2812195" y="1879388"/>
                  </a:lnTo>
                  <a:lnTo>
                    <a:pt x="2812277" y="1879980"/>
                  </a:lnTo>
                  <a:lnTo>
                    <a:pt x="2811935" y="1880284"/>
                  </a:lnTo>
                  <a:lnTo>
                    <a:pt x="2811681" y="1880169"/>
                  </a:lnTo>
                  <a:lnTo>
                    <a:pt x="2811450" y="1880004"/>
                  </a:lnTo>
                  <a:lnTo>
                    <a:pt x="2811156" y="1880202"/>
                  </a:lnTo>
                  <a:lnTo>
                    <a:pt x="2810921" y="1880646"/>
                  </a:lnTo>
                  <a:lnTo>
                    <a:pt x="2810831" y="1880937"/>
                  </a:lnTo>
                  <a:lnTo>
                    <a:pt x="2810484" y="1881228"/>
                  </a:lnTo>
                  <a:lnTo>
                    <a:pt x="2809745" y="1881074"/>
                  </a:lnTo>
                  <a:lnTo>
                    <a:pt x="2809456" y="1880231"/>
                  </a:lnTo>
                  <a:lnTo>
                    <a:pt x="2809725" y="1879548"/>
                  </a:lnTo>
                  <a:lnTo>
                    <a:pt x="2809870" y="1878783"/>
                  </a:lnTo>
                  <a:lnTo>
                    <a:pt x="2809845" y="1878302"/>
                  </a:lnTo>
                  <a:lnTo>
                    <a:pt x="2809839" y="1877931"/>
                  </a:lnTo>
                  <a:lnTo>
                    <a:pt x="2810092" y="1877020"/>
                  </a:lnTo>
                  <a:lnTo>
                    <a:pt x="2810615" y="1876107"/>
                  </a:lnTo>
                  <a:close/>
                  <a:moveTo>
                    <a:pt x="2806636" y="1872572"/>
                  </a:moveTo>
                  <a:lnTo>
                    <a:pt x="2807402" y="1872598"/>
                  </a:lnTo>
                  <a:lnTo>
                    <a:pt x="2808400" y="1873179"/>
                  </a:lnTo>
                  <a:lnTo>
                    <a:pt x="2808803" y="1873068"/>
                  </a:lnTo>
                  <a:lnTo>
                    <a:pt x="2808885" y="1872592"/>
                  </a:lnTo>
                  <a:lnTo>
                    <a:pt x="2809248" y="1872580"/>
                  </a:lnTo>
                  <a:lnTo>
                    <a:pt x="2810151" y="1873252"/>
                  </a:lnTo>
                  <a:lnTo>
                    <a:pt x="2810310" y="1873646"/>
                  </a:lnTo>
                  <a:lnTo>
                    <a:pt x="2810194" y="1874152"/>
                  </a:lnTo>
                  <a:lnTo>
                    <a:pt x="2809753" y="1874643"/>
                  </a:lnTo>
                  <a:lnTo>
                    <a:pt x="2809846" y="1875133"/>
                  </a:lnTo>
                  <a:lnTo>
                    <a:pt x="2809657" y="1875790"/>
                  </a:lnTo>
                  <a:lnTo>
                    <a:pt x="2809119" y="1876329"/>
                  </a:lnTo>
                  <a:lnTo>
                    <a:pt x="2808833" y="1876462"/>
                  </a:lnTo>
                  <a:lnTo>
                    <a:pt x="2808720" y="1876831"/>
                  </a:lnTo>
                  <a:lnTo>
                    <a:pt x="2808434" y="1877422"/>
                  </a:lnTo>
                  <a:lnTo>
                    <a:pt x="2807825" y="1878107"/>
                  </a:lnTo>
                  <a:lnTo>
                    <a:pt x="2807847" y="1877567"/>
                  </a:lnTo>
                  <a:lnTo>
                    <a:pt x="2807762" y="1876531"/>
                  </a:lnTo>
                  <a:lnTo>
                    <a:pt x="2807207" y="1876048"/>
                  </a:lnTo>
                  <a:lnTo>
                    <a:pt x="2806781" y="1875179"/>
                  </a:lnTo>
                  <a:lnTo>
                    <a:pt x="2806547" y="1873662"/>
                  </a:lnTo>
                  <a:close/>
                  <a:moveTo>
                    <a:pt x="2702207" y="1854778"/>
                  </a:moveTo>
                  <a:lnTo>
                    <a:pt x="2703004" y="1855540"/>
                  </a:lnTo>
                  <a:lnTo>
                    <a:pt x="2703073" y="1856769"/>
                  </a:lnTo>
                  <a:lnTo>
                    <a:pt x="2701944" y="1857146"/>
                  </a:lnTo>
                  <a:lnTo>
                    <a:pt x="2700429" y="1857563"/>
                  </a:lnTo>
                  <a:lnTo>
                    <a:pt x="2699647" y="1856344"/>
                  </a:lnTo>
                  <a:lnTo>
                    <a:pt x="2699122" y="1855097"/>
                  </a:lnTo>
                  <a:lnTo>
                    <a:pt x="2700279" y="1854977"/>
                  </a:lnTo>
                  <a:close/>
                  <a:moveTo>
                    <a:pt x="2818073" y="1845138"/>
                  </a:moveTo>
                  <a:lnTo>
                    <a:pt x="2819411" y="1845177"/>
                  </a:lnTo>
                  <a:lnTo>
                    <a:pt x="2819829" y="1845415"/>
                  </a:lnTo>
                  <a:lnTo>
                    <a:pt x="2821440" y="1847403"/>
                  </a:lnTo>
                  <a:lnTo>
                    <a:pt x="2822162" y="1847733"/>
                  </a:lnTo>
                  <a:lnTo>
                    <a:pt x="2823595" y="1847751"/>
                  </a:lnTo>
                  <a:lnTo>
                    <a:pt x="2824328" y="1847996"/>
                  </a:lnTo>
                  <a:lnTo>
                    <a:pt x="2823507" y="1848865"/>
                  </a:lnTo>
                  <a:lnTo>
                    <a:pt x="2823216" y="1849538"/>
                  </a:lnTo>
                  <a:lnTo>
                    <a:pt x="2823039" y="1850495"/>
                  </a:lnTo>
                  <a:lnTo>
                    <a:pt x="2824012" y="1850784"/>
                  </a:lnTo>
                  <a:lnTo>
                    <a:pt x="2826269" y="1849793"/>
                  </a:lnTo>
                  <a:lnTo>
                    <a:pt x="2826886" y="1850132"/>
                  </a:lnTo>
                  <a:lnTo>
                    <a:pt x="2828343" y="1851915"/>
                  </a:lnTo>
                  <a:lnTo>
                    <a:pt x="2829253" y="1852194"/>
                  </a:lnTo>
                  <a:lnTo>
                    <a:pt x="2833958" y="1849054"/>
                  </a:lnTo>
                  <a:lnTo>
                    <a:pt x="2835261" y="1850177"/>
                  </a:lnTo>
                  <a:lnTo>
                    <a:pt x="2834151" y="1851951"/>
                  </a:lnTo>
                  <a:lnTo>
                    <a:pt x="2833574" y="1853321"/>
                  </a:lnTo>
                  <a:lnTo>
                    <a:pt x="2832971" y="1857194"/>
                  </a:lnTo>
                  <a:lnTo>
                    <a:pt x="2832509" y="1858492"/>
                  </a:lnTo>
                  <a:lnTo>
                    <a:pt x="2831217" y="1859297"/>
                  </a:lnTo>
                  <a:lnTo>
                    <a:pt x="2829509" y="1859330"/>
                  </a:lnTo>
                  <a:lnTo>
                    <a:pt x="2827719" y="1858591"/>
                  </a:lnTo>
                  <a:lnTo>
                    <a:pt x="2826194" y="1857090"/>
                  </a:lnTo>
                  <a:lnTo>
                    <a:pt x="2823732" y="1855664"/>
                  </a:lnTo>
                  <a:lnTo>
                    <a:pt x="2820800" y="1855283"/>
                  </a:lnTo>
                  <a:lnTo>
                    <a:pt x="2818639" y="1853852"/>
                  </a:lnTo>
                  <a:lnTo>
                    <a:pt x="2818483" y="1849260"/>
                  </a:lnTo>
                  <a:lnTo>
                    <a:pt x="2817813" y="1849490"/>
                  </a:lnTo>
                  <a:lnTo>
                    <a:pt x="2817468" y="1849182"/>
                  </a:lnTo>
                  <a:lnTo>
                    <a:pt x="2817361" y="1848382"/>
                  </a:lnTo>
                  <a:lnTo>
                    <a:pt x="2817409" y="1847136"/>
                  </a:lnTo>
                  <a:lnTo>
                    <a:pt x="2817647" y="1845621"/>
                  </a:lnTo>
                  <a:close/>
                  <a:moveTo>
                    <a:pt x="3741349" y="1811471"/>
                  </a:moveTo>
                  <a:lnTo>
                    <a:pt x="3748224" y="1814518"/>
                  </a:lnTo>
                  <a:lnTo>
                    <a:pt x="3748887" y="1817823"/>
                  </a:lnTo>
                  <a:lnTo>
                    <a:pt x="3750326" y="1823014"/>
                  </a:lnTo>
                  <a:lnTo>
                    <a:pt x="3745030" y="1819230"/>
                  </a:lnTo>
                  <a:lnTo>
                    <a:pt x="3740755" y="1813506"/>
                  </a:lnTo>
                  <a:close/>
                  <a:moveTo>
                    <a:pt x="3728277" y="1811419"/>
                  </a:moveTo>
                  <a:lnTo>
                    <a:pt x="3729524" y="1811711"/>
                  </a:lnTo>
                  <a:lnTo>
                    <a:pt x="3730865" y="1812462"/>
                  </a:lnTo>
                  <a:lnTo>
                    <a:pt x="3732049" y="1813414"/>
                  </a:lnTo>
                  <a:lnTo>
                    <a:pt x="3734871" y="1818140"/>
                  </a:lnTo>
                  <a:lnTo>
                    <a:pt x="3736217" y="1819954"/>
                  </a:lnTo>
                  <a:lnTo>
                    <a:pt x="3737665" y="1821527"/>
                  </a:lnTo>
                  <a:lnTo>
                    <a:pt x="3739261" y="1823047"/>
                  </a:lnTo>
                  <a:lnTo>
                    <a:pt x="3740707" y="1824667"/>
                  </a:lnTo>
                  <a:lnTo>
                    <a:pt x="3741549" y="1826375"/>
                  </a:lnTo>
                  <a:lnTo>
                    <a:pt x="3741333" y="1828158"/>
                  </a:lnTo>
                  <a:lnTo>
                    <a:pt x="3742522" y="1828327"/>
                  </a:lnTo>
                  <a:lnTo>
                    <a:pt x="3743476" y="1828837"/>
                  </a:lnTo>
                  <a:lnTo>
                    <a:pt x="3745788" y="1830817"/>
                  </a:lnTo>
                  <a:lnTo>
                    <a:pt x="3744883" y="1831326"/>
                  </a:lnTo>
                  <a:lnTo>
                    <a:pt x="3744569" y="1831763"/>
                  </a:lnTo>
                  <a:lnTo>
                    <a:pt x="3744390" y="1832387"/>
                  </a:lnTo>
                  <a:lnTo>
                    <a:pt x="3745253" y="1832903"/>
                  </a:lnTo>
                  <a:lnTo>
                    <a:pt x="3745813" y="1832876"/>
                  </a:lnTo>
                  <a:lnTo>
                    <a:pt x="3746288" y="1832702"/>
                  </a:lnTo>
                  <a:lnTo>
                    <a:pt x="3746880" y="1832790"/>
                  </a:lnTo>
                  <a:lnTo>
                    <a:pt x="3747434" y="1833136"/>
                  </a:lnTo>
                  <a:lnTo>
                    <a:pt x="3748864" y="1834261"/>
                  </a:lnTo>
                  <a:lnTo>
                    <a:pt x="3748909" y="1834349"/>
                  </a:lnTo>
                  <a:lnTo>
                    <a:pt x="3749180" y="1834648"/>
                  </a:lnTo>
                  <a:lnTo>
                    <a:pt x="3749615" y="1834988"/>
                  </a:lnTo>
                  <a:lnTo>
                    <a:pt x="3750171" y="1835250"/>
                  </a:lnTo>
                  <a:lnTo>
                    <a:pt x="3750547" y="1835116"/>
                  </a:lnTo>
                  <a:lnTo>
                    <a:pt x="3750685" y="1834079"/>
                  </a:lnTo>
                  <a:lnTo>
                    <a:pt x="3750955" y="1833870"/>
                  </a:lnTo>
                  <a:lnTo>
                    <a:pt x="3751449" y="1834130"/>
                  </a:lnTo>
                  <a:lnTo>
                    <a:pt x="3752950" y="1835488"/>
                  </a:lnTo>
                  <a:lnTo>
                    <a:pt x="3753109" y="1835706"/>
                  </a:lnTo>
                  <a:lnTo>
                    <a:pt x="3753487" y="1836505"/>
                  </a:lnTo>
                  <a:lnTo>
                    <a:pt x="3753642" y="1836736"/>
                  </a:lnTo>
                  <a:lnTo>
                    <a:pt x="3753895" y="1836799"/>
                  </a:lnTo>
                  <a:lnTo>
                    <a:pt x="3754528" y="1836740"/>
                  </a:lnTo>
                  <a:lnTo>
                    <a:pt x="3756911" y="1837604"/>
                  </a:lnTo>
                  <a:lnTo>
                    <a:pt x="3757885" y="1837696"/>
                  </a:lnTo>
                  <a:lnTo>
                    <a:pt x="3758628" y="1837446"/>
                  </a:lnTo>
                  <a:lnTo>
                    <a:pt x="3758793" y="1839017"/>
                  </a:lnTo>
                  <a:lnTo>
                    <a:pt x="3759930" y="1840117"/>
                  </a:lnTo>
                  <a:lnTo>
                    <a:pt x="3761500" y="1841171"/>
                  </a:lnTo>
                  <a:lnTo>
                    <a:pt x="3762980" y="1842591"/>
                  </a:lnTo>
                  <a:lnTo>
                    <a:pt x="3761271" y="1842869"/>
                  </a:lnTo>
                  <a:lnTo>
                    <a:pt x="3756323" y="1840616"/>
                  </a:lnTo>
                  <a:lnTo>
                    <a:pt x="3755287" y="1841056"/>
                  </a:lnTo>
                  <a:lnTo>
                    <a:pt x="3756047" y="1841439"/>
                  </a:lnTo>
                  <a:lnTo>
                    <a:pt x="3756554" y="1841960"/>
                  </a:lnTo>
                  <a:lnTo>
                    <a:pt x="3756663" y="1842540"/>
                  </a:lnTo>
                  <a:lnTo>
                    <a:pt x="3756214" y="1843044"/>
                  </a:lnTo>
                  <a:lnTo>
                    <a:pt x="3755447" y="1843081"/>
                  </a:lnTo>
                  <a:lnTo>
                    <a:pt x="3753720" y="1842328"/>
                  </a:lnTo>
                  <a:lnTo>
                    <a:pt x="3751745" y="1842308"/>
                  </a:lnTo>
                  <a:lnTo>
                    <a:pt x="3750142" y="1841454"/>
                  </a:lnTo>
                  <a:lnTo>
                    <a:pt x="3747219" y="1839492"/>
                  </a:lnTo>
                  <a:lnTo>
                    <a:pt x="3746714" y="1839089"/>
                  </a:lnTo>
                  <a:lnTo>
                    <a:pt x="3746149" y="1838539"/>
                  </a:lnTo>
                  <a:lnTo>
                    <a:pt x="3745551" y="1838151"/>
                  </a:lnTo>
                  <a:lnTo>
                    <a:pt x="3744947" y="1838182"/>
                  </a:lnTo>
                  <a:lnTo>
                    <a:pt x="3744232" y="1838013"/>
                  </a:lnTo>
                  <a:lnTo>
                    <a:pt x="3743471" y="1837100"/>
                  </a:lnTo>
                  <a:lnTo>
                    <a:pt x="3742702" y="1835962"/>
                  </a:lnTo>
                  <a:lnTo>
                    <a:pt x="3741958" y="1835128"/>
                  </a:lnTo>
                  <a:lnTo>
                    <a:pt x="3741607" y="1834945"/>
                  </a:lnTo>
                  <a:lnTo>
                    <a:pt x="3741350" y="1834894"/>
                  </a:lnTo>
                  <a:lnTo>
                    <a:pt x="3741074" y="1834797"/>
                  </a:lnTo>
                  <a:lnTo>
                    <a:pt x="3740670" y="1834470"/>
                  </a:lnTo>
                  <a:lnTo>
                    <a:pt x="3739773" y="1833511"/>
                  </a:lnTo>
                  <a:lnTo>
                    <a:pt x="3739630" y="1833329"/>
                  </a:lnTo>
                  <a:lnTo>
                    <a:pt x="3738410" y="1832408"/>
                  </a:lnTo>
                  <a:lnTo>
                    <a:pt x="3737758" y="1832105"/>
                  </a:lnTo>
                  <a:lnTo>
                    <a:pt x="3737101" y="1832165"/>
                  </a:lnTo>
                  <a:lnTo>
                    <a:pt x="3737370" y="1831041"/>
                  </a:lnTo>
                  <a:lnTo>
                    <a:pt x="3737853" y="1830105"/>
                  </a:lnTo>
                  <a:lnTo>
                    <a:pt x="3737559" y="1830090"/>
                  </a:lnTo>
                  <a:lnTo>
                    <a:pt x="3736899" y="1829901"/>
                  </a:lnTo>
                  <a:lnTo>
                    <a:pt x="3736595" y="1829876"/>
                  </a:lnTo>
                  <a:lnTo>
                    <a:pt x="3735699" y="1828091"/>
                  </a:lnTo>
                  <a:lnTo>
                    <a:pt x="3734172" y="1826403"/>
                  </a:lnTo>
                  <a:lnTo>
                    <a:pt x="3732573" y="1825236"/>
                  </a:lnTo>
                  <a:lnTo>
                    <a:pt x="3731450" y="1825002"/>
                  </a:lnTo>
                  <a:lnTo>
                    <a:pt x="3730586" y="1824485"/>
                  </a:lnTo>
                  <a:lnTo>
                    <a:pt x="3727603" y="1821206"/>
                  </a:lnTo>
                  <a:lnTo>
                    <a:pt x="3726285" y="1820077"/>
                  </a:lnTo>
                  <a:lnTo>
                    <a:pt x="3726236" y="1818886"/>
                  </a:lnTo>
                  <a:lnTo>
                    <a:pt x="3726049" y="1817577"/>
                  </a:lnTo>
                  <a:lnTo>
                    <a:pt x="3726066" y="1816389"/>
                  </a:lnTo>
                  <a:lnTo>
                    <a:pt x="3726642" y="1815587"/>
                  </a:lnTo>
                  <a:lnTo>
                    <a:pt x="3727371" y="1815067"/>
                  </a:lnTo>
                  <a:lnTo>
                    <a:pt x="3728019" y="1814265"/>
                  </a:lnTo>
                  <a:lnTo>
                    <a:pt x="3728164" y="1813174"/>
                  </a:lnTo>
                  <a:lnTo>
                    <a:pt x="3727379" y="1811804"/>
                  </a:lnTo>
                  <a:close/>
                  <a:moveTo>
                    <a:pt x="1763019" y="1794580"/>
                  </a:moveTo>
                  <a:lnTo>
                    <a:pt x="1763385" y="1796929"/>
                  </a:lnTo>
                  <a:lnTo>
                    <a:pt x="1762824" y="1799161"/>
                  </a:lnTo>
                  <a:lnTo>
                    <a:pt x="1760870" y="1804852"/>
                  </a:lnTo>
                  <a:lnTo>
                    <a:pt x="1760068" y="1806533"/>
                  </a:lnTo>
                  <a:lnTo>
                    <a:pt x="1758760" y="1808131"/>
                  </a:lnTo>
                  <a:lnTo>
                    <a:pt x="1756947" y="1809928"/>
                  </a:lnTo>
                  <a:lnTo>
                    <a:pt x="1755215" y="1810999"/>
                  </a:lnTo>
                  <a:lnTo>
                    <a:pt x="1754158" y="1810448"/>
                  </a:lnTo>
                  <a:lnTo>
                    <a:pt x="1756866" y="1807119"/>
                  </a:lnTo>
                  <a:lnTo>
                    <a:pt x="1758079" y="1804928"/>
                  </a:lnTo>
                  <a:lnTo>
                    <a:pt x="1758959" y="1801864"/>
                  </a:lnTo>
                  <a:lnTo>
                    <a:pt x="1759940" y="1799029"/>
                  </a:lnTo>
                  <a:lnTo>
                    <a:pt x="1761584" y="1795939"/>
                  </a:lnTo>
                  <a:close/>
                  <a:moveTo>
                    <a:pt x="3708129" y="1793467"/>
                  </a:moveTo>
                  <a:lnTo>
                    <a:pt x="3709141" y="1794318"/>
                  </a:lnTo>
                  <a:lnTo>
                    <a:pt x="3709342" y="1795843"/>
                  </a:lnTo>
                  <a:lnTo>
                    <a:pt x="3709423" y="1799114"/>
                  </a:lnTo>
                  <a:lnTo>
                    <a:pt x="3709756" y="1800848"/>
                  </a:lnTo>
                  <a:lnTo>
                    <a:pt x="3711435" y="1798774"/>
                  </a:lnTo>
                  <a:lnTo>
                    <a:pt x="3712650" y="1798191"/>
                  </a:lnTo>
                  <a:lnTo>
                    <a:pt x="3714028" y="1798473"/>
                  </a:lnTo>
                  <a:lnTo>
                    <a:pt x="3713623" y="1803581"/>
                  </a:lnTo>
                  <a:lnTo>
                    <a:pt x="3712666" y="1805233"/>
                  </a:lnTo>
                  <a:lnTo>
                    <a:pt x="3712414" y="1806314"/>
                  </a:lnTo>
                  <a:lnTo>
                    <a:pt x="3713163" y="1805878"/>
                  </a:lnTo>
                  <a:lnTo>
                    <a:pt x="3715238" y="1805662"/>
                  </a:lnTo>
                  <a:lnTo>
                    <a:pt x="3716220" y="1805848"/>
                  </a:lnTo>
                  <a:lnTo>
                    <a:pt x="3718199" y="1806978"/>
                  </a:lnTo>
                  <a:lnTo>
                    <a:pt x="3719033" y="1807205"/>
                  </a:lnTo>
                  <a:lnTo>
                    <a:pt x="3719587" y="1806543"/>
                  </a:lnTo>
                  <a:lnTo>
                    <a:pt x="3719584" y="1805285"/>
                  </a:lnTo>
                  <a:lnTo>
                    <a:pt x="3719413" y="1803752"/>
                  </a:lnTo>
                  <a:lnTo>
                    <a:pt x="3719613" y="1802595"/>
                  </a:lnTo>
                  <a:lnTo>
                    <a:pt x="3720734" y="1802472"/>
                  </a:lnTo>
                  <a:lnTo>
                    <a:pt x="3721472" y="1803032"/>
                  </a:lnTo>
                  <a:lnTo>
                    <a:pt x="3724732" y="1806329"/>
                  </a:lnTo>
                  <a:lnTo>
                    <a:pt x="3723875" y="1806809"/>
                  </a:lnTo>
                  <a:lnTo>
                    <a:pt x="3725213" y="1808239"/>
                  </a:lnTo>
                  <a:lnTo>
                    <a:pt x="3726205" y="1809540"/>
                  </a:lnTo>
                  <a:lnTo>
                    <a:pt x="3726558" y="1810931"/>
                  </a:lnTo>
                  <a:lnTo>
                    <a:pt x="3725948" y="1812603"/>
                  </a:lnTo>
                  <a:lnTo>
                    <a:pt x="3725453" y="1813064"/>
                  </a:lnTo>
                  <a:lnTo>
                    <a:pt x="3724762" y="1813296"/>
                  </a:lnTo>
                  <a:lnTo>
                    <a:pt x="3723986" y="1813329"/>
                  </a:lnTo>
                  <a:lnTo>
                    <a:pt x="3723241" y="1813181"/>
                  </a:lnTo>
                  <a:lnTo>
                    <a:pt x="3722450" y="1812675"/>
                  </a:lnTo>
                  <a:lnTo>
                    <a:pt x="3720378" y="1810997"/>
                  </a:lnTo>
                  <a:lnTo>
                    <a:pt x="3719826" y="1810710"/>
                  </a:lnTo>
                  <a:lnTo>
                    <a:pt x="3717221" y="1811375"/>
                  </a:lnTo>
                  <a:lnTo>
                    <a:pt x="3716713" y="1811259"/>
                  </a:lnTo>
                  <a:lnTo>
                    <a:pt x="3716101" y="1810708"/>
                  </a:lnTo>
                  <a:lnTo>
                    <a:pt x="3715385" y="1810216"/>
                  </a:lnTo>
                  <a:lnTo>
                    <a:pt x="3713051" y="1810359"/>
                  </a:lnTo>
                  <a:lnTo>
                    <a:pt x="3709932" y="1808639"/>
                  </a:lnTo>
                  <a:lnTo>
                    <a:pt x="3708699" y="1808427"/>
                  </a:lnTo>
                  <a:lnTo>
                    <a:pt x="3707873" y="1809256"/>
                  </a:lnTo>
                  <a:lnTo>
                    <a:pt x="3706819" y="1811595"/>
                  </a:lnTo>
                  <a:lnTo>
                    <a:pt x="3705980" y="1812374"/>
                  </a:lnTo>
                  <a:lnTo>
                    <a:pt x="3703391" y="1812548"/>
                  </a:lnTo>
                  <a:lnTo>
                    <a:pt x="3700513" y="1811950"/>
                  </a:lnTo>
                  <a:lnTo>
                    <a:pt x="3697825" y="1809818"/>
                  </a:lnTo>
                  <a:lnTo>
                    <a:pt x="3697594" y="1807068"/>
                  </a:lnTo>
                  <a:lnTo>
                    <a:pt x="3699020" y="1801635"/>
                  </a:lnTo>
                  <a:lnTo>
                    <a:pt x="3701687" y="1803975"/>
                  </a:lnTo>
                  <a:lnTo>
                    <a:pt x="3702930" y="1804807"/>
                  </a:lnTo>
                  <a:lnTo>
                    <a:pt x="3704492" y="1805554"/>
                  </a:lnTo>
                  <a:lnTo>
                    <a:pt x="3703971" y="1804477"/>
                  </a:lnTo>
                  <a:lnTo>
                    <a:pt x="3703181" y="1803652"/>
                  </a:lnTo>
                  <a:lnTo>
                    <a:pt x="3702302" y="1803095"/>
                  </a:lnTo>
                  <a:lnTo>
                    <a:pt x="3701524" y="1802829"/>
                  </a:lnTo>
                  <a:lnTo>
                    <a:pt x="3701261" y="1801564"/>
                  </a:lnTo>
                  <a:lnTo>
                    <a:pt x="3701595" y="1800900"/>
                  </a:lnTo>
                  <a:lnTo>
                    <a:pt x="3702308" y="1800772"/>
                  </a:lnTo>
                  <a:lnTo>
                    <a:pt x="3703190" y="1801133"/>
                  </a:lnTo>
                  <a:lnTo>
                    <a:pt x="3701511" y="1797881"/>
                  </a:lnTo>
                  <a:lnTo>
                    <a:pt x="3702451" y="1795481"/>
                  </a:lnTo>
                  <a:lnTo>
                    <a:pt x="3704391" y="1794683"/>
                  </a:lnTo>
                  <a:lnTo>
                    <a:pt x="3705703" y="1796227"/>
                  </a:lnTo>
                  <a:lnTo>
                    <a:pt x="3707187" y="1796825"/>
                  </a:lnTo>
                  <a:close/>
                  <a:moveTo>
                    <a:pt x="3726005" y="1791779"/>
                  </a:moveTo>
                  <a:lnTo>
                    <a:pt x="3729770" y="1794318"/>
                  </a:lnTo>
                  <a:lnTo>
                    <a:pt x="3729331" y="1796477"/>
                  </a:lnTo>
                  <a:lnTo>
                    <a:pt x="3728691" y="1800482"/>
                  </a:lnTo>
                  <a:lnTo>
                    <a:pt x="3730516" y="1804218"/>
                  </a:lnTo>
                  <a:lnTo>
                    <a:pt x="3727440" y="1803992"/>
                  </a:lnTo>
                  <a:lnTo>
                    <a:pt x="3724682" y="1801767"/>
                  </a:lnTo>
                  <a:lnTo>
                    <a:pt x="3722024" y="1796857"/>
                  </a:lnTo>
                  <a:lnTo>
                    <a:pt x="3721029" y="1794295"/>
                  </a:lnTo>
                  <a:close/>
                  <a:moveTo>
                    <a:pt x="1750716" y="1790016"/>
                  </a:moveTo>
                  <a:lnTo>
                    <a:pt x="1751145" y="1791446"/>
                  </a:lnTo>
                  <a:lnTo>
                    <a:pt x="1751762" y="1792855"/>
                  </a:lnTo>
                  <a:lnTo>
                    <a:pt x="1752200" y="1794255"/>
                  </a:lnTo>
                  <a:lnTo>
                    <a:pt x="1752086" y="1795632"/>
                  </a:lnTo>
                  <a:lnTo>
                    <a:pt x="1752500" y="1796464"/>
                  </a:lnTo>
                  <a:lnTo>
                    <a:pt x="1754234" y="1799599"/>
                  </a:lnTo>
                  <a:lnTo>
                    <a:pt x="1755230" y="1800519"/>
                  </a:lnTo>
                  <a:lnTo>
                    <a:pt x="1756575" y="1800282"/>
                  </a:lnTo>
                  <a:lnTo>
                    <a:pt x="1754948" y="1801970"/>
                  </a:lnTo>
                  <a:lnTo>
                    <a:pt x="1754527" y="1802532"/>
                  </a:lnTo>
                  <a:lnTo>
                    <a:pt x="1754290" y="1802788"/>
                  </a:lnTo>
                  <a:lnTo>
                    <a:pt x="1754060" y="1802842"/>
                  </a:lnTo>
                  <a:lnTo>
                    <a:pt x="1753607" y="1802708"/>
                  </a:lnTo>
                  <a:lnTo>
                    <a:pt x="1753393" y="1802882"/>
                  </a:lnTo>
                  <a:lnTo>
                    <a:pt x="1753327" y="1803339"/>
                  </a:lnTo>
                  <a:lnTo>
                    <a:pt x="1753291" y="1803869"/>
                  </a:lnTo>
                  <a:lnTo>
                    <a:pt x="1753173" y="1804223"/>
                  </a:lnTo>
                  <a:lnTo>
                    <a:pt x="1752143" y="1804988"/>
                  </a:lnTo>
                  <a:lnTo>
                    <a:pt x="1751379" y="1805041"/>
                  </a:lnTo>
                  <a:lnTo>
                    <a:pt x="1751016" y="1804115"/>
                  </a:lnTo>
                  <a:lnTo>
                    <a:pt x="1751211" y="1801944"/>
                  </a:lnTo>
                  <a:lnTo>
                    <a:pt x="1750192" y="1796878"/>
                  </a:lnTo>
                  <a:lnTo>
                    <a:pt x="1750465" y="1796007"/>
                  </a:lnTo>
                  <a:lnTo>
                    <a:pt x="1750733" y="1793943"/>
                  </a:lnTo>
                  <a:lnTo>
                    <a:pt x="1750859" y="1791625"/>
                  </a:lnTo>
                  <a:close/>
                  <a:moveTo>
                    <a:pt x="1775173" y="1775103"/>
                  </a:moveTo>
                  <a:lnTo>
                    <a:pt x="1776197" y="1776317"/>
                  </a:lnTo>
                  <a:lnTo>
                    <a:pt x="1776738" y="1778107"/>
                  </a:lnTo>
                  <a:lnTo>
                    <a:pt x="1781497" y="1786276"/>
                  </a:lnTo>
                  <a:lnTo>
                    <a:pt x="1784452" y="1787652"/>
                  </a:lnTo>
                  <a:lnTo>
                    <a:pt x="1785260" y="1788484"/>
                  </a:lnTo>
                  <a:lnTo>
                    <a:pt x="1783926" y="1789990"/>
                  </a:lnTo>
                  <a:lnTo>
                    <a:pt x="1782238" y="1790272"/>
                  </a:lnTo>
                  <a:lnTo>
                    <a:pt x="1776599" y="1789517"/>
                  </a:lnTo>
                  <a:lnTo>
                    <a:pt x="1775627" y="1788637"/>
                  </a:lnTo>
                  <a:lnTo>
                    <a:pt x="1774949" y="1786752"/>
                  </a:lnTo>
                  <a:lnTo>
                    <a:pt x="1774100" y="1779810"/>
                  </a:lnTo>
                  <a:lnTo>
                    <a:pt x="1774044" y="1777306"/>
                  </a:lnTo>
                  <a:lnTo>
                    <a:pt x="1774428" y="1775583"/>
                  </a:lnTo>
                  <a:close/>
                  <a:moveTo>
                    <a:pt x="3670318" y="1763976"/>
                  </a:moveTo>
                  <a:lnTo>
                    <a:pt x="3670464" y="1766355"/>
                  </a:lnTo>
                  <a:lnTo>
                    <a:pt x="3672885" y="1766795"/>
                  </a:lnTo>
                  <a:lnTo>
                    <a:pt x="3676065" y="1766588"/>
                  </a:lnTo>
                  <a:lnTo>
                    <a:pt x="3674901" y="1769673"/>
                  </a:lnTo>
                  <a:lnTo>
                    <a:pt x="3678113" y="1769744"/>
                  </a:lnTo>
                  <a:lnTo>
                    <a:pt x="3676740" y="1773414"/>
                  </a:lnTo>
                  <a:lnTo>
                    <a:pt x="3675356" y="1775818"/>
                  </a:lnTo>
                  <a:lnTo>
                    <a:pt x="3670579" y="1771976"/>
                  </a:lnTo>
                  <a:lnTo>
                    <a:pt x="3667741" y="1769190"/>
                  </a:lnTo>
                  <a:lnTo>
                    <a:pt x="3665926" y="1766720"/>
                  </a:lnTo>
                  <a:lnTo>
                    <a:pt x="3666040" y="1764043"/>
                  </a:lnTo>
                  <a:close/>
                  <a:moveTo>
                    <a:pt x="2206495" y="1755902"/>
                  </a:moveTo>
                  <a:lnTo>
                    <a:pt x="2207782" y="1757008"/>
                  </a:lnTo>
                  <a:lnTo>
                    <a:pt x="2207864" y="1760667"/>
                  </a:lnTo>
                  <a:lnTo>
                    <a:pt x="2207771" y="1762289"/>
                  </a:lnTo>
                  <a:lnTo>
                    <a:pt x="2207318" y="1762960"/>
                  </a:lnTo>
                  <a:lnTo>
                    <a:pt x="2206445" y="1763431"/>
                  </a:lnTo>
                  <a:lnTo>
                    <a:pt x="2203728" y="1766643"/>
                  </a:lnTo>
                  <a:lnTo>
                    <a:pt x="2200119" y="1768264"/>
                  </a:lnTo>
                  <a:lnTo>
                    <a:pt x="2199306" y="1767749"/>
                  </a:lnTo>
                  <a:lnTo>
                    <a:pt x="2198773" y="1765951"/>
                  </a:lnTo>
                  <a:lnTo>
                    <a:pt x="2198709" y="1764638"/>
                  </a:lnTo>
                  <a:lnTo>
                    <a:pt x="2199067" y="1763480"/>
                  </a:lnTo>
                  <a:lnTo>
                    <a:pt x="2199783" y="1762141"/>
                  </a:lnTo>
                  <a:lnTo>
                    <a:pt x="2199114" y="1761228"/>
                  </a:lnTo>
                  <a:lnTo>
                    <a:pt x="2198387" y="1760639"/>
                  </a:lnTo>
                  <a:lnTo>
                    <a:pt x="2199758" y="1760171"/>
                  </a:lnTo>
                  <a:lnTo>
                    <a:pt x="2202594" y="1760459"/>
                  </a:lnTo>
                  <a:lnTo>
                    <a:pt x="2203802" y="1759207"/>
                  </a:lnTo>
                  <a:lnTo>
                    <a:pt x="2204562" y="1757641"/>
                  </a:lnTo>
                  <a:lnTo>
                    <a:pt x="2205440" y="1756322"/>
                  </a:lnTo>
                  <a:close/>
                  <a:moveTo>
                    <a:pt x="1767582" y="1743038"/>
                  </a:moveTo>
                  <a:lnTo>
                    <a:pt x="1768288" y="1743361"/>
                  </a:lnTo>
                  <a:lnTo>
                    <a:pt x="1768760" y="1745486"/>
                  </a:lnTo>
                  <a:lnTo>
                    <a:pt x="1768268" y="1747045"/>
                  </a:lnTo>
                  <a:lnTo>
                    <a:pt x="1767679" y="1750340"/>
                  </a:lnTo>
                  <a:lnTo>
                    <a:pt x="1767273" y="1752027"/>
                  </a:lnTo>
                  <a:lnTo>
                    <a:pt x="1766522" y="1753774"/>
                  </a:lnTo>
                  <a:lnTo>
                    <a:pt x="1765021" y="1755526"/>
                  </a:lnTo>
                  <a:lnTo>
                    <a:pt x="1764365" y="1756880"/>
                  </a:lnTo>
                  <a:lnTo>
                    <a:pt x="1764836" y="1758104"/>
                  </a:lnTo>
                  <a:lnTo>
                    <a:pt x="1765072" y="1759907"/>
                  </a:lnTo>
                  <a:lnTo>
                    <a:pt x="1764799" y="1761478"/>
                  </a:lnTo>
                  <a:lnTo>
                    <a:pt x="1763752" y="1761997"/>
                  </a:lnTo>
                  <a:lnTo>
                    <a:pt x="1762894" y="1761224"/>
                  </a:lnTo>
                  <a:lnTo>
                    <a:pt x="1761209" y="1756323"/>
                  </a:lnTo>
                  <a:lnTo>
                    <a:pt x="1761355" y="1755920"/>
                  </a:lnTo>
                  <a:lnTo>
                    <a:pt x="1761451" y="1755585"/>
                  </a:lnTo>
                  <a:lnTo>
                    <a:pt x="1761575" y="1755251"/>
                  </a:lnTo>
                  <a:lnTo>
                    <a:pt x="1761795" y="1754839"/>
                  </a:lnTo>
                  <a:lnTo>
                    <a:pt x="1760480" y="1754398"/>
                  </a:lnTo>
                  <a:lnTo>
                    <a:pt x="1758738" y="1753073"/>
                  </a:lnTo>
                  <a:lnTo>
                    <a:pt x="1757246" y="1751287"/>
                  </a:lnTo>
                  <a:lnTo>
                    <a:pt x="1756678" y="1749389"/>
                  </a:lnTo>
                  <a:lnTo>
                    <a:pt x="1757342" y="1748416"/>
                  </a:lnTo>
                  <a:lnTo>
                    <a:pt x="1757703" y="1748599"/>
                  </a:lnTo>
                  <a:lnTo>
                    <a:pt x="1758005" y="1749262"/>
                  </a:lnTo>
                  <a:lnTo>
                    <a:pt x="1759021" y="1750093"/>
                  </a:lnTo>
                  <a:lnTo>
                    <a:pt x="1760782" y="1752395"/>
                  </a:lnTo>
                  <a:lnTo>
                    <a:pt x="1760772" y="1751925"/>
                  </a:lnTo>
                  <a:lnTo>
                    <a:pt x="1760797" y="1751492"/>
                  </a:lnTo>
                  <a:lnTo>
                    <a:pt x="1760987" y="1750971"/>
                  </a:lnTo>
                  <a:lnTo>
                    <a:pt x="1761491" y="1750249"/>
                  </a:lnTo>
                  <a:lnTo>
                    <a:pt x="1759756" y="1748434"/>
                  </a:lnTo>
                  <a:lnTo>
                    <a:pt x="1761337" y="1746501"/>
                  </a:lnTo>
                  <a:lnTo>
                    <a:pt x="1764774" y="1745853"/>
                  </a:lnTo>
                  <a:lnTo>
                    <a:pt x="1766069" y="1744178"/>
                  </a:lnTo>
                  <a:lnTo>
                    <a:pt x="1765320" y="1743366"/>
                  </a:lnTo>
                  <a:lnTo>
                    <a:pt x="1766608" y="1743408"/>
                  </a:lnTo>
                  <a:close/>
                  <a:moveTo>
                    <a:pt x="1747188" y="1729830"/>
                  </a:moveTo>
                  <a:lnTo>
                    <a:pt x="1748367" y="1730887"/>
                  </a:lnTo>
                  <a:lnTo>
                    <a:pt x="1749428" y="1732450"/>
                  </a:lnTo>
                  <a:lnTo>
                    <a:pt x="1750666" y="1733151"/>
                  </a:lnTo>
                  <a:lnTo>
                    <a:pt x="1751285" y="1732817"/>
                  </a:lnTo>
                  <a:lnTo>
                    <a:pt x="1751759" y="1732227"/>
                  </a:lnTo>
                  <a:lnTo>
                    <a:pt x="1752239" y="1731814"/>
                  </a:lnTo>
                  <a:lnTo>
                    <a:pt x="1752883" y="1731981"/>
                  </a:lnTo>
                  <a:lnTo>
                    <a:pt x="1753316" y="1732416"/>
                  </a:lnTo>
                  <a:lnTo>
                    <a:pt x="1753574" y="1733018"/>
                  </a:lnTo>
                  <a:lnTo>
                    <a:pt x="1753627" y="1733904"/>
                  </a:lnTo>
                  <a:lnTo>
                    <a:pt x="1753443" y="1735178"/>
                  </a:lnTo>
                  <a:lnTo>
                    <a:pt x="1752616" y="1736048"/>
                  </a:lnTo>
                  <a:lnTo>
                    <a:pt x="1752381" y="1737197"/>
                  </a:lnTo>
                  <a:lnTo>
                    <a:pt x="1752341" y="1738399"/>
                  </a:lnTo>
                  <a:lnTo>
                    <a:pt x="1752094" y="1739478"/>
                  </a:lnTo>
                  <a:lnTo>
                    <a:pt x="1751403" y="1740069"/>
                  </a:lnTo>
                  <a:lnTo>
                    <a:pt x="1748155" y="1741791"/>
                  </a:lnTo>
                  <a:lnTo>
                    <a:pt x="1746717" y="1741040"/>
                  </a:lnTo>
                  <a:lnTo>
                    <a:pt x="1745699" y="1738969"/>
                  </a:lnTo>
                  <a:lnTo>
                    <a:pt x="1745057" y="1736263"/>
                  </a:lnTo>
                  <a:lnTo>
                    <a:pt x="1744744" y="1733582"/>
                  </a:lnTo>
                  <a:lnTo>
                    <a:pt x="1745173" y="1733734"/>
                  </a:lnTo>
                  <a:lnTo>
                    <a:pt x="1745509" y="1733624"/>
                  </a:lnTo>
                  <a:lnTo>
                    <a:pt x="1745820" y="1733185"/>
                  </a:lnTo>
                  <a:lnTo>
                    <a:pt x="1746166" y="1732323"/>
                  </a:lnTo>
                  <a:lnTo>
                    <a:pt x="1745976" y="1731977"/>
                  </a:lnTo>
                  <a:lnTo>
                    <a:pt x="1745590" y="1730641"/>
                  </a:lnTo>
                  <a:close/>
                  <a:moveTo>
                    <a:pt x="3634408" y="1729655"/>
                  </a:moveTo>
                  <a:lnTo>
                    <a:pt x="3635093" y="1731486"/>
                  </a:lnTo>
                  <a:lnTo>
                    <a:pt x="3635904" y="1732028"/>
                  </a:lnTo>
                  <a:lnTo>
                    <a:pt x="3636753" y="1731823"/>
                  </a:lnTo>
                  <a:lnTo>
                    <a:pt x="3637526" y="1731384"/>
                  </a:lnTo>
                  <a:lnTo>
                    <a:pt x="3637678" y="1733000"/>
                  </a:lnTo>
                  <a:lnTo>
                    <a:pt x="3637455" y="1737317"/>
                  </a:lnTo>
                  <a:lnTo>
                    <a:pt x="3638758" y="1736352"/>
                  </a:lnTo>
                  <a:lnTo>
                    <a:pt x="3639405" y="1736291"/>
                  </a:lnTo>
                  <a:lnTo>
                    <a:pt x="3640373" y="1736667"/>
                  </a:lnTo>
                  <a:lnTo>
                    <a:pt x="3640481" y="1737081"/>
                  </a:lnTo>
                  <a:lnTo>
                    <a:pt x="3640972" y="1738001"/>
                  </a:lnTo>
                  <a:lnTo>
                    <a:pt x="3641494" y="1738612"/>
                  </a:lnTo>
                  <a:lnTo>
                    <a:pt x="3641795" y="1737696"/>
                  </a:lnTo>
                  <a:lnTo>
                    <a:pt x="3642086" y="1737401"/>
                  </a:lnTo>
                  <a:lnTo>
                    <a:pt x="3642814" y="1737128"/>
                  </a:lnTo>
                  <a:lnTo>
                    <a:pt x="3643228" y="1738567"/>
                  </a:lnTo>
                  <a:lnTo>
                    <a:pt x="3643053" y="1739380"/>
                  </a:lnTo>
                  <a:lnTo>
                    <a:pt x="3641256" y="1740599"/>
                  </a:lnTo>
                  <a:lnTo>
                    <a:pt x="3640963" y="1741154"/>
                  </a:lnTo>
                  <a:lnTo>
                    <a:pt x="3640634" y="1742496"/>
                  </a:lnTo>
                  <a:lnTo>
                    <a:pt x="3639702" y="1743804"/>
                  </a:lnTo>
                  <a:lnTo>
                    <a:pt x="3637045" y="1745776"/>
                  </a:lnTo>
                  <a:lnTo>
                    <a:pt x="3636368" y="1747355"/>
                  </a:lnTo>
                  <a:lnTo>
                    <a:pt x="3637421" y="1747637"/>
                  </a:lnTo>
                  <a:lnTo>
                    <a:pt x="3638317" y="1747387"/>
                  </a:lnTo>
                  <a:lnTo>
                    <a:pt x="3639852" y="1746407"/>
                  </a:lnTo>
                  <a:lnTo>
                    <a:pt x="3639680" y="1749061"/>
                  </a:lnTo>
                  <a:lnTo>
                    <a:pt x="3638010" y="1751220"/>
                  </a:lnTo>
                  <a:lnTo>
                    <a:pt x="3634023" y="1753809"/>
                  </a:lnTo>
                  <a:lnTo>
                    <a:pt x="3635437" y="1754461"/>
                  </a:lnTo>
                  <a:lnTo>
                    <a:pt x="3636627" y="1754284"/>
                  </a:lnTo>
                  <a:lnTo>
                    <a:pt x="3638650" y="1753029"/>
                  </a:lnTo>
                  <a:lnTo>
                    <a:pt x="3638348" y="1754684"/>
                  </a:lnTo>
                  <a:lnTo>
                    <a:pt x="3637371" y="1755655"/>
                  </a:lnTo>
                  <a:lnTo>
                    <a:pt x="3634882" y="1756747"/>
                  </a:lnTo>
                  <a:lnTo>
                    <a:pt x="3631409" y="1760136"/>
                  </a:lnTo>
                  <a:lnTo>
                    <a:pt x="3630112" y="1760067"/>
                  </a:lnTo>
                  <a:lnTo>
                    <a:pt x="3628242" y="1757001"/>
                  </a:lnTo>
                  <a:lnTo>
                    <a:pt x="3627934" y="1753035"/>
                  </a:lnTo>
                  <a:lnTo>
                    <a:pt x="3628568" y="1749502"/>
                  </a:lnTo>
                  <a:lnTo>
                    <a:pt x="3630035" y="1746677"/>
                  </a:lnTo>
                  <a:lnTo>
                    <a:pt x="3629936" y="1741371"/>
                  </a:lnTo>
                  <a:lnTo>
                    <a:pt x="3630835" y="1739166"/>
                  </a:lnTo>
                  <a:lnTo>
                    <a:pt x="3630928" y="1737806"/>
                  </a:lnTo>
                  <a:lnTo>
                    <a:pt x="3629459" y="1733711"/>
                  </a:lnTo>
                  <a:lnTo>
                    <a:pt x="3629598" y="1732305"/>
                  </a:lnTo>
                  <a:lnTo>
                    <a:pt x="3630366" y="1731932"/>
                  </a:lnTo>
                  <a:lnTo>
                    <a:pt x="3631545" y="1732992"/>
                  </a:lnTo>
                  <a:lnTo>
                    <a:pt x="3632219" y="1734408"/>
                  </a:lnTo>
                  <a:lnTo>
                    <a:pt x="3633946" y="1740142"/>
                  </a:lnTo>
                  <a:lnTo>
                    <a:pt x="3634872" y="1740283"/>
                  </a:lnTo>
                  <a:lnTo>
                    <a:pt x="3634763" y="1738909"/>
                  </a:lnTo>
                  <a:lnTo>
                    <a:pt x="3633788" y="1735105"/>
                  </a:lnTo>
                  <a:lnTo>
                    <a:pt x="3633737" y="1733649"/>
                  </a:lnTo>
                  <a:lnTo>
                    <a:pt x="3634051" y="1730621"/>
                  </a:lnTo>
                  <a:close/>
                  <a:moveTo>
                    <a:pt x="1764003" y="1721406"/>
                  </a:moveTo>
                  <a:lnTo>
                    <a:pt x="1766736" y="1722953"/>
                  </a:lnTo>
                  <a:lnTo>
                    <a:pt x="1767483" y="1723870"/>
                  </a:lnTo>
                  <a:lnTo>
                    <a:pt x="1767953" y="1725599"/>
                  </a:lnTo>
                  <a:lnTo>
                    <a:pt x="1767945" y="1730903"/>
                  </a:lnTo>
                  <a:lnTo>
                    <a:pt x="1768149" y="1731760"/>
                  </a:lnTo>
                  <a:lnTo>
                    <a:pt x="1768393" y="1732439"/>
                  </a:lnTo>
                  <a:lnTo>
                    <a:pt x="1768586" y="1733920"/>
                  </a:lnTo>
                  <a:lnTo>
                    <a:pt x="1768688" y="1735466"/>
                  </a:lnTo>
                  <a:lnTo>
                    <a:pt x="1768658" y="1736381"/>
                  </a:lnTo>
                  <a:lnTo>
                    <a:pt x="1767923" y="1737635"/>
                  </a:lnTo>
                  <a:lnTo>
                    <a:pt x="1767121" y="1737706"/>
                  </a:lnTo>
                  <a:lnTo>
                    <a:pt x="1766540" y="1736913"/>
                  </a:lnTo>
                  <a:lnTo>
                    <a:pt x="1766462" y="1735588"/>
                  </a:lnTo>
                  <a:lnTo>
                    <a:pt x="1765846" y="1735970"/>
                  </a:lnTo>
                  <a:lnTo>
                    <a:pt x="1763310" y="1735836"/>
                  </a:lnTo>
                  <a:lnTo>
                    <a:pt x="1762401" y="1736381"/>
                  </a:lnTo>
                  <a:lnTo>
                    <a:pt x="1762213" y="1737227"/>
                  </a:lnTo>
                  <a:lnTo>
                    <a:pt x="1762473" y="1737878"/>
                  </a:lnTo>
                  <a:lnTo>
                    <a:pt x="1763117" y="1738741"/>
                  </a:lnTo>
                  <a:lnTo>
                    <a:pt x="1763271" y="1739905"/>
                  </a:lnTo>
                  <a:lnTo>
                    <a:pt x="1763169" y="1740410"/>
                  </a:lnTo>
                  <a:lnTo>
                    <a:pt x="1762887" y="1740730"/>
                  </a:lnTo>
                  <a:lnTo>
                    <a:pt x="1761606" y="1742720"/>
                  </a:lnTo>
                  <a:lnTo>
                    <a:pt x="1760438" y="1743784"/>
                  </a:lnTo>
                  <a:lnTo>
                    <a:pt x="1759548" y="1743774"/>
                  </a:lnTo>
                  <a:lnTo>
                    <a:pt x="1759497" y="1741910"/>
                  </a:lnTo>
                  <a:lnTo>
                    <a:pt x="1759675" y="1740061"/>
                  </a:lnTo>
                  <a:lnTo>
                    <a:pt x="1759503" y="1738989"/>
                  </a:lnTo>
                  <a:lnTo>
                    <a:pt x="1759272" y="1738126"/>
                  </a:lnTo>
                  <a:lnTo>
                    <a:pt x="1759256" y="1736915"/>
                  </a:lnTo>
                  <a:lnTo>
                    <a:pt x="1759859" y="1734705"/>
                  </a:lnTo>
                  <a:lnTo>
                    <a:pt x="1760767" y="1734141"/>
                  </a:lnTo>
                  <a:lnTo>
                    <a:pt x="1761787" y="1734174"/>
                  </a:lnTo>
                  <a:lnTo>
                    <a:pt x="1762748" y="1733760"/>
                  </a:lnTo>
                  <a:lnTo>
                    <a:pt x="1761581" y="1732352"/>
                  </a:lnTo>
                  <a:lnTo>
                    <a:pt x="1761272" y="1731363"/>
                  </a:lnTo>
                  <a:lnTo>
                    <a:pt x="1761155" y="1729687"/>
                  </a:lnTo>
                  <a:lnTo>
                    <a:pt x="1761251" y="1728116"/>
                  </a:lnTo>
                  <a:lnTo>
                    <a:pt x="1761491" y="1726747"/>
                  </a:lnTo>
                  <a:lnTo>
                    <a:pt x="1762096" y="1724555"/>
                  </a:lnTo>
                  <a:lnTo>
                    <a:pt x="1762803" y="1722359"/>
                  </a:lnTo>
                  <a:lnTo>
                    <a:pt x="1763371" y="1721428"/>
                  </a:lnTo>
                  <a:close/>
                  <a:moveTo>
                    <a:pt x="2140598" y="1717616"/>
                  </a:moveTo>
                  <a:lnTo>
                    <a:pt x="2141602" y="1718276"/>
                  </a:lnTo>
                  <a:lnTo>
                    <a:pt x="2141484" y="1721399"/>
                  </a:lnTo>
                  <a:lnTo>
                    <a:pt x="2141353" y="1722855"/>
                  </a:lnTo>
                  <a:lnTo>
                    <a:pt x="2141116" y="1724222"/>
                  </a:lnTo>
                  <a:lnTo>
                    <a:pt x="2141548" y="1724432"/>
                  </a:lnTo>
                  <a:lnTo>
                    <a:pt x="2142742" y="1725758"/>
                  </a:lnTo>
                  <a:lnTo>
                    <a:pt x="2141796" y="1727634"/>
                  </a:lnTo>
                  <a:lnTo>
                    <a:pt x="2140643" y="1727905"/>
                  </a:lnTo>
                  <a:lnTo>
                    <a:pt x="2139525" y="1726989"/>
                  </a:lnTo>
                  <a:lnTo>
                    <a:pt x="2138692" y="1725247"/>
                  </a:lnTo>
                  <a:lnTo>
                    <a:pt x="2138456" y="1724356"/>
                  </a:lnTo>
                  <a:lnTo>
                    <a:pt x="2138175" y="1722949"/>
                  </a:lnTo>
                  <a:lnTo>
                    <a:pt x="2137963" y="1722250"/>
                  </a:lnTo>
                  <a:lnTo>
                    <a:pt x="2136988" y="1720414"/>
                  </a:lnTo>
                  <a:lnTo>
                    <a:pt x="2136790" y="1719599"/>
                  </a:lnTo>
                  <a:lnTo>
                    <a:pt x="2137973" y="1720200"/>
                  </a:lnTo>
                  <a:close/>
                  <a:moveTo>
                    <a:pt x="3536604" y="1703505"/>
                  </a:moveTo>
                  <a:lnTo>
                    <a:pt x="3538463" y="1705007"/>
                  </a:lnTo>
                  <a:lnTo>
                    <a:pt x="3538595" y="1708392"/>
                  </a:lnTo>
                  <a:lnTo>
                    <a:pt x="3538930" y="1712410"/>
                  </a:lnTo>
                  <a:lnTo>
                    <a:pt x="3537019" y="1711569"/>
                  </a:lnTo>
                  <a:lnTo>
                    <a:pt x="3535132" y="1709810"/>
                  </a:lnTo>
                  <a:lnTo>
                    <a:pt x="3535625" y="1706227"/>
                  </a:lnTo>
                  <a:close/>
                  <a:moveTo>
                    <a:pt x="1725157" y="1699433"/>
                  </a:moveTo>
                  <a:lnTo>
                    <a:pt x="1727206" y="1699683"/>
                  </a:lnTo>
                  <a:lnTo>
                    <a:pt x="1728004" y="1702204"/>
                  </a:lnTo>
                  <a:lnTo>
                    <a:pt x="1727721" y="1702077"/>
                  </a:lnTo>
                  <a:lnTo>
                    <a:pt x="1727529" y="1702284"/>
                  </a:lnTo>
                  <a:lnTo>
                    <a:pt x="1727395" y="1702611"/>
                  </a:lnTo>
                  <a:lnTo>
                    <a:pt x="1727280" y="1702823"/>
                  </a:lnTo>
                  <a:lnTo>
                    <a:pt x="1723647" y="1703752"/>
                  </a:lnTo>
                  <a:lnTo>
                    <a:pt x="1721908" y="1703302"/>
                  </a:lnTo>
                  <a:lnTo>
                    <a:pt x="1721047" y="1700843"/>
                  </a:lnTo>
                  <a:close/>
                  <a:moveTo>
                    <a:pt x="1769624" y="1689017"/>
                  </a:moveTo>
                  <a:lnTo>
                    <a:pt x="1771066" y="1689495"/>
                  </a:lnTo>
                  <a:lnTo>
                    <a:pt x="1771208" y="1691929"/>
                  </a:lnTo>
                  <a:lnTo>
                    <a:pt x="1770529" y="1695185"/>
                  </a:lnTo>
                  <a:lnTo>
                    <a:pt x="1769505" y="1697654"/>
                  </a:lnTo>
                  <a:lnTo>
                    <a:pt x="1768273" y="1699170"/>
                  </a:lnTo>
                  <a:lnTo>
                    <a:pt x="1766965" y="1699558"/>
                  </a:lnTo>
                  <a:lnTo>
                    <a:pt x="1764314" y="1698327"/>
                  </a:lnTo>
                  <a:lnTo>
                    <a:pt x="1762676" y="1698491"/>
                  </a:lnTo>
                  <a:lnTo>
                    <a:pt x="1761947" y="1698224"/>
                  </a:lnTo>
                  <a:lnTo>
                    <a:pt x="1761694" y="1697095"/>
                  </a:lnTo>
                  <a:lnTo>
                    <a:pt x="1762547" y="1696709"/>
                  </a:lnTo>
                  <a:lnTo>
                    <a:pt x="1762841" y="1695756"/>
                  </a:lnTo>
                  <a:lnTo>
                    <a:pt x="1762990" y="1694507"/>
                  </a:lnTo>
                  <a:lnTo>
                    <a:pt x="1763410" y="1693211"/>
                  </a:lnTo>
                  <a:lnTo>
                    <a:pt x="1764153" y="1692092"/>
                  </a:lnTo>
                  <a:lnTo>
                    <a:pt x="1764865" y="1691359"/>
                  </a:lnTo>
                  <a:lnTo>
                    <a:pt x="1766352" y="1690368"/>
                  </a:lnTo>
                  <a:close/>
                  <a:moveTo>
                    <a:pt x="2096800" y="1682591"/>
                  </a:moveTo>
                  <a:lnTo>
                    <a:pt x="2097069" y="1682730"/>
                  </a:lnTo>
                  <a:lnTo>
                    <a:pt x="2097298" y="1683052"/>
                  </a:lnTo>
                  <a:lnTo>
                    <a:pt x="2097531" y="1683504"/>
                  </a:lnTo>
                  <a:lnTo>
                    <a:pt x="2097994" y="1684606"/>
                  </a:lnTo>
                  <a:lnTo>
                    <a:pt x="2097911" y="1685467"/>
                  </a:lnTo>
                  <a:lnTo>
                    <a:pt x="2097590" y="1686290"/>
                  </a:lnTo>
                  <a:lnTo>
                    <a:pt x="2097330" y="1687289"/>
                  </a:lnTo>
                  <a:lnTo>
                    <a:pt x="2097207" y="1691411"/>
                  </a:lnTo>
                  <a:lnTo>
                    <a:pt x="2097060" y="1692416"/>
                  </a:lnTo>
                  <a:lnTo>
                    <a:pt x="2095769" y="1693654"/>
                  </a:lnTo>
                  <a:lnTo>
                    <a:pt x="2094122" y="1692520"/>
                  </a:lnTo>
                  <a:lnTo>
                    <a:pt x="2091477" y="1688473"/>
                  </a:lnTo>
                  <a:lnTo>
                    <a:pt x="2092840" y="1688182"/>
                  </a:lnTo>
                  <a:lnTo>
                    <a:pt x="2094720" y="1687167"/>
                  </a:lnTo>
                  <a:lnTo>
                    <a:pt x="2096219" y="1685358"/>
                  </a:lnTo>
                  <a:lnTo>
                    <a:pt x="2096446" y="1682706"/>
                  </a:lnTo>
                  <a:close/>
                  <a:moveTo>
                    <a:pt x="1726022" y="1678978"/>
                  </a:moveTo>
                  <a:lnTo>
                    <a:pt x="1727109" y="1680811"/>
                  </a:lnTo>
                  <a:lnTo>
                    <a:pt x="1731215" y="1684478"/>
                  </a:lnTo>
                  <a:lnTo>
                    <a:pt x="1730744" y="1682622"/>
                  </a:lnTo>
                  <a:lnTo>
                    <a:pt x="1730553" y="1682069"/>
                  </a:lnTo>
                  <a:lnTo>
                    <a:pt x="1731224" y="1682186"/>
                  </a:lnTo>
                  <a:lnTo>
                    <a:pt x="1732887" y="1683287"/>
                  </a:lnTo>
                  <a:lnTo>
                    <a:pt x="1733193" y="1683125"/>
                  </a:lnTo>
                  <a:lnTo>
                    <a:pt x="1733726" y="1682264"/>
                  </a:lnTo>
                  <a:lnTo>
                    <a:pt x="1733977" y="1682042"/>
                  </a:lnTo>
                  <a:lnTo>
                    <a:pt x="1734383" y="1682134"/>
                  </a:lnTo>
                  <a:lnTo>
                    <a:pt x="1736055" y="1683650"/>
                  </a:lnTo>
                  <a:lnTo>
                    <a:pt x="1737125" y="1685317"/>
                  </a:lnTo>
                  <a:lnTo>
                    <a:pt x="1737701" y="1685730"/>
                  </a:lnTo>
                  <a:lnTo>
                    <a:pt x="1737617" y="1686261"/>
                  </a:lnTo>
                  <a:lnTo>
                    <a:pt x="1735969" y="1689263"/>
                  </a:lnTo>
                  <a:lnTo>
                    <a:pt x="1737078" y="1689729"/>
                  </a:lnTo>
                  <a:lnTo>
                    <a:pt x="1737067" y="1691616"/>
                  </a:lnTo>
                  <a:lnTo>
                    <a:pt x="1736263" y="1693605"/>
                  </a:lnTo>
                  <a:lnTo>
                    <a:pt x="1734990" y="1694382"/>
                  </a:lnTo>
                  <a:lnTo>
                    <a:pt x="1733817" y="1693749"/>
                  </a:lnTo>
                  <a:lnTo>
                    <a:pt x="1727048" y="1686103"/>
                  </a:lnTo>
                  <a:lnTo>
                    <a:pt x="1725748" y="1683123"/>
                  </a:lnTo>
                  <a:close/>
                  <a:moveTo>
                    <a:pt x="3499636" y="1676485"/>
                  </a:moveTo>
                  <a:lnTo>
                    <a:pt x="3498793" y="1678145"/>
                  </a:lnTo>
                  <a:lnTo>
                    <a:pt x="3497445" y="1681036"/>
                  </a:lnTo>
                  <a:lnTo>
                    <a:pt x="3495173" y="1681543"/>
                  </a:lnTo>
                  <a:lnTo>
                    <a:pt x="3492142" y="1684485"/>
                  </a:lnTo>
                  <a:lnTo>
                    <a:pt x="3490221" y="1686915"/>
                  </a:lnTo>
                  <a:lnTo>
                    <a:pt x="3488963" y="1686136"/>
                  </a:lnTo>
                  <a:lnTo>
                    <a:pt x="3488012" y="1684669"/>
                  </a:lnTo>
                  <a:lnTo>
                    <a:pt x="3488600" y="1683036"/>
                  </a:lnTo>
                  <a:lnTo>
                    <a:pt x="3490356" y="1681408"/>
                  </a:lnTo>
                  <a:lnTo>
                    <a:pt x="3492737" y="1679582"/>
                  </a:lnTo>
                  <a:lnTo>
                    <a:pt x="3497587" y="1676706"/>
                  </a:lnTo>
                  <a:close/>
                  <a:moveTo>
                    <a:pt x="1660821" y="1669080"/>
                  </a:moveTo>
                  <a:lnTo>
                    <a:pt x="1660714" y="1669534"/>
                  </a:lnTo>
                  <a:lnTo>
                    <a:pt x="1660591" y="1669835"/>
                  </a:lnTo>
                  <a:lnTo>
                    <a:pt x="1660258" y="1670416"/>
                  </a:lnTo>
                  <a:lnTo>
                    <a:pt x="1659331" y="1671369"/>
                  </a:lnTo>
                  <a:lnTo>
                    <a:pt x="1657360" y="1674806"/>
                  </a:lnTo>
                  <a:lnTo>
                    <a:pt x="1656335" y="1675737"/>
                  </a:lnTo>
                  <a:lnTo>
                    <a:pt x="1653231" y="1675780"/>
                  </a:lnTo>
                  <a:lnTo>
                    <a:pt x="1649471" y="1677521"/>
                  </a:lnTo>
                  <a:lnTo>
                    <a:pt x="1647545" y="1677916"/>
                  </a:lnTo>
                  <a:lnTo>
                    <a:pt x="1647233" y="1676711"/>
                  </a:lnTo>
                  <a:lnTo>
                    <a:pt x="1648451" y="1675480"/>
                  </a:lnTo>
                  <a:lnTo>
                    <a:pt x="1654164" y="1672871"/>
                  </a:lnTo>
                  <a:lnTo>
                    <a:pt x="1659239" y="1669337"/>
                  </a:lnTo>
                  <a:close/>
                  <a:moveTo>
                    <a:pt x="1716868" y="1665559"/>
                  </a:moveTo>
                  <a:lnTo>
                    <a:pt x="1718140" y="1665947"/>
                  </a:lnTo>
                  <a:lnTo>
                    <a:pt x="1719008" y="1667036"/>
                  </a:lnTo>
                  <a:lnTo>
                    <a:pt x="1719298" y="1667732"/>
                  </a:lnTo>
                  <a:lnTo>
                    <a:pt x="1719252" y="1668833"/>
                  </a:lnTo>
                  <a:lnTo>
                    <a:pt x="1719280" y="1670065"/>
                  </a:lnTo>
                  <a:lnTo>
                    <a:pt x="1719827" y="1670614"/>
                  </a:lnTo>
                  <a:lnTo>
                    <a:pt x="1721061" y="1671087"/>
                  </a:lnTo>
                  <a:lnTo>
                    <a:pt x="1721654" y="1672328"/>
                  </a:lnTo>
                  <a:lnTo>
                    <a:pt x="1722022" y="1674311"/>
                  </a:lnTo>
                  <a:lnTo>
                    <a:pt x="1721897" y="1676686"/>
                  </a:lnTo>
                  <a:lnTo>
                    <a:pt x="1721019" y="1679092"/>
                  </a:lnTo>
                  <a:lnTo>
                    <a:pt x="1719935" y="1679320"/>
                  </a:lnTo>
                  <a:lnTo>
                    <a:pt x="1718469" y="1678113"/>
                  </a:lnTo>
                  <a:lnTo>
                    <a:pt x="1714020" y="1671167"/>
                  </a:lnTo>
                  <a:lnTo>
                    <a:pt x="1713397" y="1669546"/>
                  </a:lnTo>
                  <a:lnTo>
                    <a:pt x="1714070" y="1670009"/>
                  </a:lnTo>
                  <a:lnTo>
                    <a:pt x="1714829" y="1670936"/>
                  </a:lnTo>
                  <a:lnTo>
                    <a:pt x="1715589" y="1671497"/>
                  </a:lnTo>
                  <a:lnTo>
                    <a:pt x="1716272" y="1670888"/>
                  </a:lnTo>
                  <a:lnTo>
                    <a:pt x="1716495" y="1669656"/>
                  </a:lnTo>
                  <a:lnTo>
                    <a:pt x="1716342" y="1668402"/>
                  </a:lnTo>
                  <a:lnTo>
                    <a:pt x="1715999" y="1667395"/>
                  </a:lnTo>
                  <a:lnTo>
                    <a:pt x="1715649" y="1666893"/>
                  </a:lnTo>
                  <a:lnTo>
                    <a:pt x="1716238" y="1665826"/>
                  </a:lnTo>
                  <a:close/>
                  <a:moveTo>
                    <a:pt x="2637455" y="1661125"/>
                  </a:moveTo>
                  <a:lnTo>
                    <a:pt x="2641109" y="1662720"/>
                  </a:lnTo>
                  <a:lnTo>
                    <a:pt x="2644582" y="1665186"/>
                  </a:lnTo>
                  <a:lnTo>
                    <a:pt x="2648279" y="1669455"/>
                  </a:lnTo>
                  <a:lnTo>
                    <a:pt x="2648912" y="1669881"/>
                  </a:lnTo>
                  <a:lnTo>
                    <a:pt x="2649358" y="1670528"/>
                  </a:lnTo>
                  <a:lnTo>
                    <a:pt x="2649334" y="1672141"/>
                  </a:lnTo>
                  <a:lnTo>
                    <a:pt x="2649060" y="1675074"/>
                  </a:lnTo>
                  <a:lnTo>
                    <a:pt x="2649271" y="1676749"/>
                  </a:lnTo>
                  <a:lnTo>
                    <a:pt x="2650239" y="1682499"/>
                  </a:lnTo>
                  <a:lnTo>
                    <a:pt x="2650760" y="1684266"/>
                  </a:lnTo>
                  <a:lnTo>
                    <a:pt x="2651685" y="1686057"/>
                  </a:lnTo>
                  <a:lnTo>
                    <a:pt x="2652559" y="1688113"/>
                  </a:lnTo>
                  <a:lnTo>
                    <a:pt x="2653338" y="1690278"/>
                  </a:lnTo>
                  <a:lnTo>
                    <a:pt x="2655243" y="1697035"/>
                  </a:lnTo>
                  <a:lnTo>
                    <a:pt x="2655706" y="1699455"/>
                  </a:lnTo>
                  <a:lnTo>
                    <a:pt x="2655502" y="1700568"/>
                  </a:lnTo>
                  <a:lnTo>
                    <a:pt x="2655741" y="1709584"/>
                  </a:lnTo>
                  <a:lnTo>
                    <a:pt x="2654591" y="1715633"/>
                  </a:lnTo>
                  <a:lnTo>
                    <a:pt x="2654214" y="1716693"/>
                  </a:lnTo>
                  <a:lnTo>
                    <a:pt x="2653024" y="1717796"/>
                  </a:lnTo>
                  <a:lnTo>
                    <a:pt x="2651403" y="1722134"/>
                  </a:lnTo>
                  <a:lnTo>
                    <a:pt x="2650309" y="1723367"/>
                  </a:lnTo>
                  <a:lnTo>
                    <a:pt x="2648608" y="1723538"/>
                  </a:lnTo>
                  <a:lnTo>
                    <a:pt x="2646818" y="1723173"/>
                  </a:lnTo>
                  <a:lnTo>
                    <a:pt x="2646110" y="1722531"/>
                  </a:lnTo>
                  <a:lnTo>
                    <a:pt x="2645195" y="1720875"/>
                  </a:lnTo>
                  <a:lnTo>
                    <a:pt x="2644617" y="1720127"/>
                  </a:lnTo>
                  <a:lnTo>
                    <a:pt x="2642872" y="1719111"/>
                  </a:lnTo>
                  <a:lnTo>
                    <a:pt x="2639443" y="1718076"/>
                  </a:lnTo>
                  <a:lnTo>
                    <a:pt x="2637688" y="1716331"/>
                  </a:lnTo>
                  <a:lnTo>
                    <a:pt x="2636888" y="1715041"/>
                  </a:lnTo>
                  <a:lnTo>
                    <a:pt x="2634830" y="1711119"/>
                  </a:lnTo>
                  <a:lnTo>
                    <a:pt x="2634311" y="1709623"/>
                  </a:lnTo>
                  <a:lnTo>
                    <a:pt x="2633983" y="1708385"/>
                  </a:lnTo>
                  <a:lnTo>
                    <a:pt x="2633090" y="1706350"/>
                  </a:lnTo>
                  <a:lnTo>
                    <a:pt x="2632795" y="1705309"/>
                  </a:lnTo>
                  <a:lnTo>
                    <a:pt x="2632659" y="1704989"/>
                  </a:lnTo>
                  <a:lnTo>
                    <a:pt x="2632486" y="1704814"/>
                  </a:lnTo>
                  <a:lnTo>
                    <a:pt x="2632372" y="1704531"/>
                  </a:lnTo>
                  <a:lnTo>
                    <a:pt x="2632421" y="1703858"/>
                  </a:lnTo>
                  <a:lnTo>
                    <a:pt x="2632695" y="1703097"/>
                  </a:lnTo>
                  <a:lnTo>
                    <a:pt x="2633033" y="1703143"/>
                  </a:lnTo>
                  <a:lnTo>
                    <a:pt x="2633428" y="1703396"/>
                  </a:lnTo>
                  <a:lnTo>
                    <a:pt x="2633877" y="1703223"/>
                  </a:lnTo>
                  <a:lnTo>
                    <a:pt x="2634043" y="1702752"/>
                  </a:lnTo>
                  <a:lnTo>
                    <a:pt x="2634206" y="1701352"/>
                  </a:lnTo>
                  <a:lnTo>
                    <a:pt x="2634353" y="1700884"/>
                  </a:lnTo>
                  <a:lnTo>
                    <a:pt x="2634697" y="1700641"/>
                  </a:lnTo>
                  <a:lnTo>
                    <a:pt x="2635349" y="1700485"/>
                  </a:lnTo>
                  <a:lnTo>
                    <a:pt x="2635626" y="1699997"/>
                  </a:lnTo>
                  <a:lnTo>
                    <a:pt x="2635850" y="1699440"/>
                  </a:lnTo>
                  <a:lnTo>
                    <a:pt x="2635921" y="1699344"/>
                  </a:lnTo>
                  <a:lnTo>
                    <a:pt x="2635956" y="1698368"/>
                  </a:lnTo>
                  <a:lnTo>
                    <a:pt x="2635924" y="1696648"/>
                  </a:lnTo>
                  <a:lnTo>
                    <a:pt x="2635941" y="1696524"/>
                  </a:lnTo>
                  <a:lnTo>
                    <a:pt x="2634983" y="1693346"/>
                  </a:lnTo>
                  <a:lnTo>
                    <a:pt x="2633713" y="1692265"/>
                  </a:lnTo>
                  <a:lnTo>
                    <a:pt x="2630903" y="1691695"/>
                  </a:lnTo>
                  <a:lnTo>
                    <a:pt x="2629540" y="1690609"/>
                  </a:lnTo>
                  <a:lnTo>
                    <a:pt x="2628647" y="1689338"/>
                  </a:lnTo>
                  <a:lnTo>
                    <a:pt x="2628292" y="1687534"/>
                  </a:lnTo>
                  <a:lnTo>
                    <a:pt x="2628526" y="1684839"/>
                  </a:lnTo>
                  <a:lnTo>
                    <a:pt x="2628862" y="1684086"/>
                  </a:lnTo>
                  <a:lnTo>
                    <a:pt x="2630610" y="1681877"/>
                  </a:lnTo>
                  <a:lnTo>
                    <a:pt x="2630967" y="1681201"/>
                  </a:lnTo>
                  <a:lnTo>
                    <a:pt x="2630627" y="1679839"/>
                  </a:lnTo>
                  <a:lnTo>
                    <a:pt x="2629751" y="1677484"/>
                  </a:lnTo>
                  <a:lnTo>
                    <a:pt x="2630085" y="1675020"/>
                  </a:lnTo>
                  <a:lnTo>
                    <a:pt x="2632259" y="1671075"/>
                  </a:lnTo>
                  <a:lnTo>
                    <a:pt x="2633023" y="1668959"/>
                  </a:lnTo>
                  <a:lnTo>
                    <a:pt x="2633577" y="1666504"/>
                  </a:lnTo>
                  <a:lnTo>
                    <a:pt x="2634373" y="1664197"/>
                  </a:lnTo>
                  <a:lnTo>
                    <a:pt x="2635332" y="1662355"/>
                  </a:lnTo>
                  <a:lnTo>
                    <a:pt x="2636384" y="1661297"/>
                  </a:lnTo>
                  <a:close/>
                  <a:moveTo>
                    <a:pt x="1700389" y="1657662"/>
                  </a:moveTo>
                  <a:lnTo>
                    <a:pt x="1701998" y="1658841"/>
                  </a:lnTo>
                  <a:lnTo>
                    <a:pt x="1701888" y="1659312"/>
                  </a:lnTo>
                  <a:lnTo>
                    <a:pt x="1701753" y="1659634"/>
                  </a:lnTo>
                  <a:lnTo>
                    <a:pt x="1699482" y="1663216"/>
                  </a:lnTo>
                  <a:lnTo>
                    <a:pt x="1697444" y="1663756"/>
                  </a:lnTo>
                  <a:lnTo>
                    <a:pt x="1695383" y="1663555"/>
                  </a:lnTo>
                  <a:lnTo>
                    <a:pt x="1692276" y="1664997"/>
                  </a:lnTo>
                  <a:lnTo>
                    <a:pt x="1691168" y="1665062"/>
                  </a:lnTo>
                  <a:lnTo>
                    <a:pt x="1689056" y="1664491"/>
                  </a:lnTo>
                  <a:lnTo>
                    <a:pt x="1687990" y="1664764"/>
                  </a:lnTo>
                  <a:lnTo>
                    <a:pt x="1686801" y="1665454"/>
                  </a:lnTo>
                  <a:lnTo>
                    <a:pt x="1685641" y="1665842"/>
                  </a:lnTo>
                  <a:lnTo>
                    <a:pt x="1684665" y="1665147"/>
                  </a:lnTo>
                  <a:lnTo>
                    <a:pt x="1686802" y="1663202"/>
                  </a:lnTo>
                  <a:lnTo>
                    <a:pt x="1689347" y="1661783"/>
                  </a:lnTo>
                  <a:lnTo>
                    <a:pt x="1691843" y="1660996"/>
                  </a:lnTo>
                  <a:lnTo>
                    <a:pt x="1693833" y="1660937"/>
                  </a:lnTo>
                  <a:lnTo>
                    <a:pt x="1695914" y="1660295"/>
                  </a:lnTo>
                  <a:lnTo>
                    <a:pt x="1698230" y="1658676"/>
                  </a:lnTo>
                  <a:close/>
                  <a:moveTo>
                    <a:pt x="1581188" y="1649044"/>
                  </a:moveTo>
                  <a:lnTo>
                    <a:pt x="1583232" y="1650140"/>
                  </a:lnTo>
                  <a:lnTo>
                    <a:pt x="1580724" y="1650988"/>
                  </a:lnTo>
                  <a:lnTo>
                    <a:pt x="1578510" y="1650908"/>
                  </a:lnTo>
                  <a:lnTo>
                    <a:pt x="1576995" y="1652474"/>
                  </a:lnTo>
                  <a:lnTo>
                    <a:pt x="1574972" y="1652915"/>
                  </a:lnTo>
                  <a:lnTo>
                    <a:pt x="1570499" y="1651773"/>
                  </a:lnTo>
                  <a:lnTo>
                    <a:pt x="1567606" y="1651585"/>
                  </a:lnTo>
                  <a:lnTo>
                    <a:pt x="1566455" y="1650563"/>
                  </a:lnTo>
                  <a:lnTo>
                    <a:pt x="1567541" y="1649067"/>
                  </a:lnTo>
                  <a:lnTo>
                    <a:pt x="1572986" y="1649389"/>
                  </a:lnTo>
                  <a:lnTo>
                    <a:pt x="1575573" y="1649738"/>
                  </a:lnTo>
                  <a:lnTo>
                    <a:pt x="1578240" y="1649193"/>
                  </a:lnTo>
                  <a:close/>
                  <a:moveTo>
                    <a:pt x="1716853" y="1648826"/>
                  </a:moveTo>
                  <a:lnTo>
                    <a:pt x="1716438" y="1649558"/>
                  </a:lnTo>
                  <a:lnTo>
                    <a:pt x="1716007" y="1650177"/>
                  </a:lnTo>
                  <a:lnTo>
                    <a:pt x="1715053" y="1651940"/>
                  </a:lnTo>
                  <a:lnTo>
                    <a:pt x="1714151" y="1651910"/>
                  </a:lnTo>
                  <a:lnTo>
                    <a:pt x="1713244" y="1651435"/>
                  </a:lnTo>
                  <a:lnTo>
                    <a:pt x="1712277" y="1651826"/>
                  </a:lnTo>
                  <a:lnTo>
                    <a:pt x="1711541" y="1653072"/>
                  </a:lnTo>
                  <a:lnTo>
                    <a:pt x="1711270" y="1654050"/>
                  </a:lnTo>
                  <a:lnTo>
                    <a:pt x="1710927" y="1654941"/>
                  </a:lnTo>
                  <a:lnTo>
                    <a:pt x="1709978" y="1655920"/>
                  </a:lnTo>
                  <a:lnTo>
                    <a:pt x="1705966" y="1658507"/>
                  </a:lnTo>
                  <a:lnTo>
                    <a:pt x="1703980" y="1658600"/>
                  </a:lnTo>
                  <a:lnTo>
                    <a:pt x="1703407" y="1656086"/>
                  </a:lnTo>
                  <a:lnTo>
                    <a:pt x="1706716" y="1654401"/>
                  </a:lnTo>
                  <a:lnTo>
                    <a:pt x="1713719" y="1648963"/>
                  </a:lnTo>
                  <a:close/>
                  <a:moveTo>
                    <a:pt x="1559575" y="1646804"/>
                  </a:moveTo>
                  <a:lnTo>
                    <a:pt x="1561816" y="1647445"/>
                  </a:lnTo>
                  <a:lnTo>
                    <a:pt x="1562724" y="1649782"/>
                  </a:lnTo>
                  <a:lnTo>
                    <a:pt x="1561593" y="1650402"/>
                  </a:lnTo>
                  <a:lnTo>
                    <a:pt x="1560463" y="1650728"/>
                  </a:lnTo>
                  <a:lnTo>
                    <a:pt x="1550913" y="1649430"/>
                  </a:lnTo>
                  <a:lnTo>
                    <a:pt x="1548254" y="1647461"/>
                  </a:lnTo>
                  <a:lnTo>
                    <a:pt x="1549270" y="1646837"/>
                  </a:lnTo>
                  <a:lnTo>
                    <a:pt x="1550324" y="1646914"/>
                  </a:lnTo>
                  <a:lnTo>
                    <a:pt x="1555483" y="1649330"/>
                  </a:lnTo>
                  <a:lnTo>
                    <a:pt x="1556574" y="1648852"/>
                  </a:lnTo>
                  <a:lnTo>
                    <a:pt x="1556261" y="1648268"/>
                  </a:lnTo>
                  <a:lnTo>
                    <a:pt x="1555858" y="1647902"/>
                  </a:lnTo>
                  <a:lnTo>
                    <a:pt x="1555391" y="1647736"/>
                  </a:lnTo>
                  <a:lnTo>
                    <a:pt x="1554888" y="1647698"/>
                  </a:lnTo>
                  <a:lnTo>
                    <a:pt x="1555085" y="1646977"/>
                  </a:lnTo>
                  <a:close/>
                  <a:moveTo>
                    <a:pt x="1908258" y="1643108"/>
                  </a:moveTo>
                  <a:lnTo>
                    <a:pt x="1916347" y="1645092"/>
                  </a:lnTo>
                  <a:lnTo>
                    <a:pt x="1917397" y="1646495"/>
                  </a:lnTo>
                  <a:lnTo>
                    <a:pt x="1920199" y="1648221"/>
                  </a:lnTo>
                  <a:lnTo>
                    <a:pt x="1922032" y="1651514"/>
                  </a:lnTo>
                  <a:lnTo>
                    <a:pt x="1923070" y="1652802"/>
                  </a:lnTo>
                  <a:lnTo>
                    <a:pt x="1923498" y="1653130"/>
                  </a:lnTo>
                  <a:lnTo>
                    <a:pt x="1923816" y="1653861"/>
                  </a:lnTo>
                  <a:lnTo>
                    <a:pt x="1924252" y="1655572"/>
                  </a:lnTo>
                  <a:lnTo>
                    <a:pt x="1924534" y="1660760"/>
                  </a:lnTo>
                  <a:lnTo>
                    <a:pt x="1922709" y="1663623"/>
                  </a:lnTo>
                  <a:lnTo>
                    <a:pt x="1920009" y="1664788"/>
                  </a:lnTo>
                  <a:lnTo>
                    <a:pt x="1914901" y="1664742"/>
                  </a:lnTo>
                  <a:lnTo>
                    <a:pt x="1912735" y="1662649"/>
                  </a:lnTo>
                  <a:lnTo>
                    <a:pt x="1910566" y="1661403"/>
                  </a:lnTo>
                  <a:lnTo>
                    <a:pt x="1909463" y="1659718"/>
                  </a:lnTo>
                  <a:lnTo>
                    <a:pt x="1907313" y="1658480"/>
                  </a:lnTo>
                  <a:lnTo>
                    <a:pt x="1905931" y="1657043"/>
                  </a:lnTo>
                  <a:lnTo>
                    <a:pt x="1902591" y="1650917"/>
                  </a:lnTo>
                  <a:lnTo>
                    <a:pt x="1901517" y="1647607"/>
                  </a:lnTo>
                  <a:lnTo>
                    <a:pt x="1900862" y="1646314"/>
                  </a:lnTo>
                  <a:lnTo>
                    <a:pt x="1899935" y="1646063"/>
                  </a:lnTo>
                  <a:lnTo>
                    <a:pt x="1904101" y="1643540"/>
                  </a:lnTo>
                  <a:close/>
                  <a:moveTo>
                    <a:pt x="3503542" y="1642435"/>
                  </a:moveTo>
                  <a:lnTo>
                    <a:pt x="3506287" y="1643711"/>
                  </a:lnTo>
                  <a:lnTo>
                    <a:pt x="3507247" y="1646357"/>
                  </a:lnTo>
                  <a:lnTo>
                    <a:pt x="3505884" y="1646897"/>
                  </a:lnTo>
                  <a:lnTo>
                    <a:pt x="3503735" y="1645165"/>
                  </a:lnTo>
                  <a:lnTo>
                    <a:pt x="3500548" y="1645639"/>
                  </a:lnTo>
                  <a:lnTo>
                    <a:pt x="3499819" y="1647158"/>
                  </a:lnTo>
                  <a:lnTo>
                    <a:pt x="3499920" y="1649111"/>
                  </a:lnTo>
                  <a:lnTo>
                    <a:pt x="3497912" y="1647493"/>
                  </a:lnTo>
                  <a:lnTo>
                    <a:pt x="3496335" y="1646223"/>
                  </a:lnTo>
                  <a:lnTo>
                    <a:pt x="3496920" y="1644588"/>
                  </a:lnTo>
                  <a:lnTo>
                    <a:pt x="3499474" y="1643135"/>
                  </a:lnTo>
                  <a:close/>
                  <a:moveTo>
                    <a:pt x="1522477" y="1640240"/>
                  </a:moveTo>
                  <a:lnTo>
                    <a:pt x="1524058" y="1640809"/>
                  </a:lnTo>
                  <a:lnTo>
                    <a:pt x="1526620" y="1643632"/>
                  </a:lnTo>
                  <a:lnTo>
                    <a:pt x="1528476" y="1644745"/>
                  </a:lnTo>
                  <a:lnTo>
                    <a:pt x="1533172" y="1644982"/>
                  </a:lnTo>
                  <a:lnTo>
                    <a:pt x="1534693" y="1646841"/>
                  </a:lnTo>
                  <a:lnTo>
                    <a:pt x="1533048" y="1646207"/>
                  </a:lnTo>
                  <a:lnTo>
                    <a:pt x="1532156" y="1646154"/>
                  </a:lnTo>
                  <a:lnTo>
                    <a:pt x="1531251" y="1646669"/>
                  </a:lnTo>
                  <a:lnTo>
                    <a:pt x="1522395" y="1643418"/>
                  </a:lnTo>
                  <a:lnTo>
                    <a:pt x="1521890" y="1643012"/>
                  </a:lnTo>
                  <a:lnTo>
                    <a:pt x="1521075" y="1641647"/>
                  </a:lnTo>
                  <a:lnTo>
                    <a:pt x="1520491" y="1641334"/>
                  </a:lnTo>
                  <a:lnTo>
                    <a:pt x="1520698" y="1640616"/>
                  </a:lnTo>
                  <a:close/>
                  <a:moveTo>
                    <a:pt x="3560109" y="1640236"/>
                  </a:moveTo>
                  <a:lnTo>
                    <a:pt x="3562252" y="1640790"/>
                  </a:lnTo>
                  <a:lnTo>
                    <a:pt x="3564800" y="1647068"/>
                  </a:lnTo>
                  <a:lnTo>
                    <a:pt x="3565297" y="1649111"/>
                  </a:lnTo>
                  <a:lnTo>
                    <a:pt x="3564021" y="1650430"/>
                  </a:lnTo>
                  <a:lnTo>
                    <a:pt x="3561697" y="1648323"/>
                  </a:lnTo>
                  <a:lnTo>
                    <a:pt x="3559504" y="1643973"/>
                  </a:lnTo>
                  <a:lnTo>
                    <a:pt x="3557603" y="1641034"/>
                  </a:lnTo>
                  <a:close/>
                  <a:moveTo>
                    <a:pt x="2025776" y="1629231"/>
                  </a:moveTo>
                  <a:lnTo>
                    <a:pt x="2033377" y="1633928"/>
                  </a:lnTo>
                  <a:lnTo>
                    <a:pt x="2034266" y="1634095"/>
                  </a:lnTo>
                  <a:lnTo>
                    <a:pt x="2035283" y="1633863"/>
                  </a:lnTo>
                  <a:lnTo>
                    <a:pt x="2036139" y="1634222"/>
                  </a:lnTo>
                  <a:lnTo>
                    <a:pt x="2036532" y="1636164"/>
                  </a:lnTo>
                  <a:lnTo>
                    <a:pt x="2036378" y="1637766"/>
                  </a:lnTo>
                  <a:lnTo>
                    <a:pt x="2035935" y="1640467"/>
                  </a:lnTo>
                  <a:lnTo>
                    <a:pt x="2035823" y="1641392"/>
                  </a:lnTo>
                  <a:lnTo>
                    <a:pt x="2035823" y="1642659"/>
                  </a:lnTo>
                  <a:lnTo>
                    <a:pt x="2035915" y="1644004"/>
                  </a:lnTo>
                  <a:lnTo>
                    <a:pt x="2036273" y="1646655"/>
                  </a:lnTo>
                  <a:lnTo>
                    <a:pt x="2035532" y="1648813"/>
                  </a:lnTo>
                  <a:lnTo>
                    <a:pt x="2035090" y="1649806"/>
                  </a:lnTo>
                  <a:lnTo>
                    <a:pt x="2034566" y="1650392"/>
                  </a:lnTo>
                  <a:lnTo>
                    <a:pt x="2033629" y="1650333"/>
                  </a:lnTo>
                  <a:lnTo>
                    <a:pt x="2030334" y="1648501"/>
                  </a:lnTo>
                  <a:lnTo>
                    <a:pt x="2030893" y="1649533"/>
                  </a:lnTo>
                  <a:lnTo>
                    <a:pt x="2031182" y="1650423"/>
                  </a:lnTo>
                  <a:lnTo>
                    <a:pt x="2031139" y="1651366"/>
                  </a:lnTo>
                  <a:lnTo>
                    <a:pt x="2030202" y="1654063"/>
                  </a:lnTo>
                  <a:lnTo>
                    <a:pt x="2029888" y="1655453"/>
                  </a:lnTo>
                  <a:lnTo>
                    <a:pt x="2029509" y="1656597"/>
                  </a:lnTo>
                  <a:lnTo>
                    <a:pt x="2028823" y="1657335"/>
                  </a:lnTo>
                  <a:lnTo>
                    <a:pt x="2027984" y="1657121"/>
                  </a:lnTo>
                  <a:lnTo>
                    <a:pt x="2026595" y="1654795"/>
                  </a:lnTo>
                  <a:lnTo>
                    <a:pt x="2025942" y="1654187"/>
                  </a:lnTo>
                  <a:lnTo>
                    <a:pt x="2025055" y="1653724"/>
                  </a:lnTo>
                  <a:lnTo>
                    <a:pt x="2023226" y="1651894"/>
                  </a:lnTo>
                  <a:lnTo>
                    <a:pt x="2022181" y="1651506"/>
                  </a:lnTo>
                  <a:lnTo>
                    <a:pt x="2020924" y="1652097"/>
                  </a:lnTo>
                  <a:lnTo>
                    <a:pt x="2020475" y="1652176"/>
                  </a:lnTo>
                  <a:lnTo>
                    <a:pt x="2019971" y="1651907"/>
                  </a:lnTo>
                  <a:lnTo>
                    <a:pt x="2019196" y="1650815"/>
                  </a:lnTo>
                  <a:lnTo>
                    <a:pt x="2018615" y="1650349"/>
                  </a:lnTo>
                  <a:lnTo>
                    <a:pt x="2018234" y="1649410"/>
                  </a:lnTo>
                  <a:lnTo>
                    <a:pt x="2018000" y="1649060"/>
                  </a:lnTo>
                  <a:lnTo>
                    <a:pt x="2017424" y="1648736"/>
                  </a:lnTo>
                  <a:lnTo>
                    <a:pt x="2015837" y="1648878"/>
                  </a:lnTo>
                  <a:lnTo>
                    <a:pt x="2014972" y="1648431"/>
                  </a:lnTo>
                  <a:lnTo>
                    <a:pt x="2013390" y="1646668"/>
                  </a:lnTo>
                  <a:lnTo>
                    <a:pt x="2011991" y="1645836"/>
                  </a:lnTo>
                  <a:lnTo>
                    <a:pt x="2009786" y="1643059"/>
                  </a:lnTo>
                  <a:lnTo>
                    <a:pt x="2011338" y="1643056"/>
                  </a:lnTo>
                  <a:lnTo>
                    <a:pt x="2013492" y="1642098"/>
                  </a:lnTo>
                  <a:lnTo>
                    <a:pt x="2015629" y="1640545"/>
                  </a:lnTo>
                  <a:lnTo>
                    <a:pt x="2017888" y="1637910"/>
                  </a:lnTo>
                  <a:lnTo>
                    <a:pt x="2021496" y="1635992"/>
                  </a:lnTo>
                  <a:lnTo>
                    <a:pt x="2021863" y="1635653"/>
                  </a:lnTo>
                  <a:lnTo>
                    <a:pt x="2022191" y="1635022"/>
                  </a:lnTo>
                  <a:lnTo>
                    <a:pt x="2022413" y="1634079"/>
                  </a:lnTo>
                  <a:lnTo>
                    <a:pt x="2022453" y="1633228"/>
                  </a:lnTo>
                  <a:lnTo>
                    <a:pt x="2022421" y="1632541"/>
                  </a:lnTo>
                  <a:lnTo>
                    <a:pt x="2022437" y="1632119"/>
                  </a:lnTo>
                  <a:lnTo>
                    <a:pt x="2023983" y="1629324"/>
                  </a:lnTo>
                  <a:close/>
                  <a:moveTo>
                    <a:pt x="1583957" y="1626712"/>
                  </a:moveTo>
                  <a:lnTo>
                    <a:pt x="1585404" y="1626807"/>
                  </a:lnTo>
                  <a:lnTo>
                    <a:pt x="1585968" y="1627595"/>
                  </a:lnTo>
                  <a:lnTo>
                    <a:pt x="1589459" y="1628786"/>
                  </a:lnTo>
                  <a:lnTo>
                    <a:pt x="1590248" y="1630308"/>
                  </a:lnTo>
                  <a:lnTo>
                    <a:pt x="1588258" y="1630961"/>
                  </a:lnTo>
                  <a:lnTo>
                    <a:pt x="1586708" y="1632313"/>
                  </a:lnTo>
                  <a:lnTo>
                    <a:pt x="1585580" y="1630737"/>
                  </a:lnTo>
                  <a:lnTo>
                    <a:pt x="1583513" y="1630194"/>
                  </a:lnTo>
                  <a:lnTo>
                    <a:pt x="1582304" y="1629510"/>
                  </a:lnTo>
                  <a:lnTo>
                    <a:pt x="1583051" y="1627959"/>
                  </a:lnTo>
                  <a:close/>
                  <a:moveTo>
                    <a:pt x="1633653" y="1624354"/>
                  </a:moveTo>
                  <a:lnTo>
                    <a:pt x="1635804" y="1624866"/>
                  </a:lnTo>
                  <a:lnTo>
                    <a:pt x="1641122" y="1625020"/>
                  </a:lnTo>
                  <a:lnTo>
                    <a:pt x="1641986" y="1626328"/>
                  </a:lnTo>
                  <a:lnTo>
                    <a:pt x="1641618" y="1626807"/>
                  </a:lnTo>
                  <a:lnTo>
                    <a:pt x="1641310" y="1626981"/>
                  </a:lnTo>
                  <a:lnTo>
                    <a:pt x="1639927" y="1626682"/>
                  </a:lnTo>
                  <a:lnTo>
                    <a:pt x="1637739" y="1626923"/>
                  </a:lnTo>
                  <a:lnTo>
                    <a:pt x="1636868" y="1627479"/>
                  </a:lnTo>
                  <a:lnTo>
                    <a:pt x="1636040" y="1628730"/>
                  </a:lnTo>
                  <a:lnTo>
                    <a:pt x="1635194" y="1631132"/>
                  </a:lnTo>
                  <a:lnTo>
                    <a:pt x="1634555" y="1632231"/>
                  </a:lnTo>
                  <a:lnTo>
                    <a:pt x="1633017" y="1633053"/>
                  </a:lnTo>
                  <a:lnTo>
                    <a:pt x="1630988" y="1632998"/>
                  </a:lnTo>
                  <a:lnTo>
                    <a:pt x="1629530" y="1631704"/>
                  </a:lnTo>
                  <a:lnTo>
                    <a:pt x="1629705" y="1628840"/>
                  </a:lnTo>
                  <a:lnTo>
                    <a:pt x="1630428" y="1627712"/>
                  </a:lnTo>
                  <a:lnTo>
                    <a:pt x="1631368" y="1627114"/>
                  </a:lnTo>
                  <a:lnTo>
                    <a:pt x="1632849" y="1626523"/>
                  </a:lnTo>
                  <a:lnTo>
                    <a:pt x="1633077" y="1625961"/>
                  </a:lnTo>
                  <a:lnTo>
                    <a:pt x="1633170" y="1625202"/>
                  </a:lnTo>
                  <a:lnTo>
                    <a:pt x="1633301" y="1624548"/>
                  </a:lnTo>
                  <a:close/>
                  <a:moveTo>
                    <a:pt x="2812821" y="1618205"/>
                  </a:moveTo>
                  <a:lnTo>
                    <a:pt x="2814372" y="1618485"/>
                  </a:lnTo>
                  <a:lnTo>
                    <a:pt x="2815730" y="1619808"/>
                  </a:lnTo>
                  <a:lnTo>
                    <a:pt x="2815769" y="1620767"/>
                  </a:lnTo>
                  <a:lnTo>
                    <a:pt x="2816203" y="1621121"/>
                  </a:lnTo>
                  <a:lnTo>
                    <a:pt x="2816820" y="1621112"/>
                  </a:lnTo>
                  <a:lnTo>
                    <a:pt x="2819672" y="1620097"/>
                  </a:lnTo>
                  <a:lnTo>
                    <a:pt x="2820599" y="1620192"/>
                  </a:lnTo>
                  <a:lnTo>
                    <a:pt x="2820712" y="1620781"/>
                  </a:lnTo>
                  <a:lnTo>
                    <a:pt x="2820696" y="1621164"/>
                  </a:lnTo>
                  <a:lnTo>
                    <a:pt x="2819648" y="1624297"/>
                  </a:lnTo>
                  <a:lnTo>
                    <a:pt x="2819116" y="1625404"/>
                  </a:lnTo>
                  <a:lnTo>
                    <a:pt x="2818546" y="1625621"/>
                  </a:lnTo>
                  <a:lnTo>
                    <a:pt x="2815191" y="1623370"/>
                  </a:lnTo>
                  <a:lnTo>
                    <a:pt x="2810585" y="1623325"/>
                  </a:lnTo>
                  <a:lnTo>
                    <a:pt x="2806596" y="1621939"/>
                  </a:lnTo>
                  <a:lnTo>
                    <a:pt x="2807073" y="1620310"/>
                  </a:lnTo>
                  <a:lnTo>
                    <a:pt x="2810326" y="1621429"/>
                  </a:lnTo>
                  <a:lnTo>
                    <a:pt x="2811431" y="1620816"/>
                  </a:lnTo>
                  <a:lnTo>
                    <a:pt x="2811085" y="1620486"/>
                  </a:lnTo>
                  <a:lnTo>
                    <a:pt x="2810548" y="1619781"/>
                  </a:lnTo>
                  <a:lnTo>
                    <a:pt x="2810267" y="1619490"/>
                  </a:lnTo>
                  <a:lnTo>
                    <a:pt x="2810108" y="1618825"/>
                  </a:lnTo>
                  <a:close/>
                  <a:moveTo>
                    <a:pt x="2083946" y="1609716"/>
                  </a:moveTo>
                  <a:lnTo>
                    <a:pt x="2089079" y="1611347"/>
                  </a:lnTo>
                  <a:lnTo>
                    <a:pt x="2090680" y="1612582"/>
                  </a:lnTo>
                  <a:lnTo>
                    <a:pt x="2092063" y="1614417"/>
                  </a:lnTo>
                  <a:lnTo>
                    <a:pt x="2091720" y="1616959"/>
                  </a:lnTo>
                  <a:lnTo>
                    <a:pt x="2092394" y="1618496"/>
                  </a:lnTo>
                  <a:lnTo>
                    <a:pt x="2093452" y="1619633"/>
                  </a:lnTo>
                  <a:lnTo>
                    <a:pt x="2095324" y="1622691"/>
                  </a:lnTo>
                  <a:lnTo>
                    <a:pt x="2098211" y="1623443"/>
                  </a:lnTo>
                  <a:lnTo>
                    <a:pt x="2099266" y="1625295"/>
                  </a:lnTo>
                  <a:lnTo>
                    <a:pt x="2097017" y="1626669"/>
                  </a:lnTo>
                  <a:lnTo>
                    <a:pt x="2097492" y="1628438"/>
                  </a:lnTo>
                  <a:lnTo>
                    <a:pt x="2097198" y="1629781"/>
                  </a:lnTo>
                  <a:lnTo>
                    <a:pt x="2096491" y="1630666"/>
                  </a:lnTo>
                  <a:lnTo>
                    <a:pt x="2095724" y="1631070"/>
                  </a:lnTo>
                  <a:lnTo>
                    <a:pt x="2095872" y="1632303"/>
                  </a:lnTo>
                  <a:lnTo>
                    <a:pt x="2096415" y="1634027"/>
                  </a:lnTo>
                  <a:lnTo>
                    <a:pt x="2096569" y="1634905"/>
                  </a:lnTo>
                  <a:lnTo>
                    <a:pt x="2096584" y="1636451"/>
                  </a:lnTo>
                  <a:lnTo>
                    <a:pt x="2096385" y="1636529"/>
                  </a:lnTo>
                  <a:lnTo>
                    <a:pt x="2095995" y="1636149"/>
                  </a:lnTo>
                  <a:lnTo>
                    <a:pt x="2095435" y="1636332"/>
                  </a:lnTo>
                  <a:lnTo>
                    <a:pt x="2094871" y="1637390"/>
                  </a:lnTo>
                  <a:lnTo>
                    <a:pt x="2094854" y="1638192"/>
                  </a:lnTo>
                  <a:lnTo>
                    <a:pt x="2094937" y="1638969"/>
                  </a:lnTo>
                  <a:lnTo>
                    <a:pt x="2094671" y="1639953"/>
                  </a:lnTo>
                  <a:lnTo>
                    <a:pt x="2093928" y="1640402"/>
                  </a:lnTo>
                  <a:lnTo>
                    <a:pt x="2092006" y="1639476"/>
                  </a:lnTo>
                  <a:lnTo>
                    <a:pt x="2091141" y="1639762"/>
                  </a:lnTo>
                  <a:lnTo>
                    <a:pt x="2090210" y="1641468"/>
                  </a:lnTo>
                  <a:lnTo>
                    <a:pt x="2089519" y="1643348"/>
                  </a:lnTo>
                  <a:lnTo>
                    <a:pt x="2088742" y="1644894"/>
                  </a:lnTo>
                  <a:lnTo>
                    <a:pt x="2087555" y="1645591"/>
                  </a:lnTo>
                  <a:lnTo>
                    <a:pt x="2086555" y="1645109"/>
                  </a:lnTo>
                  <a:lnTo>
                    <a:pt x="2085554" y="1643790"/>
                  </a:lnTo>
                  <a:lnTo>
                    <a:pt x="2083811" y="1640160"/>
                  </a:lnTo>
                  <a:lnTo>
                    <a:pt x="2085785" y="1638782"/>
                  </a:lnTo>
                  <a:lnTo>
                    <a:pt x="2085487" y="1637007"/>
                  </a:lnTo>
                  <a:lnTo>
                    <a:pt x="2084981" y="1636205"/>
                  </a:lnTo>
                  <a:lnTo>
                    <a:pt x="2084305" y="1636091"/>
                  </a:lnTo>
                  <a:lnTo>
                    <a:pt x="2083495" y="1636412"/>
                  </a:lnTo>
                  <a:lnTo>
                    <a:pt x="2081978" y="1637523"/>
                  </a:lnTo>
                  <a:lnTo>
                    <a:pt x="2081326" y="1638386"/>
                  </a:lnTo>
                  <a:lnTo>
                    <a:pt x="2081431" y="1639209"/>
                  </a:lnTo>
                  <a:lnTo>
                    <a:pt x="2080400" y="1641049"/>
                  </a:lnTo>
                  <a:lnTo>
                    <a:pt x="2079474" y="1640705"/>
                  </a:lnTo>
                  <a:lnTo>
                    <a:pt x="2078832" y="1638832"/>
                  </a:lnTo>
                  <a:lnTo>
                    <a:pt x="2078646" y="1636126"/>
                  </a:lnTo>
                  <a:lnTo>
                    <a:pt x="2079206" y="1627687"/>
                  </a:lnTo>
                  <a:lnTo>
                    <a:pt x="2079833" y="1622823"/>
                  </a:lnTo>
                  <a:lnTo>
                    <a:pt x="2080164" y="1622527"/>
                  </a:lnTo>
                  <a:lnTo>
                    <a:pt x="2080598" y="1622633"/>
                  </a:lnTo>
                  <a:lnTo>
                    <a:pt x="2081127" y="1622051"/>
                  </a:lnTo>
                  <a:lnTo>
                    <a:pt x="2081681" y="1619838"/>
                  </a:lnTo>
                  <a:lnTo>
                    <a:pt x="2081430" y="1617936"/>
                  </a:lnTo>
                  <a:lnTo>
                    <a:pt x="2079980" y="1614533"/>
                  </a:lnTo>
                  <a:lnTo>
                    <a:pt x="2082137" y="1612894"/>
                  </a:lnTo>
                  <a:lnTo>
                    <a:pt x="2082523" y="1612007"/>
                  </a:lnTo>
                  <a:lnTo>
                    <a:pt x="2083021" y="1610118"/>
                  </a:lnTo>
                  <a:close/>
                  <a:moveTo>
                    <a:pt x="1674096" y="1606094"/>
                  </a:moveTo>
                  <a:lnTo>
                    <a:pt x="1675499" y="1606649"/>
                  </a:lnTo>
                  <a:lnTo>
                    <a:pt x="1676861" y="1608373"/>
                  </a:lnTo>
                  <a:lnTo>
                    <a:pt x="1677798" y="1610906"/>
                  </a:lnTo>
                  <a:lnTo>
                    <a:pt x="1677932" y="1613893"/>
                  </a:lnTo>
                  <a:lnTo>
                    <a:pt x="1676920" y="1613764"/>
                  </a:lnTo>
                  <a:lnTo>
                    <a:pt x="1676623" y="1613602"/>
                  </a:lnTo>
                  <a:lnTo>
                    <a:pt x="1669531" y="1614108"/>
                  </a:lnTo>
                  <a:lnTo>
                    <a:pt x="1662641" y="1611981"/>
                  </a:lnTo>
                  <a:lnTo>
                    <a:pt x="1662261" y="1611320"/>
                  </a:lnTo>
                  <a:lnTo>
                    <a:pt x="1663176" y="1610235"/>
                  </a:lnTo>
                  <a:lnTo>
                    <a:pt x="1665379" y="1608715"/>
                  </a:lnTo>
                  <a:close/>
                  <a:moveTo>
                    <a:pt x="1677926" y="1604666"/>
                  </a:moveTo>
                  <a:lnTo>
                    <a:pt x="1680284" y="1605585"/>
                  </a:lnTo>
                  <a:lnTo>
                    <a:pt x="1681500" y="1605677"/>
                  </a:lnTo>
                  <a:lnTo>
                    <a:pt x="1682788" y="1604911"/>
                  </a:lnTo>
                  <a:lnTo>
                    <a:pt x="1682898" y="1605768"/>
                  </a:lnTo>
                  <a:lnTo>
                    <a:pt x="1682444" y="1606432"/>
                  </a:lnTo>
                  <a:lnTo>
                    <a:pt x="1682237" y="1606677"/>
                  </a:lnTo>
                  <a:lnTo>
                    <a:pt x="1682073" y="1606923"/>
                  </a:lnTo>
                  <a:lnTo>
                    <a:pt x="1681917" y="1607079"/>
                  </a:lnTo>
                  <a:lnTo>
                    <a:pt x="1681723" y="1607037"/>
                  </a:lnTo>
                  <a:lnTo>
                    <a:pt x="1681561" y="1607755"/>
                  </a:lnTo>
                  <a:lnTo>
                    <a:pt x="1686372" y="1608814"/>
                  </a:lnTo>
                  <a:lnTo>
                    <a:pt x="1684609" y="1610882"/>
                  </a:lnTo>
                  <a:lnTo>
                    <a:pt x="1682051" y="1611001"/>
                  </a:lnTo>
                  <a:lnTo>
                    <a:pt x="1679569" y="1609953"/>
                  </a:lnTo>
                  <a:lnTo>
                    <a:pt x="1678040" y="1608503"/>
                  </a:lnTo>
                  <a:lnTo>
                    <a:pt x="1677756" y="1607699"/>
                  </a:lnTo>
                  <a:lnTo>
                    <a:pt x="1677457" y="1606326"/>
                  </a:lnTo>
                  <a:lnTo>
                    <a:pt x="1677415" y="1605097"/>
                  </a:lnTo>
                  <a:close/>
                  <a:moveTo>
                    <a:pt x="2100136" y="1599144"/>
                  </a:moveTo>
                  <a:lnTo>
                    <a:pt x="2100309" y="1600347"/>
                  </a:lnTo>
                  <a:lnTo>
                    <a:pt x="2100648" y="1601123"/>
                  </a:lnTo>
                  <a:lnTo>
                    <a:pt x="2101592" y="1602264"/>
                  </a:lnTo>
                  <a:lnTo>
                    <a:pt x="2102357" y="1602742"/>
                  </a:lnTo>
                  <a:lnTo>
                    <a:pt x="2103307" y="1603696"/>
                  </a:lnTo>
                  <a:lnTo>
                    <a:pt x="2103879" y="1604892"/>
                  </a:lnTo>
                  <a:lnTo>
                    <a:pt x="2103521" y="1606090"/>
                  </a:lnTo>
                  <a:lnTo>
                    <a:pt x="2103843" y="1607420"/>
                  </a:lnTo>
                  <a:lnTo>
                    <a:pt x="2104796" y="1609589"/>
                  </a:lnTo>
                  <a:lnTo>
                    <a:pt x="2105154" y="1610636"/>
                  </a:lnTo>
                  <a:lnTo>
                    <a:pt x="2105392" y="1612228"/>
                  </a:lnTo>
                  <a:lnTo>
                    <a:pt x="2105336" y="1613570"/>
                  </a:lnTo>
                  <a:lnTo>
                    <a:pt x="2104433" y="1619702"/>
                  </a:lnTo>
                  <a:lnTo>
                    <a:pt x="2104073" y="1621011"/>
                  </a:lnTo>
                  <a:lnTo>
                    <a:pt x="2103501" y="1621865"/>
                  </a:lnTo>
                  <a:lnTo>
                    <a:pt x="2102995" y="1621786"/>
                  </a:lnTo>
                  <a:lnTo>
                    <a:pt x="2098020" y="1618533"/>
                  </a:lnTo>
                  <a:lnTo>
                    <a:pt x="2096857" y="1616989"/>
                  </a:lnTo>
                  <a:lnTo>
                    <a:pt x="2095800" y="1614993"/>
                  </a:lnTo>
                  <a:lnTo>
                    <a:pt x="2095104" y="1612492"/>
                  </a:lnTo>
                  <a:lnTo>
                    <a:pt x="2095018" y="1609434"/>
                  </a:lnTo>
                  <a:lnTo>
                    <a:pt x="2095348" y="1607410"/>
                  </a:lnTo>
                  <a:lnTo>
                    <a:pt x="2095885" y="1605744"/>
                  </a:lnTo>
                  <a:lnTo>
                    <a:pt x="2096543" y="1604448"/>
                  </a:lnTo>
                  <a:lnTo>
                    <a:pt x="2097237" y="1603526"/>
                  </a:lnTo>
                  <a:lnTo>
                    <a:pt x="2098627" y="1602571"/>
                  </a:lnTo>
                  <a:lnTo>
                    <a:pt x="2099055" y="1601723"/>
                  </a:lnTo>
                  <a:lnTo>
                    <a:pt x="2099567" y="1600201"/>
                  </a:lnTo>
                  <a:lnTo>
                    <a:pt x="2099814" y="1599624"/>
                  </a:lnTo>
                  <a:close/>
                  <a:moveTo>
                    <a:pt x="2483710" y="1589442"/>
                  </a:moveTo>
                  <a:lnTo>
                    <a:pt x="2484172" y="1590188"/>
                  </a:lnTo>
                  <a:lnTo>
                    <a:pt x="2484272" y="1591194"/>
                  </a:lnTo>
                  <a:lnTo>
                    <a:pt x="2484473" y="1592047"/>
                  </a:lnTo>
                  <a:lnTo>
                    <a:pt x="2485232" y="1592342"/>
                  </a:lnTo>
                  <a:lnTo>
                    <a:pt x="2485971" y="1591668"/>
                  </a:lnTo>
                  <a:lnTo>
                    <a:pt x="2486479" y="1590438"/>
                  </a:lnTo>
                  <a:lnTo>
                    <a:pt x="2487064" y="1589531"/>
                  </a:lnTo>
                  <a:lnTo>
                    <a:pt x="2488025" y="1589814"/>
                  </a:lnTo>
                  <a:lnTo>
                    <a:pt x="2487890" y="1590514"/>
                  </a:lnTo>
                  <a:lnTo>
                    <a:pt x="2487728" y="1590959"/>
                  </a:lnTo>
                  <a:lnTo>
                    <a:pt x="2487484" y="1591212"/>
                  </a:lnTo>
                  <a:lnTo>
                    <a:pt x="2487118" y="1591330"/>
                  </a:lnTo>
                  <a:lnTo>
                    <a:pt x="2487205" y="1592137"/>
                  </a:lnTo>
                  <a:lnTo>
                    <a:pt x="2487652" y="1592295"/>
                  </a:lnTo>
                  <a:lnTo>
                    <a:pt x="2488057" y="1592623"/>
                  </a:lnTo>
                  <a:lnTo>
                    <a:pt x="2488413" y="1593040"/>
                  </a:lnTo>
                  <a:lnTo>
                    <a:pt x="2488711" y="1593476"/>
                  </a:lnTo>
                  <a:lnTo>
                    <a:pt x="2488982" y="1595026"/>
                  </a:lnTo>
                  <a:lnTo>
                    <a:pt x="2489857" y="1597796"/>
                  </a:lnTo>
                  <a:lnTo>
                    <a:pt x="2490041" y="1598570"/>
                  </a:lnTo>
                  <a:lnTo>
                    <a:pt x="2489722" y="1599459"/>
                  </a:lnTo>
                  <a:lnTo>
                    <a:pt x="2489064" y="1599413"/>
                  </a:lnTo>
                  <a:lnTo>
                    <a:pt x="2488509" y="1598429"/>
                  </a:lnTo>
                  <a:lnTo>
                    <a:pt x="2488501" y="1596494"/>
                  </a:lnTo>
                  <a:lnTo>
                    <a:pt x="2486635" y="1597639"/>
                  </a:lnTo>
                  <a:lnTo>
                    <a:pt x="2485749" y="1597624"/>
                  </a:lnTo>
                  <a:lnTo>
                    <a:pt x="2484862" y="1596499"/>
                  </a:lnTo>
                  <a:lnTo>
                    <a:pt x="2484080" y="1594721"/>
                  </a:lnTo>
                  <a:lnTo>
                    <a:pt x="2483597" y="1593082"/>
                  </a:lnTo>
                  <a:lnTo>
                    <a:pt x="2483456" y="1591385"/>
                  </a:lnTo>
                  <a:close/>
                  <a:moveTo>
                    <a:pt x="2939432" y="1588705"/>
                  </a:moveTo>
                  <a:lnTo>
                    <a:pt x="2939978" y="1588798"/>
                  </a:lnTo>
                  <a:lnTo>
                    <a:pt x="2940128" y="1589133"/>
                  </a:lnTo>
                  <a:lnTo>
                    <a:pt x="2941184" y="1590893"/>
                  </a:lnTo>
                  <a:lnTo>
                    <a:pt x="2941593" y="1591441"/>
                  </a:lnTo>
                  <a:lnTo>
                    <a:pt x="2945325" y="1593006"/>
                  </a:lnTo>
                  <a:lnTo>
                    <a:pt x="2946636" y="1594477"/>
                  </a:lnTo>
                  <a:lnTo>
                    <a:pt x="2946870" y="1598030"/>
                  </a:lnTo>
                  <a:lnTo>
                    <a:pt x="2945964" y="1600831"/>
                  </a:lnTo>
                  <a:lnTo>
                    <a:pt x="2942971" y="1604664"/>
                  </a:lnTo>
                  <a:lnTo>
                    <a:pt x="2942288" y="1607970"/>
                  </a:lnTo>
                  <a:lnTo>
                    <a:pt x="2941224" y="1609497"/>
                  </a:lnTo>
                  <a:lnTo>
                    <a:pt x="2938817" y="1608952"/>
                  </a:lnTo>
                  <a:lnTo>
                    <a:pt x="2936099" y="1607222"/>
                  </a:lnTo>
                  <a:lnTo>
                    <a:pt x="2934110" y="1605228"/>
                  </a:lnTo>
                  <a:lnTo>
                    <a:pt x="2934191" y="1604432"/>
                  </a:lnTo>
                  <a:lnTo>
                    <a:pt x="2933226" y="1602678"/>
                  </a:lnTo>
                  <a:lnTo>
                    <a:pt x="2932424" y="1600456"/>
                  </a:lnTo>
                  <a:lnTo>
                    <a:pt x="2931808" y="1598094"/>
                  </a:lnTo>
                  <a:lnTo>
                    <a:pt x="2931257" y="1595251"/>
                  </a:lnTo>
                  <a:lnTo>
                    <a:pt x="2931145" y="1595005"/>
                  </a:lnTo>
                  <a:lnTo>
                    <a:pt x="2931075" y="1594642"/>
                  </a:lnTo>
                  <a:lnTo>
                    <a:pt x="2931043" y="1593620"/>
                  </a:lnTo>
                  <a:lnTo>
                    <a:pt x="2931414" y="1592034"/>
                  </a:lnTo>
                  <a:lnTo>
                    <a:pt x="2931729" y="1591602"/>
                  </a:lnTo>
                  <a:close/>
                  <a:moveTo>
                    <a:pt x="2042983" y="1587143"/>
                  </a:moveTo>
                  <a:lnTo>
                    <a:pt x="2045422" y="1587762"/>
                  </a:lnTo>
                  <a:lnTo>
                    <a:pt x="2046836" y="1589881"/>
                  </a:lnTo>
                  <a:lnTo>
                    <a:pt x="2046760" y="1590249"/>
                  </a:lnTo>
                  <a:lnTo>
                    <a:pt x="2046713" y="1590596"/>
                  </a:lnTo>
                  <a:lnTo>
                    <a:pt x="2046641" y="1590937"/>
                  </a:lnTo>
                  <a:lnTo>
                    <a:pt x="2046488" y="1591282"/>
                  </a:lnTo>
                  <a:lnTo>
                    <a:pt x="2047350" y="1592692"/>
                  </a:lnTo>
                  <a:lnTo>
                    <a:pt x="2047117" y="1594964"/>
                  </a:lnTo>
                  <a:lnTo>
                    <a:pt x="2046207" y="1597407"/>
                  </a:lnTo>
                  <a:lnTo>
                    <a:pt x="2045042" y="1599374"/>
                  </a:lnTo>
                  <a:lnTo>
                    <a:pt x="2044364" y="1599990"/>
                  </a:lnTo>
                  <a:lnTo>
                    <a:pt x="2043521" y="1600420"/>
                  </a:lnTo>
                  <a:lnTo>
                    <a:pt x="2042007" y="1600706"/>
                  </a:lnTo>
                  <a:lnTo>
                    <a:pt x="2041229" y="1601087"/>
                  </a:lnTo>
                  <a:lnTo>
                    <a:pt x="2040442" y="1601747"/>
                  </a:lnTo>
                  <a:lnTo>
                    <a:pt x="2039704" y="1601838"/>
                  </a:lnTo>
                  <a:lnTo>
                    <a:pt x="2039062" y="1600481"/>
                  </a:lnTo>
                  <a:lnTo>
                    <a:pt x="2040010" y="1598567"/>
                  </a:lnTo>
                  <a:lnTo>
                    <a:pt x="2042571" y="1597055"/>
                  </a:lnTo>
                  <a:lnTo>
                    <a:pt x="2043238" y="1595136"/>
                  </a:lnTo>
                  <a:lnTo>
                    <a:pt x="2042802" y="1593601"/>
                  </a:lnTo>
                  <a:lnTo>
                    <a:pt x="2040030" y="1593078"/>
                  </a:lnTo>
                  <a:lnTo>
                    <a:pt x="2038973" y="1591526"/>
                  </a:lnTo>
                  <a:lnTo>
                    <a:pt x="2040507" y="1588306"/>
                  </a:lnTo>
                  <a:close/>
                  <a:moveTo>
                    <a:pt x="1556093" y="1568742"/>
                  </a:moveTo>
                  <a:lnTo>
                    <a:pt x="1560002" y="1570484"/>
                  </a:lnTo>
                  <a:lnTo>
                    <a:pt x="1562318" y="1573003"/>
                  </a:lnTo>
                  <a:lnTo>
                    <a:pt x="1560550" y="1574339"/>
                  </a:lnTo>
                  <a:lnTo>
                    <a:pt x="1554445" y="1570836"/>
                  </a:lnTo>
                  <a:lnTo>
                    <a:pt x="1554949" y="1570137"/>
                  </a:lnTo>
                  <a:lnTo>
                    <a:pt x="1554871" y="1569331"/>
                  </a:lnTo>
                  <a:lnTo>
                    <a:pt x="1555517" y="1568809"/>
                  </a:lnTo>
                  <a:close/>
                  <a:moveTo>
                    <a:pt x="2465869" y="1565591"/>
                  </a:moveTo>
                  <a:lnTo>
                    <a:pt x="2467476" y="1565973"/>
                  </a:lnTo>
                  <a:lnTo>
                    <a:pt x="2469133" y="1567387"/>
                  </a:lnTo>
                  <a:lnTo>
                    <a:pt x="2470565" y="1569433"/>
                  </a:lnTo>
                  <a:lnTo>
                    <a:pt x="2471072" y="1570510"/>
                  </a:lnTo>
                  <a:lnTo>
                    <a:pt x="2471860" y="1572660"/>
                  </a:lnTo>
                  <a:lnTo>
                    <a:pt x="2472340" y="1573744"/>
                  </a:lnTo>
                  <a:lnTo>
                    <a:pt x="2473006" y="1574644"/>
                  </a:lnTo>
                  <a:lnTo>
                    <a:pt x="2473653" y="1575190"/>
                  </a:lnTo>
                  <a:lnTo>
                    <a:pt x="2474239" y="1575977"/>
                  </a:lnTo>
                  <a:lnTo>
                    <a:pt x="2474732" y="1577652"/>
                  </a:lnTo>
                  <a:lnTo>
                    <a:pt x="2474321" y="1577880"/>
                  </a:lnTo>
                  <a:lnTo>
                    <a:pt x="2473980" y="1578342"/>
                  </a:lnTo>
                  <a:lnTo>
                    <a:pt x="2473740" y="1579048"/>
                  </a:lnTo>
                  <a:lnTo>
                    <a:pt x="2473619" y="1580004"/>
                  </a:lnTo>
                  <a:lnTo>
                    <a:pt x="2473909" y="1579404"/>
                  </a:lnTo>
                  <a:lnTo>
                    <a:pt x="2474235" y="1579176"/>
                  </a:lnTo>
                  <a:lnTo>
                    <a:pt x="2474588" y="1579323"/>
                  </a:lnTo>
                  <a:lnTo>
                    <a:pt x="2474961" y="1579870"/>
                  </a:lnTo>
                  <a:lnTo>
                    <a:pt x="2475297" y="1580763"/>
                  </a:lnTo>
                  <a:lnTo>
                    <a:pt x="2475228" y="1581264"/>
                  </a:lnTo>
                  <a:lnTo>
                    <a:pt x="2474956" y="1581635"/>
                  </a:lnTo>
                  <a:lnTo>
                    <a:pt x="2474245" y="1582979"/>
                  </a:lnTo>
                  <a:lnTo>
                    <a:pt x="2473670" y="1583411"/>
                  </a:lnTo>
                  <a:lnTo>
                    <a:pt x="2472418" y="1583856"/>
                  </a:lnTo>
                  <a:lnTo>
                    <a:pt x="2471186" y="1584743"/>
                  </a:lnTo>
                  <a:lnTo>
                    <a:pt x="2470495" y="1584967"/>
                  </a:lnTo>
                  <a:lnTo>
                    <a:pt x="2469944" y="1584509"/>
                  </a:lnTo>
                  <a:lnTo>
                    <a:pt x="2469573" y="1583423"/>
                  </a:lnTo>
                  <a:lnTo>
                    <a:pt x="2469298" y="1582278"/>
                  </a:lnTo>
                  <a:lnTo>
                    <a:pt x="2468948" y="1581257"/>
                  </a:lnTo>
                  <a:lnTo>
                    <a:pt x="2468359" y="1580522"/>
                  </a:lnTo>
                  <a:lnTo>
                    <a:pt x="2468668" y="1579886"/>
                  </a:lnTo>
                  <a:lnTo>
                    <a:pt x="2468811" y="1579730"/>
                  </a:lnTo>
                  <a:lnTo>
                    <a:pt x="2468737" y="1578989"/>
                  </a:lnTo>
                  <a:lnTo>
                    <a:pt x="2467953" y="1579270"/>
                  </a:lnTo>
                  <a:lnTo>
                    <a:pt x="2467463" y="1580377"/>
                  </a:lnTo>
                  <a:lnTo>
                    <a:pt x="2467055" y="1581588"/>
                  </a:lnTo>
                  <a:lnTo>
                    <a:pt x="2466520" y="1582188"/>
                  </a:lnTo>
                  <a:lnTo>
                    <a:pt x="2466238" y="1581640"/>
                  </a:lnTo>
                  <a:lnTo>
                    <a:pt x="2466516" y="1580331"/>
                  </a:lnTo>
                  <a:lnTo>
                    <a:pt x="2467062" y="1578996"/>
                  </a:lnTo>
                  <a:lnTo>
                    <a:pt x="2467587" y="1578357"/>
                  </a:lnTo>
                  <a:lnTo>
                    <a:pt x="2467512" y="1577612"/>
                  </a:lnTo>
                  <a:lnTo>
                    <a:pt x="2466327" y="1577940"/>
                  </a:lnTo>
                  <a:lnTo>
                    <a:pt x="2465828" y="1577592"/>
                  </a:lnTo>
                  <a:lnTo>
                    <a:pt x="2465548" y="1576305"/>
                  </a:lnTo>
                  <a:lnTo>
                    <a:pt x="2465686" y="1575628"/>
                  </a:lnTo>
                  <a:lnTo>
                    <a:pt x="2466828" y="1573193"/>
                  </a:lnTo>
                  <a:lnTo>
                    <a:pt x="2465779" y="1573295"/>
                  </a:lnTo>
                  <a:lnTo>
                    <a:pt x="2465699" y="1572488"/>
                  </a:lnTo>
                  <a:lnTo>
                    <a:pt x="2466370" y="1570900"/>
                  </a:lnTo>
                  <a:lnTo>
                    <a:pt x="2466346" y="1568992"/>
                  </a:lnTo>
                  <a:lnTo>
                    <a:pt x="2465836" y="1568199"/>
                  </a:lnTo>
                  <a:lnTo>
                    <a:pt x="2465040" y="1569973"/>
                  </a:lnTo>
                  <a:lnTo>
                    <a:pt x="2463990" y="1574228"/>
                  </a:lnTo>
                  <a:lnTo>
                    <a:pt x="2463366" y="1575905"/>
                  </a:lnTo>
                  <a:lnTo>
                    <a:pt x="2462472" y="1577352"/>
                  </a:lnTo>
                  <a:lnTo>
                    <a:pt x="2461930" y="1571727"/>
                  </a:lnTo>
                  <a:lnTo>
                    <a:pt x="2461983" y="1569923"/>
                  </a:lnTo>
                  <a:lnTo>
                    <a:pt x="2462399" y="1568574"/>
                  </a:lnTo>
                  <a:lnTo>
                    <a:pt x="2463086" y="1567618"/>
                  </a:lnTo>
                  <a:close/>
                  <a:moveTo>
                    <a:pt x="3698953" y="1564732"/>
                  </a:moveTo>
                  <a:lnTo>
                    <a:pt x="3699377" y="1565432"/>
                  </a:lnTo>
                  <a:lnTo>
                    <a:pt x="3699253" y="1565838"/>
                  </a:lnTo>
                  <a:lnTo>
                    <a:pt x="3699333" y="1566204"/>
                  </a:lnTo>
                  <a:lnTo>
                    <a:pt x="3699463" y="1566398"/>
                  </a:lnTo>
                  <a:lnTo>
                    <a:pt x="3699098" y="1569124"/>
                  </a:lnTo>
                  <a:lnTo>
                    <a:pt x="3700726" y="1568921"/>
                  </a:lnTo>
                  <a:lnTo>
                    <a:pt x="3702859" y="1566803"/>
                  </a:lnTo>
                  <a:lnTo>
                    <a:pt x="3704474" y="1566810"/>
                  </a:lnTo>
                  <a:lnTo>
                    <a:pt x="3704284" y="1567928"/>
                  </a:lnTo>
                  <a:lnTo>
                    <a:pt x="3703918" y="1568822"/>
                  </a:lnTo>
                  <a:lnTo>
                    <a:pt x="3704308" y="1569465"/>
                  </a:lnTo>
                  <a:lnTo>
                    <a:pt x="3704670" y="1568395"/>
                  </a:lnTo>
                  <a:lnTo>
                    <a:pt x="3705426" y="1567944"/>
                  </a:lnTo>
                  <a:lnTo>
                    <a:pt x="3706432" y="1567975"/>
                  </a:lnTo>
                  <a:lnTo>
                    <a:pt x="3707552" y="1568366"/>
                  </a:lnTo>
                  <a:lnTo>
                    <a:pt x="3707426" y="1569324"/>
                  </a:lnTo>
                  <a:lnTo>
                    <a:pt x="3708688" y="1570874"/>
                  </a:lnTo>
                  <a:lnTo>
                    <a:pt x="3708255" y="1571868"/>
                  </a:lnTo>
                  <a:lnTo>
                    <a:pt x="3707212" y="1572594"/>
                  </a:lnTo>
                  <a:lnTo>
                    <a:pt x="3706647" y="1573321"/>
                  </a:lnTo>
                  <a:lnTo>
                    <a:pt x="3707438" y="1573830"/>
                  </a:lnTo>
                  <a:lnTo>
                    <a:pt x="3707967" y="1574436"/>
                  </a:lnTo>
                  <a:lnTo>
                    <a:pt x="3708312" y="1575201"/>
                  </a:lnTo>
                  <a:lnTo>
                    <a:pt x="3708549" y="1576163"/>
                  </a:lnTo>
                  <a:lnTo>
                    <a:pt x="3708423" y="1576838"/>
                  </a:lnTo>
                  <a:lnTo>
                    <a:pt x="3707792" y="1576698"/>
                  </a:lnTo>
                  <a:lnTo>
                    <a:pt x="3707006" y="1576297"/>
                  </a:lnTo>
                  <a:lnTo>
                    <a:pt x="3706410" y="1576187"/>
                  </a:lnTo>
                  <a:lnTo>
                    <a:pt x="3705423" y="1575577"/>
                  </a:lnTo>
                  <a:lnTo>
                    <a:pt x="3704129" y="1574021"/>
                  </a:lnTo>
                  <a:lnTo>
                    <a:pt x="3703143" y="1573060"/>
                  </a:lnTo>
                  <a:lnTo>
                    <a:pt x="3703081" y="1574219"/>
                  </a:lnTo>
                  <a:lnTo>
                    <a:pt x="3703953" y="1577504"/>
                  </a:lnTo>
                  <a:lnTo>
                    <a:pt x="3703934" y="1578841"/>
                  </a:lnTo>
                  <a:lnTo>
                    <a:pt x="3702974" y="1579073"/>
                  </a:lnTo>
                  <a:lnTo>
                    <a:pt x="3701920" y="1578141"/>
                  </a:lnTo>
                  <a:lnTo>
                    <a:pt x="3701564" y="1576665"/>
                  </a:lnTo>
                  <a:lnTo>
                    <a:pt x="3701514" y="1575129"/>
                  </a:lnTo>
                  <a:lnTo>
                    <a:pt x="3701358" y="1573987"/>
                  </a:lnTo>
                  <a:lnTo>
                    <a:pt x="3701053" y="1574461"/>
                  </a:lnTo>
                  <a:lnTo>
                    <a:pt x="3700799" y="1575652"/>
                  </a:lnTo>
                  <a:lnTo>
                    <a:pt x="3700576" y="1576222"/>
                  </a:lnTo>
                  <a:lnTo>
                    <a:pt x="3700188" y="1576520"/>
                  </a:lnTo>
                  <a:lnTo>
                    <a:pt x="3699312" y="1576726"/>
                  </a:lnTo>
                  <a:lnTo>
                    <a:pt x="3698991" y="1577183"/>
                  </a:lnTo>
                  <a:lnTo>
                    <a:pt x="3698780" y="1576672"/>
                  </a:lnTo>
                  <a:lnTo>
                    <a:pt x="3698257" y="1575543"/>
                  </a:lnTo>
                  <a:lnTo>
                    <a:pt x="3698046" y="1575032"/>
                  </a:lnTo>
                  <a:lnTo>
                    <a:pt x="3697548" y="1575899"/>
                  </a:lnTo>
                  <a:lnTo>
                    <a:pt x="3695325" y="1577641"/>
                  </a:lnTo>
                  <a:lnTo>
                    <a:pt x="3694997" y="1576761"/>
                  </a:lnTo>
                  <a:lnTo>
                    <a:pt x="3694874" y="1576019"/>
                  </a:lnTo>
                  <a:lnTo>
                    <a:pt x="3694943" y="1575429"/>
                  </a:lnTo>
                  <a:lnTo>
                    <a:pt x="3695189" y="1575002"/>
                  </a:lnTo>
                  <a:lnTo>
                    <a:pt x="3694801" y="1574358"/>
                  </a:lnTo>
                  <a:lnTo>
                    <a:pt x="3693859" y="1574106"/>
                  </a:lnTo>
                  <a:lnTo>
                    <a:pt x="3692614" y="1573534"/>
                  </a:lnTo>
                  <a:lnTo>
                    <a:pt x="3691384" y="1572477"/>
                  </a:lnTo>
                  <a:lnTo>
                    <a:pt x="3690510" y="1570808"/>
                  </a:lnTo>
                  <a:lnTo>
                    <a:pt x="3690570" y="1569736"/>
                  </a:lnTo>
                  <a:lnTo>
                    <a:pt x="3691303" y="1569293"/>
                  </a:lnTo>
                  <a:lnTo>
                    <a:pt x="3693108" y="1569238"/>
                  </a:lnTo>
                  <a:lnTo>
                    <a:pt x="3693289" y="1568971"/>
                  </a:lnTo>
                  <a:lnTo>
                    <a:pt x="3693280" y="1568474"/>
                  </a:lnTo>
                  <a:lnTo>
                    <a:pt x="3693364" y="1568130"/>
                  </a:lnTo>
                  <a:lnTo>
                    <a:pt x="3693827" y="1568321"/>
                  </a:lnTo>
                  <a:lnTo>
                    <a:pt x="3694050" y="1568584"/>
                  </a:lnTo>
                  <a:lnTo>
                    <a:pt x="3694797" y="1569582"/>
                  </a:lnTo>
                  <a:lnTo>
                    <a:pt x="3694909" y="1569828"/>
                  </a:lnTo>
                  <a:lnTo>
                    <a:pt x="3695509" y="1569464"/>
                  </a:lnTo>
                  <a:lnTo>
                    <a:pt x="3695746" y="1568939"/>
                  </a:lnTo>
                  <a:lnTo>
                    <a:pt x="3695985" y="1567495"/>
                  </a:lnTo>
                  <a:lnTo>
                    <a:pt x="3696419" y="1566487"/>
                  </a:lnTo>
                  <a:lnTo>
                    <a:pt x="3696943" y="1565896"/>
                  </a:lnTo>
                  <a:lnTo>
                    <a:pt x="3698672" y="1564903"/>
                  </a:lnTo>
                  <a:close/>
                  <a:moveTo>
                    <a:pt x="1548953" y="1559302"/>
                  </a:moveTo>
                  <a:lnTo>
                    <a:pt x="1549483" y="1559432"/>
                  </a:lnTo>
                  <a:lnTo>
                    <a:pt x="1549827" y="1560008"/>
                  </a:lnTo>
                  <a:lnTo>
                    <a:pt x="1549895" y="1560914"/>
                  </a:lnTo>
                  <a:lnTo>
                    <a:pt x="1551851" y="1564811"/>
                  </a:lnTo>
                  <a:lnTo>
                    <a:pt x="1552247" y="1566896"/>
                  </a:lnTo>
                  <a:lnTo>
                    <a:pt x="1551150" y="1567458"/>
                  </a:lnTo>
                  <a:lnTo>
                    <a:pt x="1550023" y="1566142"/>
                  </a:lnTo>
                  <a:lnTo>
                    <a:pt x="1549060" y="1561248"/>
                  </a:lnTo>
                  <a:lnTo>
                    <a:pt x="1548328" y="1559699"/>
                  </a:lnTo>
                  <a:close/>
                  <a:moveTo>
                    <a:pt x="2482608" y="1556587"/>
                  </a:moveTo>
                  <a:lnTo>
                    <a:pt x="2482483" y="1558093"/>
                  </a:lnTo>
                  <a:lnTo>
                    <a:pt x="2482665" y="1558631"/>
                  </a:lnTo>
                  <a:lnTo>
                    <a:pt x="2482827" y="1559020"/>
                  </a:lnTo>
                  <a:lnTo>
                    <a:pt x="2482990" y="1559301"/>
                  </a:lnTo>
                  <a:lnTo>
                    <a:pt x="2483708" y="1560104"/>
                  </a:lnTo>
                  <a:lnTo>
                    <a:pt x="2484022" y="1561092"/>
                  </a:lnTo>
                  <a:lnTo>
                    <a:pt x="2484010" y="1562252"/>
                  </a:lnTo>
                  <a:lnTo>
                    <a:pt x="2483568" y="1563288"/>
                  </a:lnTo>
                  <a:lnTo>
                    <a:pt x="2484079" y="1563114"/>
                  </a:lnTo>
                  <a:lnTo>
                    <a:pt x="2484590" y="1563163"/>
                  </a:lnTo>
                  <a:lnTo>
                    <a:pt x="2485087" y="1563566"/>
                  </a:lnTo>
                  <a:lnTo>
                    <a:pt x="2485573" y="1564508"/>
                  </a:lnTo>
                  <a:lnTo>
                    <a:pt x="2485483" y="1565939"/>
                  </a:lnTo>
                  <a:lnTo>
                    <a:pt x="2485259" y="1567162"/>
                  </a:lnTo>
                  <a:lnTo>
                    <a:pt x="2484865" y="1568010"/>
                  </a:lnTo>
                  <a:lnTo>
                    <a:pt x="2483515" y="1568895"/>
                  </a:lnTo>
                  <a:lnTo>
                    <a:pt x="2483138" y="1570027"/>
                  </a:lnTo>
                  <a:lnTo>
                    <a:pt x="2482878" y="1571501"/>
                  </a:lnTo>
                  <a:lnTo>
                    <a:pt x="2482496" y="1573052"/>
                  </a:lnTo>
                  <a:lnTo>
                    <a:pt x="2482707" y="1575169"/>
                  </a:lnTo>
                  <a:lnTo>
                    <a:pt x="2482095" y="1577091"/>
                  </a:lnTo>
                  <a:lnTo>
                    <a:pt x="2481198" y="1577999"/>
                  </a:lnTo>
                  <a:lnTo>
                    <a:pt x="2480535" y="1577064"/>
                  </a:lnTo>
                  <a:lnTo>
                    <a:pt x="2480272" y="1577091"/>
                  </a:lnTo>
                  <a:lnTo>
                    <a:pt x="2480201" y="1579745"/>
                  </a:lnTo>
                  <a:lnTo>
                    <a:pt x="2479057" y="1579037"/>
                  </a:lnTo>
                  <a:lnTo>
                    <a:pt x="2476679" y="1575959"/>
                  </a:lnTo>
                  <a:lnTo>
                    <a:pt x="2476602" y="1575214"/>
                  </a:lnTo>
                  <a:lnTo>
                    <a:pt x="2477000" y="1574051"/>
                  </a:lnTo>
                  <a:lnTo>
                    <a:pt x="2476591" y="1573406"/>
                  </a:lnTo>
                  <a:lnTo>
                    <a:pt x="2475799" y="1573148"/>
                  </a:lnTo>
                  <a:lnTo>
                    <a:pt x="2475058" y="1573129"/>
                  </a:lnTo>
                  <a:lnTo>
                    <a:pt x="2474369" y="1572659"/>
                  </a:lnTo>
                  <a:lnTo>
                    <a:pt x="2472993" y="1570583"/>
                  </a:lnTo>
                  <a:lnTo>
                    <a:pt x="2472134" y="1570431"/>
                  </a:lnTo>
                  <a:lnTo>
                    <a:pt x="2472146" y="1568983"/>
                  </a:lnTo>
                  <a:lnTo>
                    <a:pt x="2471931" y="1567802"/>
                  </a:lnTo>
                  <a:lnTo>
                    <a:pt x="2471882" y="1566604"/>
                  </a:lnTo>
                  <a:lnTo>
                    <a:pt x="2472380" y="1565107"/>
                  </a:lnTo>
                  <a:lnTo>
                    <a:pt x="2475949" y="1562173"/>
                  </a:lnTo>
                  <a:lnTo>
                    <a:pt x="2476495" y="1561298"/>
                  </a:lnTo>
                  <a:lnTo>
                    <a:pt x="2476538" y="1560068"/>
                  </a:lnTo>
                  <a:lnTo>
                    <a:pt x="2476914" y="1559473"/>
                  </a:lnTo>
                  <a:lnTo>
                    <a:pt x="2478122" y="1559225"/>
                  </a:lnTo>
                  <a:lnTo>
                    <a:pt x="2478502" y="1559012"/>
                  </a:lnTo>
                  <a:lnTo>
                    <a:pt x="2478705" y="1558644"/>
                  </a:lnTo>
                  <a:lnTo>
                    <a:pt x="2478922" y="1558368"/>
                  </a:lnTo>
                  <a:lnTo>
                    <a:pt x="2479356" y="1558417"/>
                  </a:lnTo>
                  <a:lnTo>
                    <a:pt x="2479785" y="1558774"/>
                  </a:lnTo>
                  <a:lnTo>
                    <a:pt x="2481154" y="1560477"/>
                  </a:lnTo>
                  <a:lnTo>
                    <a:pt x="2481226" y="1561151"/>
                  </a:lnTo>
                  <a:lnTo>
                    <a:pt x="2481074" y="1561542"/>
                  </a:lnTo>
                  <a:lnTo>
                    <a:pt x="2480999" y="1561937"/>
                  </a:lnTo>
                  <a:lnTo>
                    <a:pt x="2480951" y="1562330"/>
                  </a:lnTo>
                  <a:lnTo>
                    <a:pt x="2480870" y="1562748"/>
                  </a:lnTo>
                  <a:lnTo>
                    <a:pt x="2481800" y="1562536"/>
                  </a:lnTo>
                  <a:lnTo>
                    <a:pt x="2482200" y="1561594"/>
                  </a:lnTo>
                  <a:lnTo>
                    <a:pt x="2481964" y="1560273"/>
                  </a:lnTo>
                  <a:lnTo>
                    <a:pt x="2480989" y="1558930"/>
                  </a:lnTo>
                  <a:lnTo>
                    <a:pt x="2481362" y="1558450"/>
                  </a:lnTo>
                  <a:lnTo>
                    <a:pt x="2482114" y="1557035"/>
                  </a:lnTo>
                  <a:close/>
                  <a:moveTo>
                    <a:pt x="2233609" y="1554679"/>
                  </a:moveTo>
                  <a:lnTo>
                    <a:pt x="2234059" y="1554802"/>
                  </a:lnTo>
                  <a:lnTo>
                    <a:pt x="2234364" y="1555130"/>
                  </a:lnTo>
                  <a:lnTo>
                    <a:pt x="2234976" y="1556085"/>
                  </a:lnTo>
                  <a:lnTo>
                    <a:pt x="2235476" y="1556523"/>
                  </a:lnTo>
                  <a:lnTo>
                    <a:pt x="2235883" y="1557545"/>
                  </a:lnTo>
                  <a:lnTo>
                    <a:pt x="2236162" y="1557771"/>
                  </a:lnTo>
                  <a:lnTo>
                    <a:pt x="2239737" y="1556828"/>
                  </a:lnTo>
                  <a:lnTo>
                    <a:pt x="2245808" y="1557233"/>
                  </a:lnTo>
                  <a:lnTo>
                    <a:pt x="2246426" y="1557561"/>
                  </a:lnTo>
                  <a:lnTo>
                    <a:pt x="2246984" y="1558275"/>
                  </a:lnTo>
                  <a:lnTo>
                    <a:pt x="2247560" y="1559613"/>
                  </a:lnTo>
                  <a:lnTo>
                    <a:pt x="2248186" y="1560609"/>
                  </a:lnTo>
                  <a:lnTo>
                    <a:pt x="2248810" y="1560507"/>
                  </a:lnTo>
                  <a:lnTo>
                    <a:pt x="2250046" y="1559186"/>
                  </a:lnTo>
                  <a:lnTo>
                    <a:pt x="2252528" y="1558348"/>
                  </a:lnTo>
                  <a:lnTo>
                    <a:pt x="2253231" y="1556228"/>
                  </a:lnTo>
                  <a:lnTo>
                    <a:pt x="2253999" y="1556300"/>
                  </a:lnTo>
                  <a:lnTo>
                    <a:pt x="2254806" y="1557143"/>
                  </a:lnTo>
                  <a:lnTo>
                    <a:pt x="2255257" y="1558391"/>
                  </a:lnTo>
                  <a:lnTo>
                    <a:pt x="2255252" y="1560115"/>
                  </a:lnTo>
                  <a:lnTo>
                    <a:pt x="2255698" y="1561710"/>
                  </a:lnTo>
                  <a:lnTo>
                    <a:pt x="2256275" y="1563321"/>
                  </a:lnTo>
                  <a:lnTo>
                    <a:pt x="2256660" y="1565071"/>
                  </a:lnTo>
                  <a:lnTo>
                    <a:pt x="2256720" y="1567512"/>
                  </a:lnTo>
                  <a:lnTo>
                    <a:pt x="2256409" y="1569434"/>
                  </a:lnTo>
                  <a:lnTo>
                    <a:pt x="2255775" y="1570850"/>
                  </a:lnTo>
                  <a:lnTo>
                    <a:pt x="2254879" y="1571776"/>
                  </a:lnTo>
                  <a:lnTo>
                    <a:pt x="2255423" y="1573432"/>
                  </a:lnTo>
                  <a:lnTo>
                    <a:pt x="2255638" y="1574347"/>
                  </a:lnTo>
                  <a:lnTo>
                    <a:pt x="2255728" y="1575552"/>
                  </a:lnTo>
                  <a:lnTo>
                    <a:pt x="2255527" y="1576728"/>
                  </a:lnTo>
                  <a:lnTo>
                    <a:pt x="2255140" y="1577596"/>
                  </a:lnTo>
                  <a:lnTo>
                    <a:pt x="2254926" y="1578555"/>
                  </a:lnTo>
                  <a:lnTo>
                    <a:pt x="2255253" y="1580023"/>
                  </a:lnTo>
                  <a:lnTo>
                    <a:pt x="2251816" y="1578948"/>
                  </a:lnTo>
                  <a:lnTo>
                    <a:pt x="2250121" y="1577670"/>
                  </a:lnTo>
                  <a:lnTo>
                    <a:pt x="2248615" y="1575618"/>
                  </a:lnTo>
                  <a:lnTo>
                    <a:pt x="2246599" y="1570798"/>
                  </a:lnTo>
                  <a:lnTo>
                    <a:pt x="2245859" y="1569514"/>
                  </a:lnTo>
                  <a:lnTo>
                    <a:pt x="2242340" y="1567479"/>
                  </a:lnTo>
                  <a:lnTo>
                    <a:pt x="2240307" y="1567166"/>
                  </a:lnTo>
                  <a:lnTo>
                    <a:pt x="2239326" y="1566346"/>
                  </a:lnTo>
                  <a:lnTo>
                    <a:pt x="2237117" y="1563722"/>
                  </a:lnTo>
                  <a:lnTo>
                    <a:pt x="2235660" y="1560612"/>
                  </a:lnTo>
                  <a:lnTo>
                    <a:pt x="2232214" y="1555621"/>
                  </a:lnTo>
                  <a:lnTo>
                    <a:pt x="2232213" y="1554805"/>
                  </a:lnTo>
                  <a:close/>
                  <a:moveTo>
                    <a:pt x="2940117" y="1553818"/>
                  </a:moveTo>
                  <a:lnTo>
                    <a:pt x="2941277" y="1554085"/>
                  </a:lnTo>
                  <a:lnTo>
                    <a:pt x="2944413" y="1555802"/>
                  </a:lnTo>
                  <a:lnTo>
                    <a:pt x="2945281" y="1556015"/>
                  </a:lnTo>
                  <a:lnTo>
                    <a:pt x="2948143" y="1554976"/>
                  </a:lnTo>
                  <a:lnTo>
                    <a:pt x="2949398" y="1555498"/>
                  </a:lnTo>
                  <a:lnTo>
                    <a:pt x="2949577" y="1556392"/>
                  </a:lnTo>
                  <a:lnTo>
                    <a:pt x="2949659" y="1556697"/>
                  </a:lnTo>
                  <a:lnTo>
                    <a:pt x="2949780" y="1556967"/>
                  </a:lnTo>
                  <a:lnTo>
                    <a:pt x="2950089" y="1557770"/>
                  </a:lnTo>
                  <a:lnTo>
                    <a:pt x="2949920" y="1558488"/>
                  </a:lnTo>
                  <a:lnTo>
                    <a:pt x="2950137" y="1559533"/>
                  </a:lnTo>
                  <a:lnTo>
                    <a:pt x="2950451" y="1560808"/>
                  </a:lnTo>
                  <a:lnTo>
                    <a:pt x="2950590" y="1562223"/>
                  </a:lnTo>
                  <a:lnTo>
                    <a:pt x="2950156" y="1563716"/>
                  </a:lnTo>
                  <a:lnTo>
                    <a:pt x="2949209" y="1564121"/>
                  </a:lnTo>
                  <a:lnTo>
                    <a:pt x="2943818" y="1563575"/>
                  </a:lnTo>
                  <a:lnTo>
                    <a:pt x="2943639" y="1564666"/>
                  </a:lnTo>
                  <a:lnTo>
                    <a:pt x="2943811" y="1566163"/>
                  </a:lnTo>
                  <a:lnTo>
                    <a:pt x="2943504" y="1567305"/>
                  </a:lnTo>
                  <a:lnTo>
                    <a:pt x="2942979" y="1568094"/>
                  </a:lnTo>
                  <a:lnTo>
                    <a:pt x="2942486" y="1568497"/>
                  </a:lnTo>
                  <a:lnTo>
                    <a:pt x="2943569" y="1568764"/>
                  </a:lnTo>
                  <a:lnTo>
                    <a:pt x="2946376" y="1568282"/>
                  </a:lnTo>
                  <a:lnTo>
                    <a:pt x="2947230" y="1569046"/>
                  </a:lnTo>
                  <a:lnTo>
                    <a:pt x="2947272" y="1570536"/>
                  </a:lnTo>
                  <a:lnTo>
                    <a:pt x="2946738" y="1571884"/>
                  </a:lnTo>
                  <a:lnTo>
                    <a:pt x="2944205" y="1576079"/>
                  </a:lnTo>
                  <a:lnTo>
                    <a:pt x="2942615" y="1577280"/>
                  </a:lnTo>
                  <a:lnTo>
                    <a:pt x="2940742" y="1577659"/>
                  </a:lnTo>
                  <a:lnTo>
                    <a:pt x="2938595" y="1577477"/>
                  </a:lnTo>
                  <a:lnTo>
                    <a:pt x="2938829" y="1576122"/>
                  </a:lnTo>
                  <a:lnTo>
                    <a:pt x="2938961" y="1575746"/>
                  </a:lnTo>
                  <a:lnTo>
                    <a:pt x="2937811" y="1575191"/>
                  </a:lnTo>
                  <a:lnTo>
                    <a:pt x="2934551" y="1576314"/>
                  </a:lnTo>
                  <a:lnTo>
                    <a:pt x="2934781" y="1575457"/>
                  </a:lnTo>
                  <a:lnTo>
                    <a:pt x="2934909" y="1574378"/>
                  </a:lnTo>
                  <a:lnTo>
                    <a:pt x="2934779" y="1573296"/>
                  </a:lnTo>
                  <a:lnTo>
                    <a:pt x="2934238" y="1572453"/>
                  </a:lnTo>
                  <a:lnTo>
                    <a:pt x="2934440" y="1571006"/>
                  </a:lnTo>
                  <a:lnTo>
                    <a:pt x="2935015" y="1570821"/>
                  </a:lnTo>
                  <a:lnTo>
                    <a:pt x="2935753" y="1571107"/>
                  </a:lnTo>
                  <a:lnTo>
                    <a:pt x="2936448" y="1571110"/>
                  </a:lnTo>
                  <a:lnTo>
                    <a:pt x="2936889" y="1570208"/>
                  </a:lnTo>
                  <a:lnTo>
                    <a:pt x="2937198" y="1567508"/>
                  </a:lnTo>
                  <a:lnTo>
                    <a:pt x="2937584" y="1566816"/>
                  </a:lnTo>
                  <a:lnTo>
                    <a:pt x="2940878" y="1565712"/>
                  </a:lnTo>
                  <a:lnTo>
                    <a:pt x="2942079" y="1564248"/>
                  </a:lnTo>
                  <a:lnTo>
                    <a:pt x="2942671" y="1561447"/>
                  </a:lnTo>
                  <a:lnTo>
                    <a:pt x="2941297" y="1560136"/>
                  </a:lnTo>
                  <a:lnTo>
                    <a:pt x="2940065" y="1559918"/>
                  </a:lnTo>
                  <a:lnTo>
                    <a:pt x="2938883" y="1560065"/>
                  </a:lnTo>
                  <a:lnTo>
                    <a:pt x="2937645" y="1559806"/>
                  </a:lnTo>
                  <a:lnTo>
                    <a:pt x="2937652" y="1558960"/>
                  </a:lnTo>
                  <a:lnTo>
                    <a:pt x="2931662" y="1556892"/>
                  </a:lnTo>
                  <a:lnTo>
                    <a:pt x="2931858" y="1556419"/>
                  </a:lnTo>
                  <a:lnTo>
                    <a:pt x="2932066" y="1556109"/>
                  </a:lnTo>
                  <a:lnTo>
                    <a:pt x="2932732" y="1555735"/>
                  </a:lnTo>
                  <a:lnTo>
                    <a:pt x="2933469" y="1554743"/>
                  </a:lnTo>
                  <a:close/>
                  <a:moveTo>
                    <a:pt x="3068816" y="1552128"/>
                  </a:moveTo>
                  <a:lnTo>
                    <a:pt x="3073772" y="1553951"/>
                  </a:lnTo>
                  <a:lnTo>
                    <a:pt x="3089146" y="1553970"/>
                  </a:lnTo>
                  <a:lnTo>
                    <a:pt x="3090466" y="1555178"/>
                  </a:lnTo>
                  <a:lnTo>
                    <a:pt x="3091804" y="1556800"/>
                  </a:lnTo>
                  <a:lnTo>
                    <a:pt x="3093227" y="1558250"/>
                  </a:lnTo>
                  <a:lnTo>
                    <a:pt x="3093675" y="1558539"/>
                  </a:lnTo>
                  <a:lnTo>
                    <a:pt x="3094960" y="1559040"/>
                  </a:lnTo>
                  <a:lnTo>
                    <a:pt x="3095460" y="1559036"/>
                  </a:lnTo>
                  <a:lnTo>
                    <a:pt x="3095791" y="1559386"/>
                  </a:lnTo>
                  <a:lnTo>
                    <a:pt x="3097384" y="1561526"/>
                  </a:lnTo>
                  <a:lnTo>
                    <a:pt x="3097879" y="1562375"/>
                  </a:lnTo>
                  <a:lnTo>
                    <a:pt x="3098478" y="1563769"/>
                  </a:lnTo>
                  <a:lnTo>
                    <a:pt x="3098815" y="1565128"/>
                  </a:lnTo>
                  <a:lnTo>
                    <a:pt x="3098189" y="1566662"/>
                  </a:lnTo>
                  <a:lnTo>
                    <a:pt x="3098392" y="1568174"/>
                  </a:lnTo>
                  <a:lnTo>
                    <a:pt x="3099120" y="1571219"/>
                  </a:lnTo>
                  <a:lnTo>
                    <a:pt x="3099307" y="1573942"/>
                  </a:lnTo>
                  <a:lnTo>
                    <a:pt x="3098553" y="1580582"/>
                  </a:lnTo>
                  <a:lnTo>
                    <a:pt x="3098788" y="1583428"/>
                  </a:lnTo>
                  <a:lnTo>
                    <a:pt x="3099657" y="1584849"/>
                  </a:lnTo>
                  <a:lnTo>
                    <a:pt x="3100906" y="1586196"/>
                  </a:lnTo>
                  <a:lnTo>
                    <a:pt x="3103743" y="1591752"/>
                  </a:lnTo>
                  <a:lnTo>
                    <a:pt x="3105312" y="1593395"/>
                  </a:lnTo>
                  <a:lnTo>
                    <a:pt x="3106893" y="1594497"/>
                  </a:lnTo>
                  <a:lnTo>
                    <a:pt x="3108389" y="1595826"/>
                  </a:lnTo>
                  <a:lnTo>
                    <a:pt x="3109232" y="1600178"/>
                  </a:lnTo>
                  <a:lnTo>
                    <a:pt x="3110742" y="1604897"/>
                  </a:lnTo>
                  <a:lnTo>
                    <a:pt x="3112680" y="1609486"/>
                  </a:lnTo>
                  <a:lnTo>
                    <a:pt x="3114787" y="1613444"/>
                  </a:lnTo>
                  <a:lnTo>
                    <a:pt x="3115395" y="1614248"/>
                  </a:lnTo>
                  <a:lnTo>
                    <a:pt x="3115702" y="1614427"/>
                  </a:lnTo>
                  <a:lnTo>
                    <a:pt x="3115948" y="1614774"/>
                  </a:lnTo>
                  <a:lnTo>
                    <a:pt x="3116364" y="1616058"/>
                  </a:lnTo>
                  <a:lnTo>
                    <a:pt x="3116557" y="1617252"/>
                  </a:lnTo>
                  <a:lnTo>
                    <a:pt x="3116705" y="1619905"/>
                  </a:lnTo>
                  <a:lnTo>
                    <a:pt x="3117447" y="1623332"/>
                  </a:lnTo>
                  <a:lnTo>
                    <a:pt x="3117484" y="1625556"/>
                  </a:lnTo>
                  <a:lnTo>
                    <a:pt x="3116978" y="1631128"/>
                  </a:lnTo>
                  <a:lnTo>
                    <a:pt x="3116197" y="1634500"/>
                  </a:lnTo>
                  <a:lnTo>
                    <a:pt x="3115997" y="1636451"/>
                  </a:lnTo>
                  <a:lnTo>
                    <a:pt x="3115464" y="1638019"/>
                  </a:lnTo>
                  <a:lnTo>
                    <a:pt x="3113117" y="1639933"/>
                  </a:lnTo>
                  <a:lnTo>
                    <a:pt x="3112401" y="1641318"/>
                  </a:lnTo>
                  <a:lnTo>
                    <a:pt x="3112476" y="1641698"/>
                  </a:lnTo>
                  <a:lnTo>
                    <a:pt x="3112671" y="1642285"/>
                  </a:lnTo>
                  <a:lnTo>
                    <a:pt x="3112865" y="1642949"/>
                  </a:lnTo>
                  <a:lnTo>
                    <a:pt x="3112914" y="1643517"/>
                  </a:lnTo>
                  <a:lnTo>
                    <a:pt x="3112763" y="1643919"/>
                  </a:lnTo>
                  <a:lnTo>
                    <a:pt x="3112261" y="1644270"/>
                  </a:lnTo>
                  <a:lnTo>
                    <a:pt x="3112062" y="1644609"/>
                  </a:lnTo>
                  <a:lnTo>
                    <a:pt x="3111942" y="1645345"/>
                  </a:lnTo>
                  <a:lnTo>
                    <a:pt x="3111819" y="1647487"/>
                  </a:lnTo>
                  <a:lnTo>
                    <a:pt x="3111860" y="1647917"/>
                  </a:lnTo>
                  <a:lnTo>
                    <a:pt x="3106989" y="1649223"/>
                  </a:lnTo>
                  <a:lnTo>
                    <a:pt x="3106026" y="1650670"/>
                  </a:lnTo>
                  <a:lnTo>
                    <a:pt x="3105934" y="1651659"/>
                  </a:lnTo>
                  <a:lnTo>
                    <a:pt x="3106043" y="1653803"/>
                  </a:lnTo>
                  <a:lnTo>
                    <a:pt x="3105917" y="1654734"/>
                  </a:lnTo>
                  <a:lnTo>
                    <a:pt x="3105433" y="1655552"/>
                  </a:lnTo>
                  <a:lnTo>
                    <a:pt x="3101832" y="1657179"/>
                  </a:lnTo>
                  <a:lnTo>
                    <a:pt x="3095698" y="1665047"/>
                  </a:lnTo>
                  <a:lnTo>
                    <a:pt x="3094531" y="1665760"/>
                  </a:lnTo>
                  <a:lnTo>
                    <a:pt x="3087601" y="1667322"/>
                  </a:lnTo>
                  <a:lnTo>
                    <a:pt x="3085508" y="1668818"/>
                  </a:lnTo>
                  <a:lnTo>
                    <a:pt x="3081193" y="1668625"/>
                  </a:lnTo>
                  <a:lnTo>
                    <a:pt x="3080094" y="1669490"/>
                  </a:lnTo>
                  <a:lnTo>
                    <a:pt x="3078255" y="1672329"/>
                  </a:lnTo>
                  <a:lnTo>
                    <a:pt x="3077246" y="1673162"/>
                  </a:lnTo>
                  <a:lnTo>
                    <a:pt x="3070215" y="1674809"/>
                  </a:lnTo>
                  <a:lnTo>
                    <a:pt x="3068224" y="1677255"/>
                  </a:lnTo>
                  <a:lnTo>
                    <a:pt x="3067057" y="1678102"/>
                  </a:lnTo>
                  <a:lnTo>
                    <a:pt x="3052603" y="1681038"/>
                  </a:lnTo>
                  <a:lnTo>
                    <a:pt x="3050501" y="1679948"/>
                  </a:lnTo>
                  <a:lnTo>
                    <a:pt x="3049769" y="1679360"/>
                  </a:lnTo>
                  <a:lnTo>
                    <a:pt x="3048278" y="1678694"/>
                  </a:lnTo>
                  <a:lnTo>
                    <a:pt x="3047366" y="1677785"/>
                  </a:lnTo>
                  <a:lnTo>
                    <a:pt x="3044584" y="1674325"/>
                  </a:lnTo>
                  <a:lnTo>
                    <a:pt x="3039636" y="1666501"/>
                  </a:lnTo>
                  <a:lnTo>
                    <a:pt x="3039884" y="1666422"/>
                  </a:lnTo>
                  <a:lnTo>
                    <a:pt x="3038583" y="1664605"/>
                  </a:lnTo>
                  <a:lnTo>
                    <a:pt x="3037317" y="1663807"/>
                  </a:lnTo>
                  <a:lnTo>
                    <a:pt x="3036050" y="1663356"/>
                  </a:lnTo>
                  <a:lnTo>
                    <a:pt x="3034743" y="1662577"/>
                  </a:lnTo>
                  <a:lnTo>
                    <a:pt x="3034427" y="1660412"/>
                  </a:lnTo>
                  <a:lnTo>
                    <a:pt x="3034045" y="1658712"/>
                  </a:lnTo>
                  <a:lnTo>
                    <a:pt x="3033363" y="1657188"/>
                  </a:lnTo>
                  <a:lnTo>
                    <a:pt x="3032129" y="1655497"/>
                  </a:lnTo>
                  <a:lnTo>
                    <a:pt x="3032807" y="1654539"/>
                  </a:lnTo>
                  <a:lnTo>
                    <a:pt x="3032951" y="1653835"/>
                  </a:lnTo>
                  <a:lnTo>
                    <a:pt x="3032816" y="1652925"/>
                  </a:lnTo>
                  <a:lnTo>
                    <a:pt x="3032335" y="1652027"/>
                  </a:lnTo>
                  <a:lnTo>
                    <a:pt x="3030629" y="1649558"/>
                  </a:lnTo>
                  <a:lnTo>
                    <a:pt x="3029510" y="1648162"/>
                  </a:lnTo>
                  <a:lnTo>
                    <a:pt x="3024202" y="1639062"/>
                  </a:lnTo>
                  <a:lnTo>
                    <a:pt x="3023354" y="1637030"/>
                  </a:lnTo>
                  <a:lnTo>
                    <a:pt x="3023051" y="1635165"/>
                  </a:lnTo>
                  <a:lnTo>
                    <a:pt x="3023047" y="1633235"/>
                  </a:lnTo>
                  <a:lnTo>
                    <a:pt x="3022098" y="1622742"/>
                  </a:lnTo>
                  <a:lnTo>
                    <a:pt x="3022216" y="1618754"/>
                  </a:lnTo>
                  <a:lnTo>
                    <a:pt x="3024565" y="1595837"/>
                  </a:lnTo>
                  <a:lnTo>
                    <a:pt x="3025807" y="1589875"/>
                  </a:lnTo>
                  <a:lnTo>
                    <a:pt x="3025796" y="1586314"/>
                  </a:lnTo>
                  <a:lnTo>
                    <a:pt x="3025586" y="1585231"/>
                  </a:lnTo>
                  <a:lnTo>
                    <a:pt x="3025712" y="1584479"/>
                  </a:lnTo>
                  <a:lnTo>
                    <a:pt x="3026276" y="1583369"/>
                  </a:lnTo>
                  <a:lnTo>
                    <a:pt x="3028095" y="1574027"/>
                  </a:lnTo>
                  <a:lnTo>
                    <a:pt x="3029023" y="1571475"/>
                  </a:lnTo>
                  <a:lnTo>
                    <a:pt x="3041377" y="1559066"/>
                  </a:lnTo>
                  <a:lnTo>
                    <a:pt x="3042377" y="1558576"/>
                  </a:lnTo>
                  <a:lnTo>
                    <a:pt x="3043274" y="1558782"/>
                  </a:lnTo>
                  <a:lnTo>
                    <a:pt x="3043611" y="1560270"/>
                  </a:lnTo>
                  <a:lnTo>
                    <a:pt x="3045179" y="1561358"/>
                  </a:lnTo>
                  <a:lnTo>
                    <a:pt x="3047128" y="1561401"/>
                  </a:lnTo>
                  <a:lnTo>
                    <a:pt x="3050975" y="1560115"/>
                  </a:lnTo>
                  <a:lnTo>
                    <a:pt x="3052015" y="1558945"/>
                  </a:lnTo>
                  <a:lnTo>
                    <a:pt x="3053309" y="1555722"/>
                  </a:lnTo>
                  <a:lnTo>
                    <a:pt x="3055785" y="1553062"/>
                  </a:lnTo>
                  <a:close/>
                  <a:moveTo>
                    <a:pt x="2268825" y="1549008"/>
                  </a:moveTo>
                  <a:lnTo>
                    <a:pt x="2271686" y="1549442"/>
                  </a:lnTo>
                  <a:lnTo>
                    <a:pt x="2272643" y="1549966"/>
                  </a:lnTo>
                  <a:lnTo>
                    <a:pt x="2272150" y="1551464"/>
                  </a:lnTo>
                  <a:lnTo>
                    <a:pt x="2272575" y="1551815"/>
                  </a:lnTo>
                  <a:lnTo>
                    <a:pt x="2273040" y="1551833"/>
                  </a:lnTo>
                  <a:lnTo>
                    <a:pt x="2273514" y="1551572"/>
                  </a:lnTo>
                  <a:lnTo>
                    <a:pt x="2273964" y="1551059"/>
                  </a:lnTo>
                  <a:lnTo>
                    <a:pt x="2274487" y="1550637"/>
                  </a:lnTo>
                  <a:lnTo>
                    <a:pt x="2274933" y="1550898"/>
                  </a:lnTo>
                  <a:lnTo>
                    <a:pt x="2275359" y="1551520"/>
                  </a:lnTo>
                  <a:lnTo>
                    <a:pt x="2278717" y="1555132"/>
                  </a:lnTo>
                  <a:lnTo>
                    <a:pt x="2279830" y="1555773"/>
                  </a:lnTo>
                  <a:lnTo>
                    <a:pt x="2284197" y="1560953"/>
                  </a:lnTo>
                  <a:lnTo>
                    <a:pt x="2284587" y="1561998"/>
                  </a:lnTo>
                  <a:lnTo>
                    <a:pt x="2284711" y="1563919"/>
                  </a:lnTo>
                  <a:lnTo>
                    <a:pt x="2284582" y="1564968"/>
                  </a:lnTo>
                  <a:lnTo>
                    <a:pt x="2283987" y="1567782"/>
                  </a:lnTo>
                  <a:lnTo>
                    <a:pt x="2283784" y="1569142"/>
                  </a:lnTo>
                  <a:lnTo>
                    <a:pt x="2283653" y="1571587"/>
                  </a:lnTo>
                  <a:lnTo>
                    <a:pt x="2283652" y="1574725"/>
                  </a:lnTo>
                  <a:lnTo>
                    <a:pt x="2283303" y="1575890"/>
                  </a:lnTo>
                  <a:lnTo>
                    <a:pt x="2281434" y="1576794"/>
                  </a:lnTo>
                  <a:lnTo>
                    <a:pt x="2280695" y="1577763"/>
                  </a:lnTo>
                  <a:lnTo>
                    <a:pt x="2279977" y="1580454"/>
                  </a:lnTo>
                  <a:lnTo>
                    <a:pt x="2279497" y="1581518"/>
                  </a:lnTo>
                  <a:lnTo>
                    <a:pt x="2278787" y="1581958"/>
                  </a:lnTo>
                  <a:lnTo>
                    <a:pt x="2271938" y="1583141"/>
                  </a:lnTo>
                  <a:lnTo>
                    <a:pt x="2270584" y="1581294"/>
                  </a:lnTo>
                  <a:lnTo>
                    <a:pt x="2270928" y="1581208"/>
                  </a:lnTo>
                  <a:lnTo>
                    <a:pt x="2271888" y="1580598"/>
                  </a:lnTo>
                  <a:lnTo>
                    <a:pt x="2271314" y="1578024"/>
                  </a:lnTo>
                  <a:lnTo>
                    <a:pt x="2271538" y="1576133"/>
                  </a:lnTo>
                  <a:lnTo>
                    <a:pt x="2272375" y="1574971"/>
                  </a:lnTo>
                  <a:lnTo>
                    <a:pt x="2273642" y="1574554"/>
                  </a:lnTo>
                  <a:lnTo>
                    <a:pt x="2273931" y="1573551"/>
                  </a:lnTo>
                  <a:lnTo>
                    <a:pt x="2272750" y="1568494"/>
                  </a:lnTo>
                  <a:lnTo>
                    <a:pt x="2272420" y="1566329"/>
                  </a:lnTo>
                  <a:lnTo>
                    <a:pt x="2272557" y="1565626"/>
                  </a:lnTo>
                  <a:lnTo>
                    <a:pt x="2272820" y="1565081"/>
                  </a:lnTo>
                  <a:lnTo>
                    <a:pt x="2273074" y="1564341"/>
                  </a:lnTo>
                  <a:lnTo>
                    <a:pt x="2273169" y="1563036"/>
                  </a:lnTo>
                  <a:lnTo>
                    <a:pt x="2273037" y="1562122"/>
                  </a:lnTo>
                  <a:lnTo>
                    <a:pt x="2272754" y="1561063"/>
                  </a:lnTo>
                  <a:lnTo>
                    <a:pt x="2272162" y="1559306"/>
                  </a:lnTo>
                  <a:lnTo>
                    <a:pt x="2271100" y="1557685"/>
                  </a:lnTo>
                  <a:lnTo>
                    <a:pt x="2269533" y="1556759"/>
                  </a:lnTo>
                  <a:lnTo>
                    <a:pt x="2267932" y="1556652"/>
                  </a:lnTo>
                  <a:lnTo>
                    <a:pt x="2266762" y="1557494"/>
                  </a:lnTo>
                  <a:lnTo>
                    <a:pt x="2267643" y="1562961"/>
                  </a:lnTo>
                  <a:lnTo>
                    <a:pt x="2268234" y="1565389"/>
                  </a:lnTo>
                  <a:lnTo>
                    <a:pt x="2269034" y="1567192"/>
                  </a:lnTo>
                  <a:lnTo>
                    <a:pt x="2266259" y="1574539"/>
                  </a:lnTo>
                  <a:lnTo>
                    <a:pt x="2265504" y="1577665"/>
                  </a:lnTo>
                  <a:lnTo>
                    <a:pt x="2265743" y="1577661"/>
                  </a:lnTo>
                  <a:lnTo>
                    <a:pt x="2265753" y="1578242"/>
                  </a:lnTo>
                  <a:lnTo>
                    <a:pt x="2265694" y="1578539"/>
                  </a:lnTo>
                  <a:lnTo>
                    <a:pt x="2265738" y="1578778"/>
                  </a:lnTo>
                  <a:lnTo>
                    <a:pt x="2266051" y="1579141"/>
                  </a:lnTo>
                  <a:lnTo>
                    <a:pt x="2265230" y="1580837"/>
                  </a:lnTo>
                  <a:lnTo>
                    <a:pt x="2263770" y="1580947"/>
                  </a:lnTo>
                  <a:lnTo>
                    <a:pt x="2262201" y="1580161"/>
                  </a:lnTo>
                  <a:lnTo>
                    <a:pt x="2261055" y="1579211"/>
                  </a:lnTo>
                  <a:lnTo>
                    <a:pt x="2261121" y="1578164"/>
                  </a:lnTo>
                  <a:lnTo>
                    <a:pt x="2260944" y="1576398"/>
                  </a:lnTo>
                  <a:lnTo>
                    <a:pt x="2261006" y="1575489"/>
                  </a:lnTo>
                  <a:lnTo>
                    <a:pt x="2261318" y="1574625"/>
                  </a:lnTo>
                  <a:lnTo>
                    <a:pt x="2262803" y="1572492"/>
                  </a:lnTo>
                  <a:lnTo>
                    <a:pt x="2261345" y="1570833"/>
                  </a:lnTo>
                  <a:lnTo>
                    <a:pt x="2260659" y="1569459"/>
                  </a:lnTo>
                  <a:lnTo>
                    <a:pt x="2260355" y="1567690"/>
                  </a:lnTo>
                  <a:lnTo>
                    <a:pt x="2260280" y="1566623"/>
                  </a:lnTo>
                  <a:lnTo>
                    <a:pt x="2260171" y="1566146"/>
                  </a:lnTo>
                  <a:lnTo>
                    <a:pt x="2260146" y="1565778"/>
                  </a:lnTo>
                  <a:lnTo>
                    <a:pt x="2260320" y="1565027"/>
                  </a:lnTo>
                  <a:lnTo>
                    <a:pt x="2260788" y="1564051"/>
                  </a:lnTo>
                  <a:lnTo>
                    <a:pt x="2261908" y="1563106"/>
                  </a:lnTo>
                  <a:lnTo>
                    <a:pt x="2262369" y="1562023"/>
                  </a:lnTo>
                  <a:lnTo>
                    <a:pt x="2262141" y="1560861"/>
                  </a:lnTo>
                  <a:lnTo>
                    <a:pt x="2262250" y="1559606"/>
                  </a:lnTo>
                  <a:lnTo>
                    <a:pt x="2263351" y="1553902"/>
                  </a:lnTo>
                  <a:lnTo>
                    <a:pt x="2263778" y="1552943"/>
                  </a:lnTo>
                  <a:lnTo>
                    <a:pt x="2264599" y="1552329"/>
                  </a:lnTo>
                  <a:lnTo>
                    <a:pt x="2266395" y="1552346"/>
                  </a:lnTo>
                  <a:lnTo>
                    <a:pt x="2266943" y="1551922"/>
                  </a:lnTo>
                  <a:lnTo>
                    <a:pt x="2267221" y="1551341"/>
                  </a:lnTo>
                  <a:lnTo>
                    <a:pt x="2267931" y="1549301"/>
                  </a:lnTo>
                  <a:close/>
                  <a:moveTo>
                    <a:pt x="2059397" y="1548832"/>
                  </a:moveTo>
                  <a:lnTo>
                    <a:pt x="2059992" y="1549380"/>
                  </a:lnTo>
                  <a:lnTo>
                    <a:pt x="2060088" y="1549929"/>
                  </a:lnTo>
                  <a:lnTo>
                    <a:pt x="2060007" y="1550510"/>
                  </a:lnTo>
                  <a:lnTo>
                    <a:pt x="2060057" y="1551189"/>
                  </a:lnTo>
                  <a:lnTo>
                    <a:pt x="2060376" y="1552792"/>
                  </a:lnTo>
                  <a:lnTo>
                    <a:pt x="2060608" y="1552964"/>
                  </a:lnTo>
                  <a:lnTo>
                    <a:pt x="2061232" y="1552692"/>
                  </a:lnTo>
                  <a:lnTo>
                    <a:pt x="2061741" y="1552247"/>
                  </a:lnTo>
                  <a:lnTo>
                    <a:pt x="2062717" y="1551005"/>
                  </a:lnTo>
                  <a:lnTo>
                    <a:pt x="2063233" y="1550591"/>
                  </a:lnTo>
                  <a:lnTo>
                    <a:pt x="2062892" y="1551386"/>
                  </a:lnTo>
                  <a:lnTo>
                    <a:pt x="2063183" y="1552720"/>
                  </a:lnTo>
                  <a:lnTo>
                    <a:pt x="2063607" y="1553331"/>
                  </a:lnTo>
                  <a:lnTo>
                    <a:pt x="2066584" y="1554568"/>
                  </a:lnTo>
                  <a:lnTo>
                    <a:pt x="2067101" y="1555295"/>
                  </a:lnTo>
                  <a:lnTo>
                    <a:pt x="2066506" y="1556099"/>
                  </a:lnTo>
                  <a:lnTo>
                    <a:pt x="2066525" y="1556966"/>
                  </a:lnTo>
                  <a:lnTo>
                    <a:pt x="2066662" y="1557349"/>
                  </a:lnTo>
                  <a:lnTo>
                    <a:pt x="2067185" y="1557637"/>
                  </a:lnTo>
                  <a:lnTo>
                    <a:pt x="2067802" y="1558700"/>
                  </a:lnTo>
                  <a:lnTo>
                    <a:pt x="2069233" y="1559834"/>
                  </a:lnTo>
                  <a:lnTo>
                    <a:pt x="2069873" y="1560799"/>
                  </a:lnTo>
                  <a:lnTo>
                    <a:pt x="2070493" y="1561399"/>
                  </a:lnTo>
                  <a:lnTo>
                    <a:pt x="2070646" y="1561916"/>
                  </a:lnTo>
                  <a:lnTo>
                    <a:pt x="2070271" y="1562681"/>
                  </a:lnTo>
                  <a:lnTo>
                    <a:pt x="2069878" y="1563291"/>
                  </a:lnTo>
                  <a:lnTo>
                    <a:pt x="2069579" y="1563857"/>
                  </a:lnTo>
                  <a:lnTo>
                    <a:pt x="2069271" y="1564286"/>
                  </a:lnTo>
                  <a:lnTo>
                    <a:pt x="2068840" y="1564452"/>
                  </a:lnTo>
                  <a:lnTo>
                    <a:pt x="2068040" y="1564022"/>
                  </a:lnTo>
                  <a:lnTo>
                    <a:pt x="2067372" y="1563281"/>
                  </a:lnTo>
                  <a:lnTo>
                    <a:pt x="2066655" y="1563064"/>
                  </a:lnTo>
                  <a:lnTo>
                    <a:pt x="2065702" y="1564243"/>
                  </a:lnTo>
                  <a:lnTo>
                    <a:pt x="2065291" y="1565224"/>
                  </a:lnTo>
                  <a:lnTo>
                    <a:pt x="2064929" y="1566465"/>
                  </a:lnTo>
                  <a:lnTo>
                    <a:pt x="2064741" y="1567678"/>
                  </a:lnTo>
                  <a:lnTo>
                    <a:pt x="2064853" y="1568592"/>
                  </a:lnTo>
                  <a:lnTo>
                    <a:pt x="2064193" y="1568574"/>
                  </a:lnTo>
                  <a:lnTo>
                    <a:pt x="2063000" y="1569657"/>
                  </a:lnTo>
                  <a:lnTo>
                    <a:pt x="2062386" y="1569979"/>
                  </a:lnTo>
                  <a:lnTo>
                    <a:pt x="2061869" y="1569552"/>
                  </a:lnTo>
                  <a:lnTo>
                    <a:pt x="2061408" y="1568775"/>
                  </a:lnTo>
                  <a:lnTo>
                    <a:pt x="2060972" y="1568576"/>
                  </a:lnTo>
                  <a:lnTo>
                    <a:pt x="2060530" y="1569852"/>
                  </a:lnTo>
                  <a:lnTo>
                    <a:pt x="2060695" y="1570600"/>
                  </a:lnTo>
                  <a:lnTo>
                    <a:pt x="2060485" y="1571319"/>
                  </a:lnTo>
                  <a:lnTo>
                    <a:pt x="2060062" y="1571836"/>
                  </a:lnTo>
                  <a:lnTo>
                    <a:pt x="2059583" y="1572029"/>
                  </a:lnTo>
                  <a:lnTo>
                    <a:pt x="2059053" y="1571845"/>
                  </a:lnTo>
                  <a:lnTo>
                    <a:pt x="2057588" y="1570463"/>
                  </a:lnTo>
                  <a:lnTo>
                    <a:pt x="2058338" y="1570240"/>
                  </a:lnTo>
                  <a:lnTo>
                    <a:pt x="2059028" y="1569685"/>
                  </a:lnTo>
                  <a:lnTo>
                    <a:pt x="2059456" y="1568595"/>
                  </a:lnTo>
                  <a:lnTo>
                    <a:pt x="2059434" y="1566794"/>
                  </a:lnTo>
                  <a:lnTo>
                    <a:pt x="2058946" y="1565477"/>
                  </a:lnTo>
                  <a:lnTo>
                    <a:pt x="2057654" y="1565017"/>
                  </a:lnTo>
                  <a:lnTo>
                    <a:pt x="2057295" y="1563663"/>
                  </a:lnTo>
                  <a:lnTo>
                    <a:pt x="2058717" y="1564555"/>
                  </a:lnTo>
                  <a:lnTo>
                    <a:pt x="2059877" y="1564320"/>
                  </a:lnTo>
                  <a:lnTo>
                    <a:pt x="2060928" y="1562914"/>
                  </a:lnTo>
                  <a:lnTo>
                    <a:pt x="2062024" y="1560271"/>
                  </a:lnTo>
                  <a:lnTo>
                    <a:pt x="2059846" y="1557926"/>
                  </a:lnTo>
                  <a:lnTo>
                    <a:pt x="2059030" y="1557824"/>
                  </a:lnTo>
                  <a:lnTo>
                    <a:pt x="2059123" y="1558857"/>
                  </a:lnTo>
                  <a:lnTo>
                    <a:pt x="2059189" y="1559261"/>
                  </a:lnTo>
                  <a:lnTo>
                    <a:pt x="2058512" y="1559267"/>
                  </a:lnTo>
                  <a:lnTo>
                    <a:pt x="2058062" y="1558760"/>
                  </a:lnTo>
                  <a:lnTo>
                    <a:pt x="2056983" y="1556493"/>
                  </a:lnTo>
                  <a:lnTo>
                    <a:pt x="2055252" y="1553798"/>
                  </a:lnTo>
                  <a:lnTo>
                    <a:pt x="2055039" y="1553675"/>
                  </a:lnTo>
                  <a:lnTo>
                    <a:pt x="2055141" y="1553430"/>
                  </a:lnTo>
                  <a:lnTo>
                    <a:pt x="2056061" y="1550537"/>
                  </a:lnTo>
                  <a:lnTo>
                    <a:pt x="2056376" y="1549933"/>
                  </a:lnTo>
                  <a:lnTo>
                    <a:pt x="2056763" y="1549463"/>
                  </a:lnTo>
                  <a:lnTo>
                    <a:pt x="2058089" y="1548949"/>
                  </a:lnTo>
                  <a:close/>
                  <a:moveTo>
                    <a:pt x="3121582" y="1548666"/>
                  </a:moveTo>
                  <a:lnTo>
                    <a:pt x="3122891" y="1548822"/>
                  </a:lnTo>
                  <a:lnTo>
                    <a:pt x="3126227" y="1550944"/>
                  </a:lnTo>
                  <a:lnTo>
                    <a:pt x="3127595" y="1551223"/>
                  </a:lnTo>
                  <a:lnTo>
                    <a:pt x="3128037" y="1551562"/>
                  </a:lnTo>
                  <a:lnTo>
                    <a:pt x="3128385" y="1552555"/>
                  </a:lnTo>
                  <a:lnTo>
                    <a:pt x="3128504" y="1553636"/>
                  </a:lnTo>
                  <a:lnTo>
                    <a:pt x="3127968" y="1554763"/>
                  </a:lnTo>
                  <a:lnTo>
                    <a:pt x="3127724" y="1555865"/>
                  </a:lnTo>
                  <a:lnTo>
                    <a:pt x="3127666" y="1557184"/>
                  </a:lnTo>
                  <a:lnTo>
                    <a:pt x="3127900" y="1558361"/>
                  </a:lnTo>
                  <a:lnTo>
                    <a:pt x="3129268" y="1559507"/>
                  </a:lnTo>
                  <a:lnTo>
                    <a:pt x="3132604" y="1557475"/>
                  </a:lnTo>
                  <a:lnTo>
                    <a:pt x="3134060" y="1557297"/>
                  </a:lnTo>
                  <a:lnTo>
                    <a:pt x="3135787" y="1557964"/>
                  </a:lnTo>
                  <a:lnTo>
                    <a:pt x="3143071" y="1557800"/>
                  </a:lnTo>
                  <a:lnTo>
                    <a:pt x="3146480" y="1559082"/>
                  </a:lnTo>
                  <a:lnTo>
                    <a:pt x="3147682" y="1559180"/>
                  </a:lnTo>
                  <a:lnTo>
                    <a:pt x="3149026" y="1559813"/>
                  </a:lnTo>
                  <a:lnTo>
                    <a:pt x="3149674" y="1559834"/>
                  </a:lnTo>
                  <a:lnTo>
                    <a:pt x="3150099" y="1559339"/>
                  </a:lnTo>
                  <a:lnTo>
                    <a:pt x="3150565" y="1557598"/>
                  </a:lnTo>
                  <a:lnTo>
                    <a:pt x="3150920" y="1556891"/>
                  </a:lnTo>
                  <a:lnTo>
                    <a:pt x="3151624" y="1556508"/>
                  </a:lnTo>
                  <a:lnTo>
                    <a:pt x="3154048" y="1556484"/>
                  </a:lnTo>
                  <a:lnTo>
                    <a:pt x="3155883" y="1555037"/>
                  </a:lnTo>
                  <a:lnTo>
                    <a:pt x="3159283" y="1554462"/>
                  </a:lnTo>
                  <a:lnTo>
                    <a:pt x="3162821" y="1555046"/>
                  </a:lnTo>
                  <a:lnTo>
                    <a:pt x="3165070" y="1557062"/>
                  </a:lnTo>
                  <a:lnTo>
                    <a:pt x="3165453" y="1559976"/>
                  </a:lnTo>
                  <a:lnTo>
                    <a:pt x="3165658" y="1560843"/>
                  </a:lnTo>
                  <a:lnTo>
                    <a:pt x="3166235" y="1561967"/>
                  </a:lnTo>
                  <a:lnTo>
                    <a:pt x="3166984" y="1562996"/>
                  </a:lnTo>
                  <a:lnTo>
                    <a:pt x="3167713" y="1563731"/>
                  </a:lnTo>
                  <a:lnTo>
                    <a:pt x="3168208" y="1563931"/>
                  </a:lnTo>
                  <a:lnTo>
                    <a:pt x="3168557" y="1564398"/>
                  </a:lnTo>
                  <a:lnTo>
                    <a:pt x="3168967" y="1565611"/>
                  </a:lnTo>
                  <a:lnTo>
                    <a:pt x="3169598" y="1567809"/>
                  </a:lnTo>
                  <a:lnTo>
                    <a:pt x="3170118" y="1568376"/>
                  </a:lnTo>
                  <a:lnTo>
                    <a:pt x="3171766" y="1569062"/>
                  </a:lnTo>
                  <a:lnTo>
                    <a:pt x="3172382" y="1569535"/>
                  </a:lnTo>
                  <a:lnTo>
                    <a:pt x="3172892" y="1570987"/>
                  </a:lnTo>
                  <a:lnTo>
                    <a:pt x="3173290" y="1573284"/>
                  </a:lnTo>
                  <a:lnTo>
                    <a:pt x="3173362" y="1575468"/>
                  </a:lnTo>
                  <a:lnTo>
                    <a:pt x="3172910" y="1576618"/>
                  </a:lnTo>
                  <a:lnTo>
                    <a:pt x="3153793" y="1583757"/>
                  </a:lnTo>
                  <a:lnTo>
                    <a:pt x="3134617" y="1590745"/>
                  </a:lnTo>
                  <a:lnTo>
                    <a:pt x="3127700" y="1589641"/>
                  </a:lnTo>
                  <a:lnTo>
                    <a:pt x="3125108" y="1588245"/>
                  </a:lnTo>
                  <a:lnTo>
                    <a:pt x="3122473" y="1586125"/>
                  </a:lnTo>
                  <a:lnTo>
                    <a:pt x="3114684" y="1578388"/>
                  </a:lnTo>
                  <a:lnTo>
                    <a:pt x="3113401" y="1576902"/>
                  </a:lnTo>
                  <a:lnTo>
                    <a:pt x="3112335" y="1574844"/>
                  </a:lnTo>
                  <a:lnTo>
                    <a:pt x="3110738" y="1570278"/>
                  </a:lnTo>
                  <a:lnTo>
                    <a:pt x="3110260" y="1568244"/>
                  </a:lnTo>
                  <a:lnTo>
                    <a:pt x="3110182" y="1566515"/>
                  </a:lnTo>
                  <a:lnTo>
                    <a:pt x="3110742" y="1565066"/>
                  </a:lnTo>
                  <a:lnTo>
                    <a:pt x="3113161" y="1563016"/>
                  </a:lnTo>
                  <a:lnTo>
                    <a:pt x="3120577" y="1561977"/>
                  </a:lnTo>
                  <a:lnTo>
                    <a:pt x="3121106" y="1561640"/>
                  </a:lnTo>
                  <a:lnTo>
                    <a:pt x="3121447" y="1560978"/>
                  </a:lnTo>
                  <a:lnTo>
                    <a:pt x="3121613" y="1559811"/>
                  </a:lnTo>
                  <a:lnTo>
                    <a:pt x="3121485" y="1559744"/>
                  </a:lnTo>
                  <a:lnTo>
                    <a:pt x="3121223" y="1559167"/>
                  </a:lnTo>
                  <a:lnTo>
                    <a:pt x="3120963" y="1558399"/>
                  </a:lnTo>
                  <a:lnTo>
                    <a:pt x="3120849" y="1557777"/>
                  </a:lnTo>
                  <a:lnTo>
                    <a:pt x="3120933" y="1557352"/>
                  </a:lnTo>
                  <a:lnTo>
                    <a:pt x="3121342" y="1556200"/>
                  </a:lnTo>
                  <a:lnTo>
                    <a:pt x="3121507" y="1555944"/>
                  </a:lnTo>
                  <a:lnTo>
                    <a:pt x="3121820" y="1554742"/>
                  </a:lnTo>
                  <a:lnTo>
                    <a:pt x="3121109" y="1550109"/>
                  </a:lnTo>
                  <a:close/>
                  <a:moveTo>
                    <a:pt x="1545208" y="1533952"/>
                  </a:moveTo>
                  <a:lnTo>
                    <a:pt x="1545687" y="1534043"/>
                  </a:lnTo>
                  <a:lnTo>
                    <a:pt x="1548687" y="1535580"/>
                  </a:lnTo>
                  <a:lnTo>
                    <a:pt x="1549325" y="1536690"/>
                  </a:lnTo>
                  <a:lnTo>
                    <a:pt x="1548142" y="1537879"/>
                  </a:lnTo>
                  <a:lnTo>
                    <a:pt x="1546854" y="1537915"/>
                  </a:lnTo>
                  <a:lnTo>
                    <a:pt x="1545660" y="1537076"/>
                  </a:lnTo>
                  <a:lnTo>
                    <a:pt x="1544704" y="1535768"/>
                  </a:lnTo>
                  <a:lnTo>
                    <a:pt x="1544127" y="1534406"/>
                  </a:lnTo>
                  <a:lnTo>
                    <a:pt x="1544690" y="1534054"/>
                  </a:lnTo>
                  <a:close/>
                  <a:moveTo>
                    <a:pt x="2027379" y="1530020"/>
                  </a:moveTo>
                  <a:lnTo>
                    <a:pt x="2028065" y="1530407"/>
                  </a:lnTo>
                  <a:lnTo>
                    <a:pt x="2028344" y="1532276"/>
                  </a:lnTo>
                  <a:lnTo>
                    <a:pt x="2028195" y="1537079"/>
                  </a:lnTo>
                  <a:lnTo>
                    <a:pt x="2026510" y="1538765"/>
                  </a:lnTo>
                  <a:lnTo>
                    <a:pt x="2024628" y="1537943"/>
                  </a:lnTo>
                  <a:lnTo>
                    <a:pt x="2023905" y="1535222"/>
                  </a:lnTo>
                  <a:lnTo>
                    <a:pt x="2024053" y="1533073"/>
                  </a:lnTo>
                  <a:lnTo>
                    <a:pt x="2024225" y="1531594"/>
                  </a:lnTo>
                  <a:lnTo>
                    <a:pt x="2024666" y="1530760"/>
                  </a:lnTo>
                  <a:close/>
                  <a:moveTo>
                    <a:pt x="2185793" y="1520541"/>
                  </a:moveTo>
                  <a:lnTo>
                    <a:pt x="2187649" y="1520628"/>
                  </a:lnTo>
                  <a:lnTo>
                    <a:pt x="2189453" y="1521638"/>
                  </a:lnTo>
                  <a:lnTo>
                    <a:pt x="2190058" y="1522489"/>
                  </a:lnTo>
                  <a:lnTo>
                    <a:pt x="2191309" y="1523573"/>
                  </a:lnTo>
                  <a:lnTo>
                    <a:pt x="2195033" y="1524826"/>
                  </a:lnTo>
                  <a:lnTo>
                    <a:pt x="2195791" y="1525448"/>
                  </a:lnTo>
                  <a:lnTo>
                    <a:pt x="2196136" y="1526374"/>
                  </a:lnTo>
                  <a:lnTo>
                    <a:pt x="2196165" y="1527260"/>
                  </a:lnTo>
                  <a:lnTo>
                    <a:pt x="2196129" y="1528177"/>
                  </a:lnTo>
                  <a:lnTo>
                    <a:pt x="2196275" y="1529176"/>
                  </a:lnTo>
                  <a:lnTo>
                    <a:pt x="2196863" y="1530287"/>
                  </a:lnTo>
                  <a:lnTo>
                    <a:pt x="2198380" y="1531198"/>
                  </a:lnTo>
                  <a:lnTo>
                    <a:pt x="2199086" y="1531880"/>
                  </a:lnTo>
                  <a:lnTo>
                    <a:pt x="2204415" y="1533793"/>
                  </a:lnTo>
                  <a:lnTo>
                    <a:pt x="2205276" y="1534928"/>
                  </a:lnTo>
                  <a:lnTo>
                    <a:pt x="2205753" y="1537634"/>
                  </a:lnTo>
                  <a:lnTo>
                    <a:pt x="2206930" y="1539276"/>
                  </a:lnTo>
                  <a:lnTo>
                    <a:pt x="2209375" y="1541282"/>
                  </a:lnTo>
                  <a:lnTo>
                    <a:pt x="2207988" y="1543122"/>
                  </a:lnTo>
                  <a:lnTo>
                    <a:pt x="2204954" y="1543381"/>
                  </a:lnTo>
                  <a:lnTo>
                    <a:pt x="2203614" y="1545011"/>
                  </a:lnTo>
                  <a:lnTo>
                    <a:pt x="2205932" y="1550891"/>
                  </a:lnTo>
                  <a:lnTo>
                    <a:pt x="2207427" y="1553094"/>
                  </a:lnTo>
                  <a:lnTo>
                    <a:pt x="2207964" y="1553374"/>
                  </a:lnTo>
                  <a:lnTo>
                    <a:pt x="2208217" y="1552117"/>
                  </a:lnTo>
                  <a:lnTo>
                    <a:pt x="2208353" y="1550913"/>
                  </a:lnTo>
                  <a:lnTo>
                    <a:pt x="2209866" y="1545140"/>
                  </a:lnTo>
                  <a:lnTo>
                    <a:pt x="2210390" y="1543586"/>
                  </a:lnTo>
                  <a:lnTo>
                    <a:pt x="2211087" y="1542456"/>
                  </a:lnTo>
                  <a:lnTo>
                    <a:pt x="2211574" y="1542589"/>
                  </a:lnTo>
                  <a:lnTo>
                    <a:pt x="2212079" y="1543217"/>
                  </a:lnTo>
                  <a:lnTo>
                    <a:pt x="2213807" y="1544199"/>
                  </a:lnTo>
                  <a:lnTo>
                    <a:pt x="2217700" y="1550198"/>
                  </a:lnTo>
                  <a:lnTo>
                    <a:pt x="2218383" y="1551813"/>
                  </a:lnTo>
                  <a:lnTo>
                    <a:pt x="2218789" y="1554008"/>
                  </a:lnTo>
                  <a:lnTo>
                    <a:pt x="2219096" y="1555121"/>
                  </a:lnTo>
                  <a:lnTo>
                    <a:pt x="2219560" y="1555602"/>
                  </a:lnTo>
                  <a:lnTo>
                    <a:pt x="2220653" y="1556182"/>
                  </a:lnTo>
                  <a:lnTo>
                    <a:pt x="2226359" y="1564343"/>
                  </a:lnTo>
                  <a:lnTo>
                    <a:pt x="2227770" y="1565421"/>
                  </a:lnTo>
                  <a:lnTo>
                    <a:pt x="2230184" y="1564558"/>
                  </a:lnTo>
                  <a:lnTo>
                    <a:pt x="2231239" y="1565780"/>
                  </a:lnTo>
                  <a:lnTo>
                    <a:pt x="2233301" y="1569070"/>
                  </a:lnTo>
                  <a:lnTo>
                    <a:pt x="2234454" y="1569741"/>
                  </a:lnTo>
                  <a:lnTo>
                    <a:pt x="2236845" y="1570049"/>
                  </a:lnTo>
                  <a:lnTo>
                    <a:pt x="2240146" y="1571885"/>
                  </a:lnTo>
                  <a:lnTo>
                    <a:pt x="2241286" y="1573820"/>
                  </a:lnTo>
                  <a:lnTo>
                    <a:pt x="2241598" y="1574111"/>
                  </a:lnTo>
                  <a:lnTo>
                    <a:pt x="2242342" y="1574550"/>
                  </a:lnTo>
                  <a:lnTo>
                    <a:pt x="2244985" y="1577681"/>
                  </a:lnTo>
                  <a:lnTo>
                    <a:pt x="2248385" y="1579801"/>
                  </a:lnTo>
                  <a:lnTo>
                    <a:pt x="2252339" y="1584252"/>
                  </a:lnTo>
                  <a:lnTo>
                    <a:pt x="2253737" y="1586738"/>
                  </a:lnTo>
                  <a:lnTo>
                    <a:pt x="2254278" y="1589768"/>
                  </a:lnTo>
                  <a:lnTo>
                    <a:pt x="2254008" y="1591096"/>
                  </a:lnTo>
                  <a:lnTo>
                    <a:pt x="2252964" y="1593401"/>
                  </a:lnTo>
                  <a:lnTo>
                    <a:pt x="2252746" y="1595353"/>
                  </a:lnTo>
                  <a:lnTo>
                    <a:pt x="2252654" y="1597436"/>
                  </a:lnTo>
                  <a:lnTo>
                    <a:pt x="2252352" y="1598892"/>
                  </a:lnTo>
                  <a:lnTo>
                    <a:pt x="2251860" y="1600000"/>
                  </a:lnTo>
                  <a:lnTo>
                    <a:pt x="2251208" y="1601012"/>
                  </a:lnTo>
                  <a:lnTo>
                    <a:pt x="2252313" y="1603107"/>
                  </a:lnTo>
                  <a:lnTo>
                    <a:pt x="2252666" y="1605492"/>
                  </a:lnTo>
                  <a:lnTo>
                    <a:pt x="2252442" y="1608038"/>
                  </a:lnTo>
                  <a:lnTo>
                    <a:pt x="2251827" y="1610605"/>
                  </a:lnTo>
                  <a:lnTo>
                    <a:pt x="2252383" y="1612515"/>
                  </a:lnTo>
                  <a:lnTo>
                    <a:pt x="2253323" y="1613959"/>
                  </a:lnTo>
                  <a:lnTo>
                    <a:pt x="2254395" y="1614866"/>
                  </a:lnTo>
                  <a:lnTo>
                    <a:pt x="2255343" y="1615171"/>
                  </a:lnTo>
                  <a:lnTo>
                    <a:pt x="2256400" y="1614770"/>
                  </a:lnTo>
                  <a:lnTo>
                    <a:pt x="2256508" y="1613820"/>
                  </a:lnTo>
                  <a:lnTo>
                    <a:pt x="2255443" y="1610973"/>
                  </a:lnTo>
                  <a:lnTo>
                    <a:pt x="2255042" y="1609165"/>
                  </a:lnTo>
                  <a:lnTo>
                    <a:pt x="2255208" y="1607789"/>
                  </a:lnTo>
                  <a:lnTo>
                    <a:pt x="2255570" y="1606421"/>
                  </a:lnTo>
                  <a:lnTo>
                    <a:pt x="2255762" y="1604615"/>
                  </a:lnTo>
                  <a:lnTo>
                    <a:pt x="2255539" y="1602676"/>
                  </a:lnTo>
                  <a:lnTo>
                    <a:pt x="2255171" y="1601586"/>
                  </a:lnTo>
                  <a:lnTo>
                    <a:pt x="2255022" y="1600532"/>
                  </a:lnTo>
                  <a:lnTo>
                    <a:pt x="2255455" y="1598742"/>
                  </a:lnTo>
                  <a:lnTo>
                    <a:pt x="2256810" y="1596711"/>
                  </a:lnTo>
                  <a:lnTo>
                    <a:pt x="2257016" y="1596089"/>
                  </a:lnTo>
                  <a:lnTo>
                    <a:pt x="2257161" y="1595077"/>
                  </a:lnTo>
                  <a:lnTo>
                    <a:pt x="2257514" y="1593987"/>
                  </a:lnTo>
                  <a:lnTo>
                    <a:pt x="2257947" y="1593118"/>
                  </a:lnTo>
                  <a:lnTo>
                    <a:pt x="2258312" y="1592759"/>
                  </a:lnTo>
                  <a:lnTo>
                    <a:pt x="2259076" y="1593353"/>
                  </a:lnTo>
                  <a:lnTo>
                    <a:pt x="2259578" y="1594809"/>
                  </a:lnTo>
                  <a:lnTo>
                    <a:pt x="2260343" y="1598274"/>
                  </a:lnTo>
                  <a:lnTo>
                    <a:pt x="2260956" y="1599658"/>
                  </a:lnTo>
                  <a:lnTo>
                    <a:pt x="2262350" y="1601652"/>
                  </a:lnTo>
                  <a:lnTo>
                    <a:pt x="2262941" y="1603115"/>
                  </a:lnTo>
                  <a:lnTo>
                    <a:pt x="2263068" y="1603782"/>
                  </a:lnTo>
                  <a:lnTo>
                    <a:pt x="2263151" y="1605164"/>
                  </a:lnTo>
                  <a:lnTo>
                    <a:pt x="2263273" y="1606013"/>
                  </a:lnTo>
                  <a:lnTo>
                    <a:pt x="2264089" y="1609046"/>
                  </a:lnTo>
                  <a:lnTo>
                    <a:pt x="2263585" y="1609452"/>
                  </a:lnTo>
                  <a:lnTo>
                    <a:pt x="2262903" y="1610375"/>
                  </a:lnTo>
                  <a:lnTo>
                    <a:pt x="2262293" y="1611584"/>
                  </a:lnTo>
                  <a:lnTo>
                    <a:pt x="2262008" y="1612860"/>
                  </a:lnTo>
                  <a:lnTo>
                    <a:pt x="2262208" y="1613974"/>
                  </a:lnTo>
                  <a:lnTo>
                    <a:pt x="2263186" y="1615653"/>
                  </a:lnTo>
                  <a:lnTo>
                    <a:pt x="2263426" y="1616891"/>
                  </a:lnTo>
                  <a:lnTo>
                    <a:pt x="2263673" y="1617708"/>
                  </a:lnTo>
                  <a:lnTo>
                    <a:pt x="2264235" y="1618564"/>
                  </a:lnTo>
                  <a:lnTo>
                    <a:pt x="2264868" y="1619233"/>
                  </a:lnTo>
                  <a:lnTo>
                    <a:pt x="2266003" y="1619749"/>
                  </a:lnTo>
                  <a:lnTo>
                    <a:pt x="2266557" y="1620472"/>
                  </a:lnTo>
                  <a:lnTo>
                    <a:pt x="2266988" y="1621636"/>
                  </a:lnTo>
                  <a:lnTo>
                    <a:pt x="2267289" y="1623191"/>
                  </a:lnTo>
                  <a:lnTo>
                    <a:pt x="2267416" y="1625711"/>
                  </a:lnTo>
                  <a:lnTo>
                    <a:pt x="2267362" y="1628083"/>
                  </a:lnTo>
                  <a:lnTo>
                    <a:pt x="2267507" y="1630173"/>
                  </a:lnTo>
                  <a:lnTo>
                    <a:pt x="2268214" y="1631766"/>
                  </a:lnTo>
                  <a:lnTo>
                    <a:pt x="2268889" y="1631964"/>
                  </a:lnTo>
                  <a:lnTo>
                    <a:pt x="2269439" y="1631260"/>
                  </a:lnTo>
                  <a:lnTo>
                    <a:pt x="2269977" y="1630312"/>
                  </a:lnTo>
                  <a:lnTo>
                    <a:pt x="2270603" y="1629836"/>
                  </a:lnTo>
                  <a:lnTo>
                    <a:pt x="2272985" y="1630784"/>
                  </a:lnTo>
                  <a:lnTo>
                    <a:pt x="2273599" y="1631341"/>
                  </a:lnTo>
                  <a:lnTo>
                    <a:pt x="2274141" y="1632369"/>
                  </a:lnTo>
                  <a:lnTo>
                    <a:pt x="2274246" y="1633165"/>
                  </a:lnTo>
                  <a:lnTo>
                    <a:pt x="2274248" y="1633962"/>
                  </a:lnTo>
                  <a:lnTo>
                    <a:pt x="2274497" y="1634978"/>
                  </a:lnTo>
                  <a:lnTo>
                    <a:pt x="2275012" y="1635983"/>
                  </a:lnTo>
                  <a:lnTo>
                    <a:pt x="2275532" y="1636422"/>
                  </a:lnTo>
                  <a:lnTo>
                    <a:pt x="2276149" y="1636517"/>
                  </a:lnTo>
                  <a:lnTo>
                    <a:pt x="2278428" y="1636030"/>
                  </a:lnTo>
                  <a:lnTo>
                    <a:pt x="2285188" y="1628965"/>
                  </a:lnTo>
                  <a:lnTo>
                    <a:pt x="2286840" y="1628351"/>
                  </a:lnTo>
                  <a:lnTo>
                    <a:pt x="2288383" y="1629140"/>
                  </a:lnTo>
                  <a:lnTo>
                    <a:pt x="2289715" y="1630793"/>
                  </a:lnTo>
                  <a:lnTo>
                    <a:pt x="2290419" y="1631414"/>
                  </a:lnTo>
                  <a:lnTo>
                    <a:pt x="2291426" y="1631762"/>
                  </a:lnTo>
                  <a:lnTo>
                    <a:pt x="2292174" y="1632422"/>
                  </a:lnTo>
                  <a:lnTo>
                    <a:pt x="2292397" y="1632766"/>
                  </a:lnTo>
                  <a:lnTo>
                    <a:pt x="2292617" y="1633728"/>
                  </a:lnTo>
                  <a:lnTo>
                    <a:pt x="2292487" y="1634170"/>
                  </a:lnTo>
                  <a:lnTo>
                    <a:pt x="2292219" y="1634367"/>
                  </a:lnTo>
                  <a:lnTo>
                    <a:pt x="2292040" y="1634602"/>
                  </a:lnTo>
                  <a:lnTo>
                    <a:pt x="2291586" y="1636347"/>
                  </a:lnTo>
                  <a:lnTo>
                    <a:pt x="2290936" y="1638078"/>
                  </a:lnTo>
                  <a:lnTo>
                    <a:pt x="2290202" y="1639595"/>
                  </a:lnTo>
                  <a:lnTo>
                    <a:pt x="2286510" y="1644078"/>
                  </a:lnTo>
                  <a:lnTo>
                    <a:pt x="2285496" y="1644496"/>
                  </a:lnTo>
                  <a:lnTo>
                    <a:pt x="2283868" y="1646327"/>
                  </a:lnTo>
                  <a:lnTo>
                    <a:pt x="2280384" y="1653063"/>
                  </a:lnTo>
                  <a:lnTo>
                    <a:pt x="2278870" y="1652814"/>
                  </a:lnTo>
                  <a:lnTo>
                    <a:pt x="2279446" y="1649787"/>
                  </a:lnTo>
                  <a:lnTo>
                    <a:pt x="2279590" y="1647515"/>
                  </a:lnTo>
                  <a:lnTo>
                    <a:pt x="2279064" y="1645854"/>
                  </a:lnTo>
                  <a:lnTo>
                    <a:pt x="2277648" y="1644658"/>
                  </a:lnTo>
                  <a:lnTo>
                    <a:pt x="2272336" y="1647400"/>
                  </a:lnTo>
                  <a:lnTo>
                    <a:pt x="2271451" y="1647335"/>
                  </a:lnTo>
                  <a:lnTo>
                    <a:pt x="2271130" y="1646445"/>
                  </a:lnTo>
                  <a:lnTo>
                    <a:pt x="2270442" y="1646385"/>
                  </a:lnTo>
                  <a:lnTo>
                    <a:pt x="2269718" y="1646898"/>
                  </a:lnTo>
                  <a:lnTo>
                    <a:pt x="2269293" y="1647707"/>
                  </a:lnTo>
                  <a:lnTo>
                    <a:pt x="2269795" y="1649729"/>
                  </a:lnTo>
                  <a:lnTo>
                    <a:pt x="2269922" y="1650987"/>
                  </a:lnTo>
                  <a:lnTo>
                    <a:pt x="2269478" y="1651560"/>
                  </a:lnTo>
                  <a:lnTo>
                    <a:pt x="2268219" y="1652360"/>
                  </a:lnTo>
                  <a:lnTo>
                    <a:pt x="2267552" y="1654352"/>
                  </a:lnTo>
                  <a:lnTo>
                    <a:pt x="2267503" y="1656986"/>
                  </a:lnTo>
                  <a:lnTo>
                    <a:pt x="2268103" y="1659694"/>
                  </a:lnTo>
                  <a:lnTo>
                    <a:pt x="2266551" y="1660724"/>
                  </a:lnTo>
                  <a:lnTo>
                    <a:pt x="2263448" y="1658719"/>
                  </a:lnTo>
                  <a:lnTo>
                    <a:pt x="2261816" y="1659108"/>
                  </a:lnTo>
                  <a:lnTo>
                    <a:pt x="2261308" y="1659864"/>
                  </a:lnTo>
                  <a:lnTo>
                    <a:pt x="2259960" y="1662855"/>
                  </a:lnTo>
                  <a:lnTo>
                    <a:pt x="2259248" y="1663838"/>
                  </a:lnTo>
                  <a:lnTo>
                    <a:pt x="2258545" y="1664551"/>
                  </a:lnTo>
                  <a:lnTo>
                    <a:pt x="2257805" y="1664972"/>
                  </a:lnTo>
                  <a:lnTo>
                    <a:pt x="2256988" y="1665114"/>
                  </a:lnTo>
                  <a:lnTo>
                    <a:pt x="2255819" y="1665857"/>
                  </a:lnTo>
                  <a:lnTo>
                    <a:pt x="2250157" y="1675089"/>
                  </a:lnTo>
                  <a:lnTo>
                    <a:pt x="2249005" y="1676021"/>
                  </a:lnTo>
                  <a:lnTo>
                    <a:pt x="2241173" y="1678693"/>
                  </a:lnTo>
                  <a:lnTo>
                    <a:pt x="2239616" y="1678234"/>
                  </a:lnTo>
                  <a:lnTo>
                    <a:pt x="2236603" y="1676196"/>
                  </a:lnTo>
                  <a:lnTo>
                    <a:pt x="2233434" y="1675352"/>
                  </a:lnTo>
                  <a:lnTo>
                    <a:pt x="2226753" y="1670961"/>
                  </a:lnTo>
                  <a:lnTo>
                    <a:pt x="2224222" y="1670114"/>
                  </a:lnTo>
                  <a:lnTo>
                    <a:pt x="2222609" y="1668577"/>
                  </a:lnTo>
                  <a:lnTo>
                    <a:pt x="2221157" y="1667921"/>
                  </a:lnTo>
                  <a:lnTo>
                    <a:pt x="2220497" y="1667134"/>
                  </a:lnTo>
                  <a:lnTo>
                    <a:pt x="2219888" y="1666041"/>
                  </a:lnTo>
                  <a:lnTo>
                    <a:pt x="2219385" y="1664834"/>
                  </a:lnTo>
                  <a:lnTo>
                    <a:pt x="2218730" y="1663723"/>
                  </a:lnTo>
                  <a:lnTo>
                    <a:pt x="2217911" y="1663197"/>
                  </a:lnTo>
                  <a:lnTo>
                    <a:pt x="2216224" y="1663002"/>
                  </a:lnTo>
                  <a:lnTo>
                    <a:pt x="2217555" y="1666524"/>
                  </a:lnTo>
                  <a:lnTo>
                    <a:pt x="2218116" y="1668720"/>
                  </a:lnTo>
                  <a:lnTo>
                    <a:pt x="2217702" y="1669702"/>
                  </a:lnTo>
                  <a:lnTo>
                    <a:pt x="2217004" y="1669938"/>
                  </a:lnTo>
                  <a:lnTo>
                    <a:pt x="2215583" y="1670995"/>
                  </a:lnTo>
                  <a:lnTo>
                    <a:pt x="2214826" y="1671239"/>
                  </a:lnTo>
                  <a:lnTo>
                    <a:pt x="2213959" y="1671048"/>
                  </a:lnTo>
                  <a:lnTo>
                    <a:pt x="2211547" y="1669666"/>
                  </a:lnTo>
                  <a:lnTo>
                    <a:pt x="2209090" y="1669316"/>
                  </a:lnTo>
                  <a:lnTo>
                    <a:pt x="2206422" y="1667515"/>
                  </a:lnTo>
                  <a:lnTo>
                    <a:pt x="2205661" y="1667375"/>
                  </a:lnTo>
                  <a:lnTo>
                    <a:pt x="2204878" y="1667793"/>
                  </a:lnTo>
                  <a:lnTo>
                    <a:pt x="2204148" y="1668584"/>
                  </a:lnTo>
                  <a:lnTo>
                    <a:pt x="2203392" y="1669037"/>
                  </a:lnTo>
                  <a:lnTo>
                    <a:pt x="2199531" y="1665830"/>
                  </a:lnTo>
                  <a:lnTo>
                    <a:pt x="2195935" y="1661144"/>
                  </a:lnTo>
                  <a:lnTo>
                    <a:pt x="2194673" y="1660555"/>
                  </a:lnTo>
                  <a:lnTo>
                    <a:pt x="2193678" y="1659752"/>
                  </a:lnTo>
                  <a:lnTo>
                    <a:pt x="2191751" y="1656161"/>
                  </a:lnTo>
                  <a:lnTo>
                    <a:pt x="2190652" y="1655230"/>
                  </a:lnTo>
                  <a:lnTo>
                    <a:pt x="2188690" y="1655492"/>
                  </a:lnTo>
                  <a:lnTo>
                    <a:pt x="2182590" y="1651157"/>
                  </a:lnTo>
                  <a:lnTo>
                    <a:pt x="2180674" y="1650598"/>
                  </a:lnTo>
                  <a:lnTo>
                    <a:pt x="2179919" y="1651000"/>
                  </a:lnTo>
                  <a:lnTo>
                    <a:pt x="2178807" y="1652947"/>
                  </a:lnTo>
                  <a:lnTo>
                    <a:pt x="2178174" y="1653519"/>
                  </a:lnTo>
                  <a:lnTo>
                    <a:pt x="2177540" y="1653413"/>
                  </a:lnTo>
                  <a:lnTo>
                    <a:pt x="2177072" y="1652845"/>
                  </a:lnTo>
                  <a:lnTo>
                    <a:pt x="2176323" y="1651317"/>
                  </a:lnTo>
                  <a:lnTo>
                    <a:pt x="2175784" y="1650676"/>
                  </a:lnTo>
                  <a:lnTo>
                    <a:pt x="2173663" y="1648964"/>
                  </a:lnTo>
                  <a:lnTo>
                    <a:pt x="2171785" y="1646173"/>
                  </a:lnTo>
                  <a:lnTo>
                    <a:pt x="2170964" y="1644202"/>
                  </a:lnTo>
                  <a:lnTo>
                    <a:pt x="2170950" y="1642545"/>
                  </a:lnTo>
                  <a:lnTo>
                    <a:pt x="2171979" y="1640281"/>
                  </a:lnTo>
                  <a:lnTo>
                    <a:pt x="2172639" y="1638438"/>
                  </a:lnTo>
                  <a:lnTo>
                    <a:pt x="2172530" y="1636880"/>
                  </a:lnTo>
                  <a:lnTo>
                    <a:pt x="2171253" y="1635450"/>
                  </a:lnTo>
                  <a:lnTo>
                    <a:pt x="2168327" y="1633314"/>
                  </a:lnTo>
                  <a:lnTo>
                    <a:pt x="2166652" y="1632843"/>
                  </a:lnTo>
                  <a:lnTo>
                    <a:pt x="2165874" y="1634202"/>
                  </a:lnTo>
                  <a:lnTo>
                    <a:pt x="2166066" y="1636618"/>
                  </a:lnTo>
                  <a:lnTo>
                    <a:pt x="2166493" y="1638504"/>
                  </a:lnTo>
                  <a:lnTo>
                    <a:pt x="2166692" y="1640385"/>
                  </a:lnTo>
                  <a:lnTo>
                    <a:pt x="2166215" y="1642767"/>
                  </a:lnTo>
                  <a:lnTo>
                    <a:pt x="2165052" y="1644511"/>
                  </a:lnTo>
                  <a:lnTo>
                    <a:pt x="2163398" y="1645262"/>
                  </a:lnTo>
                  <a:lnTo>
                    <a:pt x="2161756" y="1644833"/>
                  </a:lnTo>
                  <a:lnTo>
                    <a:pt x="2160633" y="1643029"/>
                  </a:lnTo>
                  <a:lnTo>
                    <a:pt x="2159925" y="1640730"/>
                  </a:lnTo>
                  <a:lnTo>
                    <a:pt x="2159454" y="1639968"/>
                  </a:lnTo>
                  <a:lnTo>
                    <a:pt x="2157093" y="1638863"/>
                  </a:lnTo>
                  <a:lnTo>
                    <a:pt x="2156735" y="1639070"/>
                  </a:lnTo>
                  <a:lnTo>
                    <a:pt x="2156011" y="1640029"/>
                  </a:lnTo>
                  <a:lnTo>
                    <a:pt x="2155677" y="1640312"/>
                  </a:lnTo>
                  <a:lnTo>
                    <a:pt x="2154163" y="1640134"/>
                  </a:lnTo>
                  <a:lnTo>
                    <a:pt x="2148563" y="1635278"/>
                  </a:lnTo>
                  <a:lnTo>
                    <a:pt x="2148171" y="1634267"/>
                  </a:lnTo>
                  <a:lnTo>
                    <a:pt x="2148076" y="1632641"/>
                  </a:lnTo>
                  <a:lnTo>
                    <a:pt x="2148293" y="1630959"/>
                  </a:lnTo>
                  <a:lnTo>
                    <a:pt x="2148734" y="1629549"/>
                  </a:lnTo>
                  <a:lnTo>
                    <a:pt x="2149323" y="1628584"/>
                  </a:lnTo>
                  <a:lnTo>
                    <a:pt x="2150328" y="1628067"/>
                  </a:lnTo>
                  <a:lnTo>
                    <a:pt x="2150583" y="1627573"/>
                  </a:lnTo>
                  <a:lnTo>
                    <a:pt x="2150732" y="1626829"/>
                  </a:lnTo>
                  <a:lnTo>
                    <a:pt x="2150743" y="1625898"/>
                  </a:lnTo>
                  <a:lnTo>
                    <a:pt x="2150613" y="1625176"/>
                  </a:lnTo>
                  <a:lnTo>
                    <a:pt x="2150368" y="1624849"/>
                  </a:lnTo>
                  <a:lnTo>
                    <a:pt x="2148627" y="1623809"/>
                  </a:lnTo>
                  <a:lnTo>
                    <a:pt x="2146233" y="1623313"/>
                  </a:lnTo>
                  <a:lnTo>
                    <a:pt x="2144817" y="1622041"/>
                  </a:lnTo>
                  <a:lnTo>
                    <a:pt x="2144366" y="1621915"/>
                  </a:lnTo>
                  <a:lnTo>
                    <a:pt x="2143919" y="1622126"/>
                  </a:lnTo>
                  <a:lnTo>
                    <a:pt x="2143559" y="1622743"/>
                  </a:lnTo>
                  <a:lnTo>
                    <a:pt x="2143382" y="1623651"/>
                  </a:lnTo>
                  <a:lnTo>
                    <a:pt x="2143423" y="1624437"/>
                  </a:lnTo>
                  <a:lnTo>
                    <a:pt x="2143504" y="1625101"/>
                  </a:lnTo>
                  <a:lnTo>
                    <a:pt x="2143455" y="1625658"/>
                  </a:lnTo>
                  <a:lnTo>
                    <a:pt x="2142725" y="1626928"/>
                  </a:lnTo>
                  <a:lnTo>
                    <a:pt x="2142059" y="1626762"/>
                  </a:lnTo>
                  <a:lnTo>
                    <a:pt x="2141382" y="1626012"/>
                  </a:lnTo>
                  <a:lnTo>
                    <a:pt x="2140627" y="1625559"/>
                  </a:lnTo>
                  <a:lnTo>
                    <a:pt x="2138879" y="1625155"/>
                  </a:lnTo>
                  <a:lnTo>
                    <a:pt x="2138535" y="1625537"/>
                  </a:lnTo>
                  <a:lnTo>
                    <a:pt x="2139106" y="1627052"/>
                  </a:lnTo>
                  <a:lnTo>
                    <a:pt x="2141019" y="1630087"/>
                  </a:lnTo>
                  <a:lnTo>
                    <a:pt x="2141629" y="1631612"/>
                  </a:lnTo>
                  <a:lnTo>
                    <a:pt x="2140521" y="1632571"/>
                  </a:lnTo>
                  <a:lnTo>
                    <a:pt x="2138125" y="1632897"/>
                  </a:lnTo>
                  <a:lnTo>
                    <a:pt x="2136975" y="1633676"/>
                  </a:lnTo>
                  <a:lnTo>
                    <a:pt x="2135979" y="1635164"/>
                  </a:lnTo>
                  <a:lnTo>
                    <a:pt x="2135577" y="1635331"/>
                  </a:lnTo>
                  <a:lnTo>
                    <a:pt x="2135035" y="1634752"/>
                  </a:lnTo>
                  <a:lnTo>
                    <a:pt x="2133710" y="1632426"/>
                  </a:lnTo>
                  <a:lnTo>
                    <a:pt x="2132755" y="1631894"/>
                  </a:lnTo>
                  <a:lnTo>
                    <a:pt x="2131683" y="1630871"/>
                  </a:lnTo>
                  <a:lnTo>
                    <a:pt x="2126985" y="1628381"/>
                  </a:lnTo>
                  <a:lnTo>
                    <a:pt x="2126085" y="1627373"/>
                  </a:lnTo>
                  <a:lnTo>
                    <a:pt x="2125575" y="1625981"/>
                  </a:lnTo>
                  <a:lnTo>
                    <a:pt x="2126009" y="1624313"/>
                  </a:lnTo>
                  <a:lnTo>
                    <a:pt x="2125466" y="1621709"/>
                  </a:lnTo>
                  <a:lnTo>
                    <a:pt x="2124676" y="1619729"/>
                  </a:lnTo>
                  <a:lnTo>
                    <a:pt x="2122583" y="1616726"/>
                  </a:lnTo>
                  <a:lnTo>
                    <a:pt x="2121325" y="1615491"/>
                  </a:lnTo>
                  <a:lnTo>
                    <a:pt x="2120769" y="1614558"/>
                  </a:lnTo>
                  <a:lnTo>
                    <a:pt x="2120574" y="1613259"/>
                  </a:lnTo>
                  <a:lnTo>
                    <a:pt x="2120869" y="1611701"/>
                  </a:lnTo>
                  <a:lnTo>
                    <a:pt x="2121468" y="1610370"/>
                  </a:lnTo>
                  <a:lnTo>
                    <a:pt x="2122820" y="1608073"/>
                  </a:lnTo>
                  <a:lnTo>
                    <a:pt x="2125149" y="1603191"/>
                  </a:lnTo>
                  <a:lnTo>
                    <a:pt x="2126391" y="1601743"/>
                  </a:lnTo>
                  <a:lnTo>
                    <a:pt x="2128055" y="1601263"/>
                  </a:lnTo>
                  <a:lnTo>
                    <a:pt x="2130415" y="1602174"/>
                  </a:lnTo>
                  <a:lnTo>
                    <a:pt x="2130723" y="1602080"/>
                  </a:lnTo>
                  <a:lnTo>
                    <a:pt x="2131265" y="1601392"/>
                  </a:lnTo>
                  <a:lnTo>
                    <a:pt x="2132408" y="1599352"/>
                  </a:lnTo>
                  <a:lnTo>
                    <a:pt x="2133054" y="1599121"/>
                  </a:lnTo>
                  <a:lnTo>
                    <a:pt x="2133685" y="1600670"/>
                  </a:lnTo>
                  <a:lnTo>
                    <a:pt x="2134409" y="1599909"/>
                  </a:lnTo>
                  <a:lnTo>
                    <a:pt x="2135042" y="1600240"/>
                  </a:lnTo>
                  <a:lnTo>
                    <a:pt x="2135663" y="1601008"/>
                  </a:lnTo>
                  <a:lnTo>
                    <a:pt x="2136333" y="1601588"/>
                  </a:lnTo>
                  <a:lnTo>
                    <a:pt x="2137083" y="1601647"/>
                  </a:lnTo>
                  <a:lnTo>
                    <a:pt x="2139284" y="1600881"/>
                  </a:lnTo>
                  <a:lnTo>
                    <a:pt x="2144089" y="1601929"/>
                  </a:lnTo>
                  <a:lnTo>
                    <a:pt x="2145678" y="1600733"/>
                  </a:lnTo>
                  <a:lnTo>
                    <a:pt x="2146860" y="1598592"/>
                  </a:lnTo>
                  <a:lnTo>
                    <a:pt x="2147427" y="1597830"/>
                  </a:lnTo>
                  <a:lnTo>
                    <a:pt x="2148201" y="1597541"/>
                  </a:lnTo>
                  <a:lnTo>
                    <a:pt x="2151624" y="1598320"/>
                  </a:lnTo>
                  <a:lnTo>
                    <a:pt x="2152792" y="1598007"/>
                  </a:lnTo>
                  <a:lnTo>
                    <a:pt x="2154403" y="1597032"/>
                  </a:lnTo>
                  <a:lnTo>
                    <a:pt x="2155732" y="1595433"/>
                  </a:lnTo>
                  <a:lnTo>
                    <a:pt x="2156063" y="1593261"/>
                  </a:lnTo>
                  <a:lnTo>
                    <a:pt x="2156303" y="1593268"/>
                  </a:lnTo>
                  <a:lnTo>
                    <a:pt x="2155920" y="1591466"/>
                  </a:lnTo>
                  <a:lnTo>
                    <a:pt x="2156018" y="1589518"/>
                  </a:lnTo>
                  <a:lnTo>
                    <a:pt x="2156514" y="1587689"/>
                  </a:lnTo>
                  <a:lnTo>
                    <a:pt x="2157323" y="1586228"/>
                  </a:lnTo>
                  <a:lnTo>
                    <a:pt x="2158362" y="1584738"/>
                  </a:lnTo>
                  <a:lnTo>
                    <a:pt x="2158901" y="1584385"/>
                  </a:lnTo>
                  <a:lnTo>
                    <a:pt x="2159478" y="1584770"/>
                  </a:lnTo>
                  <a:lnTo>
                    <a:pt x="2160695" y="1586727"/>
                  </a:lnTo>
                  <a:lnTo>
                    <a:pt x="2161372" y="1587447"/>
                  </a:lnTo>
                  <a:lnTo>
                    <a:pt x="2162077" y="1587480"/>
                  </a:lnTo>
                  <a:lnTo>
                    <a:pt x="2162457" y="1586958"/>
                  </a:lnTo>
                  <a:lnTo>
                    <a:pt x="2163259" y="1585158"/>
                  </a:lnTo>
                  <a:lnTo>
                    <a:pt x="2163718" y="1584545"/>
                  </a:lnTo>
                  <a:lnTo>
                    <a:pt x="2164412" y="1584298"/>
                  </a:lnTo>
                  <a:lnTo>
                    <a:pt x="2166640" y="1584622"/>
                  </a:lnTo>
                  <a:lnTo>
                    <a:pt x="2167790" y="1584252"/>
                  </a:lnTo>
                  <a:lnTo>
                    <a:pt x="2168451" y="1583152"/>
                  </a:lnTo>
                  <a:lnTo>
                    <a:pt x="2168513" y="1581482"/>
                  </a:lnTo>
                  <a:lnTo>
                    <a:pt x="2167856" y="1579383"/>
                  </a:lnTo>
                  <a:lnTo>
                    <a:pt x="2166182" y="1576875"/>
                  </a:lnTo>
                  <a:lnTo>
                    <a:pt x="2162517" y="1573374"/>
                  </a:lnTo>
                  <a:lnTo>
                    <a:pt x="2160562" y="1569366"/>
                  </a:lnTo>
                  <a:lnTo>
                    <a:pt x="2160451" y="1568658"/>
                  </a:lnTo>
                  <a:lnTo>
                    <a:pt x="2160648" y="1567693"/>
                  </a:lnTo>
                  <a:lnTo>
                    <a:pt x="2161037" y="1566653"/>
                  </a:lnTo>
                  <a:lnTo>
                    <a:pt x="2161439" y="1565827"/>
                  </a:lnTo>
                  <a:lnTo>
                    <a:pt x="2161891" y="1565281"/>
                  </a:lnTo>
                  <a:lnTo>
                    <a:pt x="2162421" y="1565110"/>
                  </a:lnTo>
                  <a:lnTo>
                    <a:pt x="2165139" y="1566734"/>
                  </a:lnTo>
                  <a:lnTo>
                    <a:pt x="2166622" y="1567149"/>
                  </a:lnTo>
                  <a:lnTo>
                    <a:pt x="2167920" y="1565929"/>
                  </a:lnTo>
                  <a:lnTo>
                    <a:pt x="2163491" y="1563317"/>
                  </a:lnTo>
                  <a:lnTo>
                    <a:pt x="2161470" y="1560944"/>
                  </a:lnTo>
                  <a:lnTo>
                    <a:pt x="2161378" y="1556824"/>
                  </a:lnTo>
                  <a:lnTo>
                    <a:pt x="2162227" y="1554742"/>
                  </a:lnTo>
                  <a:lnTo>
                    <a:pt x="2163242" y="1553928"/>
                  </a:lnTo>
                  <a:lnTo>
                    <a:pt x="2166552" y="1554184"/>
                  </a:lnTo>
                  <a:lnTo>
                    <a:pt x="2170063" y="1555931"/>
                  </a:lnTo>
                  <a:lnTo>
                    <a:pt x="2170772" y="1557445"/>
                  </a:lnTo>
                  <a:lnTo>
                    <a:pt x="2171113" y="1558483"/>
                  </a:lnTo>
                  <a:lnTo>
                    <a:pt x="2172671" y="1560823"/>
                  </a:lnTo>
                  <a:lnTo>
                    <a:pt x="2173421" y="1563553"/>
                  </a:lnTo>
                  <a:lnTo>
                    <a:pt x="2176935" y="1567088"/>
                  </a:lnTo>
                  <a:lnTo>
                    <a:pt x="2179184" y="1566993"/>
                  </a:lnTo>
                  <a:lnTo>
                    <a:pt x="2179765" y="1567294"/>
                  </a:lnTo>
                  <a:lnTo>
                    <a:pt x="2179880" y="1568027"/>
                  </a:lnTo>
                  <a:lnTo>
                    <a:pt x="2179650" y="1570349"/>
                  </a:lnTo>
                  <a:lnTo>
                    <a:pt x="2180203" y="1571553"/>
                  </a:lnTo>
                  <a:lnTo>
                    <a:pt x="2181518" y="1571605"/>
                  </a:lnTo>
                  <a:lnTo>
                    <a:pt x="2182953" y="1570773"/>
                  </a:lnTo>
                  <a:lnTo>
                    <a:pt x="2183864" y="1569319"/>
                  </a:lnTo>
                  <a:lnTo>
                    <a:pt x="2178029" y="1563429"/>
                  </a:lnTo>
                  <a:lnTo>
                    <a:pt x="2176556" y="1560583"/>
                  </a:lnTo>
                  <a:lnTo>
                    <a:pt x="2174953" y="1556338"/>
                  </a:lnTo>
                  <a:lnTo>
                    <a:pt x="2174584" y="1555673"/>
                  </a:lnTo>
                  <a:lnTo>
                    <a:pt x="2174229" y="1555320"/>
                  </a:lnTo>
                  <a:lnTo>
                    <a:pt x="2173133" y="1553752"/>
                  </a:lnTo>
                  <a:lnTo>
                    <a:pt x="2172565" y="1553403"/>
                  </a:lnTo>
                  <a:lnTo>
                    <a:pt x="2171280" y="1553017"/>
                  </a:lnTo>
                  <a:lnTo>
                    <a:pt x="2170678" y="1552546"/>
                  </a:lnTo>
                  <a:lnTo>
                    <a:pt x="2170131" y="1551855"/>
                  </a:lnTo>
                  <a:lnTo>
                    <a:pt x="2171136" y="1549526"/>
                  </a:lnTo>
                  <a:lnTo>
                    <a:pt x="2171511" y="1548441"/>
                  </a:lnTo>
                  <a:lnTo>
                    <a:pt x="2171821" y="1546622"/>
                  </a:lnTo>
                  <a:lnTo>
                    <a:pt x="2171925" y="1545074"/>
                  </a:lnTo>
                  <a:lnTo>
                    <a:pt x="2171882" y="1542578"/>
                  </a:lnTo>
                  <a:lnTo>
                    <a:pt x="2171949" y="1541423"/>
                  </a:lnTo>
                  <a:lnTo>
                    <a:pt x="2172658" y="1538343"/>
                  </a:lnTo>
                  <a:lnTo>
                    <a:pt x="2173812" y="1535459"/>
                  </a:lnTo>
                  <a:lnTo>
                    <a:pt x="2176352" y="1531112"/>
                  </a:lnTo>
                  <a:lnTo>
                    <a:pt x="2177319" y="1530309"/>
                  </a:lnTo>
                  <a:lnTo>
                    <a:pt x="2179260" y="1530164"/>
                  </a:lnTo>
                  <a:lnTo>
                    <a:pt x="2180249" y="1529711"/>
                  </a:lnTo>
                  <a:lnTo>
                    <a:pt x="2180909" y="1528763"/>
                  </a:lnTo>
                  <a:lnTo>
                    <a:pt x="2182416" y="1524478"/>
                  </a:lnTo>
                  <a:lnTo>
                    <a:pt x="2184008" y="1521726"/>
                  </a:lnTo>
                  <a:close/>
                  <a:moveTo>
                    <a:pt x="3111126" y="1518913"/>
                  </a:moveTo>
                  <a:lnTo>
                    <a:pt x="3112136" y="1519051"/>
                  </a:lnTo>
                  <a:lnTo>
                    <a:pt x="3114826" y="1520532"/>
                  </a:lnTo>
                  <a:lnTo>
                    <a:pt x="3119420" y="1523896"/>
                  </a:lnTo>
                  <a:lnTo>
                    <a:pt x="3122957" y="1527353"/>
                  </a:lnTo>
                  <a:lnTo>
                    <a:pt x="3124863" y="1528461"/>
                  </a:lnTo>
                  <a:lnTo>
                    <a:pt x="3125402" y="1529490"/>
                  </a:lnTo>
                  <a:lnTo>
                    <a:pt x="3125613" y="1531580"/>
                  </a:lnTo>
                  <a:lnTo>
                    <a:pt x="3125419" y="1532676"/>
                  </a:lnTo>
                  <a:lnTo>
                    <a:pt x="3125046" y="1533619"/>
                  </a:lnTo>
                  <a:lnTo>
                    <a:pt x="3124874" y="1534782"/>
                  </a:lnTo>
                  <a:lnTo>
                    <a:pt x="3125657" y="1538412"/>
                  </a:lnTo>
                  <a:lnTo>
                    <a:pt x="3125250" y="1539548"/>
                  </a:lnTo>
                  <a:lnTo>
                    <a:pt x="3124367" y="1540034"/>
                  </a:lnTo>
                  <a:lnTo>
                    <a:pt x="3123331" y="1539978"/>
                  </a:lnTo>
                  <a:lnTo>
                    <a:pt x="3121234" y="1538496"/>
                  </a:lnTo>
                  <a:lnTo>
                    <a:pt x="3119703" y="1536043"/>
                  </a:lnTo>
                  <a:lnTo>
                    <a:pt x="3119388" y="1533789"/>
                  </a:lnTo>
                  <a:lnTo>
                    <a:pt x="3120934" y="1532896"/>
                  </a:lnTo>
                  <a:lnTo>
                    <a:pt x="3120693" y="1532263"/>
                  </a:lnTo>
                  <a:lnTo>
                    <a:pt x="3116778" y="1531200"/>
                  </a:lnTo>
                  <a:lnTo>
                    <a:pt x="3114780" y="1530202"/>
                  </a:lnTo>
                  <a:lnTo>
                    <a:pt x="3112383" y="1527736"/>
                  </a:lnTo>
                  <a:lnTo>
                    <a:pt x="3110735" y="1526024"/>
                  </a:lnTo>
                  <a:lnTo>
                    <a:pt x="3109888" y="1524766"/>
                  </a:lnTo>
                  <a:lnTo>
                    <a:pt x="3109228" y="1522882"/>
                  </a:lnTo>
                  <a:lnTo>
                    <a:pt x="3109080" y="1521437"/>
                  </a:lnTo>
                  <a:lnTo>
                    <a:pt x="3109275" y="1520325"/>
                  </a:lnTo>
                  <a:lnTo>
                    <a:pt x="3109698" y="1519594"/>
                  </a:lnTo>
                  <a:close/>
                  <a:moveTo>
                    <a:pt x="2419685" y="1514824"/>
                  </a:moveTo>
                  <a:lnTo>
                    <a:pt x="2421785" y="1515416"/>
                  </a:lnTo>
                  <a:lnTo>
                    <a:pt x="2423880" y="1517033"/>
                  </a:lnTo>
                  <a:lnTo>
                    <a:pt x="2422889" y="1518162"/>
                  </a:lnTo>
                  <a:lnTo>
                    <a:pt x="2419180" y="1519718"/>
                  </a:lnTo>
                  <a:lnTo>
                    <a:pt x="2417373" y="1521198"/>
                  </a:lnTo>
                  <a:lnTo>
                    <a:pt x="2416724" y="1521405"/>
                  </a:lnTo>
                  <a:lnTo>
                    <a:pt x="2416506" y="1521133"/>
                  </a:lnTo>
                  <a:lnTo>
                    <a:pt x="2415530" y="1519258"/>
                  </a:lnTo>
                  <a:lnTo>
                    <a:pt x="2415636" y="1518650"/>
                  </a:lnTo>
                  <a:lnTo>
                    <a:pt x="2415778" y="1518203"/>
                  </a:lnTo>
                  <a:lnTo>
                    <a:pt x="2415916" y="1517669"/>
                  </a:lnTo>
                  <a:lnTo>
                    <a:pt x="2417689" y="1515489"/>
                  </a:lnTo>
                  <a:close/>
                  <a:moveTo>
                    <a:pt x="2431729" y="1513498"/>
                  </a:moveTo>
                  <a:lnTo>
                    <a:pt x="2432419" y="1514151"/>
                  </a:lnTo>
                  <a:lnTo>
                    <a:pt x="2432088" y="1515015"/>
                  </a:lnTo>
                  <a:lnTo>
                    <a:pt x="2431707" y="1515608"/>
                  </a:lnTo>
                  <a:lnTo>
                    <a:pt x="2430840" y="1516455"/>
                  </a:lnTo>
                  <a:lnTo>
                    <a:pt x="2431394" y="1517199"/>
                  </a:lnTo>
                  <a:lnTo>
                    <a:pt x="2431133" y="1518875"/>
                  </a:lnTo>
                  <a:lnTo>
                    <a:pt x="2430366" y="1520497"/>
                  </a:lnTo>
                  <a:lnTo>
                    <a:pt x="2429411" y="1521057"/>
                  </a:lnTo>
                  <a:lnTo>
                    <a:pt x="2430811" y="1523087"/>
                  </a:lnTo>
                  <a:lnTo>
                    <a:pt x="2431220" y="1524089"/>
                  </a:lnTo>
                  <a:lnTo>
                    <a:pt x="2431342" y="1525439"/>
                  </a:lnTo>
                  <a:lnTo>
                    <a:pt x="2431091" y="1527096"/>
                  </a:lnTo>
                  <a:lnTo>
                    <a:pt x="2430540" y="1528539"/>
                  </a:lnTo>
                  <a:lnTo>
                    <a:pt x="2429123" y="1530699"/>
                  </a:lnTo>
                  <a:lnTo>
                    <a:pt x="2428260" y="1530930"/>
                  </a:lnTo>
                  <a:lnTo>
                    <a:pt x="2426153" y="1529339"/>
                  </a:lnTo>
                  <a:lnTo>
                    <a:pt x="2425142" y="1528933"/>
                  </a:lnTo>
                  <a:lnTo>
                    <a:pt x="2424805" y="1528631"/>
                  </a:lnTo>
                  <a:lnTo>
                    <a:pt x="2423381" y="1526471"/>
                  </a:lnTo>
                  <a:lnTo>
                    <a:pt x="2422761" y="1525832"/>
                  </a:lnTo>
                  <a:lnTo>
                    <a:pt x="2420891" y="1524805"/>
                  </a:lnTo>
                  <a:lnTo>
                    <a:pt x="2420829" y="1524063"/>
                  </a:lnTo>
                  <a:lnTo>
                    <a:pt x="2425367" y="1521072"/>
                  </a:lnTo>
                  <a:lnTo>
                    <a:pt x="2426689" y="1519456"/>
                  </a:lnTo>
                  <a:lnTo>
                    <a:pt x="2427302" y="1519125"/>
                  </a:lnTo>
                  <a:lnTo>
                    <a:pt x="2428662" y="1519586"/>
                  </a:lnTo>
                  <a:lnTo>
                    <a:pt x="2429224" y="1518898"/>
                  </a:lnTo>
                  <a:lnTo>
                    <a:pt x="2429402" y="1517732"/>
                  </a:lnTo>
                  <a:lnTo>
                    <a:pt x="2429382" y="1516458"/>
                  </a:lnTo>
                  <a:lnTo>
                    <a:pt x="2429437" y="1515279"/>
                  </a:lnTo>
                  <a:lnTo>
                    <a:pt x="2429838" y="1514369"/>
                  </a:lnTo>
                  <a:lnTo>
                    <a:pt x="2430519" y="1514254"/>
                  </a:lnTo>
                  <a:lnTo>
                    <a:pt x="2431121" y="1513746"/>
                  </a:lnTo>
                  <a:close/>
                  <a:moveTo>
                    <a:pt x="2206173" y="1513257"/>
                  </a:moveTo>
                  <a:lnTo>
                    <a:pt x="2207885" y="1513664"/>
                  </a:lnTo>
                  <a:lnTo>
                    <a:pt x="2209421" y="1514811"/>
                  </a:lnTo>
                  <a:lnTo>
                    <a:pt x="2210076" y="1516690"/>
                  </a:lnTo>
                  <a:lnTo>
                    <a:pt x="2209766" y="1517192"/>
                  </a:lnTo>
                  <a:lnTo>
                    <a:pt x="2209487" y="1518018"/>
                  </a:lnTo>
                  <a:lnTo>
                    <a:pt x="2209048" y="1519653"/>
                  </a:lnTo>
                  <a:lnTo>
                    <a:pt x="2210143" y="1521364"/>
                  </a:lnTo>
                  <a:lnTo>
                    <a:pt x="2212837" y="1521069"/>
                  </a:lnTo>
                  <a:lnTo>
                    <a:pt x="2213900" y="1522728"/>
                  </a:lnTo>
                  <a:lnTo>
                    <a:pt x="2213025" y="1524831"/>
                  </a:lnTo>
                  <a:lnTo>
                    <a:pt x="2212034" y="1524966"/>
                  </a:lnTo>
                  <a:lnTo>
                    <a:pt x="2211080" y="1523980"/>
                  </a:lnTo>
                  <a:lnTo>
                    <a:pt x="2210304" y="1522702"/>
                  </a:lnTo>
                  <a:lnTo>
                    <a:pt x="2208965" y="1521238"/>
                  </a:lnTo>
                  <a:lnTo>
                    <a:pt x="2206297" y="1521054"/>
                  </a:lnTo>
                  <a:lnTo>
                    <a:pt x="2204914" y="1520359"/>
                  </a:lnTo>
                  <a:lnTo>
                    <a:pt x="2204136" y="1518893"/>
                  </a:lnTo>
                  <a:lnTo>
                    <a:pt x="2203919" y="1516964"/>
                  </a:lnTo>
                  <a:lnTo>
                    <a:pt x="2204216" y="1515040"/>
                  </a:lnTo>
                  <a:lnTo>
                    <a:pt x="2204986" y="1513600"/>
                  </a:lnTo>
                  <a:close/>
                  <a:moveTo>
                    <a:pt x="3067124" y="1505069"/>
                  </a:moveTo>
                  <a:lnTo>
                    <a:pt x="3068384" y="1506610"/>
                  </a:lnTo>
                  <a:lnTo>
                    <a:pt x="3069329" y="1506852"/>
                  </a:lnTo>
                  <a:lnTo>
                    <a:pt x="3070976" y="1507759"/>
                  </a:lnTo>
                  <a:lnTo>
                    <a:pt x="3076916" y="1506670"/>
                  </a:lnTo>
                  <a:lnTo>
                    <a:pt x="3078512" y="1507517"/>
                  </a:lnTo>
                  <a:lnTo>
                    <a:pt x="3080115" y="1510163"/>
                  </a:lnTo>
                  <a:lnTo>
                    <a:pt x="3081688" y="1513089"/>
                  </a:lnTo>
                  <a:lnTo>
                    <a:pt x="3083203" y="1514811"/>
                  </a:lnTo>
                  <a:lnTo>
                    <a:pt x="3084252" y="1516780"/>
                  </a:lnTo>
                  <a:lnTo>
                    <a:pt x="3086094" y="1518265"/>
                  </a:lnTo>
                  <a:lnTo>
                    <a:pt x="3088102" y="1519539"/>
                  </a:lnTo>
                  <a:lnTo>
                    <a:pt x="3090639" y="1521747"/>
                  </a:lnTo>
                  <a:lnTo>
                    <a:pt x="3092462" y="1522575"/>
                  </a:lnTo>
                  <a:lnTo>
                    <a:pt x="3093498" y="1523430"/>
                  </a:lnTo>
                  <a:lnTo>
                    <a:pt x="3094065" y="1524645"/>
                  </a:lnTo>
                  <a:lnTo>
                    <a:pt x="3094138" y="1526050"/>
                  </a:lnTo>
                  <a:lnTo>
                    <a:pt x="3093898" y="1527255"/>
                  </a:lnTo>
                  <a:lnTo>
                    <a:pt x="3093529" y="1527833"/>
                  </a:lnTo>
                  <a:lnTo>
                    <a:pt x="3091519" y="1528261"/>
                  </a:lnTo>
                  <a:lnTo>
                    <a:pt x="3090725" y="1528959"/>
                  </a:lnTo>
                  <a:lnTo>
                    <a:pt x="3090709" y="1530441"/>
                  </a:lnTo>
                  <a:lnTo>
                    <a:pt x="3091313" y="1531629"/>
                  </a:lnTo>
                  <a:lnTo>
                    <a:pt x="3092061" y="1531781"/>
                  </a:lnTo>
                  <a:lnTo>
                    <a:pt x="3093560" y="1531004"/>
                  </a:lnTo>
                  <a:lnTo>
                    <a:pt x="3095084" y="1530282"/>
                  </a:lnTo>
                  <a:lnTo>
                    <a:pt x="3095670" y="1530510"/>
                  </a:lnTo>
                  <a:lnTo>
                    <a:pt x="3095874" y="1531824"/>
                  </a:lnTo>
                  <a:lnTo>
                    <a:pt x="3095634" y="1532839"/>
                  </a:lnTo>
                  <a:lnTo>
                    <a:pt x="3095093" y="1533830"/>
                  </a:lnTo>
                  <a:lnTo>
                    <a:pt x="3094439" y="1534606"/>
                  </a:lnTo>
                  <a:lnTo>
                    <a:pt x="3093841" y="1534935"/>
                  </a:lnTo>
                  <a:lnTo>
                    <a:pt x="3094078" y="1535578"/>
                  </a:lnTo>
                  <a:lnTo>
                    <a:pt x="3094687" y="1535463"/>
                  </a:lnTo>
                  <a:lnTo>
                    <a:pt x="3095709" y="1535539"/>
                  </a:lnTo>
                  <a:lnTo>
                    <a:pt x="3096755" y="1536141"/>
                  </a:lnTo>
                  <a:lnTo>
                    <a:pt x="3097428" y="1537616"/>
                  </a:lnTo>
                  <a:lnTo>
                    <a:pt x="3097320" y="1538517"/>
                  </a:lnTo>
                  <a:lnTo>
                    <a:pt x="3095978" y="1538386"/>
                  </a:lnTo>
                  <a:lnTo>
                    <a:pt x="3095626" y="1539063"/>
                  </a:lnTo>
                  <a:lnTo>
                    <a:pt x="3096840" y="1539325"/>
                  </a:lnTo>
                  <a:lnTo>
                    <a:pt x="3097483" y="1539727"/>
                  </a:lnTo>
                  <a:lnTo>
                    <a:pt x="3098209" y="1540516"/>
                  </a:lnTo>
                  <a:lnTo>
                    <a:pt x="3097075" y="1541082"/>
                  </a:lnTo>
                  <a:lnTo>
                    <a:pt x="3096659" y="1541076"/>
                  </a:lnTo>
                  <a:lnTo>
                    <a:pt x="3095943" y="1540586"/>
                  </a:lnTo>
                  <a:lnTo>
                    <a:pt x="3095287" y="1539885"/>
                  </a:lnTo>
                  <a:lnTo>
                    <a:pt x="3094703" y="1539462"/>
                  </a:lnTo>
                  <a:lnTo>
                    <a:pt x="3091554" y="1541621"/>
                  </a:lnTo>
                  <a:lnTo>
                    <a:pt x="3090705" y="1541627"/>
                  </a:lnTo>
                  <a:lnTo>
                    <a:pt x="3090001" y="1540896"/>
                  </a:lnTo>
                  <a:lnTo>
                    <a:pt x="3089107" y="1538549"/>
                  </a:lnTo>
                  <a:lnTo>
                    <a:pt x="3088155" y="1536979"/>
                  </a:lnTo>
                  <a:lnTo>
                    <a:pt x="3087021" y="1536032"/>
                  </a:lnTo>
                  <a:lnTo>
                    <a:pt x="3076720" y="1533638"/>
                  </a:lnTo>
                  <a:lnTo>
                    <a:pt x="3070270" y="1530173"/>
                  </a:lnTo>
                  <a:lnTo>
                    <a:pt x="3068164" y="1528138"/>
                  </a:lnTo>
                  <a:lnTo>
                    <a:pt x="3067784" y="1525035"/>
                  </a:lnTo>
                  <a:lnTo>
                    <a:pt x="3067550" y="1525117"/>
                  </a:lnTo>
                  <a:lnTo>
                    <a:pt x="3067241" y="1523565"/>
                  </a:lnTo>
                  <a:lnTo>
                    <a:pt x="3066698" y="1522124"/>
                  </a:lnTo>
                  <a:lnTo>
                    <a:pt x="3065406" y="1519142"/>
                  </a:lnTo>
                  <a:lnTo>
                    <a:pt x="3065079" y="1517257"/>
                  </a:lnTo>
                  <a:lnTo>
                    <a:pt x="3066068" y="1512907"/>
                  </a:lnTo>
                  <a:lnTo>
                    <a:pt x="3065952" y="1511715"/>
                  </a:lnTo>
                  <a:lnTo>
                    <a:pt x="3065530" y="1508923"/>
                  </a:lnTo>
                  <a:lnTo>
                    <a:pt x="3065683" y="1508294"/>
                  </a:lnTo>
                  <a:lnTo>
                    <a:pt x="3066112" y="1507325"/>
                  </a:lnTo>
                  <a:lnTo>
                    <a:pt x="3066481" y="1505778"/>
                  </a:lnTo>
                  <a:close/>
                  <a:moveTo>
                    <a:pt x="3090120" y="1503960"/>
                  </a:moveTo>
                  <a:lnTo>
                    <a:pt x="3092098" y="1505082"/>
                  </a:lnTo>
                  <a:lnTo>
                    <a:pt x="3092913" y="1507676"/>
                  </a:lnTo>
                  <a:lnTo>
                    <a:pt x="3093415" y="1508773"/>
                  </a:lnTo>
                  <a:lnTo>
                    <a:pt x="3094600" y="1509250"/>
                  </a:lnTo>
                  <a:lnTo>
                    <a:pt x="3096661" y="1509198"/>
                  </a:lnTo>
                  <a:lnTo>
                    <a:pt x="3097230" y="1509473"/>
                  </a:lnTo>
                  <a:lnTo>
                    <a:pt x="3100089" y="1511849"/>
                  </a:lnTo>
                  <a:lnTo>
                    <a:pt x="3099658" y="1513089"/>
                  </a:lnTo>
                  <a:lnTo>
                    <a:pt x="3090078" y="1515842"/>
                  </a:lnTo>
                  <a:lnTo>
                    <a:pt x="3088683" y="1515608"/>
                  </a:lnTo>
                  <a:lnTo>
                    <a:pt x="3087309" y="1514841"/>
                  </a:lnTo>
                  <a:lnTo>
                    <a:pt x="3086384" y="1513897"/>
                  </a:lnTo>
                  <a:lnTo>
                    <a:pt x="3083719" y="1510650"/>
                  </a:lnTo>
                  <a:lnTo>
                    <a:pt x="3084722" y="1506113"/>
                  </a:lnTo>
                  <a:lnTo>
                    <a:pt x="3085573" y="1504166"/>
                  </a:lnTo>
                  <a:close/>
                  <a:moveTo>
                    <a:pt x="2809930" y="1503283"/>
                  </a:moveTo>
                  <a:lnTo>
                    <a:pt x="2811754" y="1503808"/>
                  </a:lnTo>
                  <a:lnTo>
                    <a:pt x="2812932" y="1507422"/>
                  </a:lnTo>
                  <a:lnTo>
                    <a:pt x="2814103" y="1509934"/>
                  </a:lnTo>
                  <a:lnTo>
                    <a:pt x="2811094" y="1511001"/>
                  </a:lnTo>
                  <a:lnTo>
                    <a:pt x="2806967" y="1510970"/>
                  </a:lnTo>
                  <a:lnTo>
                    <a:pt x="2805492" y="1509606"/>
                  </a:lnTo>
                  <a:lnTo>
                    <a:pt x="2805413" y="1507880"/>
                  </a:lnTo>
                  <a:lnTo>
                    <a:pt x="2801975" y="1508381"/>
                  </a:lnTo>
                  <a:lnTo>
                    <a:pt x="2803100" y="1510583"/>
                  </a:lnTo>
                  <a:lnTo>
                    <a:pt x="2801298" y="1513371"/>
                  </a:lnTo>
                  <a:lnTo>
                    <a:pt x="2798843" y="1511834"/>
                  </a:lnTo>
                  <a:lnTo>
                    <a:pt x="2797289" y="1508742"/>
                  </a:lnTo>
                  <a:lnTo>
                    <a:pt x="2796917" y="1506272"/>
                  </a:lnTo>
                  <a:lnTo>
                    <a:pt x="2798634" y="1503972"/>
                  </a:lnTo>
                  <a:lnTo>
                    <a:pt x="2803450" y="1503432"/>
                  </a:lnTo>
                  <a:lnTo>
                    <a:pt x="2806431" y="1504263"/>
                  </a:lnTo>
                  <a:close/>
                  <a:moveTo>
                    <a:pt x="2859604" y="1489156"/>
                  </a:moveTo>
                  <a:lnTo>
                    <a:pt x="2862410" y="1491477"/>
                  </a:lnTo>
                  <a:lnTo>
                    <a:pt x="2863445" y="1492009"/>
                  </a:lnTo>
                  <a:lnTo>
                    <a:pt x="2865703" y="1492503"/>
                  </a:lnTo>
                  <a:lnTo>
                    <a:pt x="2865605" y="1494561"/>
                  </a:lnTo>
                  <a:lnTo>
                    <a:pt x="2864083" y="1495324"/>
                  </a:lnTo>
                  <a:lnTo>
                    <a:pt x="2861705" y="1494031"/>
                  </a:lnTo>
                  <a:lnTo>
                    <a:pt x="2859927" y="1491289"/>
                  </a:lnTo>
                  <a:close/>
                  <a:moveTo>
                    <a:pt x="2714165" y="1478391"/>
                  </a:moveTo>
                  <a:lnTo>
                    <a:pt x="2725346" y="1479110"/>
                  </a:lnTo>
                  <a:lnTo>
                    <a:pt x="2727198" y="1480223"/>
                  </a:lnTo>
                  <a:lnTo>
                    <a:pt x="2726901" y="1480821"/>
                  </a:lnTo>
                  <a:lnTo>
                    <a:pt x="2726519" y="1481184"/>
                  </a:lnTo>
                  <a:lnTo>
                    <a:pt x="2724953" y="1481452"/>
                  </a:lnTo>
                  <a:lnTo>
                    <a:pt x="2723620" y="1483266"/>
                  </a:lnTo>
                  <a:lnTo>
                    <a:pt x="2722006" y="1483501"/>
                  </a:lnTo>
                  <a:lnTo>
                    <a:pt x="2721327" y="1483938"/>
                  </a:lnTo>
                  <a:lnTo>
                    <a:pt x="2721151" y="1485371"/>
                  </a:lnTo>
                  <a:lnTo>
                    <a:pt x="2722573" y="1486021"/>
                  </a:lnTo>
                  <a:lnTo>
                    <a:pt x="2723281" y="1486688"/>
                  </a:lnTo>
                  <a:lnTo>
                    <a:pt x="2723824" y="1487857"/>
                  </a:lnTo>
                  <a:lnTo>
                    <a:pt x="2722367" y="1488816"/>
                  </a:lnTo>
                  <a:lnTo>
                    <a:pt x="2720530" y="1488639"/>
                  </a:lnTo>
                  <a:lnTo>
                    <a:pt x="2716752" y="1486977"/>
                  </a:lnTo>
                  <a:lnTo>
                    <a:pt x="2715297" y="1486232"/>
                  </a:lnTo>
                  <a:lnTo>
                    <a:pt x="2713763" y="1484922"/>
                  </a:lnTo>
                  <a:lnTo>
                    <a:pt x="2712762" y="1482926"/>
                  </a:lnTo>
                  <a:lnTo>
                    <a:pt x="2712915" y="1480105"/>
                  </a:lnTo>
                  <a:close/>
                  <a:moveTo>
                    <a:pt x="2930456" y="1473624"/>
                  </a:moveTo>
                  <a:lnTo>
                    <a:pt x="2932404" y="1475034"/>
                  </a:lnTo>
                  <a:lnTo>
                    <a:pt x="2935006" y="1478963"/>
                  </a:lnTo>
                  <a:lnTo>
                    <a:pt x="2936808" y="1481321"/>
                  </a:lnTo>
                  <a:lnTo>
                    <a:pt x="2937073" y="1482263"/>
                  </a:lnTo>
                  <a:lnTo>
                    <a:pt x="2936356" y="1482874"/>
                  </a:lnTo>
                  <a:lnTo>
                    <a:pt x="2935651" y="1484029"/>
                  </a:lnTo>
                  <a:lnTo>
                    <a:pt x="2935121" y="1486436"/>
                  </a:lnTo>
                  <a:lnTo>
                    <a:pt x="2934893" y="1489206"/>
                  </a:lnTo>
                  <a:lnTo>
                    <a:pt x="2935121" y="1491421"/>
                  </a:lnTo>
                  <a:lnTo>
                    <a:pt x="2935190" y="1492774"/>
                  </a:lnTo>
                  <a:lnTo>
                    <a:pt x="2934729" y="1493776"/>
                  </a:lnTo>
                  <a:lnTo>
                    <a:pt x="2934066" y="1494118"/>
                  </a:lnTo>
                  <a:lnTo>
                    <a:pt x="2933526" y="1493496"/>
                  </a:lnTo>
                  <a:lnTo>
                    <a:pt x="2932793" y="1492244"/>
                  </a:lnTo>
                  <a:lnTo>
                    <a:pt x="2931889" y="1491953"/>
                  </a:lnTo>
                  <a:lnTo>
                    <a:pt x="2930976" y="1491983"/>
                  </a:lnTo>
                  <a:lnTo>
                    <a:pt x="2930219" y="1491718"/>
                  </a:lnTo>
                  <a:lnTo>
                    <a:pt x="2929973" y="1492886"/>
                  </a:lnTo>
                  <a:lnTo>
                    <a:pt x="2930287" y="1494378"/>
                  </a:lnTo>
                  <a:lnTo>
                    <a:pt x="2931556" y="1497971"/>
                  </a:lnTo>
                  <a:lnTo>
                    <a:pt x="2931356" y="1499023"/>
                  </a:lnTo>
                  <a:lnTo>
                    <a:pt x="2929678" y="1501687"/>
                  </a:lnTo>
                  <a:lnTo>
                    <a:pt x="2929209" y="1502990"/>
                  </a:lnTo>
                  <a:lnTo>
                    <a:pt x="2930727" y="1505998"/>
                  </a:lnTo>
                  <a:lnTo>
                    <a:pt x="2929839" y="1510068"/>
                  </a:lnTo>
                  <a:lnTo>
                    <a:pt x="2927248" y="1516780"/>
                  </a:lnTo>
                  <a:lnTo>
                    <a:pt x="2927423" y="1517771"/>
                  </a:lnTo>
                  <a:lnTo>
                    <a:pt x="2928133" y="1520078"/>
                  </a:lnTo>
                  <a:lnTo>
                    <a:pt x="2928298" y="1521211"/>
                  </a:lnTo>
                  <a:lnTo>
                    <a:pt x="2928052" y="1522525"/>
                  </a:lnTo>
                  <a:lnTo>
                    <a:pt x="2926230" y="1524530"/>
                  </a:lnTo>
                  <a:lnTo>
                    <a:pt x="2926028" y="1525432"/>
                  </a:lnTo>
                  <a:lnTo>
                    <a:pt x="2926028" y="1526266"/>
                  </a:lnTo>
                  <a:lnTo>
                    <a:pt x="2926108" y="1527201"/>
                  </a:lnTo>
                  <a:lnTo>
                    <a:pt x="2926135" y="1528416"/>
                  </a:lnTo>
                  <a:lnTo>
                    <a:pt x="2925807" y="1529594"/>
                  </a:lnTo>
                  <a:lnTo>
                    <a:pt x="2925072" y="1530424"/>
                  </a:lnTo>
                  <a:lnTo>
                    <a:pt x="2922894" y="1531648"/>
                  </a:lnTo>
                  <a:lnTo>
                    <a:pt x="2921957" y="1532984"/>
                  </a:lnTo>
                  <a:lnTo>
                    <a:pt x="2917915" y="1535165"/>
                  </a:lnTo>
                  <a:lnTo>
                    <a:pt x="2915765" y="1536876"/>
                  </a:lnTo>
                  <a:lnTo>
                    <a:pt x="2915303" y="1537817"/>
                  </a:lnTo>
                  <a:lnTo>
                    <a:pt x="2914246" y="1541220"/>
                  </a:lnTo>
                  <a:lnTo>
                    <a:pt x="2913788" y="1541771"/>
                  </a:lnTo>
                  <a:lnTo>
                    <a:pt x="2912230" y="1542094"/>
                  </a:lnTo>
                  <a:lnTo>
                    <a:pt x="2911381" y="1541965"/>
                  </a:lnTo>
                  <a:lnTo>
                    <a:pt x="2908682" y="1540778"/>
                  </a:lnTo>
                  <a:lnTo>
                    <a:pt x="2906995" y="1540599"/>
                  </a:lnTo>
                  <a:lnTo>
                    <a:pt x="2906426" y="1540219"/>
                  </a:lnTo>
                  <a:lnTo>
                    <a:pt x="2905969" y="1539101"/>
                  </a:lnTo>
                  <a:lnTo>
                    <a:pt x="2905679" y="1537755"/>
                  </a:lnTo>
                  <a:lnTo>
                    <a:pt x="2905600" y="1536688"/>
                  </a:lnTo>
                  <a:lnTo>
                    <a:pt x="2905424" y="1535537"/>
                  </a:lnTo>
                  <a:lnTo>
                    <a:pt x="2904846" y="1535007"/>
                  </a:lnTo>
                  <a:lnTo>
                    <a:pt x="2904117" y="1534580"/>
                  </a:lnTo>
                  <a:lnTo>
                    <a:pt x="2903491" y="1533762"/>
                  </a:lnTo>
                  <a:lnTo>
                    <a:pt x="2905110" y="1531695"/>
                  </a:lnTo>
                  <a:lnTo>
                    <a:pt x="2905862" y="1528269"/>
                  </a:lnTo>
                  <a:lnTo>
                    <a:pt x="2906206" y="1517707"/>
                  </a:lnTo>
                  <a:lnTo>
                    <a:pt x="2906433" y="1516136"/>
                  </a:lnTo>
                  <a:lnTo>
                    <a:pt x="2906914" y="1514913"/>
                  </a:lnTo>
                  <a:lnTo>
                    <a:pt x="2907754" y="1513883"/>
                  </a:lnTo>
                  <a:lnTo>
                    <a:pt x="2908296" y="1513516"/>
                  </a:lnTo>
                  <a:lnTo>
                    <a:pt x="2909821" y="1513292"/>
                  </a:lnTo>
                  <a:lnTo>
                    <a:pt x="2910541" y="1512850"/>
                  </a:lnTo>
                  <a:lnTo>
                    <a:pt x="2911640" y="1511457"/>
                  </a:lnTo>
                  <a:lnTo>
                    <a:pt x="2912319" y="1511021"/>
                  </a:lnTo>
                  <a:lnTo>
                    <a:pt x="2914844" y="1510502"/>
                  </a:lnTo>
                  <a:lnTo>
                    <a:pt x="2915380" y="1509722"/>
                  </a:lnTo>
                  <a:lnTo>
                    <a:pt x="2916034" y="1507228"/>
                  </a:lnTo>
                  <a:lnTo>
                    <a:pt x="2916338" y="1506557"/>
                  </a:lnTo>
                  <a:lnTo>
                    <a:pt x="2917372" y="1505340"/>
                  </a:lnTo>
                  <a:lnTo>
                    <a:pt x="2917671" y="1504596"/>
                  </a:lnTo>
                  <a:lnTo>
                    <a:pt x="2917632" y="1503274"/>
                  </a:lnTo>
                  <a:lnTo>
                    <a:pt x="2917327" y="1502034"/>
                  </a:lnTo>
                  <a:lnTo>
                    <a:pt x="2916570" y="1500139"/>
                  </a:lnTo>
                  <a:lnTo>
                    <a:pt x="2916351" y="1498985"/>
                  </a:lnTo>
                  <a:lnTo>
                    <a:pt x="2916491" y="1497333"/>
                  </a:lnTo>
                  <a:lnTo>
                    <a:pt x="2917934" y="1492240"/>
                  </a:lnTo>
                  <a:lnTo>
                    <a:pt x="2918909" y="1490416"/>
                  </a:lnTo>
                  <a:lnTo>
                    <a:pt x="2921841" y="1490917"/>
                  </a:lnTo>
                  <a:lnTo>
                    <a:pt x="2923028" y="1489969"/>
                  </a:lnTo>
                  <a:lnTo>
                    <a:pt x="2921534" y="1488407"/>
                  </a:lnTo>
                  <a:lnTo>
                    <a:pt x="2918456" y="1486727"/>
                  </a:lnTo>
                  <a:lnTo>
                    <a:pt x="2917029" y="1484659"/>
                  </a:lnTo>
                  <a:lnTo>
                    <a:pt x="2916973" y="1483323"/>
                  </a:lnTo>
                  <a:lnTo>
                    <a:pt x="2917282" y="1482722"/>
                  </a:lnTo>
                  <a:lnTo>
                    <a:pt x="2918440" y="1481983"/>
                  </a:lnTo>
                  <a:lnTo>
                    <a:pt x="2918943" y="1481191"/>
                  </a:lnTo>
                  <a:lnTo>
                    <a:pt x="2920073" y="1478327"/>
                  </a:lnTo>
                  <a:lnTo>
                    <a:pt x="2920754" y="1477667"/>
                  </a:lnTo>
                  <a:lnTo>
                    <a:pt x="2922891" y="1476710"/>
                  </a:lnTo>
                  <a:lnTo>
                    <a:pt x="2924255" y="1474941"/>
                  </a:lnTo>
                  <a:lnTo>
                    <a:pt x="2924963" y="1474535"/>
                  </a:lnTo>
                  <a:lnTo>
                    <a:pt x="2926808" y="1474741"/>
                  </a:lnTo>
                  <a:close/>
                  <a:moveTo>
                    <a:pt x="2758712" y="1469349"/>
                  </a:moveTo>
                  <a:lnTo>
                    <a:pt x="2764792" y="1471930"/>
                  </a:lnTo>
                  <a:lnTo>
                    <a:pt x="2766008" y="1474745"/>
                  </a:lnTo>
                  <a:lnTo>
                    <a:pt x="2764041" y="1477393"/>
                  </a:lnTo>
                  <a:lnTo>
                    <a:pt x="2758560" y="1476615"/>
                  </a:lnTo>
                  <a:lnTo>
                    <a:pt x="2753633" y="1475442"/>
                  </a:lnTo>
                  <a:lnTo>
                    <a:pt x="2751893" y="1474435"/>
                  </a:lnTo>
                  <a:lnTo>
                    <a:pt x="2751967" y="1472850"/>
                  </a:lnTo>
                  <a:lnTo>
                    <a:pt x="2755139" y="1470813"/>
                  </a:lnTo>
                  <a:close/>
                  <a:moveTo>
                    <a:pt x="2081797" y="1469186"/>
                  </a:moveTo>
                  <a:lnTo>
                    <a:pt x="2083045" y="1469327"/>
                  </a:lnTo>
                  <a:lnTo>
                    <a:pt x="2084203" y="1469994"/>
                  </a:lnTo>
                  <a:lnTo>
                    <a:pt x="2084827" y="1471213"/>
                  </a:lnTo>
                  <a:lnTo>
                    <a:pt x="2084436" y="1471730"/>
                  </a:lnTo>
                  <a:lnTo>
                    <a:pt x="2083982" y="1472483"/>
                  </a:lnTo>
                  <a:lnTo>
                    <a:pt x="2083584" y="1473338"/>
                  </a:lnTo>
                  <a:lnTo>
                    <a:pt x="2083352" y="1474166"/>
                  </a:lnTo>
                  <a:lnTo>
                    <a:pt x="2083362" y="1475285"/>
                  </a:lnTo>
                  <a:lnTo>
                    <a:pt x="2083576" y="1476004"/>
                  </a:lnTo>
                  <a:lnTo>
                    <a:pt x="2083696" y="1476544"/>
                  </a:lnTo>
                  <a:lnTo>
                    <a:pt x="2083411" y="1477152"/>
                  </a:lnTo>
                  <a:lnTo>
                    <a:pt x="2082477" y="1477186"/>
                  </a:lnTo>
                  <a:lnTo>
                    <a:pt x="2081513" y="1475781"/>
                  </a:lnTo>
                  <a:lnTo>
                    <a:pt x="2079909" y="1472466"/>
                  </a:lnTo>
                  <a:lnTo>
                    <a:pt x="2080365" y="1472140"/>
                  </a:lnTo>
                  <a:lnTo>
                    <a:pt x="2080751" y="1471592"/>
                  </a:lnTo>
                  <a:lnTo>
                    <a:pt x="2080958" y="1470753"/>
                  </a:lnTo>
                  <a:lnTo>
                    <a:pt x="2080881" y="1469550"/>
                  </a:lnTo>
                  <a:close/>
                  <a:moveTo>
                    <a:pt x="2587744" y="1464736"/>
                  </a:moveTo>
                  <a:lnTo>
                    <a:pt x="2589482" y="1465518"/>
                  </a:lnTo>
                  <a:lnTo>
                    <a:pt x="2592659" y="1468466"/>
                  </a:lnTo>
                  <a:lnTo>
                    <a:pt x="2600438" y="1470319"/>
                  </a:lnTo>
                  <a:lnTo>
                    <a:pt x="2605520" y="1466362"/>
                  </a:lnTo>
                  <a:lnTo>
                    <a:pt x="2607616" y="1466912"/>
                  </a:lnTo>
                  <a:lnTo>
                    <a:pt x="2608273" y="1467577"/>
                  </a:lnTo>
                  <a:lnTo>
                    <a:pt x="2609984" y="1470286"/>
                  </a:lnTo>
                  <a:lnTo>
                    <a:pt x="2611238" y="1471891"/>
                  </a:lnTo>
                  <a:lnTo>
                    <a:pt x="2611894" y="1472953"/>
                  </a:lnTo>
                  <a:lnTo>
                    <a:pt x="2612498" y="1474471"/>
                  </a:lnTo>
                  <a:lnTo>
                    <a:pt x="2612496" y="1475550"/>
                  </a:lnTo>
                  <a:lnTo>
                    <a:pt x="2613009" y="1476086"/>
                  </a:lnTo>
                  <a:lnTo>
                    <a:pt x="2614402" y="1476414"/>
                  </a:lnTo>
                  <a:lnTo>
                    <a:pt x="2614170" y="1478878"/>
                  </a:lnTo>
                  <a:lnTo>
                    <a:pt x="2613372" y="1479989"/>
                  </a:lnTo>
                  <a:lnTo>
                    <a:pt x="2603543" y="1483194"/>
                  </a:lnTo>
                  <a:lnTo>
                    <a:pt x="2598014" y="1481861"/>
                  </a:lnTo>
                  <a:lnTo>
                    <a:pt x="2595264" y="1479828"/>
                  </a:lnTo>
                  <a:lnTo>
                    <a:pt x="2594286" y="1479680"/>
                  </a:lnTo>
                  <a:lnTo>
                    <a:pt x="2592717" y="1482176"/>
                  </a:lnTo>
                  <a:lnTo>
                    <a:pt x="2591876" y="1483024"/>
                  </a:lnTo>
                  <a:lnTo>
                    <a:pt x="2590474" y="1482751"/>
                  </a:lnTo>
                  <a:lnTo>
                    <a:pt x="2587608" y="1480486"/>
                  </a:lnTo>
                  <a:lnTo>
                    <a:pt x="2585107" y="1479912"/>
                  </a:lnTo>
                  <a:lnTo>
                    <a:pt x="2584481" y="1479563"/>
                  </a:lnTo>
                  <a:lnTo>
                    <a:pt x="2583986" y="1478965"/>
                  </a:lnTo>
                  <a:lnTo>
                    <a:pt x="2583807" y="1478293"/>
                  </a:lnTo>
                  <a:lnTo>
                    <a:pt x="2583573" y="1476391"/>
                  </a:lnTo>
                  <a:lnTo>
                    <a:pt x="2583348" y="1475636"/>
                  </a:lnTo>
                  <a:lnTo>
                    <a:pt x="2582260" y="1474465"/>
                  </a:lnTo>
                  <a:lnTo>
                    <a:pt x="2579865" y="1473463"/>
                  </a:lnTo>
                  <a:lnTo>
                    <a:pt x="2579040" y="1472125"/>
                  </a:lnTo>
                  <a:lnTo>
                    <a:pt x="2579919" y="1471222"/>
                  </a:lnTo>
                  <a:lnTo>
                    <a:pt x="2581162" y="1470479"/>
                  </a:lnTo>
                  <a:lnTo>
                    <a:pt x="2582452" y="1470222"/>
                  </a:lnTo>
                  <a:lnTo>
                    <a:pt x="2583466" y="1470705"/>
                  </a:lnTo>
                  <a:lnTo>
                    <a:pt x="2585780" y="1470558"/>
                  </a:lnTo>
                  <a:lnTo>
                    <a:pt x="2589021" y="1468338"/>
                  </a:lnTo>
                  <a:lnTo>
                    <a:pt x="2587539" y="1467203"/>
                  </a:lnTo>
                  <a:lnTo>
                    <a:pt x="2587034" y="1467146"/>
                  </a:lnTo>
                  <a:close/>
                  <a:moveTo>
                    <a:pt x="2987499" y="1451346"/>
                  </a:moveTo>
                  <a:lnTo>
                    <a:pt x="2988883" y="1452516"/>
                  </a:lnTo>
                  <a:lnTo>
                    <a:pt x="2990974" y="1454009"/>
                  </a:lnTo>
                  <a:lnTo>
                    <a:pt x="2991496" y="1454867"/>
                  </a:lnTo>
                  <a:lnTo>
                    <a:pt x="2991833" y="1456143"/>
                  </a:lnTo>
                  <a:lnTo>
                    <a:pt x="2992055" y="1457264"/>
                  </a:lnTo>
                  <a:lnTo>
                    <a:pt x="2992384" y="1458336"/>
                  </a:lnTo>
                  <a:lnTo>
                    <a:pt x="2993038" y="1459427"/>
                  </a:lnTo>
                  <a:lnTo>
                    <a:pt x="2992372" y="1460592"/>
                  </a:lnTo>
                  <a:lnTo>
                    <a:pt x="2992400" y="1461422"/>
                  </a:lnTo>
                  <a:lnTo>
                    <a:pt x="2992999" y="1462657"/>
                  </a:lnTo>
                  <a:lnTo>
                    <a:pt x="2992014" y="1463557"/>
                  </a:lnTo>
                  <a:lnTo>
                    <a:pt x="2990688" y="1466707"/>
                  </a:lnTo>
                  <a:lnTo>
                    <a:pt x="2989818" y="1467633"/>
                  </a:lnTo>
                  <a:lnTo>
                    <a:pt x="2989273" y="1468556"/>
                  </a:lnTo>
                  <a:lnTo>
                    <a:pt x="2988669" y="1472037"/>
                  </a:lnTo>
                  <a:lnTo>
                    <a:pt x="2987982" y="1473009"/>
                  </a:lnTo>
                  <a:lnTo>
                    <a:pt x="2987206" y="1473626"/>
                  </a:lnTo>
                  <a:lnTo>
                    <a:pt x="2986717" y="1474847"/>
                  </a:lnTo>
                  <a:lnTo>
                    <a:pt x="2986741" y="1476546"/>
                  </a:lnTo>
                  <a:lnTo>
                    <a:pt x="2987482" y="1478597"/>
                  </a:lnTo>
                  <a:lnTo>
                    <a:pt x="2988657" y="1480138"/>
                  </a:lnTo>
                  <a:lnTo>
                    <a:pt x="2989682" y="1480530"/>
                  </a:lnTo>
                  <a:lnTo>
                    <a:pt x="2990655" y="1480597"/>
                  </a:lnTo>
                  <a:lnTo>
                    <a:pt x="2991676" y="1481153"/>
                  </a:lnTo>
                  <a:lnTo>
                    <a:pt x="2991474" y="1482281"/>
                  </a:lnTo>
                  <a:lnTo>
                    <a:pt x="2991182" y="1483246"/>
                  </a:lnTo>
                  <a:lnTo>
                    <a:pt x="2990354" y="1484722"/>
                  </a:lnTo>
                  <a:lnTo>
                    <a:pt x="2991261" y="1485713"/>
                  </a:lnTo>
                  <a:lnTo>
                    <a:pt x="2991583" y="1485894"/>
                  </a:lnTo>
                  <a:lnTo>
                    <a:pt x="2991839" y="1486666"/>
                  </a:lnTo>
                  <a:lnTo>
                    <a:pt x="2990543" y="1486442"/>
                  </a:lnTo>
                  <a:lnTo>
                    <a:pt x="2989846" y="1486009"/>
                  </a:lnTo>
                  <a:lnTo>
                    <a:pt x="2989073" y="1485137"/>
                  </a:lnTo>
                  <a:lnTo>
                    <a:pt x="2988627" y="1483631"/>
                  </a:lnTo>
                  <a:lnTo>
                    <a:pt x="2987143" y="1483644"/>
                  </a:lnTo>
                  <a:lnTo>
                    <a:pt x="2984343" y="1485174"/>
                  </a:lnTo>
                  <a:lnTo>
                    <a:pt x="2982652" y="1487848"/>
                  </a:lnTo>
                  <a:lnTo>
                    <a:pt x="2981913" y="1488422"/>
                  </a:lnTo>
                  <a:lnTo>
                    <a:pt x="2976997" y="1486715"/>
                  </a:lnTo>
                  <a:lnTo>
                    <a:pt x="2973824" y="1483794"/>
                  </a:lnTo>
                  <a:lnTo>
                    <a:pt x="2970599" y="1479816"/>
                  </a:lnTo>
                  <a:lnTo>
                    <a:pt x="2968437" y="1475691"/>
                  </a:lnTo>
                  <a:lnTo>
                    <a:pt x="2968081" y="1473803"/>
                  </a:lnTo>
                  <a:lnTo>
                    <a:pt x="2968296" y="1470684"/>
                  </a:lnTo>
                  <a:lnTo>
                    <a:pt x="2968184" y="1469040"/>
                  </a:lnTo>
                  <a:lnTo>
                    <a:pt x="2967537" y="1466912"/>
                  </a:lnTo>
                  <a:lnTo>
                    <a:pt x="2966717" y="1465324"/>
                  </a:lnTo>
                  <a:lnTo>
                    <a:pt x="2965898" y="1463984"/>
                  </a:lnTo>
                  <a:lnTo>
                    <a:pt x="2965251" y="1462571"/>
                  </a:lnTo>
                  <a:lnTo>
                    <a:pt x="2965558" y="1459347"/>
                  </a:lnTo>
                  <a:lnTo>
                    <a:pt x="2967740" y="1456580"/>
                  </a:lnTo>
                  <a:lnTo>
                    <a:pt x="2972272" y="1453634"/>
                  </a:lnTo>
                  <a:lnTo>
                    <a:pt x="2973943" y="1455078"/>
                  </a:lnTo>
                  <a:lnTo>
                    <a:pt x="2975641" y="1455820"/>
                  </a:lnTo>
                  <a:lnTo>
                    <a:pt x="2978653" y="1456211"/>
                  </a:lnTo>
                  <a:lnTo>
                    <a:pt x="2985637" y="1453937"/>
                  </a:lnTo>
                  <a:lnTo>
                    <a:pt x="2986430" y="1453059"/>
                  </a:lnTo>
                  <a:lnTo>
                    <a:pt x="2986868" y="1451862"/>
                  </a:lnTo>
                  <a:close/>
                  <a:moveTo>
                    <a:pt x="2873604" y="1442300"/>
                  </a:moveTo>
                  <a:lnTo>
                    <a:pt x="2875850" y="1442432"/>
                  </a:lnTo>
                  <a:lnTo>
                    <a:pt x="2878211" y="1444274"/>
                  </a:lnTo>
                  <a:lnTo>
                    <a:pt x="2879030" y="1448114"/>
                  </a:lnTo>
                  <a:lnTo>
                    <a:pt x="2880093" y="1447967"/>
                  </a:lnTo>
                  <a:lnTo>
                    <a:pt x="2881024" y="1448281"/>
                  </a:lnTo>
                  <a:lnTo>
                    <a:pt x="2882022" y="1449171"/>
                  </a:lnTo>
                  <a:lnTo>
                    <a:pt x="2883298" y="1450787"/>
                  </a:lnTo>
                  <a:lnTo>
                    <a:pt x="2882962" y="1452503"/>
                  </a:lnTo>
                  <a:lnTo>
                    <a:pt x="2878087" y="1460839"/>
                  </a:lnTo>
                  <a:lnTo>
                    <a:pt x="2875564" y="1463051"/>
                  </a:lnTo>
                  <a:lnTo>
                    <a:pt x="2866940" y="1466249"/>
                  </a:lnTo>
                  <a:lnTo>
                    <a:pt x="2865619" y="1467398"/>
                  </a:lnTo>
                  <a:lnTo>
                    <a:pt x="2864842" y="1467721"/>
                  </a:lnTo>
                  <a:lnTo>
                    <a:pt x="2864019" y="1467435"/>
                  </a:lnTo>
                  <a:lnTo>
                    <a:pt x="2862445" y="1465488"/>
                  </a:lnTo>
                  <a:lnTo>
                    <a:pt x="2862063" y="1465260"/>
                  </a:lnTo>
                  <a:lnTo>
                    <a:pt x="2859718" y="1464406"/>
                  </a:lnTo>
                  <a:lnTo>
                    <a:pt x="2858591" y="1464407"/>
                  </a:lnTo>
                  <a:lnTo>
                    <a:pt x="2858057" y="1465923"/>
                  </a:lnTo>
                  <a:lnTo>
                    <a:pt x="2859152" y="1467642"/>
                  </a:lnTo>
                  <a:lnTo>
                    <a:pt x="2864431" y="1473584"/>
                  </a:lnTo>
                  <a:lnTo>
                    <a:pt x="2866173" y="1475035"/>
                  </a:lnTo>
                  <a:lnTo>
                    <a:pt x="2866100" y="1478471"/>
                  </a:lnTo>
                  <a:lnTo>
                    <a:pt x="2864960" y="1479517"/>
                  </a:lnTo>
                  <a:lnTo>
                    <a:pt x="2860899" y="1479204"/>
                  </a:lnTo>
                  <a:lnTo>
                    <a:pt x="2858599" y="1478246"/>
                  </a:lnTo>
                  <a:lnTo>
                    <a:pt x="2856018" y="1478185"/>
                  </a:lnTo>
                  <a:lnTo>
                    <a:pt x="2855232" y="1477540"/>
                  </a:lnTo>
                  <a:lnTo>
                    <a:pt x="2854461" y="1475801"/>
                  </a:lnTo>
                  <a:lnTo>
                    <a:pt x="2854180" y="1473558"/>
                  </a:lnTo>
                  <a:lnTo>
                    <a:pt x="2854106" y="1471063"/>
                  </a:lnTo>
                  <a:lnTo>
                    <a:pt x="2853717" y="1469143"/>
                  </a:lnTo>
                  <a:lnTo>
                    <a:pt x="2852483" y="1468618"/>
                  </a:lnTo>
                  <a:lnTo>
                    <a:pt x="2851960" y="1470000"/>
                  </a:lnTo>
                  <a:lnTo>
                    <a:pt x="2851635" y="1475479"/>
                  </a:lnTo>
                  <a:lnTo>
                    <a:pt x="2850922" y="1476745"/>
                  </a:lnTo>
                  <a:lnTo>
                    <a:pt x="2850419" y="1475100"/>
                  </a:lnTo>
                  <a:lnTo>
                    <a:pt x="2849823" y="1473383"/>
                  </a:lnTo>
                  <a:lnTo>
                    <a:pt x="2849191" y="1471859"/>
                  </a:lnTo>
                  <a:lnTo>
                    <a:pt x="2848615" y="1470808"/>
                  </a:lnTo>
                  <a:lnTo>
                    <a:pt x="2848029" y="1470288"/>
                  </a:lnTo>
                  <a:lnTo>
                    <a:pt x="2846451" y="1470224"/>
                  </a:lnTo>
                  <a:lnTo>
                    <a:pt x="2845863" y="1469815"/>
                  </a:lnTo>
                  <a:lnTo>
                    <a:pt x="2844592" y="1468410"/>
                  </a:lnTo>
                  <a:lnTo>
                    <a:pt x="2841813" y="1466791"/>
                  </a:lnTo>
                  <a:lnTo>
                    <a:pt x="2839268" y="1466862"/>
                  </a:lnTo>
                  <a:lnTo>
                    <a:pt x="2832130" y="1469272"/>
                  </a:lnTo>
                  <a:lnTo>
                    <a:pt x="2830551" y="1468827"/>
                  </a:lnTo>
                  <a:lnTo>
                    <a:pt x="2829428" y="1466975"/>
                  </a:lnTo>
                  <a:lnTo>
                    <a:pt x="2829529" y="1465806"/>
                  </a:lnTo>
                  <a:lnTo>
                    <a:pt x="2830893" y="1463509"/>
                  </a:lnTo>
                  <a:lnTo>
                    <a:pt x="2831251" y="1462233"/>
                  </a:lnTo>
                  <a:lnTo>
                    <a:pt x="2831194" y="1461403"/>
                  </a:lnTo>
                  <a:lnTo>
                    <a:pt x="2831076" y="1460755"/>
                  </a:lnTo>
                  <a:lnTo>
                    <a:pt x="2831033" y="1460178"/>
                  </a:lnTo>
                  <a:lnTo>
                    <a:pt x="2831200" y="1459584"/>
                  </a:lnTo>
                  <a:lnTo>
                    <a:pt x="2833889" y="1459583"/>
                  </a:lnTo>
                  <a:lnTo>
                    <a:pt x="2836756" y="1461221"/>
                  </a:lnTo>
                  <a:lnTo>
                    <a:pt x="2838673" y="1460847"/>
                  </a:lnTo>
                  <a:lnTo>
                    <a:pt x="2839428" y="1461218"/>
                  </a:lnTo>
                  <a:lnTo>
                    <a:pt x="2839639" y="1460570"/>
                  </a:lnTo>
                  <a:lnTo>
                    <a:pt x="2840208" y="1460434"/>
                  </a:lnTo>
                  <a:lnTo>
                    <a:pt x="2840937" y="1460756"/>
                  </a:lnTo>
                  <a:lnTo>
                    <a:pt x="2841638" y="1461476"/>
                  </a:lnTo>
                  <a:lnTo>
                    <a:pt x="2841985" y="1462180"/>
                  </a:lnTo>
                  <a:lnTo>
                    <a:pt x="2842636" y="1464001"/>
                  </a:lnTo>
                  <a:lnTo>
                    <a:pt x="2843093" y="1464873"/>
                  </a:lnTo>
                  <a:lnTo>
                    <a:pt x="2844409" y="1466023"/>
                  </a:lnTo>
                  <a:lnTo>
                    <a:pt x="2845183" y="1465607"/>
                  </a:lnTo>
                  <a:lnTo>
                    <a:pt x="2845009" y="1464224"/>
                  </a:lnTo>
                  <a:lnTo>
                    <a:pt x="2843486" y="1462463"/>
                  </a:lnTo>
                  <a:lnTo>
                    <a:pt x="2843780" y="1461820"/>
                  </a:lnTo>
                  <a:lnTo>
                    <a:pt x="2844579" y="1461236"/>
                  </a:lnTo>
                  <a:lnTo>
                    <a:pt x="2844879" y="1460619"/>
                  </a:lnTo>
                  <a:lnTo>
                    <a:pt x="2843666" y="1460696"/>
                  </a:lnTo>
                  <a:lnTo>
                    <a:pt x="2842446" y="1460294"/>
                  </a:lnTo>
                  <a:lnTo>
                    <a:pt x="2841204" y="1459400"/>
                  </a:lnTo>
                  <a:lnTo>
                    <a:pt x="2839915" y="1458003"/>
                  </a:lnTo>
                  <a:lnTo>
                    <a:pt x="2839162" y="1456893"/>
                  </a:lnTo>
                  <a:lnTo>
                    <a:pt x="2838458" y="1455452"/>
                  </a:lnTo>
                  <a:lnTo>
                    <a:pt x="2838250" y="1454198"/>
                  </a:lnTo>
                  <a:lnTo>
                    <a:pt x="2838973" y="1453631"/>
                  </a:lnTo>
                  <a:lnTo>
                    <a:pt x="2839837" y="1452319"/>
                  </a:lnTo>
                  <a:lnTo>
                    <a:pt x="2841113" y="1451761"/>
                  </a:lnTo>
                  <a:lnTo>
                    <a:pt x="2843768" y="1451589"/>
                  </a:lnTo>
                  <a:lnTo>
                    <a:pt x="2844375" y="1453142"/>
                  </a:lnTo>
                  <a:lnTo>
                    <a:pt x="2845474" y="1452385"/>
                  </a:lnTo>
                  <a:lnTo>
                    <a:pt x="2847545" y="1449813"/>
                  </a:lnTo>
                  <a:lnTo>
                    <a:pt x="2848589" y="1449952"/>
                  </a:lnTo>
                  <a:lnTo>
                    <a:pt x="2850212" y="1450647"/>
                  </a:lnTo>
                  <a:lnTo>
                    <a:pt x="2851821" y="1451838"/>
                  </a:lnTo>
                  <a:lnTo>
                    <a:pt x="2852821" y="1453446"/>
                  </a:lnTo>
                  <a:lnTo>
                    <a:pt x="2852822" y="1454191"/>
                  </a:lnTo>
                  <a:lnTo>
                    <a:pt x="2852344" y="1455713"/>
                  </a:lnTo>
                  <a:lnTo>
                    <a:pt x="2852396" y="1456647"/>
                  </a:lnTo>
                  <a:lnTo>
                    <a:pt x="2852870" y="1457541"/>
                  </a:lnTo>
                  <a:lnTo>
                    <a:pt x="2853260" y="1457164"/>
                  </a:lnTo>
                  <a:lnTo>
                    <a:pt x="2854537" y="1453756"/>
                  </a:lnTo>
                  <a:lnTo>
                    <a:pt x="2855059" y="1453453"/>
                  </a:lnTo>
                  <a:lnTo>
                    <a:pt x="2859081" y="1455040"/>
                  </a:lnTo>
                  <a:lnTo>
                    <a:pt x="2862574" y="1452327"/>
                  </a:lnTo>
                  <a:lnTo>
                    <a:pt x="2863369" y="1450506"/>
                  </a:lnTo>
                  <a:lnTo>
                    <a:pt x="2863946" y="1449998"/>
                  </a:lnTo>
                  <a:lnTo>
                    <a:pt x="2865233" y="1450501"/>
                  </a:lnTo>
                  <a:lnTo>
                    <a:pt x="2865898" y="1450543"/>
                  </a:lnTo>
                  <a:lnTo>
                    <a:pt x="2866189" y="1449799"/>
                  </a:lnTo>
                  <a:lnTo>
                    <a:pt x="2866109" y="1449365"/>
                  </a:lnTo>
                  <a:lnTo>
                    <a:pt x="2865670" y="1448260"/>
                  </a:lnTo>
                  <a:lnTo>
                    <a:pt x="2865458" y="1447646"/>
                  </a:lnTo>
                  <a:lnTo>
                    <a:pt x="2865338" y="1446969"/>
                  </a:lnTo>
                  <a:lnTo>
                    <a:pt x="2865419" y="1446634"/>
                  </a:lnTo>
                  <a:lnTo>
                    <a:pt x="2865569" y="1446403"/>
                  </a:lnTo>
                  <a:lnTo>
                    <a:pt x="2865657" y="1446043"/>
                  </a:lnTo>
                  <a:lnTo>
                    <a:pt x="2865825" y="1445793"/>
                  </a:lnTo>
                  <a:lnTo>
                    <a:pt x="2866623" y="1445559"/>
                  </a:lnTo>
                  <a:lnTo>
                    <a:pt x="2866928" y="1445304"/>
                  </a:lnTo>
                  <a:lnTo>
                    <a:pt x="2866973" y="1444794"/>
                  </a:lnTo>
                  <a:lnTo>
                    <a:pt x="2866723" y="1443429"/>
                  </a:lnTo>
                  <a:lnTo>
                    <a:pt x="2866770" y="1442960"/>
                  </a:lnTo>
                  <a:lnTo>
                    <a:pt x="2867375" y="1442598"/>
                  </a:lnTo>
                  <a:lnTo>
                    <a:pt x="2873119" y="1443581"/>
                  </a:lnTo>
                  <a:close/>
                  <a:moveTo>
                    <a:pt x="3563839" y="1441288"/>
                  </a:moveTo>
                  <a:lnTo>
                    <a:pt x="3568711" y="1442155"/>
                  </a:lnTo>
                  <a:lnTo>
                    <a:pt x="3570510" y="1443077"/>
                  </a:lnTo>
                  <a:lnTo>
                    <a:pt x="3569911" y="1446090"/>
                  </a:lnTo>
                  <a:lnTo>
                    <a:pt x="3568331" y="1447663"/>
                  </a:lnTo>
                  <a:lnTo>
                    <a:pt x="3556843" y="1453625"/>
                  </a:lnTo>
                  <a:lnTo>
                    <a:pt x="3553781" y="1453599"/>
                  </a:lnTo>
                  <a:lnTo>
                    <a:pt x="3553999" y="1453086"/>
                  </a:lnTo>
                  <a:lnTo>
                    <a:pt x="3554513" y="1450692"/>
                  </a:lnTo>
                  <a:lnTo>
                    <a:pt x="3555123" y="1449135"/>
                  </a:lnTo>
                  <a:lnTo>
                    <a:pt x="3555920" y="1445131"/>
                  </a:lnTo>
                  <a:lnTo>
                    <a:pt x="3556323" y="1444317"/>
                  </a:lnTo>
                  <a:lnTo>
                    <a:pt x="3557403" y="1443100"/>
                  </a:lnTo>
                  <a:lnTo>
                    <a:pt x="3558564" y="1442561"/>
                  </a:lnTo>
                  <a:lnTo>
                    <a:pt x="3559860" y="1443484"/>
                  </a:lnTo>
                  <a:lnTo>
                    <a:pt x="3561324" y="1446624"/>
                  </a:lnTo>
                  <a:lnTo>
                    <a:pt x="3562585" y="1445585"/>
                  </a:lnTo>
                  <a:lnTo>
                    <a:pt x="3562988" y="1444817"/>
                  </a:lnTo>
                  <a:lnTo>
                    <a:pt x="3563272" y="1443749"/>
                  </a:lnTo>
                  <a:lnTo>
                    <a:pt x="3563282" y="1442127"/>
                  </a:lnTo>
                  <a:lnTo>
                    <a:pt x="3563402" y="1441435"/>
                  </a:lnTo>
                  <a:close/>
                  <a:moveTo>
                    <a:pt x="2923475" y="1433589"/>
                  </a:moveTo>
                  <a:lnTo>
                    <a:pt x="2924304" y="1433630"/>
                  </a:lnTo>
                  <a:lnTo>
                    <a:pt x="2924946" y="1433895"/>
                  </a:lnTo>
                  <a:lnTo>
                    <a:pt x="2925781" y="1434826"/>
                  </a:lnTo>
                  <a:lnTo>
                    <a:pt x="2926404" y="1434943"/>
                  </a:lnTo>
                  <a:lnTo>
                    <a:pt x="2927610" y="1434646"/>
                  </a:lnTo>
                  <a:lnTo>
                    <a:pt x="2930111" y="1435890"/>
                  </a:lnTo>
                  <a:lnTo>
                    <a:pt x="2932157" y="1437533"/>
                  </a:lnTo>
                  <a:lnTo>
                    <a:pt x="2933247" y="1438821"/>
                  </a:lnTo>
                  <a:lnTo>
                    <a:pt x="2935523" y="1442442"/>
                  </a:lnTo>
                  <a:lnTo>
                    <a:pt x="2935374" y="1444027"/>
                  </a:lnTo>
                  <a:lnTo>
                    <a:pt x="2934898" y="1444899"/>
                  </a:lnTo>
                  <a:lnTo>
                    <a:pt x="2933672" y="1446125"/>
                  </a:lnTo>
                  <a:lnTo>
                    <a:pt x="2932850" y="1447724"/>
                  </a:lnTo>
                  <a:lnTo>
                    <a:pt x="2932642" y="1448670"/>
                  </a:lnTo>
                  <a:lnTo>
                    <a:pt x="2932548" y="1449982"/>
                  </a:lnTo>
                  <a:lnTo>
                    <a:pt x="2932313" y="1451238"/>
                  </a:lnTo>
                  <a:lnTo>
                    <a:pt x="2931801" y="1451705"/>
                  </a:lnTo>
                  <a:lnTo>
                    <a:pt x="2930407" y="1451869"/>
                  </a:lnTo>
                  <a:lnTo>
                    <a:pt x="2925892" y="1455523"/>
                  </a:lnTo>
                  <a:lnTo>
                    <a:pt x="2923842" y="1459346"/>
                  </a:lnTo>
                  <a:lnTo>
                    <a:pt x="2921583" y="1461687"/>
                  </a:lnTo>
                  <a:lnTo>
                    <a:pt x="2919828" y="1465665"/>
                  </a:lnTo>
                  <a:lnTo>
                    <a:pt x="2918735" y="1465846"/>
                  </a:lnTo>
                  <a:lnTo>
                    <a:pt x="2916796" y="1464473"/>
                  </a:lnTo>
                  <a:lnTo>
                    <a:pt x="2915268" y="1464077"/>
                  </a:lnTo>
                  <a:lnTo>
                    <a:pt x="2914076" y="1464693"/>
                  </a:lnTo>
                  <a:lnTo>
                    <a:pt x="2911059" y="1470720"/>
                  </a:lnTo>
                  <a:lnTo>
                    <a:pt x="2909559" y="1472464"/>
                  </a:lnTo>
                  <a:lnTo>
                    <a:pt x="2908197" y="1472125"/>
                  </a:lnTo>
                  <a:lnTo>
                    <a:pt x="2907018" y="1470816"/>
                  </a:lnTo>
                  <a:lnTo>
                    <a:pt x="2906641" y="1470009"/>
                  </a:lnTo>
                  <a:lnTo>
                    <a:pt x="2906608" y="1468630"/>
                  </a:lnTo>
                  <a:lnTo>
                    <a:pt x="2906860" y="1467265"/>
                  </a:lnTo>
                  <a:lnTo>
                    <a:pt x="2911101" y="1459550"/>
                  </a:lnTo>
                  <a:lnTo>
                    <a:pt x="2911385" y="1458382"/>
                  </a:lnTo>
                  <a:lnTo>
                    <a:pt x="2911911" y="1452500"/>
                  </a:lnTo>
                  <a:lnTo>
                    <a:pt x="2912664" y="1450330"/>
                  </a:lnTo>
                  <a:lnTo>
                    <a:pt x="2912873" y="1449277"/>
                  </a:lnTo>
                  <a:lnTo>
                    <a:pt x="2913454" y="1449336"/>
                  </a:lnTo>
                  <a:lnTo>
                    <a:pt x="2915631" y="1447604"/>
                  </a:lnTo>
                  <a:lnTo>
                    <a:pt x="2918563" y="1448116"/>
                  </a:lnTo>
                  <a:lnTo>
                    <a:pt x="2919117" y="1447417"/>
                  </a:lnTo>
                  <a:lnTo>
                    <a:pt x="2919070" y="1445992"/>
                  </a:lnTo>
                  <a:lnTo>
                    <a:pt x="2918587" y="1444848"/>
                  </a:lnTo>
                  <a:lnTo>
                    <a:pt x="2917978" y="1443726"/>
                  </a:lnTo>
                  <a:lnTo>
                    <a:pt x="2917581" y="1442425"/>
                  </a:lnTo>
                  <a:lnTo>
                    <a:pt x="2917854" y="1441198"/>
                  </a:lnTo>
                  <a:lnTo>
                    <a:pt x="2918862" y="1441151"/>
                  </a:lnTo>
                  <a:lnTo>
                    <a:pt x="2921014" y="1442170"/>
                  </a:lnTo>
                  <a:lnTo>
                    <a:pt x="2920779" y="1443698"/>
                  </a:lnTo>
                  <a:lnTo>
                    <a:pt x="2922106" y="1444766"/>
                  </a:lnTo>
                  <a:lnTo>
                    <a:pt x="2923678" y="1444682"/>
                  </a:lnTo>
                  <a:lnTo>
                    <a:pt x="2924175" y="1442777"/>
                  </a:lnTo>
                  <a:lnTo>
                    <a:pt x="2923617" y="1441306"/>
                  </a:lnTo>
                  <a:lnTo>
                    <a:pt x="2921562" y="1438500"/>
                  </a:lnTo>
                  <a:lnTo>
                    <a:pt x="2920684" y="1436745"/>
                  </a:lnTo>
                  <a:lnTo>
                    <a:pt x="2922798" y="1435995"/>
                  </a:lnTo>
                  <a:lnTo>
                    <a:pt x="2922858" y="1433957"/>
                  </a:lnTo>
                  <a:close/>
                  <a:moveTo>
                    <a:pt x="3609821" y="1432843"/>
                  </a:moveTo>
                  <a:lnTo>
                    <a:pt x="3610915" y="1432948"/>
                  </a:lnTo>
                  <a:lnTo>
                    <a:pt x="3613327" y="1434202"/>
                  </a:lnTo>
                  <a:lnTo>
                    <a:pt x="3612532" y="1435582"/>
                  </a:lnTo>
                  <a:lnTo>
                    <a:pt x="3609559" y="1445549"/>
                  </a:lnTo>
                  <a:lnTo>
                    <a:pt x="3609497" y="1447818"/>
                  </a:lnTo>
                  <a:lnTo>
                    <a:pt x="3609821" y="1450849"/>
                  </a:lnTo>
                  <a:lnTo>
                    <a:pt x="3609465" y="1451936"/>
                  </a:lnTo>
                  <a:lnTo>
                    <a:pt x="3607276" y="1452332"/>
                  </a:lnTo>
                  <a:lnTo>
                    <a:pt x="3606962" y="1453409"/>
                  </a:lnTo>
                  <a:lnTo>
                    <a:pt x="3607434" y="1454477"/>
                  </a:lnTo>
                  <a:lnTo>
                    <a:pt x="3608068" y="1455397"/>
                  </a:lnTo>
                  <a:lnTo>
                    <a:pt x="3608313" y="1456232"/>
                  </a:lnTo>
                  <a:lnTo>
                    <a:pt x="3607615" y="1457036"/>
                  </a:lnTo>
                  <a:lnTo>
                    <a:pt x="3605984" y="1457346"/>
                  </a:lnTo>
                  <a:lnTo>
                    <a:pt x="3600147" y="1455299"/>
                  </a:lnTo>
                  <a:lnTo>
                    <a:pt x="3603311" y="1454051"/>
                  </a:lnTo>
                  <a:lnTo>
                    <a:pt x="3603628" y="1453220"/>
                  </a:lnTo>
                  <a:lnTo>
                    <a:pt x="3603364" y="1452673"/>
                  </a:lnTo>
                  <a:lnTo>
                    <a:pt x="3601886" y="1450317"/>
                  </a:lnTo>
                  <a:lnTo>
                    <a:pt x="3601612" y="1449416"/>
                  </a:lnTo>
                  <a:lnTo>
                    <a:pt x="3601919" y="1448873"/>
                  </a:lnTo>
                  <a:lnTo>
                    <a:pt x="3603615" y="1447825"/>
                  </a:lnTo>
                  <a:lnTo>
                    <a:pt x="3604127" y="1446943"/>
                  </a:lnTo>
                  <a:lnTo>
                    <a:pt x="3604180" y="1445699"/>
                  </a:lnTo>
                  <a:lnTo>
                    <a:pt x="3603492" y="1444023"/>
                  </a:lnTo>
                  <a:lnTo>
                    <a:pt x="3603508" y="1443172"/>
                  </a:lnTo>
                  <a:lnTo>
                    <a:pt x="3605390" y="1442007"/>
                  </a:lnTo>
                  <a:lnTo>
                    <a:pt x="3605912" y="1441321"/>
                  </a:lnTo>
                  <a:lnTo>
                    <a:pt x="3604950" y="1440579"/>
                  </a:lnTo>
                  <a:lnTo>
                    <a:pt x="3603727" y="1440286"/>
                  </a:lnTo>
                  <a:lnTo>
                    <a:pt x="3602851" y="1439585"/>
                  </a:lnTo>
                  <a:lnTo>
                    <a:pt x="3603096" y="1438779"/>
                  </a:lnTo>
                  <a:lnTo>
                    <a:pt x="3603565" y="1438251"/>
                  </a:lnTo>
                  <a:lnTo>
                    <a:pt x="3604794" y="1437536"/>
                  </a:lnTo>
                  <a:lnTo>
                    <a:pt x="3605237" y="1436990"/>
                  </a:lnTo>
                  <a:lnTo>
                    <a:pt x="3605865" y="1435413"/>
                  </a:lnTo>
                  <a:lnTo>
                    <a:pt x="3606319" y="1434856"/>
                  </a:lnTo>
                  <a:close/>
                  <a:moveTo>
                    <a:pt x="2089423" y="1430868"/>
                  </a:moveTo>
                  <a:lnTo>
                    <a:pt x="2093072" y="1433683"/>
                  </a:lnTo>
                  <a:lnTo>
                    <a:pt x="2094185" y="1433004"/>
                  </a:lnTo>
                  <a:lnTo>
                    <a:pt x="2095452" y="1431827"/>
                  </a:lnTo>
                  <a:lnTo>
                    <a:pt x="2096606" y="1431646"/>
                  </a:lnTo>
                  <a:lnTo>
                    <a:pt x="2097381" y="1433935"/>
                  </a:lnTo>
                  <a:lnTo>
                    <a:pt x="2099001" y="1436254"/>
                  </a:lnTo>
                  <a:lnTo>
                    <a:pt x="2100909" y="1437209"/>
                  </a:lnTo>
                  <a:lnTo>
                    <a:pt x="2101406" y="1437951"/>
                  </a:lnTo>
                  <a:lnTo>
                    <a:pt x="2100835" y="1438469"/>
                  </a:lnTo>
                  <a:lnTo>
                    <a:pt x="2100600" y="1438580"/>
                  </a:lnTo>
                  <a:lnTo>
                    <a:pt x="2101286" y="1439736"/>
                  </a:lnTo>
                  <a:lnTo>
                    <a:pt x="2103777" y="1440246"/>
                  </a:lnTo>
                  <a:lnTo>
                    <a:pt x="2105209" y="1441539"/>
                  </a:lnTo>
                  <a:lnTo>
                    <a:pt x="2106561" y="1443372"/>
                  </a:lnTo>
                  <a:lnTo>
                    <a:pt x="2105819" y="1444623"/>
                  </a:lnTo>
                  <a:lnTo>
                    <a:pt x="2104841" y="1444579"/>
                  </a:lnTo>
                  <a:lnTo>
                    <a:pt x="2103862" y="1443798"/>
                  </a:lnTo>
                  <a:lnTo>
                    <a:pt x="2102270" y="1441942"/>
                  </a:lnTo>
                  <a:lnTo>
                    <a:pt x="2101317" y="1441539"/>
                  </a:lnTo>
                  <a:lnTo>
                    <a:pt x="2100332" y="1441647"/>
                  </a:lnTo>
                  <a:lnTo>
                    <a:pt x="2099389" y="1442299"/>
                  </a:lnTo>
                  <a:lnTo>
                    <a:pt x="2100172" y="1444011"/>
                  </a:lnTo>
                  <a:lnTo>
                    <a:pt x="2102078" y="1445789"/>
                  </a:lnTo>
                  <a:lnTo>
                    <a:pt x="2102861" y="1447638"/>
                  </a:lnTo>
                  <a:lnTo>
                    <a:pt x="2102707" y="1449758"/>
                  </a:lnTo>
                  <a:lnTo>
                    <a:pt x="2103822" y="1452963"/>
                  </a:lnTo>
                  <a:lnTo>
                    <a:pt x="2104577" y="1455745"/>
                  </a:lnTo>
                  <a:lnTo>
                    <a:pt x="2103329" y="1456595"/>
                  </a:lnTo>
                  <a:lnTo>
                    <a:pt x="2102575" y="1455982"/>
                  </a:lnTo>
                  <a:lnTo>
                    <a:pt x="2101093" y="1453589"/>
                  </a:lnTo>
                  <a:lnTo>
                    <a:pt x="2100276" y="1452772"/>
                  </a:lnTo>
                  <a:lnTo>
                    <a:pt x="2096288" y="1451800"/>
                  </a:lnTo>
                  <a:lnTo>
                    <a:pt x="2089607" y="1445399"/>
                  </a:lnTo>
                  <a:lnTo>
                    <a:pt x="2088873" y="1442763"/>
                  </a:lnTo>
                  <a:lnTo>
                    <a:pt x="2089070" y="1440908"/>
                  </a:lnTo>
                  <a:lnTo>
                    <a:pt x="2089580" y="1438477"/>
                  </a:lnTo>
                  <a:lnTo>
                    <a:pt x="2089762" y="1436864"/>
                  </a:lnTo>
                  <a:lnTo>
                    <a:pt x="2089665" y="1435137"/>
                  </a:lnTo>
                  <a:lnTo>
                    <a:pt x="2089271" y="1433623"/>
                  </a:lnTo>
                  <a:lnTo>
                    <a:pt x="2088368" y="1431163"/>
                  </a:lnTo>
                  <a:close/>
                  <a:moveTo>
                    <a:pt x="3529305" y="1421372"/>
                  </a:moveTo>
                  <a:lnTo>
                    <a:pt x="3530233" y="1422016"/>
                  </a:lnTo>
                  <a:lnTo>
                    <a:pt x="3531061" y="1422330"/>
                  </a:lnTo>
                  <a:lnTo>
                    <a:pt x="3534292" y="1425040"/>
                  </a:lnTo>
                  <a:lnTo>
                    <a:pt x="3540518" y="1427524"/>
                  </a:lnTo>
                  <a:lnTo>
                    <a:pt x="3543650" y="1429885"/>
                  </a:lnTo>
                  <a:lnTo>
                    <a:pt x="3543150" y="1431643"/>
                  </a:lnTo>
                  <a:lnTo>
                    <a:pt x="3536468" y="1436057"/>
                  </a:lnTo>
                  <a:lnTo>
                    <a:pt x="3534925" y="1436220"/>
                  </a:lnTo>
                  <a:lnTo>
                    <a:pt x="3533216" y="1435022"/>
                  </a:lnTo>
                  <a:lnTo>
                    <a:pt x="3531965" y="1432366"/>
                  </a:lnTo>
                  <a:lnTo>
                    <a:pt x="3531611" y="1431300"/>
                  </a:lnTo>
                  <a:lnTo>
                    <a:pt x="3530744" y="1426897"/>
                  </a:lnTo>
                  <a:lnTo>
                    <a:pt x="3530369" y="1425514"/>
                  </a:lnTo>
                  <a:lnTo>
                    <a:pt x="3529755" y="1423947"/>
                  </a:lnTo>
                  <a:lnTo>
                    <a:pt x="3528965" y="1423069"/>
                  </a:lnTo>
                  <a:lnTo>
                    <a:pt x="3528803" y="1421986"/>
                  </a:lnTo>
                  <a:close/>
                  <a:moveTo>
                    <a:pt x="3416323" y="1405730"/>
                  </a:moveTo>
                  <a:lnTo>
                    <a:pt x="3417539" y="1406710"/>
                  </a:lnTo>
                  <a:lnTo>
                    <a:pt x="3417675" y="1407574"/>
                  </a:lnTo>
                  <a:lnTo>
                    <a:pt x="3416989" y="1408582"/>
                  </a:lnTo>
                  <a:lnTo>
                    <a:pt x="3417365" y="1409349"/>
                  </a:lnTo>
                  <a:lnTo>
                    <a:pt x="3416652" y="1410244"/>
                  </a:lnTo>
                  <a:lnTo>
                    <a:pt x="3416785" y="1412135"/>
                  </a:lnTo>
                  <a:lnTo>
                    <a:pt x="3417652" y="1414396"/>
                  </a:lnTo>
                  <a:lnTo>
                    <a:pt x="3419166" y="1416493"/>
                  </a:lnTo>
                  <a:lnTo>
                    <a:pt x="3419659" y="1418158"/>
                  </a:lnTo>
                  <a:lnTo>
                    <a:pt x="3418116" y="1419211"/>
                  </a:lnTo>
                  <a:lnTo>
                    <a:pt x="3407270" y="1421478"/>
                  </a:lnTo>
                  <a:lnTo>
                    <a:pt x="3405952" y="1422309"/>
                  </a:lnTo>
                  <a:lnTo>
                    <a:pt x="3405156" y="1422355"/>
                  </a:lnTo>
                  <a:lnTo>
                    <a:pt x="3404154" y="1421757"/>
                  </a:lnTo>
                  <a:lnTo>
                    <a:pt x="3403255" y="1420773"/>
                  </a:lnTo>
                  <a:lnTo>
                    <a:pt x="3402992" y="1420054"/>
                  </a:lnTo>
                  <a:lnTo>
                    <a:pt x="3403219" y="1419493"/>
                  </a:lnTo>
                  <a:lnTo>
                    <a:pt x="3403787" y="1418987"/>
                  </a:lnTo>
                  <a:lnTo>
                    <a:pt x="3405108" y="1418669"/>
                  </a:lnTo>
                  <a:lnTo>
                    <a:pt x="3406330" y="1418804"/>
                  </a:lnTo>
                  <a:lnTo>
                    <a:pt x="3407094" y="1418276"/>
                  </a:lnTo>
                  <a:lnTo>
                    <a:pt x="3407042" y="1415986"/>
                  </a:lnTo>
                  <a:lnTo>
                    <a:pt x="3407347" y="1414375"/>
                  </a:lnTo>
                  <a:lnTo>
                    <a:pt x="3408540" y="1413405"/>
                  </a:lnTo>
                  <a:lnTo>
                    <a:pt x="3413306" y="1412468"/>
                  </a:lnTo>
                  <a:lnTo>
                    <a:pt x="3413781" y="1412007"/>
                  </a:lnTo>
                  <a:lnTo>
                    <a:pt x="3413806" y="1411166"/>
                  </a:lnTo>
                  <a:lnTo>
                    <a:pt x="3413631" y="1409855"/>
                  </a:lnTo>
                  <a:lnTo>
                    <a:pt x="3413375" y="1408657"/>
                  </a:lnTo>
                  <a:lnTo>
                    <a:pt x="3413165" y="1408166"/>
                  </a:lnTo>
                  <a:lnTo>
                    <a:pt x="3415028" y="1406291"/>
                  </a:lnTo>
                  <a:close/>
                  <a:moveTo>
                    <a:pt x="1667040" y="1400549"/>
                  </a:moveTo>
                  <a:lnTo>
                    <a:pt x="1673481" y="1403805"/>
                  </a:lnTo>
                  <a:lnTo>
                    <a:pt x="1677760" y="1408116"/>
                  </a:lnTo>
                  <a:lnTo>
                    <a:pt x="1680130" y="1409529"/>
                  </a:lnTo>
                  <a:lnTo>
                    <a:pt x="1687462" y="1411915"/>
                  </a:lnTo>
                  <a:lnTo>
                    <a:pt x="1671552" y="1409314"/>
                  </a:lnTo>
                  <a:lnTo>
                    <a:pt x="1665559" y="1402659"/>
                  </a:lnTo>
                  <a:lnTo>
                    <a:pt x="1665417" y="1401580"/>
                  </a:lnTo>
                  <a:lnTo>
                    <a:pt x="1666078" y="1400611"/>
                  </a:lnTo>
                  <a:close/>
                  <a:moveTo>
                    <a:pt x="1634220" y="1398516"/>
                  </a:moveTo>
                  <a:lnTo>
                    <a:pt x="1638076" y="1399625"/>
                  </a:lnTo>
                  <a:lnTo>
                    <a:pt x="1640625" y="1401384"/>
                  </a:lnTo>
                  <a:lnTo>
                    <a:pt x="1641391" y="1402850"/>
                  </a:lnTo>
                  <a:lnTo>
                    <a:pt x="1640729" y="1403228"/>
                  </a:lnTo>
                  <a:lnTo>
                    <a:pt x="1640135" y="1403266"/>
                  </a:lnTo>
                  <a:lnTo>
                    <a:pt x="1633470" y="1401561"/>
                  </a:lnTo>
                  <a:lnTo>
                    <a:pt x="1632330" y="1399634"/>
                  </a:lnTo>
                  <a:lnTo>
                    <a:pt x="1632816" y="1399739"/>
                  </a:lnTo>
                  <a:lnTo>
                    <a:pt x="1633291" y="1399286"/>
                  </a:lnTo>
                  <a:lnTo>
                    <a:pt x="1633759" y="1398721"/>
                  </a:lnTo>
                  <a:close/>
                  <a:moveTo>
                    <a:pt x="3340891" y="1389646"/>
                  </a:moveTo>
                  <a:lnTo>
                    <a:pt x="3342632" y="1390225"/>
                  </a:lnTo>
                  <a:lnTo>
                    <a:pt x="3342943" y="1390839"/>
                  </a:lnTo>
                  <a:lnTo>
                    <a:pt x="3333630" y="1394339"/>
                  </a:lnTo>
                  <a:lnTo>
                    <a:pt x="3321241" y="1393523"/>
                  </a:lnTo>
                  <a:lnTo>
                    <a:pt x="3311387" y="1396151"/>
                  </a:lnTo>
                  <a:lnTo>
                    <a:pt x="3310363" y="1395540"/>
                  </a:lnTo>
                  <a:lnTo>
                    <a:pt x="3309801" y="1393908"/>
                  </a:lnTo>
                  <a:lnTo>
                    <a:pt x="3309908" y="1393008"/>
                  </a:lnTo>
                  <a:lnTo>
                    <a:pt x="3310315" y="1392618"/>
                  </a:lnTo>
                  <a:lnTo>
                    <a:pt x="3310655" y="1392489"/>
                  </a:lnTo>
                  <a:lnTo>
                    <a:pt x="3311816" y="1392919"/>
                  </a:lnTo>
                  <a:lnTo>
                    <a:pt x="3315042" y="1392859"/>
                  </a:lnTo>
                  <a:lnTo>
                    <a:pt x="3319159" y="1390857"/>
                  </a:lnTo>
                  <a:lnTo>
                    <a:pt x="3327467" y="1390057"/>
                  </a:lnTo>
                  <a:close/>
                  <a:moveTo>
                    <a:pt x="1548080" y="1342799"/>
                  </a:moveTo>
                  <a:lnTo>
                    <a:pt x="1548985" y="1343434"/>
                  </a:lnTo>
                  <a:lnTo>
                    <a:pt x="1549378" y="1344463"/>
                  </a:lnTo>
                  <a:lnTo>
                    <a:pt x="1548693" y="1345590"/>
                  </a:lnTo>
                  <a:lnTo>
                    <a:pt x="1546265" y="1346637"/>
                  </a:lnTo>
                  <a:lnTo>
                    <a:pt x="1543955" y="1346363"/>
                  </a:lnTo>
                  <a:lnTo>
                    <a:pt x="1540046" y="1344062"/>
                  </a:lnTo>
                  <a:lnTo>
                    <a:pt x="1542270" y="1343922"/>
                  </a:lnTo>
                  <a:lnTo>
                    <a:pt x="1543103" y="1343456"/>
                  </a:lnTo>
                  <a:lnTo>
                    <a:pt x="1546169" y="1343339"/>
                  </a:lnTo>
                  <a:lnTo>
                    <a:pt x="1547233" y="1342823"/>
                  </a:lnTo>
                  <a:close/>
                  <a:moveTo>
                    <a:pt x="1526638" y="1340779"/>
                  </a:moveTo>
                  <a:lnTo>
                    <a:pt x="1527642" y="1341246"/>
                  </a:lnTo>
                  <a:lnTo>
                    <a:pt x="1528430" y="1342329"/>
                  </a:lnTo>
                  <a:lnTo>
                    <a:pt x="1529442" y="1342797"/>
                  </a:lnTo>
                  <a:lnTo>
                    <a:pt x="1532075" y="1341202"/>
                  </a:lnTo>
                  <a:lnTo>
                    <a:pt x="1533153" y="1341881"/>
                  </a:lnTo>
                  <a:lnTo>
                    <a:pt x="1536738" y="1343382"/>
                  </a:lnTo>
                  <a:lnTo>
                    <a:pt x="1537458" y="1344807"/>
                  </a:lnTo>
                  <a:lnTo>
                    <a:pt x="1533892" y="1343679"/>
                  </a:lnTo>
                  <a:lnTo>
                    <a:pt x="1533074" y="1343955"/>
                  </a:lnTo>
                  <a:lnTo>
                    <a:pt x="1531422" y="1344927"/>
                  </a:lnTo>
                  <a:lnTo>
                    <a:pt x="1530704" y="1345006"/>
                  </a:lnTo>
                  <a:lnTo>
                    <a:pt x="1528921" y="1344194"/>
                  </a:lnTo>
                  <a:lnTo>
                    <a:pt x="1525232" y="1343908"/>
                  </a:lnTo>
                  <a:lnTo>
                    <a:pt x="1524535" y="1343408"/>
                  </a:lnTo>
                  <a:lnTo>
                    <a:pt x="1524152" y="1342196"/>
                  </a:lnTo>
                  <a:lnTo>
                    <a:pt x="1525458" y="1341067"/>
                  </a:lnTo>
                  <a:close/>
                  <a:moveTo>
                    <a:pt x="1512095" y="1339782"/>
                  </a:moveTo>
                  <a:lnTo>
                    <a:pt x="1513512" y="1340246"/>
                  </a:lnTo>
                  <a:lnTo>
                    <a:pt x="1517420" y="1343093"/>
                  </a:lnTo>
                  <a:lnTo>
                    <a:pt x="1519130" y="1344073"/>
                  </a:lnTo>
                  <a:lnTo>
                    <a:pt x="1519699" y="1345196"/>
                  </a:lnTo>
                  <a:lnTo>
                    <a:pt x="1519690" y="1346960"/>
                  </a:lnTo>
                  <a:lnTo>
                    <a:pt x="1518769" y="1345638"/>
                  </a:lnTo>
                  <a:lnTo>
                    <a:pt x="1513683" y="1344063"/>
                  </a:lnTo>
                  <a:lnTo>
                    <a:pt x="1512729" y="1343152"/>
                  </a:lnTo>
                  <a:lnTo>
                    <a:pt x="1512079" y="1341732"/>
                  </a:lnTo>
                  <a:close/>
                  <a:moveTo>
                    <a:pt x="1519341" y="1335546"/>
                  </a:moveTo>
                  <a:lnTo>
                    <a:pt x="1521837" y="1336030"/>
                  </a:lnTo>
                  <a:lnTo>
                    <a:pt x="1523963" y="1337311"/>
                  </a:lnTo>
                  <a:lnTo>
                    <a:pt x="1524643" y="1339156"/>
                  </a:lnTo>
                  <a:lnTo>
                    <a:pt x="1523300" y="1339643"/>
                  </a:lnTo>
                  <a:lnTo>
                    <a:pt x="1516222" y="1337489"/>
                  </a:lnTo>
                  <a:lnTo>
                    <a:pt x="1515412" y="1336158"/>
                  </a:lnTo>
                  <a:lnTo>
                    <a:pt x="1516575" y="1335766"/>
                  </a:lnTo>
                  <a:lnTo>
                    <a:pt x="1517094" y="1335824"/>
                  </a:lnTo>
                  <a:lnTo>
                    <a:pt x="1517555" y="1336073"/>
                  </a:lnTo>
                  <a:close/>
                  <a:moveTo>
                    <a:pt x="1500958" y="1326649"/>
                  </a:moveTo>
                  <a:lnTo>
                    <a:pt x="1501791" y="1326928"/>
                  </a:lnTo>
                  <a:lnTo>
                    <a:pt x="1506476" y="1330923"/>
                  </a:lnTo>
                  <a:lnTo>
                    <a:pt x="1511100" y="1333044"/>
                  </a:lnTo>
                  <a:lnTo>
                    <a:pt x="1511883" y="1335000"/>
                  </a:lnTo>
                  <a:lnTo>
                    <a:pt x="1510598" y="1335560"/>
                  </a:lnTo>
                  <a:lnTo>
                    <a:pt x="1507652" y="1333604"/>
                  </a:lnTo>
                  <a:lnTo>
                    <a:pt x="1499797" y="1331976"/>
                  </a:lnTo>
                  <a:lnTo>
                    <a:pt x="1498203" y="1330616"/>
                  </a:lnTo>
                  <a:lnTo>
                    <a:pt x="1497988" y="1328086"/>
                  </a:lnTo>
                  <a:close/>
                  <a:moveTo>
                    <a:pt x="2281345" y="1308064"/>
                  </a:moveTo>
                  <a:lnTo>
                    <a:pt x="2281939" y="1308483"/>
                  </a:lnTo>
                  <a:lnTo>
                    <a:pt x="2282468" y="1309630"/>
                  </a:lnTo>
                  <a:lnTo>
                    <a:pt x="2280930" y="1315628"/>
                  </a:lnTo>
                  <a:lnTo>
                    <a:pt x="2280550" y="1317841"/>
                  </a:lnTo>
                  <a:lnTo>
                    <a:pt x="2280689" y="1319497"/>
                  </a:lnTo>
                  <a:lnTo>
                    <a:pt x="2279958" y="1320085"/>
                  </a:lnTo>
                  <a:lnTo>
                    <a:pt x="2278955" y="1320227"/>
                  </a:lnTo>
                  <a:lnTo>
                    <a:pt x="2277596" y="1320882"/>
                  </a:lnTo>
                  <a:lnTo>
                    <a:pt x="2276566" y="1320661"/>
                  </a:lnTo>
                  <a:lnTo>
                    <a:pt x="2274736" y="1319523"/>
                  </a:lnTo>
                  <a:lnTo>
                    <a:pt x="2275355" y="1317585"/>
                  </a:lnTo>
                  <a:lnTo>
                    <a:pt x="2278066" y="1316119"/>
                  </a:lnTo>
                  <a:lnTo>
                    <a:pt x="2279059" y="1314171"/>
                  </a:lnTo>
                  <a:lnTo>
                    <a:pt x="2278361" y="1313789"/>
                  </a:lnTo>
                  <a:lnTo>
                    <a:pt x="2276918" y="1314259"/>
                  </a:lnTo>
                  <a:lnTo>
                    <a:pt x="2276218" y="1313482"/>
                  </a:lnTo>
                  <a:lnTo>
                    <a:pt x="2276306" y="1313073"/>
                  </a:lnTo>
                  <a:lnTo>
                    <a:pt x="2276440" y="1311999"/>
                  </a:lnTo>
                  <a:lnTo>
                    <a:pt x="2276227" y="1311676"/>
                  </a:lnTo>
                  <a:lnTo>
                    <a:pt x="2276117" y="1311307"/>
                  </a:lnTo>
                  <a:lnTo>
                    <a:pt x="2276041" y="1310920"/>
                  </a:lnTo>
                  <a:lnTo>
                    <a:pt x="2275918" y="1310524"/>
                  </a:lnTo>
                  <a:lnTo>
                    <a:pt x="2276851" y="1309530"/>
                  </a:lnTo>
                  <a:lnTo>
                    <a:pt x="2279096" y="1308170"/>
                  </a:lnTo>
                  <a:lnTo>
                    <a:pt x="2280100" y="1308133"/>
                  </a:lnTo>
                  <a:close/>
                  <a:moveTo>
                    <a:pt x="3307685" y="1299290"/>
                  </a:moveTo>
                  <a:lnTo>
                    <a:pt x="3308660" y="1299418"/>
                  </a:lnTo>
                  <a:lnTo>
                    <a:pt x="3310558" y="1300660"/>
                  </a:lnTo>
                  <a:lnTo>
                    <a:pt x="3311665" y="1300750"/>
                  </a:lnTo>
                  <a:lnTo>
                    <a:pt x="3312407" y="1300960"/>
                  </a:lnTo>
                  <a:lnTo>
                    <a:pt x="3312192" y="1304287"/>
                  </a:lnTo>
                  <a:lnTo>
                    <a:pt x="3307175" y="1306437"/>
                  </a:lnTo>
                  <a:lnTo>
                    <a:pt x="3305812" y="1308560"/>
                  </a:lnTo>
                  <a:lnTo>
                    <a:pt x="3306467" y="1308362"/>
                  </a:lnTo>
                  <a:lnTo>
                    <a:pt x="3308081" y="1308790"/>
                  </a:lnTo>
                  <a:lnTo>
                    <a:pt x="3308704" y="1308787"/>
                  </a:lnTo>
                  <a:lnTo>
                    <a:pt x="3308944" y="1308916"/>
                  </a:lnTo>
                  <a:lnTo>
                    <a:pt x="3308977" y="1309449"/>
                  </a:lnTo>
                  <a:lnTo>
                    <a:pt x="3308819" y="1310408"/>
                  </a:lnTo>
                  <a:lnTo>
                    <a:pt x="3305642" y="1310214"/>
                  </a:lnTo>
                  <a:lnTo>
                    <a:pt x="3304335" y="1311827"/>
                  </a:lnTo>
                  <a:lnTo>
                    <a:pt x="3302224" y="1311628"/>
                  </a:lnTo>
                  <a:lnTo>
                    <a:pt x="3300253" y="1312307"/>
                  </a:lnTo>
                  <a:lnTo>
                    <a:pt x="3299070" y="1311928"/>
                  </a:lnTo>
                  <a:lnTo>
                    <a:pt x="3299065" y="1311302"/>
                  </a:lnTo>
                  <a:lnTo>
                    <a:pt x="3298868" y="1310692"/>
                  </a:lnTo>
                  <a:lnTo>
                    <a:pt x="3298631" y="1310122"/>
                  </a:lnTo>
                  <a:lnTo>
                    <a:pt x="3298506" y="1309625"/>
                  </a:lnTo>
                  <a:lnTo>
                    <a:pt x="3298661" y="1308870"/>
                  </a:lnTo>
                  <a:lnTo>
                    <a:pt x="3299076" y="1308738"/>
                  </a:lnTo>
                  <a:lnTo>
                    <a:pt x="3299612" y="1308845"/>
                  </a:lnTo>
                  <a:lnTo>
                    <a:pt x="3300128" y="1308817"/>
                  </a:lnTo>
                  <a:lnTo>
                    <a:pt x="3300856" y="1308074"/>
                  </a:lnTo>
                  <a:lnTo>
                    <a:pt x="3301883" y="1305884"/>
                  </a:lnTo>
                  <a:lnTo>
                    <a:pt x="3303423" y="1304473"/>
                  </a:lnTo>
                  <a:lnTo>
                    <a:pt x="3303734" y="1303923"/>
                  </a:lnTo>
                  <a:lnTo>
                    <a:pt x="3303824" y="1303233"/>
                  </a:lnTo>
                  <a:lnTo>
                    <a:pt x="3303619" y="1302387"/>
                  </a:lnTo>
                  <a:lnTo>
                    <a:pt x="3302922" y="1300548"/>
                  </a:lnTo>
                  <a:lnTo>
                    <a:pt x="3302839" y="1299920"/>
                  </a:lnTo>
                  <a:lnTo>
                    <a:pt x="3303061" y="1299609"/>
                  </a:lnTo>
                  <a:lnTo>
                    <a:pt x="3303481" y="1299488"/>
                  </a:lnTo>
                  <a:lnTo>
                    <a:pt x="3303991" y="1299681"/>
                  </a:lnTo>
                  <a:lnTo>
                    <a:pt x="3304487" y="1300306"/>
                  </a:lnTo>
                  <a:lnTo>
                    <a:pt x="3304854" y="1300546"/>
                  </a:lnTo>
                  <a:lnTo>
                    <a:pt x="3306334" y="1299841"/>
                  </a:lnTo>
                  <a:lnTo>
                    <a:pt x="3306082" y="1299968"/>
                  </a:lnTo>
                  <a:close/>
                  <a:moveTo>
                    <a:pt x="3285461" y="1295745"/>
                  </a:moveTo>
                  <a:lnTo>
                    <a:pt x="3286280" y="1296386"/>
                  </a:lnTo>
                  <a:lnTo>
                    <a:pt x="3287783" y="1297210"/>
                  </a:lnTo>
                  <a:lnTo>
                    <a:pt x="3289102" y="1297617"/>
                  </a:lnTo>
                  <a:lnTo>
                    <a:pt x="3290279" y="1297620"/>
                  </a:lnTo>
                  <a:lnTo>
                    <a:pt x="3291370" y="1297278"/>
                  </a:lnTo>
                  <a:lnTo>
                    <a:pt x="3291591" y="1298070"/>
                  </a:lnTo>
                  <a:lnTo>
                    <a:pt x="3292292" y="1298230"/>
                  </a:lnTo>
                  <a:lnTo>
                    <a:pt x="3293073" y="1298305"/>
                  </a:lnTo>
                  <a:lnTo>
                    <a:pt x="3293880" y="1299380"/>
                  </a:lnTo>
                  <a:lnTo>
                    <a:pt x="3294043" y="1300710"/>
                  </a:lnTo>
                  <a:lnTo>
                    <a:pt x="3292613" y="1303770"/>
                  </a:lnTo>
                  <a:lnTo>
                    <a:pt x="3292246" y="1308033"/>
                  </a:lnTo>
                  <a:lnTo>
                    <a:pt x="3292423" y="1310904"/>
                  </a:lnTo>
                  <a:lnTo>
                    <a:pt x="3293212" y="1313547"/>
                  </a:lnTo>
                  <a:lnTo>
                    <a:pt x="3291448" y="1314896"/>
                  </a:lnTo>
                  <a:lnTo>
                    <a:pt x="3276818" y="1314457"/>
                  </a:lnTo>
                  <a:lnTo>
                    <a:pt x="3277123" y="1313415"/>
                  </a:lnTo>
                  <a:lnTo>
                    <a:pt x="3279167" y="1311644"/>
                  </a:lnTo>
                  <a:lnTo>
                    <a:pt x="3278934" y="1311757"/>
                  </a:lnTo>
                  <a:lnTo>
                    <a:pt x="3279351" y="1311007"/>
                  </a:lnTo>
                  <a:lnTo>
                    <a:pt x="3279483" y="1308672"/>
                  </a:lnTo>
                  <a:lnTo>
                    <a:pt x="3280351" y="1307169"/>
                  </a:lnTo>
                  <a:lnTo>
                    <a:pt x="3280839" y="1302862"/>
                  </a:lnTo>
                  <a:lnTo>
                    <a:pt x="3282570" y="1301160"/>
                  </a:lnTo>
                  <a:lnTo>
                    <a:pt x="3288237" y="1301888"/>
                  </a:lnTo>
                  <a:lnTo>
                    <a:pt x="3289688" y="1299704"/>
                  </a:lnTo>
                  <a:lnTo>
                    <a:pt x="3284701" y="1299875"/>
                  </a:lnTo>
                  <a:lnTo>
                    <a:pt x="3283150" y="1298844"/>
                  </a:lnTo>
                  <a:lnTo>
                    <a:pt x="3282581" y="1297646"/>
                  </a:lnTo>
                  <a:lnTo>
                    <a:pt x="3282930" y="1297006"/>
                  </a:lnTo>
                  <a:lnTo>
                    <a:pt x="3284320" y="1296519"/>
                  </a:lnTo>
                  <a:lnTo>
                    <a:pt x="3285017" y="1295770"/>
                  </a:lnTo>
                  <a:close/>
                  <a:moveTo>
                    <a:pt x="1217812" y="1261903"/>
                  </a:moveTo>
                  <a:lnTo>
                    <a:pt x="1221628" y="1263027"/>
                  </a:lnTo>
                  <a:lnTo>
                    <a:pt x="1222101" y="1263641"/>
                  </a:lnTo>
                  <a:lnTo>
                    <a:pt x="1221674" y="1263673"/>
                  </a:lnTo>
                  <a:lnTo>
                    <a:pt x="1221170" y="1263946"/>
                  </a:lnTo>
                  <a:lnTo>
                    <a:pt x="1220609" y="1264424"/>
                  </a:lnTo>
                  <a:lnTo>
                    <a:pt x="1219995" y="1265124"/>
                  </a:lnTo>
                  <a:lnTo>
                    <a:pt x="1220203" y="1265224"/>
                  </a:lnTo>
                  <a:lnTo>
                    <a:pt x="1218969" y="1265952"/>
                  </a:lnTo>
                  <a:lnTo>
                    <a:pt x="1217486" y="1263961"/>
                  </a:lnTo>
                  <a:lnTo>
                    <a:pt x="1216223" y="1264139"/>
                  </a:lnTo>
                  <a:lnTo>
                    <a:pt x="1217171" y="1266250"/>
                  </a:lnTo>
                  <a:lnTo>
                    <a:pt x="1216284" y="1266532"/>
                  </a:lnTo>
                  <a:lnTo>
                    <a:pt x="1215573" y="1266337"/>
                  </a:lnTo>
                  <a:lnTo>
                    <a:pt x="1215031" y="1265803"/>
                  </a:lnTo>
                  <a:lnTo>
                    <a:pt x="1214655" y="1265036"/>
                  </a:lnTo>
                  <a:lnTo>
                    <a:pt x="1215629" y="1263366"/>
                  </a:lnTo>
                  <a:lnTo>
                    <a:pt x="1216756" y="1262345"/>
                  </a:lnTo>
                  <a:close/>
                  <a:moveTo>
                    <a:pt x="3108806" y="1219713"/>
                  </a:moveTo>
                  <a:lnTo>
                    <a:pt x="3109921" y="1220239"/>
                  </a:lnTo>
                  <a:lnTo>
                    <a:pt x="3110765" y="1222611"/>
                  </a:lnTo>
                  <a:lnTo>
                    <a:pt x="3110947" y="1224190"/>
                  </a:lnTo>
                  <a:lnTo>
                    <a:pt x="3110683" y="1226823"/>
                  </a:lnTo>
                  <a:lnTo>
                    <a:pt x="3111995" y="1228674"/>
                  </a:lnTo>
                  <a:lnTo>
                    <a:pt x="3111903" y="1230235"/>
                  </a:lnTo>
                  <a:lnTo>
                    <a:pt x="3111130" y="1231360"/>
                  </a:lnTo>
                  <a:lnTo>
                    <a:pt x="3105426" y="1234819"/>
                  </a:lnTo>
                  <a:lnTo>
                    <a:pt x="3098545" y="1243463"/>
                  </a:lnTo>
                  <a:lnTo>
                    <a:pt x="3098179" y="1244543"/>
                  </a:lnTo>
                  <a:lnTo>
                    <a:pt x="3098083" y="1246821"/>
                  </a:lnTo>
                  <a:lnTo>
                    <a:pt x="3097779" y="1247904"/>
                  </a:lnTo>
                  <a:lnTo>
                    <a:pt x="3096895" y="1248995"/>
                  </a:lnTo>
                  <a:lnTo>
                    <a:pt x="3095522" y="1249923"/>
                  </a:lnTo>
                  <a:lnTo>
                    <a:pt x="3093953" y="1250169"/>
                  </a:lnTo>
                  <a:lnTo>
                    <a:pt x="3092484" y="1249225"/>
                  </a:lnTo>
                  <a:lnTo>
                    <a:pt x="3092381" y="1248896"/>
                  </a:lnTo>
                  <a:lnTo>
                    <a:pt x="3092078" y="1248067"/>
                  </a:lnTo>
                  <a:lnTo>
                    <a:pt x="3091626" y="1247064"/>
                  </a:lnTo>
                  <a:lnTo>
                    <a:pt x="3091062" y="1246170"/>
                  </a:lnTo>
                  <a:lnTo>
                    <a:pt x="3090393" y="1245511"/>
                  </a:lnTo>
                  <a:lnTo>
                    <a:pt x="3089865" y="1245257"/>
                  </a:lnTo>
                  <a:lnTo>
                    <a:pt x="3088880" y="1245052"/>
                  </a:lnTo>
                  <a:lnTo>
                    <a:pt x="3087775" y="1244409"/>
                  </a:lnTo>
                  <a:lnTo>
                    <a:pt x="3086899" y="1243553"/>
                  </a:lnTo>
                  <a:lnTo>
                    <a:pt x="3084742" y="1241021"/>
                  </a:lnTo>
                  <a:lnTo>
                    <a:pt x="3084544" y="1240409"/>
                  </a:lnTo>
                  <a:lnTo>
                    <a:pt x="3084383" y="1240129"/>
                  </a:lnTo>
                  <a:lnTo>
                    <a:pt x="3084161" y="1239652"/>
                  </a:lnTo>
                  <a:lnTo>
                    <a:pt x="3085454" y="1238315"/>
                  </a:lnTo>
                  <a:lnTo>
                    <a:pt x="3086286" y="1238082"/>
                  </a:lnTo>
                  <a:lnTo>
                    <a:pt x="3087320" y="1238349"/>
                  </a:lnTo>
                  <a:lnTo>
                    <a:pt x="3086985" y="1239364"/>
                  </a:lnTo>
                  <a:lnTo>
                    <a:pt x="3088148" y="1239702"/>
                  </a:lnTo>
                  <a:lnTo>
                    <a:pt x="3089046" y="1239114"/>
                  </a:lnTo>
                  <a:lnTo>
                    <a:pt x="3089588" y="1237843"/>
                  </a:lnTo>
                  <a:lnTo>
                    <a:pt x="3089676" y="1236119"/>
                  </a:lnTo>
                  <a:lnTo>
                    <a:pt x="3089299" y="1234424"/>
                  </a:lnTo>
                  <a:lnTo>
                    <a:pt x="3087979" y="1230516"/>
                  </a:lnTo>
                  <a:lnTo>
                    <a:pt x="3087638" y="1228878"/>
                  </a:lnTo>
                  <a:lnTo>
                    <a:pt x="3087399" y="1227960"/>
                  </a:lnTo>
                  <a:lnTo>
                    <a:pt x="3086940" y="1227176"/>
                  </a:lnTo>
                  <a:lnTo>
                    <a:pt x="3086471" y="1226474"/>
                  </a:lnTo>
                  <a:lnTo>
                    <a:pt x="3086188" y="1225801"/>
                  </a:lnTo>
                  <a:lnTo>
                    <a:pt x="3086224" y="1224956"/>
                  </a:lnTo>
                  <a:lnTo>
                    <a:pt x="3090027" y="1220237"/>
                  </a:lnTo>
                  <a:lnTo>
                    <a:pt x="3091254" y="1220447"/>
                  </a:lnTo>
                  <a:lnTo>
                    <a:pt x="3091327" y="1221224"/>
                  </a:lnTo>
                  <a:lnTo>
                    <a:pt x="3091822" y="1221537"/>
                  </a:lnTo>
                  <a:lnTo>
                    <a:pt x="3092239" y="1221603"/>
                  </a:lnTo>
                  <a:lnTo>
                    <a:pt x="3092928" y="1221285"/>
                  </a:lnTo>
                  <a:lnTo>
                    <a:pt x="3104146" y="1221557"/>
                  </a:lnTo>
                  <a:close/>
                  <a:moveTo>
                    <a:pt x="2262334" y="1196150"/>
                  </a:moveTo>
                  <a:lnTo>
                    <a:pt x="2262767" y="1196156"/>
                  </a:lnTo>
                  <a:lnTo>
                    <a:pt x="2263210" y="1196741"/>
                  </a:lnTo>
                  <a:lnTo>
                    <a:pt x="2264301" y="1198518"/>
                  </a:lnTo>
                  <a:lnTo>
                    <a:pt x="2264722" y="1199536"/>
                  </a:lnTo>
                  <a:lnTo>
                    <a:pt x="2265051" y="1201167"/>
                  </a:lnTo>
                  <a:lnTo>
                    <a:pt x="2264807" y="1202869"/>
                  </a:lnTo>
                  <a:lnTo>
                    <a:pt x="2264439" y="1204033"/>
                  </a:lnTo>
                  <a:lnTo>
                    <a:pt x="2263891" y="1204533"/>
                  </a:lnTo>
                  <a:lnTo>
                    <a:pt x="2263116" y="1204228"/>
                  </a:lnTo>
                  <a:lnTo>
                    <a:pt x="2262291" y="1203180"/>
                  </a:lnTo>
                  <a:lnTo>
                    <a:pt x="2260350" y="1198343"/>
                  </a:lnTo>
                  <a:close/>
                  <a:moveTo>
                    <a:pt x="2232222" y="1194556"/>
                  </a:moveTo>
                  <a:lnTo>
                    <a:pt x="2233356" y="1195535"/>
                  </a:lnTo>
                  <a:lnTo>
                    <a:pt x="2233457" y="1197078"/>
                  </a:lnTo>
                  <a:lnTo>
                    <a:pt x="2233152" y="1198639"/>
                  </a:lnTo>
                  <a:lnTo>
                    <a:pt x="2232263" y="1201474"/>
                  </a:lnTo>
                  <a:lnTo>
                    <a:pt x="2234071" y="1203619"/>
                  </a:lnTo>
                  <a:lnTo>
                    <a:pt x="2234784" y="1205058"/>
                  </a:lnTo>
                  <a:lnTo>
                    <a:pt x="2234707" y="1207468"/>
                  </a:lnTo>
                  <a:lnTo>
                    <a:pt x="2232942" y="1210376"/>
                  </a:lnTo>
                  <a:lnTo>
                    <a:pt x="2231824" y="1212941"/>
                  </a:lnTo>
                  <a:lnTo>
                    <a:pt x="2231392" y="1213411"/>
                  </a:lnTo>
                  <a:lnTo>
                    <a:pt x="2230768" y="1213429"/>
                  </a:lnTo>
                  <a:lnTo>
                    <a:pt x="2229151" y="1211926"/>
                  </a:lnTo>
                  <a:lnTo>
                    <a:pt x="2228400" y="1211669"/>
                  </a:lnTo>
                  <a:lnTo>
                    <a:pt x="2226046" y="1211923"/>
                  </a:lnTo>
                  <a:lnTo>
                    <a:pt x="2224978" y="1211541"/>
                  </a:lnTo>
                  <a:lnTo>
                    <a:pt x="2224285" y="1210531"/>
                  </a:lnTo>
                  <a:lnTo>
                    <a:pt x="2222931" y="1207464"/>
                  </a:lnTo>
                  <a:lnTo>
                    <a:pt x="2225072" y="1206170"/>
                  </a:lnTo>
                  <a:lnTo>
                    <a:pt x="2225888" y="1204726"/>
                  </a:lnTo>
                  <a:lnTo>
                    <a:pt x="2225399" y="1202276"/>
                  </a:lnTo>
                  <a:lnTo>
                    <a:pt x="2226168" y="1200572"/>
                  </a:lnTo>
                  <a:lnTo>
                    <a:pt x="2228211" y="1198668"/>
                  </a:lnTo>
                  <a:lnTo>
                    <a:pt x="2230179" y="1195765"/>
                  </a:lnTo>
                  <a:lnTo>
                    <a:pt x="2231177" y="1194716"/>
                  </a:lnTo>
                  <a:close/>
                  <a:moveTo>
                    <a:pt x="3026740" y="1187558"/>
                  </a:moveTo>
                  <a:lnTo>
                    <a:pt x="3028128" y="1187746"/>
                  </a:lnTo>
                  <a:lnTo>
                    <a:pt x="3029836" y="1188678"/>
                  </a:lnTo>
                  <a:lnTo>
                    <a:pt x="3031204" y="1189859"/>
                  </a:lnTo>
                  <a:lnTo>
                    <a:pt x="3031411" y="1191141"/>
                  </a:lnTo>
                  <a:lnTo>
                    <a:pt x="3031633" y="1193667"/>
                  </a:lnTo>
                  <a:lnTo>
                    <a:pt x="3031957" y="1194860"/>
                  </a:lnTo>
                  <a:lnTo>
                    <a:pt x="3032179" y="1196376"/>
                  </a:lnTo>
                  <a:lnTo>
                    <a:pt x="3031287" y="1198488"/>
                  </a:lnTo>
                  <a:lnTo>
                    <a:pt x="3031470" y="1199904"/>
                  </a:lnTo>
                  <a:lnTo>
                    <a:pt x="3032425" y="1201560"/>
                  </a:lnTo>
                  <a:lnTo>
                    <a:pt x="3033451" y="1202552"/>
                  </a:lnTo>
                  <a:lnTo>
                    <a:pt x="3034085" y="1202575"/>
                  </a:lnTo>
                  <a:lnTo>
                    <a:pt x="3033861" y="1201328"/>
                  </a:lnTo>
                  <a:lnTo>
                    <a:pt x="3033203" y="1199492"/>
                  </a:lnTo>
                  <a:lnTo>
                    <a:pt x="3033177" y="1198727"/>
                  </a:lnTo>
                  <a:lnTo>
                    <a:pt x="3033463" y="1198279"/>
                  </a:lnTo>
                  <a:lnTo>
                    <a:pt x="3034571" y="1194570"/>
                  </a:lnTo>
                  <a:lnTo>
                    <a:pt x="3034705" y="1193367"/>
                  </a:lnTo>
                  <a:lnTo>
                    <a:pt x="3034743" y="1190766"/>
                  </a:lnTo>
                  <a:lnTo>
                    <a:pt x="3035111" y="1190304"/>
                  </a:lnTo>
                  <a:lnTo>
                    <a:pt x="3036040" y="1190422"/>
                  </a:lnTo>
                  <a:lnTo>
                    <a:pt x="3036944" y="1190957"/>
                  </a:lnTo>
                  <a:lnTo>
                    <a:pt x="3037746" y="1191826"/>
                  </a:lnTo>
                  <a:lnTo>
                    <a:pt x="3038560" y="1192852"/>
                  </a:lnTo>
                  <a:lnTo>
                    <a:pt x="3039501" y="1193866"/>
                  </a:lnTo>
                  <a:lnTo>
                    <a:pt x="3040453" y="1194410"/>
                  </a:lnTo>
                  <a:lnTo>
                    <a:pt x="3042243" y="1194758"/>
                  </a:lnTo>
                  <a:lnTo>
                    <a:pt x="3043300" y="1195633"/>
                  </a:lnTo>
                  <a:lnTo>
                    <a:pt x="3042661" y="1197472"/>
                  </a:lnTo>
                  <a:lnTo>
                    <a:pt x="3039973" y="1198714"/>
                  </a:lnTo>
                  <a:lnTo>
                    <a:pt x="3038258" y="1201078"/>
                  </a:lnTo>
                  <a:lnTo>
                    <a:pt x="3038151" y="1201969"/>
                  </a:lnTo>
                  <a:lnTo>
                    <a:pt x="3038592" y="1203513"/>
                  </a:lnTo>
                  <a:lnTo>
                    <a:pt x="3038975" y="1204146"/>
                  </a:lnTo>
                  <a:lnTo>
                    <a:pt x="3040265" y="1206013"/>
                  </a:lnTo>
                  <a:lnTo>
                    <a:pt x="3040797" y="1207013"/>
                  </a:lnTo>
                  <a:lnTo>
                    <a:pt x="3040905" y="1207426"/>
                  </a:lnTo>
                  <a:lnTo>
                    <a:pt x="3040939" y="1207810"/>
                  </a:lnTo>
                  <a:lnTo>
                    <a:pt x="3040990" y="1208163"/>
                  </a:lnTo>
                  <a:lnTo>
                    <a:pt x="3041147" y="1208484"/>
                  </a:lnTo>
                  <a:lnTo>
                    <a:pt x="3041432" y="1208725"/>
                  </a:lnTo>
                  <a:lnTo>
                    <a:pt x="3042140" y="1208971"/>
                  </a:lnTo>
                  <a:lnTo>
                    <a:pt x="3042907" y="1209935"/>
                  </a:lnTo>
                  <a:lnTo>
                    <a:pt x="3043212" y="1210144"/>
                  </a:lnTo>
                  <a:lnTo>
                    <a:pt x="3043323" y="1210530"/>
                  </a:lnTo>
                  <a:lnTo>
                    <a:pt x="3043499" y="1212003"/>
                  </a:lnTo>
                  <a:lnTo>
                    <a:pt x="3043316" y="1212789"/>
                  </a:lnTo>
                  <a:lnTo>
                    <a:pt x="3042734" y="1213562"/>
                  </a:lnTo>
                  <a:lnTo>
                    <a:pt x="3042011" y="1214079"/>
                  </a:lnTo>
                  <a:lnTo>
                    <a:pt x="3041387" y="1214086"/>
                  </a:lnTo>
                  <a:lnTo>
                    <a:pt x="3040503" y="1213259"/>
                  </a:lnTo>
                  <a:lnTo>
                    <a:pt x="3040006" y="1212336"/>
                  </a:lnTo>
                  <a:lnTo>
                    <a:pt x="3039970" y="1211575"/>
                  </a:lnTo>
                  <a:lnTo>
                    <a:pt x="3040473" y="1211232"/>
                  </a:lnTo>
                  <a:lnTo>
                    <a:pt x="3037986" y="1210665"/>
                  </a:lnTo>
                  <a:lnTo>
                    <a:pt x="3035053" y="1211181"/>
                  </a:lnTo>
                  <a:lnTo>
                    <a:pt x="3032292" y="1209914"/>
                  </a:lnTo>
                  <a:lnTo>
                    <a:pt x="3030325" y="1203999"/>
                  </a:lnTo>
                  <a:lnTo>
                    <a:pt x="3029034" y="1203760"/>
                  </a:lnTo>
                  <a:lnTo>
                    <a:pt x="3028478" y="1203161"/>
                  </a:lnTo>
                  <a:lnTo>
                    <a:pt x="3028080" y="1201672"/>
                  </a:lnTo>
                  <a:lnTo>
                    <a:pt x="3026957" y="1200498"/>
                  </a:lnTo>
                  <a:lnTo>
                    <a:pt x="3023738" y="1198494"/>
                  </a:lnTo>
                  <a:lnTo>
                    <a:pt x="3023448" y="1197260"/>
                  </a:lnTo>
                  <a:lnTo>
                    <a:pt x="3023021" y="1196543"/>
                  </a:lnTo>
                  <a:lnTo>
                    <a:pt x="3022616" y="1196124"/>
                  </a:lnTo>
                  <a:lnTo>
                    <a:pt x="3022397" y="1195808"/>
                  </a:lnTo>
                  <a:lnTo>
                    <a:pt x="3022304" y="1194583"/>
                  </a:lnTo>
                  <a:lnTo>
                    <a:pt x="3022582" y="1193843"/>
                  </a:lnTo>
                  <a:close/>
                  <a:moveTo>
                    <a:pt x="1781939" y="1177763"/>
                  </a:moveTo>
                  <a:lnTo>
                    <a:pt x="1783428" y="1177920"/>
                  </a:lnTo>
                  <a:lnTo>
                    <a:pt x="1784114" y="1178262"/>
                  </a:lnTo>
                  <a:lnTo>
                    <a:pt x="1784605" y="1179116"/>
                  </a:lnTo>
                  <a:lnTo>
                    <a:pt x="1784946" y="1179327"/>
                  </a:lnTo>
                  <a:lnTo>
                    <a:pt x="1785179" y="1179777"/>
                  </a:lnTo>
                  <a:lnTo>
                    <a:pt x="1785277" y="1180502"/>
                  </a:lnTo>
                  <a:lnTo>
                    <a:pt x="1785214" y="1181537"/>
                  </a:lnTo>
                  <a:lnTo>
                    <a:pt x="1782940" y="1181170"/>
                  </a:lnTo>
                  <a:lnTo>
                    <a:pt x="1782080" y="1180136"/>
                  </a:lnTo>
                  <a:close/>
                  <a:moveTo>
                    <a:pt x="1786583" y="1176031"/>
                  </a:moveTo>
                  <a:lnTo>
                    <a:pt x="1788761" y="1177053"/>
                  </a:lnTo>
                  <a:lnTo>
                    <a:pt x="1789245" y="1177033"/>
                  </a:lnTo>
                  <a:lnTo>
                    <a:pt x="1789687" y="1177197"/>
                  </a:lnTo>
                  <a:lnTo>
                    <a:pt x="1789968" y="1177721"/>
                  </a:lnTo>
                  <a:lnTo>
                    <a:pt x="1789988" y="1178773"/>
                  </a:lnTo>
                  <a:lnTo>
                    <a:pt x="1785691" y="1176379"/>
                  </a:lnTo>
                  <a:close/>
                  <a:moveTo>
                    <a:pt x="1790593" y="1173858"/>
                  </a:moveTo>
                  <a:lnTo>
                    <a:pt x="1792230" y="1173943"/>
                  </a:lnTo>
                  <a:lnTo>
                    <a:pt x="1793174" y="1174906"/>
                  </a:lnTo>
                  <a:lnTo>
                    <a:pt x="1792070" y="1176361"/>
                  </a:lnTo>
                  <a:lnTo>
                    <a:pt x="1790871" y="1176232"/>
                  </a:lnTo>
                  <a:lnTo>
                    <a:pt x="1788852" y="1174652"/>
                  </a:lnTo>
                  <a:lnTo>
                    <a:pt x="1789733" y="1174119"/>
                  </a:lnTo>
                  <a:close/>
                  <a:moveTo>
                    <a:pt x="3036889" y="1173114"/>
                  </a:moveTo>
                  <a:lnTo>
                    <a:pt x="3038019" y="1173205"/>
                  </a:lnTo>
                  <a:lnTo>
                    <a:pt x="3039171" y="1174262"/>
                  </a:lnTo>
                  <a:lnTo>
                    <a:pt x="3041997" y="1178304"/>
                  </a:lnTo>
                  <a:lnTo>
                    <a:pt x="3042043" y="1184492"/>
                  </a:lnTo>
                  <a:lnTo>
                    <a:pt x="3041588" y="1186848"/>
                  </a:lnTo>
                  <a:lnTo>
                    <a:pt x="3033068" y="1186993"/>
                  </a:lnTo>
                  <a:lnTo>
                    <a:pt x="3030295" y="1184600"/>
                  </a:lnTo>
                  <a:lnTo>
                    <a:pt x="3030126" y="1181971"/>
                  </a:lnTo>
                  <a:lnTo>
                    <a:pt x="3030347" y="1179756"/>
                  </a:lnTo>
                  <a:lnTo>
                    <a:pt x="3031163" y="1176140"/>
                  </a:lnTo>
                  <a:close/>
                  <a:moveTo>
                    <a:pt x="2228071" y="1162351"/>
                  </a:moveTo>
                  <a:lnTo>
                    <a:pt x="2229571" y="1162577"/>
                  </a:lnTo>
                  <a:lnTo>
                    <a:pt x="2230695" y="1163584"/>
                  </a:lnTo>
                  <a:lnTo>
                    <a:pt x="2231108" y="1163597"/>
                  </a:lnTo>
                  <a:lnTo>
                    <a:pt x="2231503" y="1164100"/>
                  </a:lnTo>
                  <a:lnTo>
                    <a:pt x="2232213" y="1165806"/>
                  </a:lnTo>
                  <a:lnTo>
                    <a:pt x="2231799" y="1167795"/>
                  </a:lnTo>
                  <a:lnTo>
                    <a:pt x="2230800" y="1170041"/>
                  </a:lnTo>
                  <a:lnTo>
                    <a:pt x="2231156" y="1170995"/>
                  </a:lnTo>
                  <a:lnTo>
                    <a:pt x="2232058" y="1171206"/>
                  </a:lnTo>
                  <a:lnTo>
                    <a:pt x="2232936" y="1170180"/>
                  </a:lnTo>
                  <a:lnTo>
                    <a:pt x="2233787" y="1168817"/>
                  </a:lnTo>
                  <a:lnTo>
                    <a:pt x="2234602" y="1168028"/>
                  </a:lnTo>
                  <a:lnTo>
                    <a:pt x="2234869" y="1169804"/>
                  </a:lnTo>
                  <a:lnTo>
                    <a:pt x="2236912" y="1174363"/>
                  </a:lnTo>
                  <a:lnTo>
                    <a:pt x="2237267" y="1177725"/>
                  </a:lnTo>
                  <a:lnTo>
                    <a:pt x="2236986" y="1179428"/>
                  </a:lnTo>
                  <a:lnTo>
                    <a:pt x="2236498" y="1180645"/>
                  </a:lnTo>
                  <a:lnTo>
                    <a:pt x="2235962" y="1181699"/>
                  </a:lnTo>
                  <a:lnTo>
                    <a:pt x="2235537" y="1182920"/>
                  </a:lnTo>
                  <a:lnTo>
                    <a:pt x="2235414" y="1183649"/>
                  </a:lnTo>
                  <a:lnTo>
                    <a:pt x="2235200" y="1185351"/>
                  </a:lnTo>
                  <a:lnTo>
                    <a:pt x="2235108" y="1185891"/>
                  </a:lnTo>
                  <a:lnTo>
                    <a:pt x="2234807" y="1186833"/>
                  </a:lnTo>
                  <a:lnTo>
                    <a:pt x="2234518" y="1187391"/>
                  </a:lnTo>
                  <a:lnTo>
                    <a:pt x="2232756" y="1189768"/>
                  </a:lnTo>
                  <a:lnTo>
                    <a:pt x="2230388" y="1190973"/>
                  </a:lnTo>
                  <a:lnTo>
                    <a:pt x="2225553" y="1191641"/>
                  </a:lnTo>
                  <a:lnTo>
                    <a:pt x="2224304" y="1191077"/>
                  </a:lnTo>
                  <a:lnTo>
                    <a:pt x="2221565" y="1187315"/>
                  </a:lnTo>
                  <a:lnTo>
                    <a:pt x="2220242" y="1184287"/>
                  </a:lnTo>
                  <a:lnTo>
                    <a:pt x="2219962" y="1181355"/>
                  </a:lnTo>
                  <a:lnTo>
                    <a:pt x="2219267" y="1178646"/>
                  </a:lnTo>
                  <a:lnTo>
                    <a:pt x="2218989" y="1177014"/>
                  </a:lnTo>
                  <a:lnTo>
                    <a:pt x="2218885" y="1175118"/>
                  </a:lnTo>
                  <a:lnTo>
                    <a:pt x="2219173" y="1173073"/>
                  </a:lnTo>
                  <a:lnTo>
                    <a:pt x="2219835" y="1171423"/>
                  </a:lnTo>
                  <a:lnTo>
                    <a:pt x="2220609" y="1169942"/>
                  </a:lnTo>
                  <a:lnTo>
                    <a:pt x="2221219" y="1168419"/>
                  </a:lnTo>
                  <a:lnTo>
                    <a:pt x="2222122" y="1166527"/>
                  </a:lnTo>
                  <a:lnTo>
                    <a:pt x="2224428" y="1165063"/>
                  </a:lnTo>
                  <a:lnTo>
                    <a:pt x="2226573" y="1162840"/>
                  </a:lnTo>
                  <a:close/>
                  <a:moveTo>
                    <a:pt x="1141380" y="1161346"/>
                  </a:moveTo>
                  <a:lnTo>
                    <a:pt x="1142369" y="1162010"/>
                  </a:lnTo>
                  <a:lnTo>
                    <a:pt x="1143168" y="1163928"/>
                  </a:lnTo>
                  <a:lnTo>
                    <a:pt x="1143625" y="1166347"/>
                  </a:lnTo>
                  <a:lnTo>
                    <a:pt x="1143577" y="1168524"/>
                  </a:lnTo>
                  <a:lnTo>
                    <a:pt x="1142879" y="1169059"/>
                  </a:lnTo>
                  <a:lnTo>
                    <a:pt x="1142315" y="1169312"/>
                  </a:lnTo>
                  <a:lnTo>
                    <a:pt x="1141968" y="1169153"/>
                  </a:lnTo>
                  <a:lnTo>
                    <a:pt x="1141915" y="1168473"/>
                  </a:lnTo>
                  <a:lnTo>
                    <a:pt x="1140936" y="1170683"/>
                  </a:lnTo>
                  <a:lnTo>
                    <a:pt x="1139868" y="1171230"/>
                  </a:lnTo>
                  <a:lnTo>
                    <a:pt x="1138967" y="1170784"/>
                  </a:lnTo>
                  <a:lnTo>
                    <a:pt x="1138489" y="1170018"/>
                  </a:lnTo>
                  <a:lnTo>
                    <a:pt x="1138336" y="1167672"/>
                  </a:lnTo>
                  <a:lnTo>
                    <a:pt x="1137864" y="1167123"/>
                  </a:lnTo>
                  <a:lnTo>
                    <a:pt x="1136666" y="1168240"/>
                  </a:lnTo>
                  <a:lnTo>
                    <a:pt x="1136644" y="1168595"/>
                  </a:lnTo>
                  <a:lnTo>
                    <a:pt x="1136443" y="1169260"/>
                  </a:lnTo>
                  <a:lnTo>
                    <a:pt x="1136345" y="1169776"/>
                  </a:lnTo>
                  <a:lnTo>
                    <a:pt x="1135250" y="1169746"/>
                  </a:lnTo>
                  <a:lnTo>
                    <a:pt x="1131669" y="1170558"/>
                  </a:lnTo>
                  <a:lnTo>
                    <a:pt x="1133972" y="1168474"/>
                  </a:lnTo>
                  <a:lnTo>
                    <a:pt x="1139989" y="1162311"/>
                  </a:lnTo>
                  <a:close/>
                  <a:moveTo>
                    <a:pt x="903721" y="1149615"/>
                  </a:moveTo>
                  <a:lnTo>
                    <a:pt x="904127" y="1149959"/>
                  </a:lnTo>
                  <a:lnTo>
                    <a:pt x="904515" y="1151139"/>
                  </a:lnTo>
                  <a:lnTo>
                    <a:pt x="904404" y="1151367"/>
                  </a:lnTo>
                  <a:lnTo>
                    <a:pt x="904159" y="1151823"/>
                  </a:lnTo>
                  <a:lnTo>
                    <a:pt x="903965" y="1152304"/>
                  </a:lnTo>
                  <a:lnTo>
                    <a:pt x="903998" y="1152607"/>
                  </a:lnTo>
                  <a:lnTo>
                    <a:pt x="905180" y="1153401"/>
                  </a:lnTo>
                  <a:lnTo>
                    <a:pt x="903865" y="1154149"/>
                  </a:lnTo>
                  <a:lnTo>
                    <a:pt x="900268" y="1152806"/>
                  </a:lnTo>
                  <a:lnTo>
                    <a:pt x="899802" y="1153488"/>
                  </a:lnTo>
                  <a:lnTo>
                    <a:pt x="900720" y="1154891"/>
                  </a:lnTo>
                  <a:lnTo>
                    <a:pt x="899016" y="1154683"/>
                  </a:lnTo>
                  <a:lnTo>
                    <a:pt x="898314" y="1154301"/>
                  </a:lnTo>
                  <a:lnTo>
                    <a:pt x="897031" y="1151615"/>
                  </a:lnTo>
                  <a:lnTo>
                    <a:pt x="897316" y="1151191"/>
                  </a:lnTo>
                  <a:lnTo>
                    <a:pt x="897568" y="1150912"/>
                  </a:lnTo>
                  <a:lnTo>
                    <a:pt x="898131" y="1150465"/>
                  </a:lnTo>
                  <a:lnTo>
                    <a:pt x="898629" y="1150607"/>
                  </a:lnTo>
                  <a:lnTo>
                    <a:pt x="899864" y="1150127"/>
                  </a:lnTo>
                  <a:close/>
                  <a:moveTo>
                    <a:pt x="801787" y="1139337"/>
                  </a:moveTo>
                  <a:lnTo>
                    <a:pt x="803391" y="1139473"/>
                  </a:lnTo>
                  <a:lnTo>
                    <a:pt x="804280" y="1142570"/>
                  </a:lnTo>
                  <a:lnTo>
                    <a:pt x="804583" y="1147270"/>
                  </a:lnTo>
                  <a:lnTo>
                    <a:pt x="804681" y="1150090"/>
                  </a:lnTo>
                  <a:lnTo>
                    <a:pt x="803980" y="1152046"/>
                  </a:lnTo>
                  <a:lnTo>
                    <a:pt x="802745" y="1151596"/>
                  </a:lnTo>
                  <a:lnTo>
                    <a:pt x="801453" y="1150237"/>
                  </a:lnTo>
                  <a:lnTo>
                    <a:pt x="799736" y="1150455"/>
                  </a:lnTo>
                  <a:lnTo>
                    <a:pt x="798720" y="1148715"/>
                  </a:lnTo>
                  <a:lnTo>
                    <a:pt x="798272" y="1145792"/>
                  </a:lnTo>
                  <a:lnTo>
                    <a:pt x="799142" y="1144388"/>
                  </a:lnTo>
                  <a:lnTo>
                    <a:pt x="800364" y="1145842"/>
                  </a:lnTo>
                  <a:lnTo>
                    <a:pt x="801370" y="1144248"/>
                  </a:lnTo>
                  <a:lnTo>
                    <a:pt x="801573" y="1141209"/>
                  </a:lnTo>
                  <a:close/>
                  <a:moveTo>
                    <a:pt x="838596" y="1133903"/>
                  </a:moveTo>
                  <a:lnTo>
                    <a:pt x="839543" y="1134541"/>
                  </a:lnTo>
                  <a:lnTo>
                    <a:pt x="840526" y="1137121"/>
                  </a:lnTo>
                  <a:lnTo>
                    <a:pt x="843167" y="1138116"/>
                  </a:lnTo>
                  <a:lnTo>
                    <a:pt x="844081" y="1139173"/>
                  </a:lnTo>
                  <a:lnTo>
                    <a:pt x="843985" y="1141426"/>
                  </a:lnTo>
                  <a:lnTo>
                    <a:pt x="842321" y="1142463"/>
                  </a:lnTo>
                  <a:lnTo>
                    <a:pt x="841822" y="1142664"/>
                  </a:lnTo>
                  <a:lnTo>
                    <a:pt x="842224" y="1143543"/>
                  </a:lnTo>
                  <a:lnTo>
                    <a:pt x="844065" y="1143928"/>
                  </a:lnTo>
                  <a:lnTo>
                    <a:pt x="843499" y="1145275"/>
                  </a:lnTo>
                  <a:lnTo>
                    <a:pt x="842217" y="1146704"/>
                  </a:lnTo>
                  <a:lnTo>
                    <a:pt x="840799" y="1147812"/>
                  </a:lnTo>
                  <a:lnTo>
                    <a:pt x="839868" y="1148065"/>
                  </a:lnTo>
                  <a:lnTo>
                    <a:pt x="840224" y="1145117"/>
                  </a:lnTo>
                  <a:lnTo>
                    <a:pt x="840056" y="1143530"/>
                  </a:lnTo>
                  <a:lnTo>
                    <a:pt x="836771" y="1135456"/>
                  </a:lnTo>
                  <a:close/>
                  <a:moveTo>
                    <a:pt x="835420" y="1119596"/>
                  </a:moveTo>
                  <a:lnTo>
                    <a:pt x="837705" y="1119869"/>
                  </a:lnTo>
                  <a:lnTo>
                    <a:pt x="840408" y="1121418"/>
                  </a:lnTo>
                  <a:lnTo>
                    <a:pt x="841244" y="1127668"/>
                  </a:lnTo>
                  <a:lnTo>
                    <a:pt x="839914" y="1129249"/>
                  </a:lnTo>
                  <a:lnTo>
                    <a:pt x="838840" y="1128087"/>
                  </a:lnTo>
                  <a:lnTo>
                    <a:pt x="838058" y="1124409"/>
                  </a:lnTo>
                  <a:lnTo>
                    <a:pt x="836759" y="1122503"/>
                  </a:lnTo>
                  <a:lnTo>
                    <a:pt x="834493" y="1120880"/>
                  </a:lnTo>
                  <a:close/>
                  <a:moveTo>
                    <a:pt x="855396" y="1113211"/>
                  </a:moveTo>
                  <a:lnTo>
                    <a:pt x="856872" y="1113586"/>
                  </a:lnTo>
                  <a:lnTo>
                    <a:pt x="859073" y="1115043"/>
                  </a:lnTo>
                  <a:lnTo>
                    <a:pt x="858040" y="1115916"/>
                  </a:lnTo>
                  <a:lnTo>
                    <a:pt x="853195" y="1119263"/>
                  </a:lnTo>
                  <a:lnTo>
                    <a:pt x="851617" y="1119879"/>
                  </a:lnTo>
                  <a:lnTo>
                    <a:pt x="850274" y="1119870"/>
                  </a:lnTo>
                  <a:lnTo>
                    <a:pt x="849326" y="1119269"/>
                  </a:lnTo>
                  <a:lnTo>
                    <a:pt x="848913" y="1118136"/>
                  </a:lnTo>
                  <a:lnTo>
                    <a:pt x="849360" y="1116315"/>
                  </a:lnTo>
                  <a:lnTo>
                    <a:pt x="850731" y="1115178"/>
                  </a:lnTo>
                  <a:lnTo>
                    <a:pt x="853878" y="1113687"/>
                  </a:lnTo>
                  <a:close/>
                  <a:moveTo>
                    <a:pt x="1890473" y="1084884"/>
                  </a:moveTo>
                  <a:lnTo>
                    <a:pt x="1895564" y="1086654"/>
                  </a:lnTo>
                  <a:lnTo>
                    <a:pt x="1898007" y="1089826"/>
                  </a:lnTo>
                  <a:lnTo>
                    <a:pt x="1897387" y="1091187"/>
                  </a:lnTo>
                  <a:lnTo>
                    <a:pt x="1896706" y="1092052"/>
                  </a:lnTo>
                  <a:lnTo>
                    <a:pt x="1896021" y="1092431"/>
                  </a:lnTo>
                  <a:lnTo>
                    <a:pt x="1894563" y="1092137"/>
                  </a:lnTo>
                  <a:lnTo>
                    <a:pt x="1892648" y="1093073"/>
                  </a:lnTo>
                  <a:lnTo>
                    <a:pt x="1884321" y="1093371"/>
                  </a:lnTo>
                  <a:lnTo>
                    <a:pt x="1883474" y="1092464"/>
                  </a:lnTo>
                  <a:lnTo>
                    <a:pt x="1883371" y="1092072"/>
                  </a:lnTo>
                  <a:lnTo>
                    <a:pt x="1883055" y="1090127"/>
                  </a:lnTo>
                  <a:lnTo>
                    <a:pt x="1882368" y="1088816"/>
                  </a:lnTo>
                  <a:lnTo>
                    <a:pt x="1882356" y="1088148"/>
                  </a:lnTo>
                  <a:lnTo>
                    <a:pt x="1885236" y="1085162"/>
                  </a:lnTo>
                  <a:close/>
                  <a:moveTo>
                    <a:pt x="1967802" y="1081925"/>
                  </a:moveTo>
                  <a:lnTo>
                    <a:pt x="1974092" y="1084311"/>
                  </a:lnTo>
                  <a:lnTo>
                    <a:pt x="1975251" y="1085495"/>
                  </a:lnTo>
                  <a:lnTo>
                    <a:pt x="1975865" y="1085804"/>
                  </a:lnTo>
                  <a:lnTo>
                    <a:pt x="1976563" y="1086592"/>
                  </a:lnTo>
                  <a:lnTo>
                    <a:pt x="1978782" y="1091498"/>
                  </a:lnTo>
                  <a:lnTo>
                    <a:pt x="1982026" y="1094767"/>
                  </a:lnTo>
                  <a:lnTo>
                    <a:pt x="1982441" y="1096077"/>
                  </a:lnTo>
                  <a:lnTo>
                    <a:pt x="1982786" y="1098430"/>
                  </a:lnTo>
                  <a:lnTo>
                    <a:pt x="1987066" y="1099886"/>
                  </a:lnTo>
                  <a:lnTo>
                    <a:pt x="1990291" y="1104083"/>
                  </a:lnTo>
                  <a:lnTo>
                    <a:pt x="1991713" y="1107318"/>
                  </a:lnTo>
                  <a:lnTo>
                    <a:pt x="1991577" y="1111123"/>
                  </a:lnTo>
                  <a:lnTo>
                    <a:pt x="1991289" y="1111471"/>
                  </a:lnTo>
                  <a:lnTo>
                    <a:pt x="1990996" y="1111951"/>
                  </a:lnTo>
                  <a:lnTo>
                    <a:pt x="1990441" y="1113162"/>
                  </a:lnTo>
                  <a:lnTo>
                    <a:pt x="1990141" y="1115259"/>
                  </a:lnTo>
                  <a:lnTo>
                    <a:pt x="1989335" y="1116740"/>
                  </a:lnTo>
                  <a:lnTo>
                    <a:pt x="1988383" y="1118062"/>
                  </a:lnTo>
                  <a:lnTo>
                    <a:pt x="1987648" y="1119682"/>
                  </a:lnTo>
                  <a:lnTo>
                    <a:pt x="1988156" y="1121593"/>
                  </a:lnTo>
                  <a:lnTo>
                    <a:pt x="1988187" y="1122292"/>
                  </a:lnTo>
                  <a:lnTo>
                    <a:pt x="1987831" y="1123732"/>
                  </a:lnTo>
                  <a:lnTo>
                    <a:pt x="1986820" y="1125705"/>
                  </a:lnTo>
                  <a:lnTo>
                    <a:pt x="1986533" y="1126605"/>
                  </a:lnTo>
                  <a:lnTo>
                    <a:pt x="1986388" y="1129024"/>
                  </a:lnTo>
                  <a:lnTo>
                    <a:pt x="1986428" y="1130775"/>
                  </a:lnTo>
                  <a:lnTo>
                    <a:pt x="1986216" y="1132371"/>
                  </a:lnTo>
                  <a:lnTo>
                    <a:pt x="1985310" y="1134339"/>
                  </a:lnTo>
                  <a:lnTo>
                    <a:pt x="1982229" y="1138353"/>
                  </a:lnTo>
                  <a:lnTo>
                    <a:pt x="1979054" y="1144037"/>
                  </a:lnTo>
                  <a:lnTo>
                    <a:pt x="1978489" y="1145834"/>
                  </a:lnTo>
                  <a:lnTo>
                    <a:pt x="1979073" y="1147088"/>
                  </a:lnTo>
                  <a:lnTo>
                    <a:pt x="1978041" y="1148781"/>
                  </a:lnTo>
                  <a:lnTo>
                    <a:pt x="1975393" y="1150423"/>
                  </a:lnTo>
                  <a:lnTo>
                    <a:pt x="1974266" y="1151715"/>
                  </a:lnTo>
                  <a:lnTo>
                    <a:pt x="1971932" y="1155364"/>
                  </a:lnTo>
                  <a:lnTo>
                    <a:pt x="1969484" y="1157896"/>
                  </a:lnTo>
                  <a:lnTo>
                    <a:pt x="1969123" y="1162680"/>
                  </a:lnTo>
                  <a:lnTo>
                    <a:pt x="1967709" y="1164891"/>
                  </a:lnTo>
                  <a:lnTo>
                    <a:pt x="1964003" y="1167240"/>
                  </a:lnTo>
                  <a:lnTo>
                    <a:pt x="1960745" y="1171572"/>
                  </a:lnTo>
                  <a:lnTo>
                    <a:pt x="1959726" y="1172323"/>
                  </a:lnTo>
                  <a:lnTo>
                    <a:pt x="1958779" y="1171750"/>
                  </a:lnTo>
                  <a:lnTo>
                    <a:pt x="1957887" y="1170304"/>
                  </a:lnTo>
                  <a:lnTo>
                    <a:pt x="1956939" y="1169372"/>
                  </a:lnTo>
                  <a:lnTo>
                    <a:pt x="1955826" y="1170296"/>
                  </a:lnTo>
                  <a:lnTo>
                    <a:pt x="1956666" y="1171209"/>
                  </a:lnTo>
                  <a:lnTo>
                    <a:pt x="1957312" y="1172445"/>
                  </a:lnTo>
                  <a:lnTo>
                    <a:pt x="1957296" y="1173558"/>
                  </a:lnTo>
                  <a:lnTo>
                    <a:pt x="1956152" y="1174086"/>
                  </a:lnTo>
                  <a:lnTo>
                    <a:pt x="1957496" y="1177268"/>
                  </a:lnTo>
                  <a:lnTo>
                    <a:pt x="1959130" y="1178894"/>
                  </a:lnTo>
                  <a:lnTo>
                    <a:pt x="1959555" y="1179861"/>
                  </a:lnTo>
                  <a:lnTo>
                    <a:pt x="1957727" y="1180366"/>
                  </a:lnTo>
                  <a:lnTo>
                    <a:pt x="1957329" y="1180701"/>
                  </a:lnTo>
                  <a:lnTo>
                    <a:pt x="1957018" y="1181065"/>
                  </a:lnTo>
                  <a:lnTo>
                    <a:pt x="1956701" y="1181245"/>
                  </a:lnTo>
                  <a:lnTo>
                    <a:pt x="1956302" y="1180990"/>
                  </a:lnTo>
                  <a:lnTo>
                    <a:pt x="1956283" y="1179921"/>
                  </a:lnTo>
                  <a:lnTo>
                    <a:pt x="1956191" y="1179100"/>
                  </a:lnTo>
                  <a:lnTo>
                    <a:pt x="1955981" y="1178559"/>
                  </a:lnTo>
                  <a:lnTo>
                    <a:pt x="1955495" y="1178421"/>
                  </a:lnTo>
                  <a:lnTo>
                    <a:pt x="1953665" y="1179065"/>
                  </a:lnTo>
                  <a:lnTo>
                    <a:pt x="1953801" y="1178561"/>
                  </a:lnTo>
                  <a:lnTo>
                    <a:pt x="1954055" y="1177323"/>
                  </a:lnTo>
                  <a:lnTo>
                    <a:pt x="1954189" y="1176819"/>
                  </a:lnTo>
                  <a:lnTo>
                    <a:pt x="1952920" y="1175868"/>
                  </a:lnTo>
                  <a:lnTo>
                    <a:pt x="1952346" y="1174828"/>
                  </a:lnTo>
                  <a:lnTo>
                    <a:pt x="1952265" y="1173219"/>
                  </a:lnTo>
                  <a:lnTo>
                    <a:pt x="1952379" y="1171583"/>
                  </a:lnTo>
                  <a:lnTo>
                    <a:pt x="1952239" y="1170241"/>
                  </a:lnTo>
                  <a:lnTo>
                    <a:pt x="1951908" y="1169137"/>
                  </a:lnTo>
                  <a:lnTo>
                    <a:pt x="1945628" y="1158365"/>
                  </a:lnTo>
                  <a:lnTo>
                    <a:pt x="1944384" y="1154461"/>
                  </a:lnTo>
                  <a:lnTo>
                    <a:pt x="1943927" y="1151848"/>
                  </a:lnTo>
                  <a:lnTo>
                    <a:pt x="1943601" y="1150889"/>
                  </a:lnTo>
                  <a:lnTo>
                    <a:pt x="1942539" y="1150070"/>
                  </a:lnTo>
                  <a:lnTo>
                    <a:pt x="1942052" y="1149249"/>
                  </a:lnTo>
                  <a:lnTo>
                    <a:pt x="1941289" y="1147198"/>
                  </a:lnTo>
                  <a:lnTo>
                    <a:pt x="1941729" y="1145952"/>
                  </a:lnTo>
                  <a:lnTo>
                    <a:pt x="1941970" y="1145505"/>
                  </a:lnTo>
                  <a:lnTo>
                    <a:pt x="1942306" y="1145094"/>
                  </a:lnTo>
                  <a:lnTo>
                    <a:pt x="1941908" y="1144584"/>
                  </a:lnTo>
                  <a:lnTo>
                    <a:pt x="1941502" y="1144619"/>
                  </a:lnTo>
                  <a:lnTo>
                    <a:pt x="1941067" y="1144824"/>
                  </a:lnTo>
                  <a:lnTo>
                    <a:pt x="1940574" y="1144841"/>
                  </a:lnTo>
                  <a:lnTo>
                    <a:pt x="1936189" y="1140377"/>
                  </a:lnTo>
                  <a:lnTo>
                    <a:pt x="1936759" y="1139952"/>
                  </a:lnTo>
                  <a:lnTo>
                    <a:pt x="1937789" y="1139773"/>
                  </a:lnTo>
                  <a:lnTo>
                    <a:pt x="1938358" y="1139195"/>
                  </a:lnTo>
                  <a:lnTo>
                    <a:pt x="1938036" y="1138464"/>
                  </a:lnTo>
                  <a:lnTo>
                    <a:pt x="1938574" y="1137792"/>
                  </a:lnTo>
                  <a:lnTo>
                    <a:pt x="1937422" y="1135261"/>
                  </a:lnTo>
                  <a:lnTo>
                    <a:pt x="1935676" y="1133230"/>
                  </a:lnTo>
                  <a:lnTo>
                    <a:pt x="1935267" y="1132270"/>
                  </a:lnTo>
                  <a:lnTo>
                    <a:pt x="1934929" y="1130434"/>
                  </a:lnTo>
                  <a:lnTo>
                    <a:pt x="1935626" y="1129882"/>
                  </a:lnTo>
                  <a:lnTo>
                    <a:pt x="1936731" y="1130476"/>
                  </a:lnTo>
                  <a:lnTo>
                    <a:pt x="1937381" y="1130050"/>
                  </a:lnTo>
                  <a:lnTo>
                    <a:pt x="1931289" y="1123124"/>
                  </a:lnTo>
                  <a:lnTo>
                    <a:pt x="1931421" y="1121677"/>
                  </a:lnTo>
                  <a:lnTo>
                    <a:pt x="1930994" y="1120690"/>
                  </a:lnTo>
                  <a:lnTo>
                    <a:pt x="1930324" y="1120113"/>
                  </a:lnTo>
                  <a:lnTo>
                    <a:pt x="1929730" y="1119879"/>
                  </a:lnTo>
                  <a:lnTo>
                    <a:pt x="1929388" y="1119432"/>
                  </a:lnTo>
                  <a:lnTo>
                    <a:pt x="1929046" y="1117447"/>
                  </a:lnTo>
                  <a:lnTo>
                    <a:pt x="1928841" y="1116677"/>
                  </a:lnTo>
                  <a:lnTo>
                    <a:pt x="1927426" y="1115182"/>
                  </a:lnTo>
                  <a:lnTo>
                    <a:pt x="1924122" y="1114035"/>
                  </a:lnTo>
                  <a:lnTo>
                    <a:pt x="1922800" y="1112390"/>
                  </a:lnTo>
                  <a:lnTo>
                    <a:pt x="1921898" y="1110564"/>
                  </a:lnTo>
                  <a:lnTo>
                    <a:pt x="1919699" y="1108037"/>
                  </a:lnTo>
                  <a:lnTo>
                    <a:pt x="1913643" y="1106799"/>
                  </a:lnTo>
                  <a:lnTo>
                    <a:pt x="1912349" y="1105037"/>
                  </a:lnTo>
                  <a:lnTo>
                    <a:pt x="1913250" y="1102858"/>
                  </a:lnTo>
                  <a:lnTo>
                    <a:pt x="1914550" y="1100583"/>
                  </a:lnTo>
                  <a:lnTo>
                    <a:pt x="1915855" y="1098820"/>
                  </a:lnTo>
                  <a:lnTo>
                    <a:pt x="1916771" y="1098162"/>
                  </a:lnTo>
                  <a:lnTo>
                    <a:pt x="1917912" y="1097836"/>
                  </a:lnTo>
                  <a:lnTo>
                    <a:pt x="1919306" y="1096717"/>
                  </a:lnTo>
                  <a:lnTo>
                    <a:pt x="1920725" y="1095036"/>
                  </a:lnTo>
                  <a:lnTo>
                    <a:pt x="1924709" y="1088118"/>
                  </a:lnTo>
                  <a:lnTo>
                    <a:pt x="1927309" y="1084759"/>
                  </a:lnTo>
                  <a:lnTo>
                    <a:pt x="1929850" y="1082943"/>
                  </a:lnTo>
                  <a:lnTo>
                    <a:pt x="1943411" y="1083652"/>
                  </a:lnTo>
                  <a:lnTo>
                    <a:pt x="1956968" y="1084264"/>
                  </a:lnTo>
                  <a:lnTo>
                    <a:pt x="1961741" y="1082059"/>
                  </a:lnTo>
                  <a:close/>
                  <a:moveTo>
                    <a:pt x="2132845" y="1077838"/>
                  </a:moveTo>
                  <a:lnTo>
                    <a:pt x="2138788" y="1079550"/>
                  </a:lnTo>
                  <a:lnTo>
                    <a:pt x="2138503" y="1080266"/>
                  </a:lnTo>
                  <a:lnTo>
                    <a:pt x="2138095" y="1081082"/>
                  </a:lnTo>
                  <a:lnTo>
                    <a:pt x="2137721" y="1082068"/>
                  </a:lnTo>
                  <a:lnTo>
                    <a:pt x="2137544" y="1083262"/>
                  </a:lnTo>
                  <a:lnTo>
                    <a:pt x="2137713" y="1083850"/>
                  </a:lnTo>
                  <a:lnTo>
                    <a:pt x="2138544" y="1085910"/>
                  </a:lnTo>
                  <a:lnTo>
                    <a:pt x="2138830" y="1087038"/>
                  </a:lnTo>
                  <a:lnTo>
                    <a:pt x="2139364" y="1086117"/>
                  </a:lnTo>
                  <a:lnTo>
                    <a:pt x="2139795" y="1086650"/>
                  </a:lnTo>
                  <a:lnTo>
                    <a:pt x="2140579" y="1088747"/>
                  </a:lnTo>
                  <a:lnTo>
                    <a:pt x="2141394" y="1089378"/>
                  </a:lnTo>
                  <a:lnTo>
                    <a:pt x="2147011" y="1091117"/>
                  </a:lnTo>
                  <a:lnTo>
                    <a:pt x="2147575" y="1091897"/>
                  </a:lnTo>
                  <a:lnTo>
                    <a:pt x="2148426" y="1094020"/>
                  </a:lnTo>
                  <a:lnTo>
                    <a:pt x="2148931" y="1094912"/>
                  </a:lnTo>
                  <a:lnTo>
                    <a:pt x="2149491" y="1095134"/>
                  </a:lnTo>
                  <a:lnTo>
                    <a:pt x="2150034" y="1094909"/>
                  </a:lnTo>
                  <a:lnTo>
                    <a:pt x="2150558" y="1095002"/>
                  </a:lnTo>
                  <a:lnTo>
                    <a:pt x="2151618" y="1097503"/>
                  </a:lnTo>
                  <a:lnTo>
                    <a:pt x="2155635" y="1101732"/>
                  </a:lnTo>
                  <a:lnTo>
                    <a:pt x="2155976" y="1102607"/>
                  </a:lnTo>
                  <a:lnTo>
                    <a:pt x="2155818" y="1103927"/>
                  </a:lnTo>
                  <a:lnTo>
                    <a:pt x="2155375" y="1104799"/>
                  </a:lnTo>
                  <a:lnTo>
                    <a:pt x="2154873" y="1105509"/>
                  </a:lnTo>
                  <a:lnTo>
                    <a:pt x="2154546" y="1106332"/>
                  </a:lnTo>
                  <a:lnTo>
                    <a:pt x="2155141" y="1106395"/>
                  </a:lnTo>
                  <a:lnTo>
                    <a:pt x="2156258" y="1107101"/>
                  </a:lnTo>
                  <a:lnTo>
                    <a:pt x="2156618" y="1107079"/>
                  </a:lnTo>
                  <a:lnTo>
                    <a:pt x="2157135" y="1106577"/>
                  </a:lnTo>
                  <a:lnTo>
                    <a:pt x="2157339" y="1105161"/>
                  </a:lnTo>
                  <a:lnTo>
                    <a:pt x="2157474" y="1103314"/>
                  </a:lnTo>
                  <a:lnTo>
                    <a:pt x="2157787" y="1101597"/>
                  </a:lnTo>
                  <a:lnTo>
                    <a:pt x="2158441" y="1100498"/>
                  </a:lnTo>
                  <a:lnTo>
                    <a:pt x="2159229" y="1100253"/>
                  </a:lnTo>
                  <a:lnTo>
                    <a:pt x="2160722" y="1100625"/>
                  </a:lnTo>
                  <a:lnTo>
                    <a:pt x="2165045" y="1099404"/>
                  </a:lnTo>
                  <a:lnTo>
                    <a:pt x="2167368" y="1099732"/>
                  </a:lnTo>
                  <a:lnTo>
                    <a:pt x="2168588" y="1102369"/>
                  </a:lnTo>
                  <a:lnTo>
                    <a:pt x="2168798" y="1102376"/>
                  </a:lnTo>
                  <a:lnTo>
                    <a:pt x="2169301" y="1100668"/>
                  </a:lnTo>
                  <a:lnTo>
                    <a:pt x="2170173" y="1099471"/>
                  </a:lnTo>
                  <a:lnTo>
                    <a:pt x="2171149" y="1098803"/>
                  </a:lnTo>
                  <a:lnTo>
                    <a:pt x="2171963" y="1098681"/>
                  </a:lnTo>
                  <a:lnTo>
                    <a:pt x="2172078" y="1098698"/>
                  </a:lnTo>
                  <a:lnTo>
                    <a:pt x="2172306" y="1098174"/>
                  </a:lnTo>
                  <a:lnTo>
                    <a:pt x="2174644" y="1097898"/>
                  </a:lnTo>
                  <a:lnTo>
                    <a:pt x="2176775" y="1096486"/>
                  </a:lnTo>
                  <a:lnTo>
                    <a:pt x="2190240" y="1094183"/>
                  </a:lnTo>
                  <a:lnTo>
                    <a:pt x="2191822" y="1092173"/>
                  </a:lnTo>
                  <a:lnTo>
                    <a:pt x="2193958" y="1090968"/>
                  </a:lnTo>
                  <a:lnTo>
                    <a:pt x="2194751" y="1089141"/>
                  </a:lnTo>
                  <a:lnTo>
                    <a:pt x="2195459" y="1086967"/>
                  </a:lnTo>
                  <a:lnTo>
                    <a:pt x="2196457" y="1085186"/>
                  </a:lnTo>
                  <a:lnTo>
                    <a:pt x="2196268" y="1085183"/>
                  </a:lnTo>
                  <a:lnTo>
                    <a:pt x="2200271" y="1083442"/>
                  </a:lnTo>
                  <a:lnTo>
                    <a:pt x="2201487" y="1084534"/>
                  </a:lnTo>
                  <a:lnTo>
                    <a:pt x="2200720" y="1085777"/>
                  </a:lnTo>
                  <a:lnTo>
                    <a:pt x="2199051" y="1087531"/>
                  </a:lnTo>
                  <a:lnTo>
                    <a:pt x="2198298" y="1088928"/>
                  </a:lnTo>
                  <a:lnTo>
                    <a:pt x="2199256" y="1089889"/>
                  </a:lnTo>
                  <a:lnTo>
                    <a:pt x="2200345" y="1089482"/>
                  </a:lnTo>
                  <a:lnTo>
                    <a:pt x="2202481" y="1087446"/>
                  </a:lnTo>
                  <a:lnTo>
                    <a:pt x="2205112" y="1086054"/>
                  </a:lnTo>
                  <a:lnTo>
                    <a:pt x="2206415" y="1086260"/>
                  </a:lnTo>
                  <a:lnTo>
                    <a:pt x="2209703" y="1089393"/>
                  </a:lnTo>
                  <a:lnTo>
                    <a:pt x="2215820" y="1089875"/>
                  </a:lnTo>
                  <a:lnTo>
                    <a:pt x="2217842" y="1091381"/>
                  </a:lnTo>
                  <a:lnTo>
                    <a:pt x="2218820" y="1092774"/>
                  </a:lnTo>
                  <a:lnTo>
                    <a:pt x="2221614" y="1099762"/>
                  </a:lnTo>
                  <a:lnTo>
                    <a:pt x="2222455" y="1101024"/>
                  </a:lnTo>
                  <a:lnTo>
                    <a:pt x="2224223" y="1102116"/>
                  </a:lnTo>
                  <a:lnTo>
                    <a:pt x="2225051" y="1103373"/>
                  </a:lnTo>
                  <a:lnTo>
                    <a:pt x="2225393" y="1105922"/>
                  </a:lnTo>
                  <a:lnTo>
                    <a:pt x="2225565" y="1107986"/>
                  </a:lnTo>
                  <a:lnTo>
                    <a:pt x="2225597" y="1108851"/>
                  </a:lnTo>
                  <a:lnTo>
                    <a:pt x="2224519" y="1111473"/>
                  </a:lnTo>
                  <a:lnTo>
                    <a:pt x="2224618" y="1113845"/>
                  </a:lnTo>
                  <a:lnTo>
                    <a:pt x="2223837" y="1115460"/>
                  </a:lnTo>
                  <a:lnTo>
                    <a:pt x="2218336" y="1119416"/>
                  </a:lnTo>
                  <a:lnTo>
                    <a:pt x="2218144" y="1121085"/>
                  </a:lnTo>
                  <a:lnTo>
                    <a:pt x="2216823" y="1123021"/>
                  </a:lnTo>
                  <a:lnTo>
                    <a:pt x="2215033" y="1123141"/>
                  </a:lnTo>
                  <a:lnTo>
                    <a:pt x="2210502" y="1119855"/>
                  </a:lnTo>
                  <a:lnTo>
                    <a:pt x="2209765" y="1119795"/>
                  </a:lnTo>
                  <a:lnTo>
                    <a:pt x="2209435" y="1120644"/>
                  </a:lnTo>
                  <a:lnTo>
                    <a:pt x="2209528" y="1122032"/>
                  </a:lnTo>
                  <a:lnTo>
                    <a:pt x="2210036" y="1124308"/>
                  </a:lnTo>
                  <a:lnTo>
                    <a:pt x="2210229" y="1125538"/>
                  </a:lnTo>
                  <a:lnTo>
                    <a:pt x="2208572" y="1126741"/>
                  </a:lnTo>
                  <a:lnTo>
                    <a:pt x="2205265" y="1124356"/>
                  </a:lnTo>
                  <a:lnTo>
                    <a:pt x="2203646" y="1124658"/>
                  </a:lnTo>
                  <a:lnTo>
                    <a:pt x="2204025" y="1126148"/>
                  </a:lnTo>
                  <a:lnTo>
                    <a:pt x="2203876" y="1127202"/>
                  </a:lnTo>
                  <a:lnTo>
                    <a:pt x="2203489" y="1128111"/>
                  </a:lnTo>
                  <a:lnTo>
                    <a:pt x="2203159" y="1129167"/>
                  </a:lnTo>
                  <a:lnTo>
                    <a:pt x="2202961" y="1129996"/>
                  </a:lnTo>
                  <a:lnTo>
                    <a:pt x="2202807" y="1130444"/>
                  </a:lnTo>
                  <a:lnTo>
                    <a:pt x="2202793" y="1130899"/>
                  </a:lnTo>
                  <a:lnTo>
                    <a:pt x="2203004" y="1131763"/>
                  </a:lnTo>
                  <a:lnTo>
                    <a:pt x="2203406" y="1132697"/>
                  </a:lnTo>
                  <a:lnTo>
                    <a:pt x="2203892" y="1133273"/>
                  </a:lnTo>
                  <a:lnTo>
                    <a:pt x="2204404" y="1133558"/>
                  </a:lnTo>
                  <a:lnTo>
                    <a:pt x="2204898" y="1133635"/>
                  </a:lnTo>
                  <a:lnTo>
                    <a:pt x="2206413" y="1132478"/>
                  </a:lnTo>
                  <a:lnTo>
                    <a:pt x="2208107" y="1130208"/>
                  </a:lnTo>
                  <a:lnTo>
                    <a:pt x="2209780" y="1128755"/>
                  </a:lnTo>
                  <a:lnTo>
                    <a:pt x="2211247" y="1129993"/>
                  </a:lnTo>
                  <a:lnTo>
                    <a:pt x="2211007" y="1130742"/>
                  </a:lnTo>
                  <a:lnTo>
                    <a:pt x="2211822" y="1131960"/>
                  </a:lnTo>
                  <a:lnTo>
                    <a:pt x="2212767" y="1132375"/>
                  </a:lnTo>
                  <a:lnTo>
                    <a:pt x="2216760" y="1131543"/>
                  </a:lnTo>
                  <a:lnTo>
                    <a:pt x="2217909" y="1132107"/>
                  </a:lnTo>
                  <a:lnTo>
                    <a:pt x="2218469" y="1134571"/>
                  </a:lnTo>
                  <a:lnTo>
                    <a:pt x="2217790" y="1135151"/>
                  </a:lnTo>
                  <a:lnTo>
                    <a:pt x="2215669" y="1136029"/>
                  </a:lnTo>
                  <a:lnTo>
                    <a:pt x="2216376" y="1136922"/>
                  </a:lnTo>
                  <a:lnTo>
                    <a:pt x="2217856" y="1137643"/>
                  </a:lnTo>
                  <a:lnTo>
                    <a:pt x="2218443" y="1139016"/>
                  </a:lnTo>
                  <a:lnTo>
                    <a:pt x="2218248" y="1139015"/>
                  </a:lnTo>
                  <a:lnTo>
                    <a:pt x="2218439" y="1139321"/>
                  </a:lnTo>
                  <a:lnTo>
                    <a:pt x="2218882" y="1140503"/>
                  </a:lnTo>
                  <a:lnTo>
                    <a:pt x="2218618" y="1140952"/>
                  </a:lnTo>
                  <a:lnTo>
                    <a:pt x="2218413" y="1141468"/>
                  </a:lnTo>
                  <a:lnTo>
                    <a:pt x="2218012" y="1142716"/>
                  </a:lnTo>
                  <a:lnTo>
                    <a:pt x="2218162" y="1144423"/>
                  </a:lnTo>
                  <a:lnTo>
                    <a:pt x="2217500" y="1145254"/>
                  </a:lnTo>
                  <a:lnTo>
                    <a:pt x="2216577" y="1145278"/>
                  </a:lnTo>
                  <a:lnTo>
                    <a:pt x="2215254" y="1143489"/>
                  </a:lnTo>
                  <a:lnTo>
                    <a:pt x="2214326" y="1143584"/>
                  </a:lnTo>
                  <a:lnTo>
                    <a:pt x="2205041" y="1148528"/>
                  </a:lnTo>
                  <a:lnTo>
                    <a:pt x="2202651" y="1148435"/>
                  </a:lnTo>
                  <a:lnTo>
                    <a:pt x="2202866" y="1149331"/>
                  </a:lnTo>
                  <a:lnTo>
                    <a:pt x="2202209" y="1149685"/>
                  </a:lnTo>
                  <a:lnTo>
                    <a:pt x="2200482" y="1149956"/>
                  </a:lnTo>
                  <a:lnTo>
                    <a:pt x="2197441" y="1152959"/>
                  </a:lnTo>
                  <a:lnTo>
                    <a:pt x="2196732" y="1154348"/>
                  </a:lnTo>
                  <a:lnTo>
                    <a:pt x="2196599" y="1155080"/>
                  </a:lnTo>
                  <a:lnTo>
                    <a:pt x="2196536" y="1155967"/>
                  </a:lnTo>
                  <a:lnTo>
                    <a:pt x="2196404" y="1156827"/>
                  </a:lnTo>
                  <a:lnTo>
                    <a:pt x="2196077" y="1157497"/>
                  </a:lnTo>
                  <a:lnTo>
                    <a:pt x="2185658" y="1170278"/>
                  </a:lnTo>
                  <a:lnTo>
                    <a:pt x="2184240" y="1173337"/>
                  </a:lnTo>
                  <a:lnTo>
                    <a:pt x="2180388" y="1178101"/>
                  </a:lnTo>
                  <a:lnTo>
                    <a:pt x="2178389" y="1178820"/>
                  </a:lnTo>
                  <a:lnTo>
                    <a:pt x="2175665" y="1180779"/>
                  </a:lnTo>
                  <a:lnTo>
                    <a:pt x="2174961" y="1182192"/>
                  </a:lnTo>
                  <a:lnTo>
                    <a:pt x="2176227" y="1182562"/>
                  </a:lnTo>
                  <a:lnTo>
                    <a:pt x="2176835" y="1183215"/>
                  </a:lnTo>
                  <a:lnTo>
                    <a:pt x="2177126" y="1184412"/>
                  </a:lnTo>
                  <a:lnTo>
                    <a:pt x="2177029" y="1184967"/>
                  </a:lnTo>
                  <a:lnTo>
                    <a:pt x="2176169" y="1186682"/>
                  </a:lnTo>
                  <a:lnTo>
                    <a:pt x="2177128" y="1187954"/>
                  </a:lnTo>
                  <a:lnTo>
                    <a:pt x="2177444" y="1188917"/>
                  </a:lnTo>
                  <a:lnTo>
                    <a:pt x="2177174" y="1190038"/>
                  </a:lnTo>
                  <a:lnTo>
                    <a:pt x="2176821" y="1191032"/>
                  </a:lnTo>
                  <a:lnTo>
                    <a:pt x="2176665" y="1192284"/>
                  </a:lnTo>
                  <a:lnTo>
                    <a:pt x="2176592" y="1195253"/>
                  </a:lnTo>
                  <a:lnTo>
                    <a:pt x="2176767" y="1196607"/>
                  </a:lnTo>
                  <a:lnTo>
                    <a:pt x="2177199" y="1197648"/>
                  </a:lnTo>
                  <a:lnTo>
                    <a:pt x="2177656" y="1197876"/>
                  </a:lnTo>
                  <a:lnTo>
                    <a:pt x="2177895" y="1196772"/>
                  </a:lnTo>
                  <a:lnTo>
                    <a:pt x="2177995" y="1195236"/>
                  </a:lnTo>
                  <a:lnTo>
                    <a:pt x="2178202" y="1194070"/>
                  </a:lnTo>
                  <a:lnTo>
                    <a:pt x="2178500" y="1193135"/>
                  </a:lnTo>
                  <a:lnTo>
                    <a:pt x="2178881" y="1192349"/>
                  </a:lnTo>
                  <a:lnTo>
                    <a:pt x="2181174" y="1188965"/>
                  </a:lnTo>
                  <a:lnTo>
                    <a:pt x="2182798" y="1185360"/>
                  </a:lnTo>
                  <a:lnTo>
                    <a:pt x="2184269" y="1183762"/>
                  </a:lnTo>
                  <a:lnTo>
                    <a:pt x="2187404" y="1181606"/>
                  </a:lnTo>
                  <a:lnTo>
                    <a:pt x="2188616" y="1179478"/>
                  </a:lnTo>
                  <a:lnTo>
                    <a:pt x="2189092" y="1180376"/>
                  </a:lnTo>
                  <a:lnTo>
                    <a:pt x="2189735" y="1180194"/>
                  </a:lnTo>
                  <a:lnTo>
                    <a:pt x="2191071" y="1178784"/>
                  </a:lnTo>
                  <a:lnTo>
                    <a:pt x="2191999" y="1178297"/>
                  </a:lnTo>
                  <a:lnTo>
                    <a:pt x="2195546" y="1177966"/>
                  </a:lnTo>
                  <a:lnTo>
                    <a:pt x="2196734" y="1178675"/>
                  </a:lnTo>
                  <a:lnTo>
                    <a:pt x="2202352" y="1179272"/>
                  </a:lnTo>
                  <a:lnTo>
                    <a:pt x="2215231" y="1187510"/>
                  </a:lnTo>
                  <a:lnTo>
                    <a:pt x="2216167" y="1190301"/>
                  </a:lnTo>
                  <a:lnTo>
                    <a:pt x="2215702" y="1190113"/>
                  </a:lnTo>
                  <a:lnTo>
                    <a:pt x="2215378" y="1190451"/>
                  </a:lnTo>
                  <a:lnTo>
                    <a:pt x="2215278" y="1191268"/>
                  </a:lnTo>
                  <a:lnTo>
                    <a:pt x="2215493" y="1192520"/>
                  </a:lnTo>
                  <a:lnTo>
                    <a:pt x="2214956" y="1195500"/>
                  </a:lnTo>
                  <a:lnTo>
                    <a:pt x="2214588" y="1196559"/>
                  </a:lnTo>
                  <a:lnTo>
                    <a:pt x="2214027" y="1196961"/>
                  </a:lnTo>
                  <a:lnTo>
                    <a:pt x="2209907" y="1197739"/>
                  </a:lnTo>
                  <a:lnTo>
                    <a:pt x="2209899" y="1198482"/>
                  </a:lnTo>
                  <a:lnTo>
                    <a:pt x="2214812" y="1199199"/>
                  </a:lnTo>
                  <a:lnTo>
                    <a:pt x="2216316" y="1200752"/>
                  </a:lnTo>
                  <a:lnTo>
                    <a:pt x="2216677" y="1201462"/>
                  </a:lnTo>
                  <a:lnTo>
                    <a:pt x="2217659" y="1203912"/>
                  </a:lnTo>
                  <a:lnTo>
                    <a:pt x="2217855" y="1204882"/>
                  </a:lnTo>
                  <a:lnTo>
                    <a:pt x="2218041" y="1206749"/>
                  </a:lnTo>
                  <a:lnTo>
                    <a:pt x="2218534" y="1207140"/>
                  </a:lnTo>
                  <a:lnTo>
                    <a:pt x="2219837" y="1206709"/>
                  </a:lnTo>
                  <a:lnTo>
                    <a:pt x="2220442" y="1207030"/>
                  </a:lnTo>
                  <a:lnTo>
                    <a:pt x="2220864" y="1207615"/>
                  </a:lnTo>
                  <a:lnTo>
                    <a:pt x="2222238" y="1211533"/>
                  </a:lnTo>
                  <a:lnTo>
                    <a:pt x="2222535" y="1212816"/>
                  </a:lnTo>
                  <a:lnTo>
                    <a:pt x="2222359" y="1213399"/>
                  </a:lnTo>
                  <a:lnTo>
                    <a:pt x="2219680" y="1216014"/>
                  </a:lnTo>
                  <a:lnTo>
                    <a:pt x="2219183" y="1217028"/>
                  </a:lnTo>
                  <a:lnTo>
                    <a:pt x="2217302" y="1219375"/>
                  </a:lnTo>
                  <a:lnTo>
                    <a:pt x="2217591" y="1221074"/>
                  </a:lnTo>
                  <a:lnTo>
                    <a:pt x="2217755" y="1221601"/>
                  </a:lnTo>
                  <a:lnTo>
                    <a:pt x="2217571" y="1221706"/>
                  </a:lnTo>
                  <a:lnTo>
                    <a:pt x="2217240" y="1222120"/>
                  </a:lnTo>
                  <a:lnTo>
                    <a:pt x="2217061" y="1222269"/>
                  </a:lnTo>
                  <a:lnTo>
                    <a:pt x="2217198" y="1222447"/>
                  </a:lnTo>
                  <a:lnTo>
                    <a:pt x="2217523" y="1223090"/>
                  </a:lnTo>
                  <a:lnTo>
                    <a:pt x="2216984" y="1225222"/>
                  </a:lnTo>
                  <a:lnTo>
                    <a:pt x="2218108" y="1226064"/>
                  </a:lnTo>
                  <a:lnTo>
                    <a:pt x="2219830" y="1225980"/>
                  </a:lnTo>
                  <a:lnTo>
                    <a:pt x="2221085" y="1225332"/>
                  </a:lnTo>
                  <a:lnTo>
                    <a:pt x="2225567" y="1218664"/>
                  </a:lnTo>
                  <a:lnTo>
                    <a:pt x="2232785" y="1214417"/>
                  </a:lnTo>
                  <a:lnTo>
                    <a:pt x="2234459" y="1214502"/>
                  </a:lnTo>
                  <a:lnTo>
                    <a:pt x="2235180" y="1213806"/>
                  </a:lnTo>
                  <a:lnTo>
                    <a:pt x="2236283" y="1211946"/>
                  </a:lnTo>
                  <a:lnTo>
                    <a:pt x="2236481" y="1210990"/>
                  </a:lnTo>
                  <a:lnTo>
                    <a:pt x="2235844" y="1210369"/>
                  </a:lnTo>
                  <a:lnTo>
                    <a:pt x="2238395" y="1210360"/>
                  </a:lnTo>
                  <a:lnTo>
                    <a:pt x="2238658" y="1211738"/>
                  </a:lnTo>
                  <a:lnTo>
                    <a:pt x="2238914" y="1212762"/>
                  </a:lnTo>
                  <a:lnTo>
                    <a:pt x="2239187" y="1213389"/>
                  </a:lnTo>
                  <a:lnTo>
                    <a:pt x="2238631" y="1214284"/>
                  </a:lnTo>
                  <a:lnTo>
                    <a:pt x="2237345" y="1215510"/>
                  </a:lnTo>
                  <a:lnTo>
                    <a:pt x="2236754" y="1216361"/>
                  </a:lnTo>
                  <a:lnTo>
                    <a:pt x="2237283" y="1217261"/>
                  </a:lnTo>
                  <a:lnTo>
                    <a:pt x="2241237" y="1222273"/>
                  </a:lnTo>
                  <a:lnTo>
                    <a:pt x="2241040" y="1224706"/>
                  </a:lnTo>
                  <a:lnTo>
                    <a:pt x="2241383" y="1227255"/>
                  </a:lnTo>
                  <a:lnTo>
                    <a:pt x="2242064" y="1229387"/>
                  </a:lnTo>
                  <a:lnTo>
                    <a:pt x="2242876" y="1230562"/>
                  </a:lnTo>
                  <a:lnTo>
                    <a:pt x="2242559" y="1231493"/>
                  </a:lnTo>
                  <a:lnTo>
                    <a:pt x="2241967" y="1232531"/>
                  </a:lnTo>
                  <a:lnTo>
                    <a:pt x="2241753" y="1233536"/>
                  </a:lnTo>
                  <a:lnTo>
                    <a:pt x="2242136" y="1233445"/>
                  </a:lnTo>
                  <a:lnTo>
                    <a:pt x="2243048" y="1232816"/>
                  </a:lnTo>
                  <a:lnTo>
                    <a:pt x="2243338" y="1232788"/>
                  </a:lnTo>
                  <a:lnTo>
                    <a:pt x="2243700" y="1233356"/>
                  </a:lnTo>
                  <a:lnTo>
                    <a:pt x="2243898" y="1234084"/>
                  </a:lnTo>
                  <a:lnTo>
                    <a:pt x="2244051" y="1234892"/>
                  </a:lnTo>
                  <a:lnTo>
                    <a:pt x="2244279" y="1235748"/>
                  </a:lnTo>
                  <a:lnTo>
                    <a:pt x="2245201" y="1237895"/>
                  </a:lnTo>
                  <a:lnTo>
                    <a:pt x="2245531" y="1239223"/>
                  </a:lnTo>
                  <a:lnTo>
                    <a:pt x="2245671" y="1241300"/>
                  </a:lnTo>
                  <a:lnTo>
                    <a:pt x="2245881" y="1243262"/>
                  </a:lnTo>
                  <a:lnTo>
                    <a:pt x="2246217" y="1244577"/>
                  </a:lnTo>
                  <a:lnTo>
                    <a:pt x="2246290" y="1245656"/>
                  </a:lnTo>
                  <a:lnTo>
                    <a:pt x="2245716" y="1246863"/>
                  </a:lnTo>
                  <a:lnTo>
                    <a:pt x="2245124" y="1247248"/>
                  </a:lnTo>
                  <a:lnTo>
                    <a:pt x="2243798" y="1247115"/>
                  </a:lnTo>
                  <a:lnTo>
                    <a:pt x="2243165" y="1247483"/>
                  </a:lnTo>
                  <a:lnTo>
                    <a:pt x="2242867" y="1248019"/>
                  </a:lnTo>
                  <a:lnTo>
                    <a:pt x="2242670" y="1248684"/>
                  </a:lnTo>
                  <a:lnTo>
                    <a:pt x="2242512" y="1249348"/>
                  </a:lnTo>
                  <a:lnTo>
                    <a:pt x="2242327" y="1249920"/>
                  </a:lnTo>
                  <a:lnTo>
                    <a:pt x="2241776" y="1251064"/>
                  </a:lnTo>
                  <a:lnTo>
                    <a:pt x="2241158" y="1251961"/>
                  </a:lnTo>
                  <a:lnTo>
                    <a:pt x="2240868" y="1252170"/>
                  </a:lnTo>
                  <a:lnTo>
                    <a:pt x="2239953" y="1252171"/>
                  </a:lnTo>
                  <a:lnTo>
                    <a:pt x="2239658" y="1252336"/>
                  </a:lnTo>
                  <a:lnTo>
                    <a:pt x="2239506" y="1252734"/>
                  </a:lnTo>
                  <a:lnTo>
                    <a:pt x="2239379" y="1253199"/>
                  </a:lnTo>
                  <a:lnTo>
                    <a:pt x="2239158" y="1253585"/>
                  </a:lnTo>
                  <a:lnTo>
                    <a:pt x="2234390" y="1257506"/>
                  </a:lnTo>
                  <a:lnTo>
                    <a:pt x="2233602" y="1257597"/>
                  </a:lnTo>
                  <a:lnTo>
                    <a:pt x="2231868" y="1256635"/>
                  </a:lnTo>
                  <a:lnTo>
                    <a:pt x="2227327" y="1256635"/>
                  </a:lnTo>
                  <a:lnTo>
                    <a:pt x="2228495" y="1258091"/>
                  </a:lnTo>
                  <a:lnTo>
                    <a:pt x="2232594" y="1259544"/>
                  </a:lnTo>
                  <a:lnTo>
                    <a:pt x="2235019" y="1261909"/>
                  </a:lnTo>
                  <a:lnTo>
                    <a:pt x="2236329" y="1262485"/>
                  </a:lnTo>
                  <a:lnTo>
                    <a:pt x="2237146" y="1261080"/>
                  </a:lnTo>
                  <a:lnTo>
                    <a:pt x="2237470" y="1261424"/>
                  </a:lnTo>
                  <a:lnTo>
                    <a:pt x="2237714" y="1261866"/>
                  </a:lnTo>
                  <a:lnTo>
                    <a:pt x="2237902" y="1262484"/>
                  </a:lnTo>
                  <a:lnTo>
                    <a:pt x="2238065" y="1263368"/>
                  </a:lnTo>
                  <a:lnTo>
                    <a:pt x="2237543" y="1263980"/>
                  </a:lnTo>
                  <a:lnTo>
                    <a:pt x="2236020" y="1264795"/>
                  </a:lnTo>
                  <a:lnTo>
                    <a:pt x="2236852" y="1265800"/>
                  </a:lnTo>
                  <a:lnTo>
                    <a:pt x="2237427" y="1266183"/>
                  </a:lnTo>
                  <a:lnTo>
                    <a:pt x="2237982" y="1266048"/>
                  </a:lnTo>
                  <a:lnTo>
                    <a:pt x="2238758" y="1265527"/>
                  </a:lnTo>
                  <a:lnTo>
                    <a:pt x="2238782" y="1267672"/>
                  </a:lnTo>
                  <a:lnTo>
                    <a:pt x="2239035" y="1270670"/>
                  </a:lnTo>
                  <a:lnTo>
                    <a:pt x="2239447" y="1273525"/>
                  </a:lnTo>
                  <a:lnTo>
                    <a:pt x="2239950" y="1275234"/>
                  </a:lnTo>
                  <a:lnTo>
                    <a:pt x="2239718" y="1275235"/>
                  </a:lnTo>
                  <a:lnTo>
                    <a:pt x="2240296" y="1276254"/>
                  </a:lnTo>
                  <a:lnTo>
                    <a:pt x="2240473" y="1278111"/>
                  </a:lnTo>
                  <a:lnTo>
                    <a:pt x="2240340" y="1280199"/>
                  </a:lnTo>
                  <a:lnTo>
                    <a:pt x="2239984" y="1281917"/>
                  </a:lnTo>
                  <a:lnTo>
                    <a:pt x="2239033" y="1283213"/>
                  </a:lnTo>
                  <a:lnTo>
                    <a:pt x="2227547" y="1287201"/>
                  </a:lnTo>
                  <a:lnTo>
                    <a:pt x="2228389" y="1287940"/>
                  </a:lnTo>
                  <a:lnTo>
                    <a:pt x="2229106" y="1288091"/>
                  </a:lnTo>
                  <a:lnTo>
                    <a:pt x="2230657" y="1287878"/>
                  </a:lnTo>
                  <a:lnTo>
                    <a:pt x="2231604" y="1288236"/>
                  </a:lnTo>
                  <a:lnTo>
                    <a:pt x="2233471" y="1289812"/>
                  </a:lnTo>
                  <a:lnTo>
                    <a:pt x="2234465" y="1290168"/>
                  </a:lnTo>
                  <a:lnTo>
                    <a:pt x="2239480" y="1287497"/>
                  </a:lnTo>
                  <a:lnTo>
                    <a:pt x="2240249" y="1289032"/>
                  </a:lnTo>
                  <a:lnTo>
                    <a:pt x="2240076" y="1292470"/>
                  </a:lnTo>
                  <a:lnTo>
                    <a:pt x="2239544" y="1295233"/>
                  </a:lnTo>
                  <a:lnTo>
                    <a:pt x="2238679" y="1297028"/>
                  </a:lnTo>
                  <a:lnTo>
                    <a:pt x="2237516" y="1297577"/>
                  </a:lnTo>
                  <a:lnTo>
                    <a:pt x="2237087" y="1297313"/>
                  </a:lnTo>
                  <a:lnTo>
                    <a:pt x="2236248" y="1296317"/>
                  </a:lnTo>
                  <a:lnTo>
                    <a:pt x="2235774" y="1296097"/>
                  </a:lnTo>
                  <a:lnTo>
                    <a:pt x="2235329" y="1296337"/>
                  </a:lnTo>
                  <a:lnTo>
                    <a:pt x="2234478" y="1297361"/>
                  </a:lnTo>
                  <a:lnTo>
                    <a:pt x="2233283" y="1297921"/>
                  </a:lnTo>
                  <a:lnTo>
                    <a:pt x="2231011" y="1300555"/>
                  </a:lnTo>
                  <a:lnTo>
                    <a:pt x="2231012" y="1301307"/>
                  </a:lnTo>
                  <a:lnTo>
                    <a:pt x="2232697" y="1302500"/>
                  </a:lnTo>
                  <a:lnTo>
                    <a:pt x="2234423" y="1301554"/>
                  </a:lnTo>
                  <a:lnTo>
                    <a:pt x="2236185" y="1299930"/>
                  </a:lnTo>
                  <a:lnTo>
                    <a:pt x="2237984" y="1299062"/>
                  </a:lnTo>
                  <a:lnTo>
                    <a:pt x="2239429" y="1298923"/>
                  </a:lnTo>
                  <a:lnTo>
                    <a:pt x="2240029" y="1299530"/>
                  </a:lnTo>
                  <a:lnTo>
                    <a:pt x="2240313" y="1301281"/>
                  </a:lnTo>
                  <a:lnTo>
                    <a:pt x="2238089" y="1309501"/>
                  </a:lnTo>
                  <a:lnTo>
                    <a:pt x="2237104" y="1311580"/>
                  </a:lnTo>
                  <a:lnTo>
                    <a:pt x="2235907" y="1312778"/>
                  </a:lnTo>
                  <a:lnTo>
                    <a:pt x="2232749" y="1314125"/>
                  </a:lnTo>
                  <a:lnTo>
                    <a:pt x="2232022" y="1313950"/>
                  </a:lnTo>
                  <a:lnTo>
                    <a:pt x="2231720" y="1312096"/>
                  </a:lnTo>
                  <a:lnTo>
                    <a:pt x="2231994" y="1310742"/>
                  </a:lnTo>
                  <a:lnTo>
                    <a:pt x="2232647" y="1310091"/>
                  </a:lnTo>
                  <a:lnTo>
                    <a:pt x="2234067" y="1309531"/>
                  </a:lnTo>
                  <a:lnTo>
                    <a:pt x="2233007" y="1307905"/>
                  </a:lnTo>
                  <a:lnTo>
                    <a:pt x="2231947" y="1308154"/>
                  </a:lnTo>
                  <a:lnTo>
                    <a:pt x="2230944" y="1309456"/>
                  </a:lnTo>
                  <a:lnTo>
                    <a:pt x="2230067" y="1311022"/>
                  </a:lnTo>
                  <a:lnTo>
                    <a:pt x="2228886" y="1312420"/>
                  </a:lnTo>
                  <a:lnTo>
                    <a:pt x="2227693" y="1312800"/>
                  </a:lnTo>
                  <a:lnTo>
                    <a:pt x="2225273" y="1312504"/>
                  </a:lnTo>
                  <a:lnTo>
                    <a:pt x="2224369" y="1313100"/>
                  </a:lnTo>
                  <a:lnTo>
                    <a:pt x="2223715" y="1314598"/>
                  </a:lnTo>
                  <a:lnTo>
                    <a:pt x="2222560" y="1318430"/>
                  </a:lnTo>
                  <a:lnTo>
                    <a:pt x="2221038" y="1321030"/>
                  </a:lnTo>
                  <a:lnTo>
                    <a:pt x="2220285" y="1322748"/>
                  </a:lnTo>
                  <a:lnTo>
                    <a:pt x="2220173" y="1324363"/>
                  </a:lnTo>
                  <a:lnTo>
                    <a:pt x="2215713" y="1328321"/>
                  </a:lnTo>
                  <a:lnTo>
                    <a:pt x="2212616" y="1329335"/>
                  </a:lnTo>
                  <a:lnTo>
                    <a:pt x="2207859" y="1333253"/>
                  </a:lnTo>
                  <a:lnTo>
                    <a:pt x="2207072" y="1333590"/>
                  </a:lnTo>
                  <a:lnTo>
                    <a:pt x="2199342" y="1333386"/>
                  </a:lnTo>
                  <a:lnTo>
                    <a:pt x="2198647" y="1332770"/>
                  </a:lnTo>
                  <a:lnTo>
                    <a:pt x="2198028" y="1331801"/>
                  </a:lnTo>
                  <a:lnTo>
                    <a:pt x="2196678" y="1330356"/>
                  </a:lnTo>
                  <a:lnTo>
                    <a:pt x="2191796" y="1329835"/>
                  </a:lnTo>
                  <a:lnTo>
                    <a:pt x="2190340" y="1328787"/>
                  </a:lnTo>
                  <a:lnTo>
                    <a:pt x="2189612" y="1328539"/>
                  </a:lnTo>
                  <a:lnTo>
                    <a:pt x="2185085" y="1329948"/>
                  </a:lnTo>
                  <a:lnTo>
                    <a:pt x="2183553" y="1329902"/>
                  </a:lnTo>
                  <a:lnTo>
                    <a:pt x="2180998" y="1328679"/>
                  </a:lnTo>
                  <a:lnTo>
                    <a:pt x="2179892" y="1327419"/>
                  </a:lnTo>
                  <a:lnTo>
                    <a:pt x="2177143" y="1322668"/>
                  </a:lnTo>
                  <a:lnTo>
                    <a:pt x="2176704" y="1321582"/>
                  </a:lnTo>
                  <a:lnTo>
                    <a:pt x="2176406" y="1320336"/>
                  </a:lnTo>
                  <a:lnTo>
                    <a:pt x="2176532" y="1319812"/>
                  </a:lnTo>
                  <a:lnTo>
                    <a:pt x="2176825" y="1319133"/>
                  </a:lnTo>
                  <a:lnTo>
                    <a:pt x="2177338" y="1314322"/>
                  </a:lnTo>
                  <a:lnTo>
                    <a:pt x="2178011" y="1311957"/>
                  </a:lnTo>
                  <a:lnTo>
                    <a:pt x="2181489" y="1305400"/>
                  </a:lnTo>
                  <a:lnTo>
                    <a:pt x="2181788" y="1304486"/>
                  </a:lnTo>
                  <a:lnTo>
                    <a:pt x="2181747" y="1303123"/>
                  </a:lnTo>
                  <a:lnTo>
                    <a:pt x="2181294" y="1302931"/>
                  </a:lnTo>
                  <a:lnTo>
                    <a:pt x="2180699" y="1302948"/>
                  </a:lnTo>
                  <a:lnTo>
                    <a:pt x="2180234" y="1302230"/>
                  </a:lnTo>
                  <a:lnTo>
                    <a:pt x="2180305" y="1302032"/>
                  </a:lnTo>
                  <a:lnTo>
                    <a:pt x="2180345" y="1302006"/>
                  </a:lnTo>
                  <a:lnTo>
                    <a:pt x="2180377" y="1301924"/>
                  </a:lnTo>
                  <a:lnTo>
                    <a:pt x="2180440" y="1301557"/>
                  </a:lnTo>
                  <a:lnTo>
                    <a:pt x="2179054" y="1302202"/>
                  </a:lnTo>
                  <a:lnTo>
                    <a:pt x="2179954" y="1304799"/>
                  </a:lnTo>
                  <a:lnTo>
                    <a:pt x="2180146" y="1305931"/>
                  </a:lnTo>
                  <a:lnTo>
                    <a:pt x="2179420" y="1306127"/>
                  </a:lnTo>
                  <a:lnTo>
                    <a:pt x="2178004" y="1306027"/>
                  </a:lnTo>
                  <a:lnTo>
                    <a:pt x="2177295" y="1306608"/>
                  </a:lnTo>
                  <a:lnTo>
                    <a:pt x="2177528" y="1306613"/>
                  </a:lnTo>
                  <a:lnTo>
                    <a:pt x="2173895" y="1312740"/>
                  </a:lnTo>
                  <a:lnTo>
                    <a:pt x="2172366" y="1316657"/>
                  </a:lnTo>
                  <a:lnTo>
                    <a:pt x="2171530" y="1321450"/>
                  </a:lnTo>
                  <a:lnTo>
                    <a:pt x="2171657" y="1321812"/>
                  </a:lnTo>
                  <a:lnTo>
                    <a:pt x="2171795" y="1322024"/>
                  </a:lnTo>
                  <a:lnTo>
                    <a:pt x="2171972" y="1322033"/>
                  </a:lnTo>
                  <a:lnTo>
                    <a:pt x="2172728" y="1321366"/>
                  </a:lnTo>
                  <a:lnTo>
                    <a:pt x="2173047" y="1321556"/>
                  </a:lnTo>
                  <a:lnTo>
                    <a:pt x="2173327" y="1321958"/>
                  </a:lnTo>
                  <a:lnTo>
                    <a:pt x="2174416" y="1322481"/>
                  </a:lnTo>
                  <a:lnTo>
                    <a:pt x="2175006" y="1323151"/>
                  </a:lnTo>
                  <a:lnTo>
                    <a:pt x="2175158" y="1323898"/>
                  </a:lnTo>
                  <a:lnTo>
                    <a:pt x="2174520" y="1324431"/>
                  </a:lnTo>
                  <a:lnTo>
                    <a:pt x="2175052" y="1326241"/>
                  </a:lnTo>
                  <a:lnTo>
                    <a:pt x="2175282" y="1327947"/>
                  </a:lnTo>
                  <a:lnTo>
                    <a:pt x="2175624" y="1329230"/>
                  </a:lnTo>
                  <a:lnTo>
                    <a:pt x="2176488" y="1329742"/>
                  </a:lnTo>
                  <a:lnTo>
                    <a:pt x="2177471" y="1329965"/>
                  </a:lnTo>
                  <a:lnTo>
                    <a:pt x="2177941" y="1330516"/>
                  </a:lnTo>
                  <a:lnTo>
                    <a:pt x="2178121" y="1331614"/>
                  </a:lnTo>
                  <a:lnTo>
                    <a:pt x="2178211" y="1333099"/>
                  </a:lnTo>
                  <a:lnTo>
                    <a:pt x="2178526" y="1333531"/>
                  </a:lnTo>
                  <a:lnTo>
                    <a:pt x="2178971" y="1333585"/>
                  </a:lnTo>
                  <a:lnTo>
                    <a:pt x="2179447" y="1333932"/>
                  </a:lnTo>
                  <a:lnTo>
                    <a:pt x="2180356" y="1335777"/>
                  </a:lnTo>
                  <a:lnTo>
                    <a:pt x="2180820" y="1336070"/>
                  </a:lnTo>
                  <a:lnTo>
                    <a:pt x="2181828" y="1336212"/>
                  </a:lnTo>
                  <a:lnTo>
                    <a:pt x="2182249" y="1336562"/>
                  </a:lnTo>
                  <a:lnTo>
                    <a:pt x="2182833" y="1339424"/>
                  </a:lnTo>
                  <a:lnTo>
                    <a:pt x="2183112" y="1340298"/>
                  </a:lnTo>
                  <a:lnTo>
                    <a:pt x="2183404" y="1340870"/>
                  </a:lnTo>
                  <a:lnTo>
                    <a:pt x="2183668" y="1341239"/>
                  </a:lnTo>
                  <a:lnTo>
                    <a:pt x="2184005" y="1341326"/>
                  </a:lnTo>
                  <a:lnTo>
                    <a:pt x="2184514" y="1341062"/>
                  </a:lnTo>
                  <a:lnTo>
                    <a:pt x="2184705" y="1341584"/>
                  </a:lnTo>
                  <a:lnTo>
                    <a:pt x="2186214" y="1342078"/>
                  </a:lnTo>
                  <a:lnTo>
                    <a:pt x="2186847" y="1342662"/>
                  </a:lnTo>
                  <a:lnTo>
                    <a:pt x="2186191" y="1343707"/>
                  </a:lnTo>
                  <a:lnTo>
                    <a:pt x="2184808" y="1346591"/>
                  </a:lnTo>
                  <a:lnTo>
                    <a:pt x="2183616" y="1349700"/>
                  </a:lnTo>
                  <a:lnTo>
                    <a:pt x="2182123" y="1352493"/>
                  </a:lnTo>
                  <a:lnTo>
                    <a:pt x="2181475" y="1354099"/>
                  </a:lnTo>
                  <a:lnTo>
                    <a:pt x="2180532" y="1355778"/>
                  </a:lnTo>
                  <a:lnTo>
                    <a:pt x="2176973" y="1358117"/>
                  </a:lnTo>
                  <a:lnTo>
                    <a:pt x="2173890" y="1362490"/>
                  </a:lnTo>
                  <a:lnTo>
                    <a:pt x="2173499" y="1363234"/>
                  </a:lnTo>
                  <a:lnTo>
                    <a:pt x="2172422" y="1363675"/>
                  </a:lnTo>
                  <a:lnTo>
                    <a:pt x="2169947" y="1367116"/>
                  </a:lnTo>
                  <a:lnTo>
                    <a:pt x="2168791" y="1368240"/>
                  </a:lnTo>
                  <a:lnTo>
                    <a:pt x="2164531" y="1367390"/>
                  </a:lnTo>
                  <a:lnTo>
                    <a:pt x="2163238" y="1368082"/>
                  </a:lnTo>
                  <a:lnTo>
                    <a:pt x="2163331" y="1368506"/>
                  </a:lnTo>
                  <a:lnTo>
                    <a:pt x="2163401" y="1369282"/>
                  </a:lnTo>
                  <a:lnTo>
                    <a:pt x="2163452" y="1369642"/>
                  </a:lnTo>
                  <a:lnTo>
                    <a:pt x="2162533" y="1370292"/>
                  </a:lnTo>
                  <a:lnTo>
                    <a:pt x="2162109" y="1370275"/>
                  </a:lnTo>
                  <a:lnTo>
                    <a:pt x="2161753" y="1369591"/>
                  </a:lnTo>
                  <a:lnTo>
                    <a:pt x="2160218" y="1368920"/>
                  </a:lnTo>
                  <a:lnTo>
                    <a:pt x="2158783" y="1367041"/>
                  </a:lnTo>
                  <a:lnTo>
                    <a:pt x="2154903" y="1358921"/>
                  </a:lnTo>
                  <a:lnTo>
                    <a:pt x="2154193" y="1357884"/>
                  </a:lnTo>
                  <a:lnTo>
                    <a:pt x="2153289" y="1357428"/>
                  </a:lnTo>
                  <a:lnTo>
                    <a:pt x="2152338" y="1357727"/>
                  </a:lnTo>
                  <a:lnTo>
                    <a:pt x="2149750" y="1360757"/>
                  </a:lnTo>
                  <a:lnTo>
                    <a:pt x="2148769" y="1361337"/>
                  </a:lnTo>
                  <a:lnTo>
                    <a:pt x="2145459" y="1361532"/>
                  </a:lnTo>
                  <a:lnTo>
                    <a:pt x="2144711" y="1361203"/>
                  </a:lnTo>
                  <a:lnTo>
                    <a:pt x="2144537" y="1360354"/>
                  </a:lnTo>
                  <a:lnTo>
                    <a:pt x="2144533" y="1359079"/>
                  </a:lnTo>
                  <a:lnTo>
                    <a:pt x="2144296" y="1357471"/>
                  </a:lnTo>
                  <a:lnTo>
                    <a:pt x="2144074" y="1356905"/>
                  </a:lnTo>
                  <a:lnTo>
                    <a:pt x="2143301" y="1355506"/>
                  </a:lnTo>
                  <a:lnTo>
                    <a:pt x="2143152" y="1354823"/>
                  </a:lnTo>
                  <a:lnTo>
                    <a:pt x="2143042" y="1353330"/>
                  </a:lnTo>
                  <a:lnTo>
                    <a:pt x="2142945" y="1352516"/>
                  </a:lnTo>
                  <a:lnTo>
                    <a:pt x="2142267" y="1350319"/>
                  </a:lnTo>
                  <a:lnTo>
                    <a:pt x="2142115" y="1349015"/>
                  </a:lnTo>
                  <a:lnTo>
                    <a:pt x="2142448" y="1347297"/>
                  </a:lnTo>
                  <a:lnTo>
                    <a:pt x="2140848" y="1343743"/>
                  </a:lnTo>
                  <a:lnTo>
                    <a:pt x="2139427" y="1339673"/>
                  </a:lnTo>
                  <a:lnTo>
                    <a:pt x="2139982" y="1339749"/>
                  </a:lnTo>
                  <a:lnTo>
                    <a:pt x="2140457" y="1339157"/>
                  </a:lnTo>
                  <a:lnTo>
                    <a:pt x="2140806" y="1338011"/>
                  </a:lnTo>
                  <a:lnTo>
                    <a:pt x="2140983" y="1336428"/>
                  </a:lnTo>
                  <a:lnTo>
                    <a:pt x="2140548" y="1335325"/>
                  </a:lnTo>
                  <a:lnTo>
                    <a:pt x="2136238" y="1333016"/>
                  </a:lnTo>
                  <a:lnTo>
                    <a:pt x="2134622" y="1331352"/>
                  </a:lnTo>
                  <a:lnTo>
                    <a:pt x="2133426" y="1328934"/>
                  </a:lnTo>
                  <a:lnTo>
                    <a:pt x="2133379" y="1326040"/>
                  </a:lnTo>
                  <a:lnTo>
                    <a:pt x="2133225" y="1324952"/>
                  </a:lnTo>
                  <a:lnTo>
                    <a:pt x="2133148" y="1323859"/>
                  </a:lnTo>
                  <a:lnTo>
                    <a:pt x="2133006" y="1322710"/>
                  </a:lnTo>
                  <a:lnTo>
                    <a:pt x="2132652" y="1321486"/>
                  </a:lnTo>
                  <a:lnTo>
                    <a:pt x="2132294" y="1320938"/>
                  </a:lnTo>
                  <a:lnTo>
                    <a:pt x="2131531" y="1320376"/>
                  </a:lnTo>
                  <a:lnTo>
                    <a:pt x="2131223" y="1319628"/>
                  </a:lnTo>
                  <a:lnTo>
                    <a:pt x="2131175" y="1318974"/>
                  </a:lnTo>
                  <a:lnTo>
                    <a:pt x="2131228" y="1318233"/>
                  </a:lnTo>
                  <a:lnTo>
                    <a:pt x="2131328" y="1317719"/>
                  </a:lnTo>
                  <a:lnTo>
                    <a:pt x="2131418" y="1317776"/>
                  </a:lnTo>
                  <a:lnTo>
                    <a:pt x="2131148" y="1316209"/>
                  </a:lnTo>
                  <a:lnTo>
                    <a:pt x="2130837" y="1315172"/>
                  </a:lnTo>
                  <a:lnTo>
                    <a:pt x="2130395" y="1314478"/>
                  </a:lnTo>
                  <a:lnTo>
                    <a:pt x="2129065" y="1313434"/>
                  </a:lnTo>
                  <a:lnTo>
                    <a:pt x="2128369" y="1313185"/>
                  </a:lnTo>
                  <a:lnTo>
                    <a:pt x="2127928" y="1312792"/>
                  </a:lnTo>
                  <a:lnTo>
                    <a:pt x="2127146" y="1311134"/>
                  </a:lnTo>
                  <a:lnTo>
                    <a:pt x="2126714" y="1310737"/>
                  </a:lnTo>
                  <a:lnTo>
                    <a:pt x="2126454" y="1310078"/>
                  </a:lnTo>
                  <a:lnTo>
                    <a:pt x="2126035" y="1305903"/>
                  </a:lnTo>
                  <a:lnTo>
                    <a:pt x="2125496" y="1304876"/>
                  </a:lnTo>
                  <a:lnTo>
                    <a:pt x="2119719" y="1303699"/>
                  </a:lnTo>
                  <a:lnTo>
                    <a:pt x="2118991" y="1303104"/>
                  </a:lnTo>
                  <a:lnTo>
                    <a:pt x="2117710" y="1301296"/>
                  </a:lnTo>
                  <a:lnTo>
                    <a:pt x="2117048" y="1300664"/>
                  </a:lnTo>
                  <a:lnTo>
                    <a:pt x="2116374" y="1297292"/>
                  </a:lnTo>
                  <a:lnTo>
                    <a:pt x="2114998" y="1295305"/>
                  </a:lnTo>
                  <a:lnTo>
                    <a:pt x="2112162" y="1292520"/>
                  </a:lnTo>
                  <a:lnTo>
                    <a:pt x="2111236" y="1290333"/>
                  </a:lnTo>
                  <a:lnTo>
                    <a:pt x="2109896" y="1286107"/>
                  </a:lnTo>
                  <a:lnTo>
                    <a:pt x="2108930" y="1284471"/>
                  </a:lnTo>
                  <a:lnTo>
                    <a:pt x="2109138" y="1284483"/>
                  </a:lnTo>
                  <a:lnTo>
                    <a:pt x="2108589" y="1284120"/>
                  </a:lnTo>
                  <a:lnTo>
                    <a:pt x="2106967" y="1282193"/>
                  </a:lnTo>
                  <a:lnTo>
                    <a:pt x="2107547" y="1281592"/>
                  </a:lnTo>
                  <a:lnTo>
                    <a:pt x="2107781" y="1280671"/>
                  </a:lnTo>
                  <a:lnTo>
                    <a:pt x="2107892" y="1279583"/>
                  </a:lnTo>
                  <a:lnTo>
                    <a:pt x="2108091" y="1278478"/>
                  </a:lnTo>
                  <a:lnTo>
                    <a:pt x="2107335" y="1277717"/>
                  </a:lnTo>
                  <a:lnTo>
                    <a:pt x="2106354" y="1278156"/>
                  </a:lnTo>
                  <a:lnTo>
                    <a:pt x="2105487" y="1277982"/>
                  </a:lnTo>
                  <a:lnTo>
                    <a:pt x="2105082" y="1275330"/>
                  </a:lnTo>
                  <a:lnTo>
                    <a:pt x="2105361" y="1275267"/>
                  </a:lnTo>
                  <a:lnTo>
                    <a:pt x="2106043" y="1274642"/>
                  </a:lnTo>
                  <a:lnTo>
                    <a:pt x="2104151" y="1273569"/>
                  </a:lnTo>
                  <a:lnTo>
                    <a:pt x="2103596" y="1273009"/>
                  </a:lnTo>
                  <a:lnTo>
                    <a:pt x="2103167" y="1272000"/>
                  </a:lnTo>
                  <a:lnTo>
                    <a:pt x="2102813" y="1270858"/>
                  </a:lnTo>
                  <a:lnTo>
                    <a:pt x="2102386" y="1270012"/>
                  </a:lnTo>
                  <a:lnTo>
                    <a:pt x="2101723" y="1269919"/>
                  </a:lnTo>
                  <a:lnTo>
                    <a:pt x="2101463" y="1267962"/>
                  </a:lnTo>
                  <a:lnTo>
                    <a:pt x="2096206" y="1264929"/>
                  </a:lnTo>
                  <a:lnTo>
                    <a:pt x="2095441" y="1265355"/>
                  </a:lnTo>
                  <a:lnTo>
                    <a:pt x="2094701" y="1266101"/>
                  </a:lnTo>
                  <a:lnTo>
                    <a:pt x="2094019" y="1266465"/>
                  </a:lnTo>
                  <a:lnTo>
                    <a:pt x="2093827" y="1266236"/>
                  </a:lnTo>
                  <a:lnTo>
                    <a:pt x="2093487" y="1265203"/>
                  </a:lnTo>
                  <a:lnTo>
                    <a:pt x="2093299" y="1264929"/>
                  </a:lnTo>
                  <a:lnTo>
                    <a:pt x="2092948" y="1264942"/>
                  </a:lnTo>
                  <a:lnTo>
                    <a:pt x="2091888" y="1265521"/>
                  </a:lnTo>
                  <a:lnTo>
                    <a:pt x="2092025" y="1265911"/>
                  </a:lnTo>
                  <a:lnTo>
                    <a:pt x="2092242" y="1267024"/>
                  </a:lnTo>
                  <a:lnTo>
                    <a:pt x="2091694" y="1266869"/>
                  </a:lnTo>
                  <a:lnTo>
                    <a:pt x="2091287" y="1267427"/>
                  </a:lnTo>
                  <a:lnTo>
                    <a:pt x="2090873" y="1268145"/>
                  </a:lnTo>
                  <a:lnTo>
                    <a:pt x="2090311" y="1268458"/>
                  </a:lnTo>
                  <a:lnTo>
                    <a:pt x="2089909" y="1268042"/>
                  </a:lnTo>
                  <a:lnTo>
                    <a:pt x="2088467" y="1265295"/>
                  </a:lnTo>
                  <a:lnTo>
                    <a:pt x="2088550" y="1264431"/>
                  </a:lnTo>
                  <a:lnTo>
                    <a:pt x="2088413" y="1263487"/>
                  </a:lnTo>
                  <a:lnTo>
                    <a:pt x="2088137" y="1262524"/>
                  </a:lnTo>
                  <a:lnTo>
                    <a:pt x="2087791" y="1261596"/>
                  </a:lnTo>
                  <a:lnTo>
                    <a:pt x="2088720" y="1260346"/>
                  </a:lnTo>
                  <a:lnTo>
                    <a:pt x="2089035" y="1260124"/>
                  </a:lnTo>
                  <a:lnTo>
                    <a:pt x="2089082" y="1259449"/>
                  </a:lnTo>
                  <a:lnTo>
                    <a:pt x="2088577" y="1259176"/>
                  </a:lnTo>
                  <a:lnTo>
                    <a:pt x="2087528" y="1259344"/>
                  </a:lnTo>
                  <a:lnTo>
                    <a:pt x="2087109" y="1258571"/>
                  </a:lnTo>
                  <a:lnTo>
                    <a:pt x="2087953" y="1257582"/>
                  </a:lnTo>
                  <a:lnTo>
                    <a:pt x="2088377" y="1257313"/>
                  </a:lnTo>
                  <a:lnTo>
                    <a:pt x="2088805" y="1257196"/>
                  </a:lnTo>
                  <a:lnTo>
                    <a:pt x="2087898" y="1255947"/>
                  </a:lnTo>
                  <a:lnTo>
                    <a:pt x="2085667" y="1255059"/>
                  </a:lnTo>
                  <a:lnTo>
                    <a:pt x="2084668" y="1253882"/>
                  </a:lnTo>
                  <a:lnTo>
                    <a:pt x="2083734" y="1251210"/>
                  </a:lnTo>
                  <a:lnTo>
                    <a:pt x="2083264" y="1250628"/>
                  </a:lnTo>
                  <a:lnTo>
                    <a:pt x="2082845" y="1250523"/>
                  </a:lnTo>
                  <a:lnTo>
                    <a:pt x="2080634" y="1251454"/>
                  </a:lnTo>
                  <a:lnTo>
                    <a:pt x="2078388" y="1253439"/>
                  </a:lnTo>
                  <a:lnTo>
                    <a:pt x="2076609" y="1256193"/>
                  </a:lnTo>
                  <a:lnTo>
                    <a:pt x="2076493" y="1259249"/>
                  </a:lnTo>
                  <a:lnTo>
                    <a:pt x="2075702" y="1259844"/>
                  </a:lnTo>
                  <a:lnTo>
                    <a:pt x="2074791" y="1260109"/>
                  </a:lnTo>
                  <a:lnTo>
                    <a:pt x="2073936" y="1259887"/>
                  </a:lnTo>
                  <a:lnTo>
                    <a:pt x="2073311" y="1259016"/>
                  </a:lnTo>
                  <a:lnTo>
                    <a:pt x="2073654" y="1259098"/>
                  </a:lnTo>
                  <a:lnTo>
                    <a:pt x="2073957" y="1258855"/>
                  </a:lnTo>
                  <a:lnTo>
                    <a:pt x="2074196" y="1258256"/>
                  </a:lnTo>
                  <a:lnTo>
                    <a:pt x="2074342" y="1257260"/>
                  </a:lnTo>
                  <a:lnTo>
                    <a:pt x="2074204" y="1256713"/>
                  </a:lnTo>
                  <a:lnTo>
                    <a:pt x="2073124" y="1255280"/>
                  </a:lnTo>
                  <a:lnTo>
                    <a:pt x="2073372" y="1255298"/>
                  </a:lnTo>
                  <a:lnTo>
                    <a:pt x="2072568" y="1254059"/>
                  </a:lnTo>
                  <a:lnTo>
                    <a:pt x="2070267" y="1252262"/>
                  </a:lnTo>
                  <a:lnTo>
                    <a:pt x="2069280" y="1252009"/>
                  </a:lnTo>
                  <a:lnTo>
                    <a:pt x="2068542" y="1252583"/>
                  </a:lnTo>
                  <a:lnTo>
                    <a:pt x="2067744" y="1253577"/>
                  </a:lnTo>
                  <a:lnTo>
                    <a:pt x="2066999" y="1254092"/>
                  </a:lnTo>
                  <a:lnTo>
                    <a:pt x="2066426" y="1253218"/>
                  </a:lnTo>
                  <a:lnTo>
                    <a:pt x="2066727" y="1252567"/>
                  </a:lnTo>
                  <a:lnTo>
                    <a:pt x="2066445" y="1251923"/>
                  </a:lnTo>
                  <a:lnTo>
                    <a:pt x="2066205" y="1251976"/>
                  </a:lnTo>
                  <a:lnTo>
                    <a:pt x="2065942" y="1252302"/>
                  </a:lnTo>
                  <a:lnTo>
                    <a:pt x="2065595" y="1252478"/>
                  </a:lnTo>
                  <a:lnTo>
                    <a:pt x="2064653" y="1252298"/>
                  </a:lnTo>
                  <a:lnTo>
                    <a:pt x="2064286" y="1252043"/>
                  </a:lnTo>
                  <a:lnTo>
                    <a:pt x="2062518" y="1249972"/>
                  </a:lnTo>
                  <a:lnTo>
                    <a:pt x="2062179" y="1249227"/>
                  </a:lnTo>
                  <a:lnTo>
                    <a:pt x="2061919" y="1248221"/>
                  </a:lnTo>
                  <a:lnTo>
                    <a:pt x="2061736" y="1247247"/>
                  </a:lnTo>
                  <a:lnTo>
                    <a:pt x="2061498" y="1246496"/>
                  </a:lnTo>
                  <a:lnTo>
                    <a:pt x="2061071" y="1246156"/>
                  </a:lnTo>
                  <a:lnTo>
                    <a:pt x="2061096" y="1245678"/>
                  </a:lnTo>
                  <a:lnTo>
                    <a:pt x="2061150" y="1245514"/>
                  </a:lnTo>
                  <a:lnTo>
                    <a:pt x="2061359" y="1245442"/>
                  </a:lnTo>
                  <a:lnTo>
                    <a:pt x="2061133" y="1245424"/>
                  </a:lnTo>
                  <a:lnTo>
                    <a:pt x="2061659" y="1244862"/>
                  </a:lnTo>
                  <a:lnTo>
                    <a:pt x="2061933" y="1243971"/>
                  </a:lnTo>
                  <a:lnTo>
                    <a:pt x="2061870" y="1243034"/>
                  </a:lnTo>
                  <a:lnTo>
                    <a:pt x="2061389" y="1242391"/>
                  </a:lnTo>
                  <a:lnTo>
                    <a:pt x="2062317" y="1241978"/>
                  </a:lnTo>
                  <a:lnTo>
                    <a:pt x="2064703" y="1242834"/>
                  </a:lnTo>
                  <a:lnTo>
                    <a:pt x="2065240" y="1242698"/>
                  </a:lnTo>
                  <a:lnTo>
                    <a:pt x="2064804" y="1240823"/>
                  </a:lnTo>
                  <a:lnTo>
                    <a:pt x="2063328" y="1240452"/>
                  </a:lnTo>
                  <a:lnTo>
                    <a:pt x="2060628" y="1240910"/>
                  </a:lnTo>
                  <a:lnTo>
                    <a:pt x="2060772" y="1240580"/>
                  </a:lnTo>
                  <a:lnTo>
                    <a:pt x="2061059" y="1239755"/>
                  </a:lnTo>
                  <a:lnTo>
                    <a:pt x="2061208" y="1239394"/>
                  </a:lnTo>
                  <a:lnTo>
                    <a:pt x="2060872" y="1237939"/>
                  </a:lnTo>
                  <a:lnTo>
                    <a:pt x="2060020" y="1235420"/>
                  </a:lnTo>
                  <a:lnTo>
                    <a:pt x="2059828" y="1234073"/>
                  </a:lnTo>
                  <a:lnTo>
                    <a:pt x="2061644" y="1234220"/>
                  </a:lnTo>
                  <a:lnTo>
                    <a:pt x="2060881" y="1232388"/>
                  </a:lnTo>
                  <a:lnTo>
                    <a:pt x="2059910" y="1231160"/>
                  </a:lnTo>
                  <a:lnTo>
                    <a:pt x="2058841" y="1230460"/>
                  </a:lnTo>
                  <a:lnTo>
                    <a:pt x="2057784" y="1230186"/>
                  </a:lnTo>
                  <a:lnTo>
                    <a:pt x="2056812" y="1229235"/>
                  </a:lnTo>
                  <a:lnTo>
                    <a:pt x="2054662" y="1225921"/>
                  </a:lnTo>
                  <a:lnTo>
                    <a:pt x="2053713" y="1226116"/>
                  </a:lnTo>
                  <a:lnTo>
                    <a:pt x="2054027" y="1226968"/>
                  </a:lnTo>
                  <a:lnTo>
                    <a:pt x="2053731" y="1227156"/>
                  </a:lnTo>
                  <a:lnTo>
                    <a:pt x="2052762" y="1226709"/>
                  </a:lnTo>
                  <a:lnTo>
                    <a:pt x="2052691" y="1226446"/>
                  </a:lnTo>
                  <a:lnTo>
                    <a:pt x="2052624" y="1225951"/>
                  </a:lnTo>
                  <a:lnTo>
                    <a:pt x="2052495" y="1225479"/>
                  </a:lnTo>
                  <a:lnTo>
                    <a:pt x="2052236" y="1225248"/>
                  </a:lnTo>
                  <a:lnTo>
                    <a:pt x="2051337" y="1225228"/>
                  </a:lnTo>
                  <a:lnTo>
                    <a:pt x="2050885" y="1224879"/>
                  </a:lnTo>
                  <a:lnTo>
                    <a:pt x="2050753" y="1224002"/>
                  </a:lnTo>
                  <a:lnTo>
                    <a:pt x="2048412" y="1221187"/>
                  </a:lnTo>
                  <a:lnTo>
                    <a:pt x="2047112" y="1221286"/>
                  </a:lnTo>
                  <a:lnTo>
                    <a:pt x="2046752" y="1221041"/>
                  </a:lnTo>
                  <a:lnTo>
                    <a:pt x="2046511" y="1220456"/>
                  </a:lnTo>
                  <a:lnTo>
                    <a:pt x="2046393" y="1219708"/>
                  </a:lnTo>
                  <a:lnTo>
                    <a:pt x="2046343" y="1219037"/>
                  </a:lnTo>
                  <a:lnTo>
                    <a:pt x="2046295" y="1218696"/>
                  </a:lnTo>
                  <a:lnTo>
                    <a:pt x="2040376" y="1211539"/>
                  </a:lnTo>
                  <a:lnTo>
                    <a:pt x="2039253" y="1209276"/>
                  </a:lnTo>
                  <a:lnTo>
                    <a:pt x="2038439" y="1206593"/>
                  </a:lnTo>
                  <a:lnTo>
                    <a:pt x="2037309" y="1205057"/>
                  </a:lnTo>
                  <a:lnTo>
                    <a:pt x="2036952" y="1203681"/>
                  </a:lnTo>
                  <a:lnTo>
                    <a:pt x="2037246" y="1203292"/>
                  </a:lnTo>
                  <a:lnTo>
                    <a:pt x="2037511" y="1202766"/>
                  </a:lnTo>
                  <a:lnTo>
                    <a:pt x="2038065" y="1201423"/>
                  </a:lnTo>
                  <a:lnTo>
                    <a:pt x="2037550" y="1200695"/>
                  </a:lnTo>
                  <a:lnTo>
                    <a:pt x="2037218" y="1200508"/>
                  </a:lnTo>
                  <a:lnTo>
                    <a:pt x="2037049" y="1200031"/>
                  </a:lnTo>
                  <a:lnTo>
                    <a:pt x="2037026" y="1198407"/>
                  </a:lnTo>
                  <a:lnTo>
                    <a:pt x="2037139" y="1197267"/>
                  </a:lnTo>
                  <a:lnTo>
                    <a:pt x="2037337" y="1196308"/>
                  </a:lnTo>
                  <a:lnTo>
                    <a:pt x="2037466" y="1195490"/>
                  </a:lnTo>
                  <a:lnTo>
                    <a:pt x="2037385" y="1194776"/>
                  </a:lnTo>
                  <a:lnTo>
                    <a:pt x="2038366" y="1192719"/>
                  </a:lnTo>
                  <a:lnTo>
                    <a:pt x="2040686" y="1189809"/>
                  </a:lnTo>
                  <a:lnTo>
                    <a:pt x="2043385" y="1184437"/>
                  </a:lnTo>
                  <a:lnTo>
                    <a:pt x="2043667" y="1183220"/>
                  </a:lnTo>
                  <a:lnTo>
                    <a:pt x="2043836" y="1181823"/>
                  </a:lnTo>
                  <a:lnTo>
                    <a:pt x="2043939" y="1180615"/>
                  </a:lnTo>
                  <a:lnTo>
                    <a:pt x="2044023" y="1179984"/>
                  </a:lnTo>
                  <a:lnTo>
                    <a:pt x="2044386" y="1178907"/>
                  </a:lnTo>
                  <a:lnTo>
                    <a:pt x="2044975" y="1176679"/>
                  </a:lnTo>
                  <a:lnTo>
                    <a:pt x="2045336" y="1175602"/>
                  </a:lnTo>
                  <a:lnTo>
                    <a:pt x="2045758" y="1174824"/>
                  </a:lnTo>
                  <a:lnTo>
                    <a:pt x="2046737" y="1173545"/>
                  </a:lnTo>
                  <a:lnTo>
                    <a:pt x="2047143" y="1172756"/>
                  </a:lnTo>
                  <a:lnTo>
                    <a:pt x="2048460" y="1170816"/>
                  </a:lnTo>
                  <a:lnTo>
                    <a:pt x="2051455" y="1170400"/>
                  </a:lnTo>
                  <a:lnTo>
                    <a:pt x="2052875" y="1169167"/>
                  </a:lnTo>
                  <a:lnTo>
                    <a:pt x="2051931" y="1168840"/>
                  </a:lnTo>
                  <a:lnTo>
                    <a:pt x="2051636" y="1168388"/>
                  </a:lnTo>
                  <a:lnTo>
                    <a:pt x="2052669" y="1168004"/>
                  </a:lnTo>
                  <a:lnTo>
                    <a:pt x="2054655" y="1168737"/>
                  </a:lnTo>
                  <a:lnTo>
                    <a:pt x="2055627" y="1167992"/>
                  </a:lnTo>
                  <a:lnTo>
                    <a:pt x="2055336" y="1166409"/>
                  </a:lnTo>
                  <a:lnTo>
                    <a:pt x="2057695" y="1167545"/>
                  </a:lnTo>
                  <a:lnTo>
                    <a:pt x="2060704" y="1166696"/>
                  </a:lnTo>
                  <a:lnTo>
                    <a:pt x="2061789" y="1166854"/>
                  </a:lnTo>
                  <a:lnTo>
                    <a:pt x="2062787" y="1167798"/>
                  </a:lnTo>
                  <a:lnTo>
                    <a:pt x="2066034" y="1166632"/>
                  </a:lnTo>
                  <a:lnTo>
                    <a:pt x="2065977" y="1167306"/>
                  </a:lnTo>
                  <a:lnTo>
                    <a:pt x="2065627" y="1167686"/>
                  </a:lnTo>
                  <a:lnTo>
                    <a:pt x="2064717" y="1169505"/>
                  </a:lnTo>
                  <a:lnTo>
                    <a:pt x="2065187" y="1170901"/>
                  </a:lnTo>
                  <a:lnTo>
                    <a:pt x="2065909" y="1171000"/>
                  </a:lnTo>
                  <a:lnTo>
                    <a:pt x="2067047" y="1170365"/>
                  </a:lnTo>
                  <a:lnTo>
                    <a:pt x="2067094" y="1172453"/>
                  </a:lnTo>
                  <a:lnTo>
                    <a:pt x="2067427" y="1173744"/>
                  </a:lnTo>
                  <a:lnTo>
                    <a:pt x="2067964" y="1174493"/>
                  </a:lnTo>
                  <a:lnTo>
                    <a:pt x="2068630" y="1174958"/>
                  </a:lnTo>
                  <a:lnTo>
                    <a:pt x="2069309" y="1175150"/>
                  </a:lnTo>
                  <a:lnTo>
                    <a:pt x="2069937" y="1175062"/>
                  </a:lnTo>
                  <a:lnTo>
                    <a:pt x="2070626" y="1174545"/>
                  </a:lnTo>
                  <a:lnTo>
                    <a:pt x="2070947" y="1174517"/>
                  </a:lnTo>
                  <a:lnTo>
                    <a:pt x="2071244" y="1175166"/>
                  </a:lnTo>
                  <a:lnTo>
                    <a:pt x="2070995" y="1176020"/>
                  </a:lnTo>
                  <a:lnTo>
                    <a:pt x="2070745" y="1177046"/>
                  </a:lnTo>
                  <a:lnTo>
                    <a:pt x="2070457" y="1178044"/>
                  </a:lnTo>
                  <a:lnTo>
                    <a:pt x="2070086" y="1178800"/>
                  </a:lnTo>
                  <a:lnTo>
                    <a:pt x="2071051" y="1178872"/>
                  </a:lnTo>
                  <a:lnTo>
                    <a:pt x="2071439" y="1179345"/>
                  </a:lnTo>
                  <a:lnTo>
                    <a:pt x="2071704" y="1180483"/>
                  </a:lnTo>
                  <a:lnTo>
                    <a:pt x="2069640" y="1179629"/>
                  </a:lnTo>
                  <a:lnTo>
                    <a:pt x="2069064" y="1180275"/>
                  </a:lnTo>
                  <a:lnTo>
                    <a:pt x="2071186" y="1185113"/>
                  </a:lnTo>
                  <a:lnTo>
                    <a:pt x="2072661" y="1186638"/>
                  </a:lnTo>
                  <a:lnTo>
                    <a:pt x="2073562" y="1188228"/>
                  </a:lnTo>
                  <a:lnTo>
                    <a:pt x="2074422" y="1189217"/>
                  </a:lnTo>
                  <a:lnTo>
                    <a:pt x="2075039" y="1188244"/>
                  </a:lnTo>
                  <a:lnTo>
                    <a:pt x="2074944" y="1187106"/>
                  </a:lnTo>
                  <a:lnTo>
                    <a:pt x="2075671" y="1186048"/>
                  </a:lnTo>
                  <a:lnTo>
                    <a:pt x="2076678" y="1185575"/>
                  </a:lnTo>
                  <a:lnTo>
                    <a:pt x="2077405" y="1186197"/>
                  </a:lnTo>
                  <a:lnTo>
                    <a:pt x="2076947" y="1186154"/>
                  </a:lnTo>
                  <a:lnTo>
                    <a:pt x="2076476" y="1186358"/>
                  </a:lnTo>
                  <a:lnTo>
                    <a:pt x="2076002" y="1186818"/>
                  </a:lnTo>
                  <a:lnTo>
                    <a:pt x="2075537" y="1187546"/>
                  </a:lnTo>
                  <a:lnTo>
                    <a:pt x="2075952" y="1188367"/>
                  </a:lnTo>
                  <a:lnTo>
                    <a:pt x="2077361" y="1189843"/>
                  </a:lnTo>
                  <a:lnTo>
                    <a:pt x="2077745" y="1190723"/>
                  </a:lnTo>
                  <a:lnTo>
                    <a:pt x="2078378" y="1193776"/>
                  </a:lnTo>
                  <a:lnTo>
                    <a:pt x="2079216" y="1196281"/>
                  </a:lnTo>
                  <a:lnTo>
                    <a:pt x="2079365" y="1197720"/>
                  </a:lnTo>
                  <a:lnTo>
                    <a:pt x="2078844" y="1198945"/>
                  </a:lnTo>
                  <a:lnTo>
                    <a:pt x="2079708" y="1200259"/>
                  </a:lnTo>
                  <a:lnTo>
                    <a:pt x="2080960" y="1201570"/>
                  </a:lnTo>
                  <a:lnTo>
                    <a:pt x="2082284" y="1202202"/>
                  </a:lnTo>
                  <a:lnTo>
                    <a:pt x="2083345" y="1201507"/>
                  </a:lnTo>
                  <a:lnTo>
                    <a:pt x="2083074" y="1200822"/>
                  </a:lnTo>
                  <a:lnTo>
                    <a:pt x="2082446" y="1199899"/>
                  </a:lnTo>
                  <a:lnTo>
                    <a:pt x="2082190" y="1199189"/>
                  </a:lnTo>
                  <a:lnTo>
                    <a:pt x="2082979" y="1199242"/>
                  </a:lnTo>
                  <a:lnTo>
                    <a:pt x="2083696" y="1199860"/>
                  </a:lnTo>
                  <a:lnTo>
                    <a:pt x="2084315" y="1200937"/>
                  </a:lnTo>
                  <a:lnTo>
                    <a:pt x="2084817" y="1202356"/>
                  </a:lnTo>
                  <a:lnTo>
                    <a:pt x="2084253" y="1203597"/>
                  </a:lnTo>
                  <a:lnTo>
                    <a:pt x="2083871" y="1204776"/>
                  </a:lnTo>
                  <a:lnTo>
                    <a:pt x="2083457" y="1205641"/>
                  </a:lnTo>
                  <a:lnTo>
                    <a:pt x="2082791" y="1205935"/>
                  </a:lnTo>
                  <a:lnTo>
                    <a:pt x="2082511" y="1205676"/>
                  </a:lnTo>
                  <a:lnTo>
                    <a:pt x="2082068" y="1204629"/>
                  </a:lnTo>
                  <a:lnTo>
                    <a:pt x="2081677" y="1204366"/>
                  </a:lnTo>
                  <a:lnTo>
                    <a:pt x="2080179" y="1204935"/>
                  </a:lnTo>
                  <a:lnTo>
                    <a:pt x="2080633" y="1205168"/>
                  </a:lnTo>
                  <a:lnTo>
                    <a:pt x="2082543" y="1208072"/>
                  </a:lnTo>
                  <a:lnTo>
                    <a:pt x="2083703" y="1208833"/>
                  </a:lnTo>
                  <a:lnTo>
                    <a:pt x="2088900" y="1209954"/>
                  </a:lnTo>
                  <a:lnTo>
                    <a:pt x="2090778" y="1212099"/>
                  </a:lnTo>
                  <a:lnTo>
                    <a:pt x="2091288" y="1212377"/>
                  </a:lnTo>
                  <a:lnTo>
                    <a:pt x="2091820" y="1212169"/>
                  </a:lnTo>
                  <a:lnTo>
                    <a:pt x="2092441" y="1211466"/>
                  </a:lnTo>
                  <a:lnTo>
                    <a:pt x="2093093" y="1211102"/>
                  </a:lnTo>
                  <a:lnTo>
                    <a:pt x="2093688" y="1211557"/>
                  </a:lnTo>
                  <a:lnTo>
                    <a:pt x="2094250" y="1212295"/>
                  </a:lnTo>
                  <a:lnTo>
                    <a:pt x="2094813" y="1212771"/>
                  </a:lnTo>
                  <a:lnTo>
                    <a:pt x="2095959" y="1212779"/>
                  </a:lnTo>
                  <a:lnTo>
                    <a:pt x="2097225" y="1212187"/>
                  </a:lnTo>
                  <a:lnTo>
                    <a:pt x="2098465" y="1211013"/>
                  </a:lnTo>
                  <a:lnTo>
                    <a:pt x="2099522" y="1209295"/>
                  </a:lnTo>
                  <a:lnTo>
                    <a:pt x="2099072" y="1208682"/>
                  </a:lnTo>
                  <a:lnTo>
                    <a:pt x="2097608" y="1207684"/>
                  </a:lnTo>
                  <a:lnTo>
                    <a:pt x="2097658" y="1206947"/>
                  </a:lnTo>
                  <a:lnTo>
                    <a:pt x="2098004" y="1206894"/>
                  </a:lnTo>
                  <a:lnTo>
                    <a:pt x="2098190" y="1206729"/>
                  </a:lnTo>
                  <a:lnTo>
                    <a:pt x="2098252" y="1206317"/>
                  </a:lnTo>
                  <a:lnTo>
                    <a:pt x="2098220" y="1205495"/>
                  </a:lnTo>
                  <a:lnTo>
                    <a:pt x="2098627" y="1204989"/>
                  </a:lnTo>
                  <a:lnTo>
                    <a:pt x="2098969" y="1204900"/>
                  </a:lnTo>
                  <a:lnTo>
                    <a:pt x="2099266" y="1205132"/>
                  </a:lnTo>
                  <a:lnTo>
                    <a:pt x="2099549" y="1205579"/>
                  </a:lnTo>
                  <a:lnTo>
                    <a:pt x="2099106" y="1205551"/>
                  </a:lnTo>
                  <a:lnTo>
                    <a:pt x="2101473" y="1206556"/>
                  </a:lnTo>
                  <a:lnTo>
                    <a:pt x="2106871" y="1205978"/>
                  </a:lnTo>
                  <a:lnTo>
                    <a:pt x="2109445" y="1206826"/>
                  </a:lnTo>
                  <a:lnTo>
                    <a:pt x="2109693" y="1206810"/>
                  </a:lnTo>
                  <a:lnTo>
                    <a:pt x="2109891" y="1206875"/>
                  </a:lnTo>
                  <a:lnTo>
                    <a:pt x="2110035" y="1207144"/>
                  </a:lnTo>
                  <a:lnTo>
                    <a:pt x="2110117" y="1207711"/>
                  </a:lnTo>
                  <a:lnTo>
                    <a:pt x="2110367" y="1206916"/>
                  </a:lnTo>
                  <a:lnTo>
                    <a:pt x="2110564" y="1207498"/>
                  </a:lnTo>
                  <a:lnTo>
                    <a:pt x="2110802" y="1207964"/>
                  </a:lnTo>
                  <a:lnTo>
                    <a:pt x="2111068" y="1208294"/>
                  </a:lnTo>
                  <a:lnTo>
                    <a:pt x="2111358" y="1208488"/>
                  </a:lnTo>
                  <a:lnTo>
                    <a:pt x="2111929" y="1208268"/>
                  </a:lnTo>
                  <a:lnTo>
                    <a:pt x="2112418" y="1207654"/>
                  </a:lnTo>
                  <a:lnTo>
                    <a:pt x="2113347" y="1206033"/>
                  </a:lnTo>
                  <a:lnTo>
                    <a:pt x="2114859" y="1204502"/>
                  </a:lnTo>
                  <a:lnTo>
                    <a:pt x="2115532" y="1203410"/>
                  </a:lnTo>
                  <a:lnTo>
                    <a:pt x="2116061" y="1201354"/>
                  </a:lnTo>
                  <a:lnTo>
                    <a:pt x="2115883" y="1197443"/>
                  </a:lnTo>
                  <a:lnTo>
                    <a:pt x="2115798" y="1196544"/>
                  </a:lnTo>
                  <a:lnTo>
                    <a:pt x="2115174" y="1195380"/>
                  </a:lnTo>
                  <a:lnTo>
                    <a:pt x="2113729" y="1194687"/>
                  </a:lnTo>
                  <a:lnTo>
                    <a:pt x="2113159" y="1193694"/>
                  </a:lnTo>
                  <a:lnTo>
                    <a:pt x="2114143" y="1191921"/>
                  </a:lnTo>
                  <a:lnTo>
                    <a:pt x="2114099" y="1190719"/>
                  </a:lnTo>
                  <a:lnTo>
                    <a:pt x="2112606" y="1188534"/>
                  </a:lnTo>
                  <a:lnTo>
                    <a:pt x="2113091" y="1187477"/>
                  </a:lnTo>
                  <a:lnTo>
                    <a:pt x="2114540" y="1185598"/>
                  </a:lnTo>
                  <a:lnTo>
                    <a:pt x="2113748" y="1184911"/>
                  </a:lnTo>
                  <a:lnTo>
                    <a:pt x="2111589" y="1185025"/>
                  </a:lnTo>
                  <a:lnTo>
                    <a:pt x="2111108" y="1183921"/>
                  </a:lnTo>
                  <a:lnTo>
                    <a:pt x="2113147" y="1179576"/>
                  </a:lnTo>
                  <a:lnTo>
                    <a:pt x="2112995" y="1179235"/>
                  </a:lnTo>
                  <a:lnTo>
                    <a:pt x="2112732" y="1178330"/>
                  </a:lnTo>
                  <a:lnTo>
                    <a:pt x="2112588" y="1177990"/>
                  </a:lnTo>
                  <a:lnTo>
                    <a:pt x="2113659" y="1176453"/>
                  </a:lnTo>
                  <a:lnTo>
                    <a:pt x="2114153" y="1176194"/>
                  </a:lnTo>
                  <a:lnTo>
                    <a:pt x="2114640" y="1176620"/>
                  </a:lnTo>
                  <a:lnTo>
                    <a:pt x="2114228" y="1175853"/>
                  </a:lnTo>
                  <a:lnTo>
                    <a:pt x="2114466" y="1175866"/>
                  </a:lnTo>
                  <a:lnTo>
                    <a:pt x="2115023" y="1177173"/>
                  </a:lnTo>
                  <a:lnTo>
                    <a:pt x="2115029" y="1177390"/>
                  </a:lnTo>
                  <a:lnTo>
                    <a:pt x="2115326" y="1177204"/>
                  </a:lnTo>
                  <a:lnTo>
                    <a:pt x="2115507" y="1176762"/>
                  </a:lnTo>
                  <a:lnTo>
                    <a:pt x="2115633" y="1176274"/>
                  </a:lnTo>
                  <a:lnTo>
                    <a:pt x="2115870" y="1175680"/>
                  </a:lnTo>
                  <a:lnTo>
                    <a:pt x="2115977" y="1175248"/>
                  </a:lnTo>
                  <a:lnTo>
                    <a:pt x="2116165" y="1174834"/>
                  </a:lnTo>
                  <a:lnTo>
                    <a:pt x="2116508" y="1174570"/>
                  </a:lnTo>
                  <a:lnTo>
                    <a:pt x="2116798" y="1174750"/>
                  </a:lnTo>
                  <a:lnTo>
                    <a:pt x="2117151" y="1175297"/>
                  </a:lnTo>
                  <a:lnTo>
                    <a:pt x="2117477" y="1176036"/>
                  </a:lnTo>
                  <a:lnTo>
                    <a:pt x="2117690" y="1176792"/>
                  </a:lnTo>
                  <a:lnTo>
                    <a:pt x="2117239" y="1177842"/>
                  </a:lnTo>
                  <a:lnTo>
                    <a:pt x="2116648" y="1178567"/>
                  </a:lnTo>
                  <a:lnTo>
                    <a:pt x="2115994" y="1178968"/>
                  </a:lnTo>
                  <a:lnTo>
                    <a:pt x="2115386" y="1178991"/>
                  </a:lnTo>
                  <a:lnTo>
                    <a:pt x="2115361" y="1178995"/>
                  </a:lnTo>
                  <a:lnTo>
                    <a:pt x="2115305" y="1178942"/>
                  </a:lnTo>
                  <a:lnTo>
                    <a:pt x="2115246" y="1178917"/>
                  </a:lnTo>
                  <a:lnTo>
                    <a:pt x="2115187" y="1178896"/>
                  </a:lnTo>
                  <a:lnTo>
                    <a:pt x="2115067" y="1178832"/>
                  </a:lnTo>
                  <a:lnTo>
                    <a:pt x="2114945" y="1178705"/>
                  </a:lnTo>
                  <a:lnTo>
                    <a:pt x="2114856" y="1178558"/>
                  </a:lnTo>
                  <a:lnTo>
                    <a:pt x="2114584" y="1178078"/>
                  </a:lnTo>
                  <a:lnTo>
                    <a:pt x="2114551" y="1178103"/>
                  </a:lnTo>
                  <a:lnTo>
                    <a:pt x="2114793" y="1178612"/>
                  </a:lnTo>
                  <a:lnTo>
                    <a:pt x="2114936" y="1178824"/>
                  </a:lnTo>
                  <a:lnTo>
                    <a:pt x="2115040" y="1178963"/>
                  </a:lnTo>
                  <a:lnTo>
                    <a:pt x="2115228" y="1179054"/>
                  </a:lnTo>
                  <a:lnTo>
                    <a:pt x="2115276" y="1179158"/>
                  </a:lnTo>
                  <a:lnTo>
                    <a:pt x="2115251" y="1179205"/>
                  </a:lnTo>
                  <a:lnTo>
                    <a:pt x="2114068" y="1181502"/>
                  </a:lnTo>
                  <a:lnTo>
                    <a:pt x="2113949" y="1182492"/>
                  </a:lnTo>
                  <a:lnTo>
                    <a:pt x="2114431" y="1184113"/>
                  </a:lnTo>
                  <a:lnTo>
                    <a:pt x="2115170" y="1185497"/>
                  </a:lnTo>
                  <a:lnTo>
                    <a:pt x="2116068" y="1186473"/>
                  </a:lnTo>
                  <a:lnTo>
                    <a:pt x="2117034" y="1187058"/>
                  </a:lnTo>
                  <a:lnTo>
                    <a:pt x="2117978" y="1187278"/>
                  </a:lnTo>
                  <a:lnTo>
                    <a:pt x="2117305" y="1185696"/>
                  </a:lnTo>
                  <a:lnTo>
                    <a:pt x="2117779" y="1184451"/>
                  </a:lnTo>
                  <a:lnTo>
                    <a:pt x="2118566" y="1184743"/>
                  </a:lnTo>
                  <a:lnTo>
                    <a:pt x="2118835" y="1187693"/>
                  </a:lnTo>
                  <a:lnTo>
                    <a:pt x="2118456" y="1188783"/>
                  </a:lnTo>
                  <a:lnTo>
                    <a:pt x="2116900" y="1189140"/>
                  </a:lnTo>
                  <a:lnTo>
                    <a:pt x="2116287" y="1190231"/>
                  </a:lnTo>
                  <a:lnTo>
                    <a:pt x="2116112" y="1191686"/>
                  </a:lnTo>
                  <a:lnTo>
                    <a:pt x="2116222" y="1192848"/>
                  </a:lnTo>
                  <a:lnTo>
                    <a:pt x="2116511" y="1193617"/>
                  </a:lnTo>
                  <a:lnTo>
                    <a:pt x="2116877" y="1193903"/>
                  </a:lnTo>
                  <a:lnTo>
                    <a:pt x="2120272" y="1193415"/>
                  </a:lnTo>
                  <a:lnTo>
                    <a:pt x="2122462" y="1191898"/>
                  </a:lnTo>
                  <a:lnTo>
                    <a:pt x="2123983" y="1192877"/>
                  </a:lnTo>
                  <a:lnTo>
                    <a:pt x="2124462" y="1192830"/>
                  </a:lnTo>
                  <a:lnTo>
                    <a:pt x="2124772" y="1192098"/>
                  </a:lnTo>
                  <a:lnTo>
                    <a:pt x="2124773" y="1191492"/>
                  </a:lnTo>
                  <a:lnTo>
                    <a:pt x="2124663" y="1190911"/>
                  </a:lnTo>
                  <a:lnTo>
                    <a:pt x="2124518" y="1190567"/>
                  </a:lnTo>
                  <a:lnTo>
                    <a:pt x="2124408" y="1190668"/>
                  </a:lnTo>
                  <a:lnTo>
                    <a:pt x="2124386" y="1190020"/>
                  </a:lnTo>
                  <a:lnTo>
                    <a:pt x="2124170" y="1189836"/>
                  </a:lnTo>
                  <a:lnTo>
                    <a:pt x="2124105" y="1189501"/>
                  </a:lnTo>
                  <a:lnTo>
                    <a:pt x="2124533" y="1188368"/>
                  </a:lnTo>
                  <a:lnTo>
                    <a:pt x="2124806" y="1188076"/>
                  </a:lnTo>
                  <a:lnTo>
                    <a:pt x="2125908" y="1187699"/>
                  </a:lnTo>
                  <a:lnTo>
                    <a:pt x="2125951" y="1186896"/>
                  </a:lnTo>
                  <a:lnTo>
                    <a:pt x="2125330" y="1186182"/>
                  </a:lnTo>
                  <a:lnTo>
                    <a:pt x="2125440" y="1185781"/>
                  </a:lnTo>
                  <a:lnTo>
                    <a:pt x="2125501" y="1185465"/>
                  </a:lnTo>
                  <a:lnTo>
                    <a:pt x="2125610" y="1184718"/>
                  </a:lnTo>
                  <a:lnTo>
                    <a:pt x="2121598" y="1181533"/>
                  </a:lnTo>
                  <a:lnTo>
                    <a:pt x="2122020" y="1180166"/>
                  </a:lnTo>
                  <a:lnTo>
                    <a:pt x="2122605" y="1180073"/>
                  </a:lnTo>
                  <a:lnTo>
                    <a:pt x="2123846" y="1180842"/>
                  </a:lnTo>
                  <a:lnTo>
                    <a:pt x="2123489" y="1179867"/>
                  </a:lnTo>
                  <a:lnTo>
                    <a:pt x="2123408" y="1178982"/>
                  </a:lnTo>
                  <a:lnTo>
                    <a:pt x="2123598" y="1178094"/>
                  </a:lnTo>
                  <a:lnTo>
                    <a:pt x="2124050" y="1177135"/>
                  </a:lnTo>
                  <a:lnTo>
                    <a:pt x="2122741" y="1177066"/>
                  </a:lnTo>
                  <a:lnTo>
                    <a:pt x="2122939" y="1176744"/>
                  </a:lnTo>
                  <a:lnTo>
                    <a:pt x="2123477" y="1175621"/>
                  </a:lnTo>
                  <a:lnTo>
                    <a:pt x="2122825" y="1174906"/>
                  </a:lnTo>
                  <a:lnTo>
                    <a:pt x="2121173" y="1175495"/>
                  </a:lnTo>
                  <a:lnTo>
                    <a:pt x="2120446" y="1174787"/>
                  </a:lnTo>
                  <a:lnTo>
                    <a:pt x="2121343" y="1173083"/>
                  </a:lnTo>
                  <a:lnTo>
                    <a:pt x="2122354" y="1171919"/>
                  </a:lnTo>
                  <a:lnTo>
                    <a:pt x="2121365" y="1169874"/>
                  </a:lnTo>
                  <a:lnTo>
                    <a:pt x="2118740" y="1170369"/>
                  </a:lnTo>
                  <a:lnTo>
                    <a:pt x="2117705" y="1169368"/>
                  </a:lnTo>
                  <a:lnTo>
                    <a:pt x="2118192" y="1168824"/>
                  </a:lnTo>
                  <a:lnTo>
                    <a:pt x="2119212" y="1168486"/>
                  </a:lnTo>
                  <a:lnTo>
                    <a:pt x="2119744" y="1167994"/>
                  </a:lnTo>
                  <a:lnTo>
                    <a:pt x="2118704" y="1167193"/>
                  </a:lnTo>
                  <a:lnTo>
                    <a:pt x="2119261" y="1166573"/>
                  </a:lnTo>
                  <a:lnTo>
                    <a:pt x="2120394" y="1166471"/>
                  </a:lnTo>
                  <a:lnTo>
                    <a:pt x="2120951" y="1165899"/>
                  </a:lnTo>
                  <a:lnTo>
                    <a:pt x="2119833" y="1165037"/>
                  </a:lnTo>
                  <a:lnTo>
                    <a:pt x="2118235" y="1164953"/>
                  </a:lnTo>
                  <a:lnTo>
                    <a:pt x="2116640" y="1165714"/>
                  </a:lnTo>
                  <a:lnTo>
                    <a:pt x="2115086" y="1168034"/>
                  </a:lnTo>
                  <a:lnTo>
                    <a:pt x="2114515" y="1168408"/>
                  </a:lnTo>
                  <a:lnTo>
                    <a:pt x="2113997" y="1168999"/>
                  </a:lnTo>
                  <a:lnTo>
                    <a:pt x="2113708" y="1170293"/>
                  </a:lnTo>
                  <a:lnTo>
                    <a:pt x="2113320" y="1170722"/>
                  </a:lnTo>
                  <a:lnTo>
                    <a:pt x="2112499" y="1170626"/>
                  </a:lnTo>
                  <a:lnTo>
                    <a:pt x="2111104" y="1169800"/>
                  </a:lnTo>
                  <a:lnTo>
                    <a:pt x="2111578" y="1167370"/>
                  </a:lnTo>
                  <a:lnTo>
                    <a:pt x="2110839" y="1165719"/>
                  </a:lnTo>
                  <a:lnTo>
                    <a:pt x="2108872" y="1163720"/>
                  </a:lnTo>
                  <a:lnTo>
                    <a:pt x="2109274" y="1162938"/>
                  </a:lnTo>
                  <a:lnTo>
                    <a:pt x="2109817" y="1161142"/>
                  </a:lnTo>
                  <a:lnTo>
                    <a:pt x="2110169" y="1160393"/>
                  </a:lnTo>
                  <a:lnTo>
                    <a:pt x="2110590" y="1160015"/>
                  </a:lnTo>
                  <a:lnTo>
                    <a:pt x="2111939" y="1160126"/>
                  </a:lnTo>
                  <a:lnTo>
                    <a:pt x="2111978" y="1159185"/>
                  </a:lnTo>
                  <a:lnTo>
                    <a:pt x="2112511" y="1158698"/>
                  </a:lnTo>
                  <a:lnTo>
                    <a:pt x="2113803" y="1158003"/>
                  </a:lnTo>
                  <a:lnTo>
                    <a:pt x="2113270" y="1156976"/>
                  </a:lnTo>
                  <a:lnTo>
                    <a:pt x="2112573" y="1156139"/>
                  </a:lnTo>
                  <a:lnTo>
                    <a:pt x="2111826" y="1155630"/>
                  </a:lnTo>
                  <a:lnTo>
                    <a:pt x="2111134" y="1155615"/>
                  </a:lnTo>
                  <a:lnTo>
                    <a:pt x="2111185" y="1154808"/>
                  </a:lnTo>
                  <a:lnTo>
                    <a:pt x="2113843" y="1154194"/>
                  </a:lnTo>
                  <a:lnTo>
                    <a:pt x="2114718" y="1153598"/>
                  </a:lnTo>
                  <a:lnTo>
                    <a:pt x="2114688" y="1153233"/>
                  </a:lnTo>
                  <a:lnTo>
                    <a:pt x="2114659" y="1152528"/>
                  </a:lnTo>
                  <a:lnTo>
                    <a:pt x="2114594" y="1152112"/>
                  </a:lnTo>
                  <a:lnTo>
                    <a:pt x="2115482" y="1151167"/>
                  </a:lnTo>
                  <a:lnTo>
                    <a:pt x="2117086" y="1148722"/>
                  </a:lnTo>
                  <a:lnTo>
                    <a:pt x="2118042" y="1148524"/>
                  </a:lnTo>
                  <a:lnTo>
                    <a:pt x="2117568" y="1149241"/>
                  </a:lnTo>
                  <a:lnTo>
                    <a:pt x="2117760" y="1150540"/>
                  </a:lnTo>
                  <a:lnTo>
                    <a:pt x="2118230" y="1150655"/>
                  </a:lnTo>
                  <a:lnTo>
                    <a:pt x="2119345" y="1149526"/>
                  </a:lnTo>
                  <a:lnTo>
                    <a:pt x="2119852" y="1149462"/>
                  </a:lnTo>
                  <a:lnTo>
                    <a:pt x="2120410" y="1149997"/>
                  </a:lnTo>
                  <a:lnTo>
                    <a:pt x="2121328" y="1151676"/>
                  </a:lnTo>
                  <a:lnTo>
                    <a:pt x="2122104" y="1153834"/>
                  </a:lnTo>
                  <a:lnTo>
                    <a:pt x="2122498" y="1154479"/>
                  </a:lnTo>
                  <a:lnTo>
                    <a:pt x="2123090" y="1154746"/>
                  </a:lnTo>
                  <a:lnTo>
                    <a:pt x="2125525" y="1154192"/>
                  </a:lnTo>
                  <a:lnTo>
                    <a:pt x="2124918" y="1155134"/>
                  </a:lnTo>
                  <a:lnTo>
                    <a:pt x="2124324" y="1156355"/>
                  </a:lnTo>
                  <a:lnTo>
                    <a:pt x="2127302" y="1159790"/>
                  </a:lnTo>
                  <a:lnTo>
                    <a:pt x="2128696" y="1160250"/>
                  </a:lnTo>
                  <a:lnTo>
                    <a:pt x="2134509" y="1159986"/>
                  </a:lnTo>
                  <a:lnTo>
                    <a:pt x="2135938" y="1158355"/>
                  </a:lnTo>
                  <a:lnTo>
                    <a:pt x="2134387" y="1157498"/>
                  </a:lnTo>
                  <a:lnTo>
                    <a:pt x="2130980" y="1157788"/>
                  </a:lnTo>
                  <a:lnTo>
                    <a:pt x="2128825" y="1155309"/>
                  </a:lnTo>
                  <a:lnTo>
                    <a:pt x="2127132" y="1154178"/>
                  </a:lnTo>
                  <a:lnTo>
                    <a:pt x="2126065" y="1151906"/>
                  </a:lnTo>
                  <a:lnTo>
                    <a:pt x="2124075" y="1148854"/>
                  </a:lnTo>
                  <a:lnTo>
                    <a:pt x="2123736" y="1147787"/>
                  </a:lnTo>
                  <a:lnTo>
                    <a:pt x="2123104" y="1145134"/>
                  </a:lnTo>
                  <a:lnTo>
                    <a:pt x="2122842" y="1144327"/>
                  </a:lnTo>
                  <a:lnTo>
                    <a:pt x="2121228" y="1142155"/>
                  </a:lnTo>
                  <a:lnTo>
                    <a:pt x="2120437" y="1140031"/>
                  </a:lnTo>
                  <a:lnTo>
                    <a:pt x="2118931" y="1137433"/>
                  </a:lnTo>
                  <a:lnTo>
                    <a:pt x="2118366" y="1136910"/>
                  </a:lnTo>
                  <a:lnTo>
                    <a:pt x="2117724" y="1136825"/>
                  </a:lnTo>
                  <a:lnTo>
                    <a:pt x="2117388" y="1137408"/>
                  </a:lnTo>
                  <a:lnTo>
                    <a:pt x="2117754" y="1138845"/>
                  </a:lnTo>
                  <a:lnTo>
                    <a:pt x="2117080" y="1140038"/>
                  </a:lnTo>
                  <a:lnTo>
                    <a:pt x="2116813" y="1140279"/>
                  </a:lnTo>
                  <a:lnTo>
                    <a:pt x="2117149" y="1142870"/>
                  </a:lnTo>
                  <a:lnTo>
                    <a:pt x="2117179" y="1143270"/>
                  </a:lnTo>
                  <a:lnTo>
                    <a:pt x="2117574" y="1143429"/>
                  </a:lnTo>
                  <a:lnTo>
                    <a:pt x="2118399" y="1144335"/>
                  </a:lnTo>
                  <a:lnTo>
                    <a:pt x="2118704" y="1144909"/>
                  </a:lnTo>
                  <a:lnTo>
                    <a:pt x="2114274" y="1144975"/>
                  </a:lnTo>
                  <a:lnTo>
                    <a:pt x="2108318" y="1149216"/>
                  </a:lnTo>
                  <a:lnTo>
                    <a:pt x="2101899" y="1150797"/>
                  </a:lnTo>
                  <a:lnTo>
                    <a:pt x="2098386" y="1148487"/>
                  </a:lnTo>
                  <a:lnTo>
                    <a:pt x="2096731" y="1146149"/>
                  </a:lnTo>
                  <a:lnTo>
                    <a:pt x="2096460" y="1145170"/>
                  </a:lnTo>
                  <a:lnTo>
                    <a:pt x="2096945" y="1144183"/>
                  </a:lnTo>
                  <a:lnTo>
                    <a:pt x="2096988" y="1143575"/>
                  </a:lnTo>
                  <a:lnTo>
                    <a:pt x="2095799" y="1143628"/>
                  </a:lnTo>
                  <a:lnTo>
                    <a:pt x="2089114" y="1139350"/>
                  </a:lnTo>
                  <a:lnTo>
                    <a:pt x="2088332" y="1137703"/>
                  </a:lnTo>
                  <a:lnTo>
                    <a:pt x="2088633" y="1134915"/>
                  </a:lnTo>
                  <a:lnTo>
                    <a:pt x="2087638" y="1133541"/>
                  </a:lnTo>
                  <a:lnTo>
                    <a:pt x="2085149" y="1133014"/>
                  </a:lnTo>
                  <a:lnTo>
                    <a:pt x="2084685" y="1132511"/>
                  </a:lnTo>
                  <a:lnTo>
                    <a:pt x="2084086" y="1130370"/>
                  </a:lnTo>
                  <a:lnTo>
                    <a:pt x="2083682" y="1129862"/>
                  </a:lnTo>
                  <a:lnTo>
                    <a:pt x="2081300" y="1129032"/>
                  </a:lnTo>
                  <a:lnTo>
                    <a:pt x="2080698" y="1128153"/>
                  </a:lnTo>
                  <a:lnTo>
                    <a:pt x="2081042" y="1127816"/>
                  </a:lnTo>
                  <a:lnTo>
                    <a:pt x="2081281" y="1127710"/>
                  </a:lnTo>
                  <a:lnTo>
                    <a:pt x="2081494" y="1127841"/>
                  </a:lnTo>
                  <a:lnTo>
                    <a:pt x="2081759" y="1128233"/>
                  </a:lnTo>
                  <a:lnTo>
                    <a:pt x="2081514" y="1126974"/>
                  </a:lnTo>
                  <a:lnTo>
                    <a:pt x="2080942" y="1125827"/>
                  </a:lnTo>
                  <a:lnTo>
                    <a:pt x="2079722" y="1124356"/>
                  </a:lnTo>
                  <a:lnTo>
                    <a:pt x="2080383" y="1123870"/>
                  </a:lnTo>
                  <a:lnTo>
                    <a:pt x="2081453" y="1124461"/>
                  </a:lnTo>
                  <a:lnTo>
                    <a:pt x="2082051" y="1124532"/>
                  </a:lnTo>
                  <a:lnTo>
                    <a:pt x="2082677" y="1124123"/>
                  </a:lnTo>
                  <a:lnTo>
                    <a:pt x="2082915" y="1123570"/>
                  </a:lnTo>
                  <a:lnTo>
                    <a:pt x="2083091" y="1122878"/>
                  </a:lnTo>
                  <a:lnTo>
                    <a:pt x="2084959" y="1119361"/>
                  </a:lnTo>
                  <a:lnTo>
                    <a:pt x="2085467" y="1118637"/>
                  </a:lnTo>
                  <a:lnTo>
                    <a:pt x="2086092" y="1118076"/>
                  </a:lnTo>
                  <a:lnTo>
                    <a:pt x="2086719" y="1117727"/>
                  </a:lnTo>
                  <a:lnTo>
                    <a:pt x="2087954" y="1117543"/>
                  </a:lnTo>
                  <a:lnTo>
                    <a:pt x="2090218" y="1118503"/>
                  </a:lnTo>
                  <a:lnTo>
                    <a:pt x="2091337" y="1117732"/>
                  </a:lnTo>
                  <a:lnTo>
                    <a:pt x="2092025" y="1114450"/>
                  </a:lnTo>
                  <a:lnTo>
                    <a:pt x="2092929" y="1112826"/>
                  </a:lnTo>
                  <a:lnTo>
                    <a:pt x="2100612" y="1114629"/>
                  </a:lnTo>
                  <a:lnTo>
                    <a:pt x="2102512" y="1113820"/>
                  </a:lnTo>
                  <a:lnTo>
                    <a:pt x="2103083" y="1114123"/>
                  </a:lnTo>
                  <a:lnTo>
                    <a:pt x="2103474" y="1114866"/>
                  </a:lnTo>
                  <a:lnTo>
                    <a:pt x="2104526" y="1117860"/>
                  </a:lnTo>
                  <a:lnTo>
                    <a:pt x="2105054" y="1118647"/>
                  </a:lnTo>
                  <a:lnTo>
                    <a:pt x="2106716" y="1120302"/>
                  </a:lnTo>
                  <a:lnTo>
                    <a:pt x="2107960" y="1124023"/>
                  </a:lnTo>
                  <a:lnTo>
                    <a:pt x="2108142" y="1124942"/>
                  </a:lnTo>
                  <a:lnTo>
                    <a:pt x="2108398" y="1126976"/>
                  </a:lnTo>
                  <a:lnTo>
                    <a:pt x="2108566" y="1127837"/>
                  </a:lnTo>
                  <a:lnTo>
                    <a:pt x="2109689" y="1129668"/>
                  </a:lnTo>
                  <a:lnTo>
                    <a:pt x="2112643" y="1130709"/>
                  </a:lnTo>
                  <a:lnTo>
                    <a:pt x="2113635" y="1132667"/>
                  </a:lnTo>
                  <a:lnTo>
                    <a:pt x="2113686" y="1134078"/>
                  </a:lnTo>
                  <a:lnTo>
                    <a:pt x="2114740" y="1135401"/>
                  </a:lnTo>
                  <a:lnTo>
                    <a:pt x="2116010" y="1135851"/>
                  </a:lnTo>
                  <a:lnTo>
                    <a:pt x="2116701" y="1134678"/>
                  </a:lnTo>
                  <a:lnTo>
                    <a:pt x="2116239" y="1132447"/>
                  </a:lnTo>
                  <a:lnTo>
                    <a:pt x="2115012" y="1130331"/>
                  </a:lnTo>
                  <a:lnTo>
                    <a:pt x="2111867" y="1127374"/>
                  </a:lnTo>
                  <a:lnTo>
                    <a:pt x="2111500" y="1125723"/>
                  </a:lnTo>
                  <a:lnTo>
                    <a:pt x="2111667" y="1123661"/>
                  </a:lnTo>
                  <a:lnTo>
                    <a:pt x="2112399" y="1121722"/>
                  </a:lnTo>
                  <a:lnTo>
                    <a:pt x="2112789" y="1121054"/>
                  </a:lnTo>
                  <a:lnTo>
                    <a:pt x="2113619" y="1119290"/>
                  </a:lnTo>
                  <a:lnTo>
                    <a:pt x="2113860" y="1118436"/>
                  </a:lnTo>
                  <a:lnTo>
                    <a:pt x="2113934" y="1117281"/>
                  </a:lnTo>
                  <a:lnTo>
                    <a:pt x="2113783" y="1116688"/>
                  </a:lnTo>
                  <a:lnTo>
                    <a:pt x="2113680" y="1116057"/>
                  </a:lnTo>
                  <a:lnTo>
                    <a:pt x="2113893" y="1114795"/>
                  </a:lnTo>
                  <a:lnTo>
                    <a:pt x="2111809" y="1115012"/>
                  </a:lnTo>
                  <a:lnTo>
                    <a:pt x="2110856" y="1114590"/>
                  </a:lnTo>
                  <a:lnTo>
                    <a:pt x="2110079" y="1112639"/>
                  </a:lnTo>
                  <a:lnTo>
                    <a:pt x="2109674" y="1111941"/>
                  </a:lnTo>
                  <a:lnTo>
                    <a:pt x="2109057" y="1111930"/>
                  </a:lnTo>
                  <a:lnTo>
                    <a:pt x="2108414" y="1112430"/>
                  </a:lnTo>
                  <a:lnTo>
                    <a:pt x="2107930" y="1113277"/>
                  </a:lnTo>
                  <a:lnTo>
                    <a:pt x="2107400" y="1113907"/>
                  </a:lnTo>
                  <a:lnTo>
                    <a:pt x="2106783" y="1113612"/>
                  </a:lnTo>
                  <a:lnTo>
                    <a:pt x="2106159" y="1113015"/>
                  </a:lnTo>
                  <a:lnTo>
                    <a:pt x="2105596" y="1112744"/>
                  </a:lnTo>
                  <a:lnTo>
                    <a:pt x="2103980" y="1112211"/>
                  </a:lnTo>
                  <a:lnTo>
                    <a:pt x="2103246" y="1111437"/>
                  </a:lnTo>
                  <a:lnTo>
                    <a:pt x="2102919" y="1110327"/>
                  </a:lnTo>
                  <a:lnTo>
                    <a:pt x="2103514" y="1110166"/>
                  </a:lnTo>
                  <a:lnTo>
                    <a:pt x="2104079" y="1109596"/>
                  </a:lnTo>
                  <a:lnTo>
                    <a:pt x="2104549" y="1108520"/>
                  </a:lnTo>
                  <a:lnTo>
                    <a:pt x="2104867" y="1106804"/>
                  </a:lnTo>
                  <a:lnTo>
                    <a:pt x="2104244" y="1106747"/>
                  </a:lnTo>
                  <a:lnTo>
                    <a:pt x="2102487" y="1105844"/>
                  </a:lnTo>
                  <a:lnTo>
                    <a:pt x="2100055" y="1105683"/>
                  </a:lnTo>
                  <a:lnTo>
                    <a:pt x="2099128" y="1104935"/>
                  </a:lnTo>
                  <a:lnTo>
                    <a:pt x="2098945" y="1103461"/>
                  </a:lnTo>
                  <a:lnTo>
                    <a:pt x="2099382" y="1102184"/>
                  </a:lnTo>
                  <a:lnTo>
                    <a:pt x="2100315" y="1101985"/>
                  </a:lnTo>
                  <a:lnTo>
                    <a:pt x="2100367" y="1101245"/>
                  </a:lnTo>
                  <a:lnTo>
                    <a:pt x="2099970" y="1101046"/>
                  </a:lnTo>
                  <a:lnTo>
                    <a:pt x="2099345" y="1099888"/>
                  </a:lnTo>
                  <a:lnTo>
                    <a:pt x="2099022" y="1099600"/>
                  </a:lnTo>
                  <a:lnTo>
                    <a:pt x="2097725" y="1100309"/>
                  </a:lnTo>
                  <a:lnTo>
                    <a:pt x="2097281" y="1100292"/>
                  </a:lnTo>
                  <a:lnTo>
                    <a:pt x="2098145" y="1098345"/>
                  </a:lnTo>
                  <a:lnTo>
                    <a:pt x="2100780" y="1097257"/>
                  </a:lnTo>
                  <a:lnTo>
                    <a:pt x="2101850" y="1095326"/>
                  </a:lnTo>
                  <a:lnTo>
                    <a:pt x="2101076" y="1095315"/>
                  </a:lnTo>
                  <a:lnTo>
                    <a:pt x="2100733" y="1095106"/>
                  </a:lnTo>
                  <a:lnTo>
                    <a:pt x="2100437" y="1094559"/>
                  </a:lnTo>
                  <a:lnTo>
                    <a:pt x="2101357" y="1092043"/>
                  </a:lnTo>
                  <a:lnTo>
                    <a:pt x="2102555" y="1091026"/>
                  </a:lnTo>
                  <a:lnTo>
                    <a:pt x="2105077" y="1091022"/>
                  </a:lnTo>
                  <a:lnTo>
                    <a:pt x="2105210" y="1089065"/>
                  </a:lnTo>
                  <a:lnTo>
                    <a:pt x="2105880" y="1089161"/>
                  </a:lnTo>
                  <a:lnTo>
                    <a:pt x="2107225" y="1090483"/>
                  </a:lnTo>
                  <a:lnTo>
                    <a:pt x="2107014" y="1090469"/>
                  </a:lnTo>
                  <a:lnTo>
                    <a:pt x="2108970" y="1091230"/>
                  </a:lnTo>
                  <a:lnTo>
                    <a:pt x="2110072" y="1090976"/>
                  </a:lnTo>
                  <a:lnTo>
                    <a:pt x="2110948" y="1089601"/>
                  </a:lnTo>
                  <a:lnTo>
                    <a:pt x="2111826" y="1087822"/>
                  </a:lnTo>
                  <a:lnTo>
                    <a:pt x="2112810" y="1087126"/>
                  </a:lnTo>
                  <a:lnTo>
                    <a:pt x="2119632" y="1088688"/>
                  </a:lnTo>
                  <a:lnTo>
                    <a:pt x="2122834" y="1092581"/>
                  </a:lnTo>
                  <a:lnTo>
                    <a:pt x="2126744" y="1093829"/>
                  </a:lnTo>
                  <a:lnTo>
                    <a:pt x="2129724" y="1096919"/>
                  </a:lnTo>
                  <a:lnTo>
                    <a:pt x="2129901" y="1097361"/>
                  </a:lnTo>
                  <a:lnTo>
                    <a:pt x="2129918" y="1098295"/>
                  </a:lnTo>
                  <a:lnTo>
                    <a:pt x="2130047" y="1098996"/>
                  </a:lnTo>
                  <a:lnTo>
                    <a:pt x="2130407" y="1099979"/>
                  </a:lnTo>
                  <a:lnTo>
                    <a:pt x="2130946" y="1100812"/>
                  </a:lnTo>
                  <a:lnTo>
                    <a:pt x="2131263" y="1100226"/>
                  </a:lnTo>
                  <a:lnTo>
                    <a:pt x="2131277" y="1098971"/>
                  </a:lnTo>
                  <a:lnTo>
                    <a:pt x="2130925" y="1097786"/>
                  </a:lnTo>
                  <a:lnTo>
                    <a:pt x="2131255" y="1097006"/>
                  </a:lnTo>
                  <a:lnTo>
                    <a:pt x="2131902" y="1095982"/>
                  </a:lnTo>
                  <a:lnTo>
                    <a:pt x="2132370" y="1095037"/>
                  </a:lnTo>
                  <a:lnTo>
                    <a:pt x="2132635" y="1094771"/>
                  </a:lnTo>
                  <a:lnTo>
                    <a:pt x="2132780" y="1094566"/>
                  </a:lnTo>
                  <a:lnTo>
                    <a:pt x="2132945" y="1094057"/>
                  </a:lnTo>
                  <a:lnTo>
                    <a:pt x="2132993" y="1093511"/>
                  </a:lnTo>
                  <a:lnTo>
                    <a:pt x="2133010" y="1092999"/>
                  </a:lnTo>
                  <a:lnTo>
                    <a:pt x="2133082" y="1092631"/>
                  </a:lnTo>
                  <a:lnTo>
                    <a:pt x="2133886" y="1091680"/>
                  </a:lnTo>
                  <a:lnTo>
                    <a:pt x="2135823" y="1090547"/>
                  </a:lnTo>
                  <a:lnTo>
                    <a:pt x="2136509" y="1089492"/>
                  </a:lnTo>
                  <a:lnTo>
                    <a:pt x="2136794" y="1088343"/>
                  </a:lnTo>
                  <a:lnTo>
                    <a:pt x="2137118" y="1086497"/>
                  </a:lnTo>
                  <a:lnTo>
                    <a:pt x="2137206" y="1084758"/>
                  </a:lnTo>
                  <a:lnTo>
                    <a:pt x="2136790" y="1083968"/>
                  </a:lnTo>
                  <a:lnTo>
                    <a:pt x="2136134" y="1083853"/>
                  </a:lnTo>
                  <a:lnTo>
                    <a:pt x="2135948" y="1083928"/>
                  </a:lnTo>
                  <a:lnTo>
                    <a:pt x="2136109" y="1086907"/>
                  </a:lnTo>
                  <a:lnTo>
                    <a:pt x="2135131" y="1084666"/>
                  </a:lnTo>
                  <a:lnTo>
                    <a:pt x="2133874" y="1085559"/>
                  </a:lnTo>
                  <a:lnTo>
                    <a:pt x="2131366" y="1089572"/>
                  </a:lnTo>
                  <a:lnTo>
                    <a:pt x="2129580" y="1090524"/>
                  </a:lnTo>
                  <a:lnTo>
                    <a:pt x="2124275" y="1089196"/>
                  </a:lnTo>
                  <a:lnTo>
                    <a:pt x="2124405" y="1088743"/>
                  </a:lnTo>
                  <a:lnTo>
                    <a:pt x="2124491" y="1088385"/>
                  </a:lnTo>
                  <a:lnTo>
                    <a:pt x="2124599" y="1088059"/>
                  </a:lnTo>
                  <a:lnTo>
                    <a:pt x="2124797" y="1087738"/>
                  </a:lnTo>
                  <a:lnTo>
                    <a:pt x="2124416" y="1087222"/>
                  </a:lnTo>
                  <a:lnTo>
                    <a:pt x="2124012" y="1087014"/>
                  </a:lnTo>
                  <a:lnTo>
                    <a:pt x="2123154" y="1086975"/>
                  </a:lnTo>
                  <a:lnTo>
                    <a:pt x="2124071" y="1083947"/>
                  </a:lnTo>
                  <a:lnTo>
                    <a:pt x="2125084" y="1081915"/>
                  </a:lnTo>
                  <a:lnTo>
                    <a:pt x="2126217" y="1080769"/>
                  </a:lnTo>
                  <a:lnTo>
                    <a:pt x="2128075" y="1080156"/>
                  </a:lnTo>
                  <a:lnTo>
                    <a:pt x="2129329" y="1078736"/>
                  </a:lnTo>
                  <a:lnTo>
                    <a:pt x="2129995" y="1078435"/>
                  </a:lnTo>
                  <a:lnTo>
                    <a:pt x="2132128" y="1078297"/>
                  </a:lnTo>
                  <a:close/>
                  <a:moveTo>
                    <a:pt x="1279633" y="1070057"/>
                  </a:moveTo>
                  <a:lnTo>
                    <a:pt x="1280093" y="1070387"/>
                  </a:lnTo>
                  <a:lnTo>
                    <a:pt x="1280798" y="1073008"/>
                  </a:lnTo>
                  <a:lnTo>
                    <a:pt x="1279545" y="1072519"/>
                  </a:lnTo>
                  <a:lnTo>
                    <a:pt x="1279071" y="1072031"/>
                  </a:lnTo>
                  <a:lnTo>
                    <a:pt x="1278721" y="1071221"/>
                  </a:lnTo>
                  <a:lnTo>
                    <a:pt x="1278801" y="1070448"/>
                  </a:lnTo>
                  <a:close/>
                  <a:moveTo>
                    <a:pt x="1677496" y="1063599"/>
                  </a:moveTo>
                  <a:lnTo>
                    <a:pt x="1680549" y="1063695"/>
                  </a:lnTo>
                  <a:lnTo>
                    <a:pt x="1684690" y="1069102"/>
                  </a:lnTo>
                  <a:lnTo>
                    <a:pt x="1688605" y="1071560"/>
                  </a:lnTo>
                  <a:lnTo>
                    <a:pt x="1689811" y="1075033"/>
                  </a:lnTo>
                  <a:lnTo>
                    <a:pt x="1692110" y="1086573"/>
                  </a:lnTo>
                  <a:lnTo>
                    <a:pt x="1692276" y="1090681"/>
                  </a:lnTo>
                  <a:lnTo>
                    <a:pt x="1692187" y="1092769"/>
                  </a:lnTo>
                  <a:lnTo>
                    <a:pt x="1691871" y="1094624"/>
                  </a:lnTo>
                  <a:lnTo>
                    <a:pt x="1691234" y="1096397"/>
                  </a:lnTo>
                  <a:lnTo>
                    <a:pt x="1688366" y="1101395"/>
                  </a:lnTo>
                  <a:lnTo>
                    <a:pt x="1687983" y="1102255"/>
                  </a:lnTo>
                  <a:lnTo>
                    <a:pt x="1687664" y="1103506"/>
                  </a:lnTo>
                  <a:lnTo>
                    <a:pt x="1687476" y="1104406"/>
                  </a:lnTo>
                  <a:lnTo>
                    <a:pt x="1687257" y="1105201"/>
                  </a:lnTo>
                  <a:lnTo>
                    <a:pt x="1686841" y="1106153"/>
                  </a:lnTo>
                  <a:lnTo>
                    <a:pt x="1686334" y="1106969"/>
                  </a:lnTo>
                  <a:lnTo>
                    <a:pt x="1685416" y="1108010"/>
                  </a:lnTo>
                  <a:lnTo>
                    <a:pt x="1684955" y="1108714"/>
                  </a:lnTo>
                  <a:lnTo>
                    <a:pt x="1684971" y="1108888"/>
                  </a:lnTo>
                  <a:lnTo>
                    <a:pt x="1684537" y="1110130"/>
                  </a:lnTo>
                  <a:lnTo>
                    <a:pt x="1684043" y="1111373"/>
                  </a:lnTo>
                  <a:lnTo>
                    <a:pt x="1683887" y="1111578"/>
                  </a:lnTo>
                  <a:lnTo>
                    <a:pt x="1683683" y="1113197"/>
                  </a:lnTo>
                  <a:lnTo>
                    <a:pt x="1683697" y="1114334"/>
                  </a:lnTo>
                  <a:lnTo>
                    <a:pt x="1683547" y="1115563"/>
                  </a:lnTo>
                  <a:lnTo>
                    <a:pt x="1682844" y="1117462"/>
                  </a:lnTo>
                  <a:lnTo>
                    <a:pt x="1682547" y="1117848"/>
                  </a:lnTo>
                  <a:lnTo>
                    <a:pt x="1682111" y="1118264"/>
                  </a:lnTo>
                  <a:lnTo>
                    <a:pt x="1681612" y="1118939"/>
                  </a:lnTo>
                  <a:lnTo>
                    <a:pt x="1681144" y="1120079"/>
                  </a:lnTo>
                  <a:lnTo>
                    <a:pt x="1680856" y="1121210"/>
                  </a:lnTo>
                  <a:lnTo>
                    <a:pt x="1680782" y="1121936"/>
                  </a:lnTo>
                  <a:lnTo>
                    <a:pt x="1680918" y="1123180"/>
                  </a:lnTo>
                  <a:lnTo>
                    <a:pt x="1681766" y="1125836"/>
                  </a:lnTo>
                  <a:lnTo>
                    <a:pt x="1681886" y="1127541"/>
                  </a:lnTo>
                  <a:lnTo>
                    <a:pt x="1681058" y="1129050"/>
                  </a:lnTo>
                  <a:lnTo>
                    <a:pt x="1679404" y="1129872"/>
                  </a:lnTo>
                  <a:lnTo>
                    <a:pt x="1672460" y="1128519"/>
                  </a:lnTo>
                  <a:lnTo>
                    <a:pt x="1672024" y="1128786"/>
                  </a:lnTo>
                  <a:lnTo>
                    <a:pt x="1670319" y="1131008"/>
                  </a:lnTo>
                  <a:lnTo>
                    <a:pt x="1668347" y="1131520"/>
                  </a:lnTo>
                  <a:lnTo>
                    <a:pt x="1667453" y="1132320"/>
                  </a:lnTo>
                  <a:lnTo>
                    <a:pt x="1667122" y="1134384"/>
                  </a:lnTo>
                  <a:lnTo>
                    <a:pt x="1667042" y="1135358"/>
                  </a:lnTo>
                  <a:lnTo>
                    <a:pt x="1666599" y="1137197"/>
                  </a:lnTo>
                  <a:lnTo>
                    <a:pt x="1666484" y="1138073"/>
                  </a:lnTo>
                  <a:lnTo>
                    <a:pt x="1666863" y="1139011"/>
                  </a:lnTo>
                  <a:lnTo>
                    <a:pt x="1668650" y="1138336"/>
                  </a:lnTo>
                  <a:lnTo>
                    <a:pt x="1669054" y="1139225"/>
                  </a:lnTo>
                  <a:lnTo>
                    <a:pt x="1668265" y="1139305"/>
                  </a:lnTo>
                  <a:lnTo>
                    <a:pt x="1666493" y="1140267"/>
                  </a:lnTo>
                  <a:lnTo>
                    <a:pt x="1663158" y="1141167"/>
                  </a:lnTo>
                  <a:lnTo>
                    <a:pt x="1662209" y="1141914"/>
                  </a:lnTo>
                  <a:lnTo>
                    <a:pt x="1660717" y="1143460"/>
                  </a:lnTo>
                  <a:lnTo>
                    <a:pt x="1659988" y="1144007"/>
                  </a:lnTo>
                  <a:lnTo>
                    <a:pt x="1655345" y="1144575"/>
                  </a:lnTo>
                  <a:lnTo>
                    <a:pt x="1655539" y="1144632"/>
                  </a:lnTo>
                  <a:lnTo>
                    <a:pt x="1655824" y="1145103"/>
                  </a:lnTo>
                  <a:lnTo>
                    <a:pt x="1656069" y="1145718"/>
                  </a:lnTo>
                  <a:lnTo>
                    <a:pt x="1656409" y="1147212"/>
                  </a:lnTo>
                  <a:lnTo>
                    <a:pt x="1655645" y="1148806"/>
                  </a:lnTo>
                  <a:lnTo>
                    <a:pt x="1655916" y="1149245"/>
                  </a:lnTo>
                  <a:lnTo>
                    <a:pt x="1657206" y="1148994"/>
                  </a:lnTo>
                  <a:lnTo>
                    <a:pt x="1660037" y="1151430"/>
                  </a:lnTo>
                  <a:lnTo>
                    <a:pt x="1661466" y="1151853"/>
                  </a:lnTo>
                  <a:lnTo>
                    <a:pt x="1662286" y="1151534"/>
                  </a:lnTo>
                  <a:lnTo>
                    <a:pt x="1663713" y="1148768"/>
                  </a:lnTo>
                  <a:lnTo>
                    <a:pt x="1664569" y="1148283"/>
                  </a:lnTo>
                  <a:lnTo>
                    <a:pt x="1666070" y="1148434"/>
                  </a:lnTo>
                  <a:lnTo>
                    <a:pt x="1671243" y="1145816"/>
                  </a:lnTo>
                  <a:lnTo>
                    <a:pt x="1679580" y="1145282"/>
                  </a:lnTo>
                  <a:lnTo>
                    <a:pt x="1678738" y="1146590"/>
                  </a:lnTo>
                  <a:lnTo>
                    <a:pt x="1679703" y="1148161"/>
                  </a:lnTo>
                  <a:lnTo>
                    <a:pt x="1681554" y="1148287"/>
                  </a:lnTo>
                  <a:lnTo>
                    <a:pt x="1690901" y="1144232"/>
                  </a:lnTo>
                  <a:lnTo>
                    <a:pt x="1692599" y="1144229"/>
                  </a:lnTo>
                  <a:lnTo>
                    <a:pt x="1690131" y="1147069"/>
                  </a:lnTo>
                  <a:lnTo>
                    <a:pt x="1685314" y="1149544"/>
                  </a:lnTo>
                  <a:lnTo>
                    <a:pt x="1682872" y="1151601"/>
                  </a:lnTo>
                  <a:lnTo>
                    <a:pt x="1683377" y="1152489"/>
                  </a:lnTo>
                  <a:lnTo>
                    <a:pt x="1684212" y="1152668"/>
                  </a:lnTo>
                  <a:lnTo>
                    <a:pt x="1685180" y="1152364"/>
                  </a:lnTo>
                  <a:lnTo>
                    <a:pt x="1686086" y="1151775"/>
                  </a:lnTo>
                  <a:lnTo>
                    <a:pt x="1686472" y="1151269"/>
                  </a:lnTo>
                  <a:lnTo>
                    <a:pt x="1686855" y="1150551"/>
                  </a:lnTo>
                  <a:lnTo>
                    <a:pt x="1687226" y="1149944"/>
                  </a:lnTo>
                  <a:lnTo>
                    <a:pt x="1687585" y="1149730"/>
                  </a:lnTo>
                  <a:lnTo>
                    <a:pt x="1688388" y="1149697"/>
                  </a:lnTo>
                  <a:lnTo>
                    <a:pt x="1692442" y="1148295"/>
                  </a:lnTo>
                  <a:lnTo>
                    <a:pt x="1694234" y="1146681"/>
                  </a:lnTo>
                  <a:lnTo>
                    <a:pt x="1694962" y="1144094"/>
                  </a:lnTo>
                  <a:lnTo>
                    <a:pt x="1695729" y="1142882"/>
                  </a:lnTo>
                  <a:lnTo>
                    <a:pt x="1696078" y="1142443"/>
                  </a:lnTo>
                  <a:lnTo>
                    <a:pt x="1696421" y="1142178"/>
                  </a:lnTo>
                  <a:lnTo>
                    <a:pt x="1696098" y="1139661"/>
                  </a:lnTo>
                  <a:lnTo>
                    <a:pt x="1692581" y="1138379"/>
                  </a:lnTo>
                  <a:lnTo>
                    <a:pt x="1691367" y="1137267"/>
                  </a:lnTo>
                  <a:lnTo>
                    <a:pt x="1691842" y="1135608"/>
                  </a:lnTo>
                  <a:lnTo>
                    <a:pt x="1693441" y="1133756"/>
                  </a:lnTo>
                  <a:lnTo>
                    <a:pt x="1697461" y="1130029"/>
                  </a:lnTo>
                  <a:lnTo>
                    <a:pt x="1702449" y="1123355"/>
                  </a:lnTo>
                  <a:lnTo>
                    <a:pt x="1710990" y="1116424"/>
                  </a:lnTo>
                  <a:lnTo>
                    <a:pt x="1717126" y="1115491"/>
                  </a:lnTo>
                  <a:lnTo>
                    <a:pt x="1719041" y="1117296"/>
                  </a:lnTo>
                  <a:lnTo>
                    <a:pt x="1721622" y="1117943"/>
                  </a:lnTo>
                  <a:lnTo>
                    <a:pt x="1722125" y="1118422"/>
                  </a:lnTo>
                  <a:lnTo>
                    <a:pt x="1722767" y="1120124"/>
                  </a:lnTo>
                  <a:lnTo>
                    <a:pt x="1723126" y="1120574"/>
                  </a:lnTo>
                  <a:lnTo>
                    <a:pt x="1730431" y="1125145"/>
                  </a:lnTo>
                  <a:lnTo>
                    <a:pt x="1734148" y="1131278"/>
                  </a:lnTo>
                  <a:lnTo>
                    <a:pt x="1736699" y="1133286"/>
                  </a:lnTo>
                  <a:lnTo>
                    <a:pt x="1742908" y="1135340"/>
                  </a:lnTo>
                  <a:lnTo>
                    <a:pt x="1744575" y="1137655"/>
                  </a:lnTo>
                  <a:lnTo>
                    <a:pt x="1747053" y="1139331"/>
                  </a:lnTo>
                  <a:lnTo>
                    <a:pt x="1747936" y="1141216"/>
                  </a:lnTo>
                  <a:lnTo>
                    <a:pt x="1752456" y="1145199"/>
                  </a:lnTo>
                  <a:lnTo>
                    <a:pt x="1754002" y="1147841"/>
                  </a:lnTo>
                  <a:lnTo>
                    <a:pt x="1756892" y="1149010"/>
                  </a:lnTo>
                  <a:lnTo>
                    <a:pt x="1758016" y="1150494"/>
                  </a:lnTo>
                  <a:lnTo>
                    <a:pt x="1758445" y="1151935"/>
                  </a:lnTo>
                  <a:lnTo>
                    <a:pt x="1758684" y="1153358"/>
                  </a:lnTo>
                  <a:lnTo>
                    <a:pt x="1758612" y="1153760"/>
                  </a:lnTo>
                  <a:lnTo>
                    <a:pt x="1758245" y="1155012"/>
                  </a:lnTo>
                  <a:lnTo>
                    <a:pt x="1758180" y="1155397"/>
                  </a:lnTo>
                  <a:lnTo>
                    <a:pt x="1758419" y="1155763"/>
                  </a:lnTo>
                  <a:lnTo>
                    <a:pt x="1759278" y="1156053"/>
                  </a:lnTo>
                  <a:lnTo>
                    <a:pt x="1760243" y="1157073"/>
                  </a:lnTo>
                  <a:lnTo>
                    <a:pt x="1762783" y="1158075"/>
                  </a:lnTo>
                  <a:lnTo>
                    <a:pt x="1765235" y="1160177"/>
                  </a:lnTo>
                  <a:lnTo>
                    <a:pt x="1764702" y="1161671"/>
                  </a:lnTo>
                  <a:lnTo>
                    <a:pt x="1764429" y="1162341"/>
                  </a:lnTo>
                  <a:lnTo>
                    <a:pt x="1764101" y="1162960"/>
                  </a:lnTo>
                  <a:lnTo>
                    <a:pt x="1764430" y="1164402"/>
                  </a:lnTo>
                  <a:lnTo>
                    <a:pt x="1764273" y="1165621"/>
                  </a:lnTo>
                  <a:lnTo>
                    <a:pt x="1763680" y="1166947"/>
                  </a:lnTo>
                  <a:lnTo>
                    <a:pt x="1761931" y="1170171"/>
                  </a:lnTo>
                  <a:lnTo>
                    <a:pt x="1761325" y="1171550"/>
                  </a:lnTo>
                  <a:lnTo>
                    <a:pt x="1760377" y="1174336"/>
                  </a:lnTo>
                  <a:lnTo>
                    <a:pt x="1760015" y="1175125"/>
                  </a:lnTo>
                  <a:lnTo>
                    <a:pt x="1758949" y="1176392"/>
                  </a:lnTo>
                  <a:lnTo>
                    <a:pt x="1750997" y="1180710"/>
                  </a:lnTo>
                  <a:lnTo>
                    <a:pt x="1751335" y="1181196"/>
                  </a:lnTo>
                  <a:lnTo>
                    <a:pt x="1751892" y="1181569"/>
                  </a:lnTo>
                  <a:lnTo>
                    <a:pt x="1752319" y="1182126"/>
                  </a:lnTo>
                  <a:lnTo>
                    <a:pt x="1752261" y="1183164"/>
                  </a:lnTo>
                  <a:lnTo>
                    <a:pt x="1751773" y="1183895"/>
                  </a:lnTo>
                  <a:lnTo>
                    <a:pt x="1746904" y="1187518"/>
                  </a:lnTo>
                  <a:lnTo>
                    <a:pt x="1736003" y="1191585"/>
                  </a:lnTo>
                  <a:lnTo>
                    <a:pt x="1734580" y="1192771"/>
                  </a:lnTo>
                  <a:lnTo>
                    <a:pt x="1733477" y="1194857"/>
                  </a:lnTo>
                  <a:lnTo>
                    <a:pt x="1733934" y="1195078"/>
                  </a:lnTo>
                  <a:lnTo>
                    <a:pt x="1734359" y="1195633"/>
                  </a:lnTo>
                  <a:lnTo>
                    <a:pt x="1734988" y="1197141"/>
                  </a:lnTo>
                  <a:lnTo>
                    <a:pt x="1735543" y="1197919"/>
                  </a:lnTo>
                  <a:lnTo>
                    <a:pt x="1736395" y="1198067"/>
                  </a:lnTo>
                  <a:lnTo>
                    <a:pt x="1738170" y="1197529"/>
                  </a:lnTo>
                  <a:lnTo>
                    <a:pt x="1740656" y="1195570"/>
                  </a:lnTo>
                  <a:lnTo>
                    <a:pt x="1741719" y="1195419"/>
                  </a:lnTo>
                  <a:lnTo>
                    <a:pt x="1741666" y="1197536"/>
                  </a:lnTo>
                  <a:lnTo>
                    <a:pt x="1740743" y="1199161"/>
                  </a:lnTo>
                  <a:lnTo>
                    <a:pt x="1738203" y="1200957"/>
                  </a:lnTo>
                  <a:lnTo>
                    <a:pt x="1737773" y="1202403"/>
                  </a:lnTo>
                  <a:lnTo>
                    <a:pt x="1737352" y="1204227"/>
                  </a:lnTo>
                  <a:lnTo>
                    <a:pt x="1736192" y="1205862"/>
                  </a:lnTo>
                  <a:lnTo>
                    <a:pt x="1734855" y="1207373"/>
                  </a:lnTo>
                  <a:lnTo>
                    <a:pt x="1733922" y="1208816"/>
                  </a:lnTo>
                  <a:lnTo>
                    <a:pt x="1734156" y="1210259"/>
                  </a:lnTo>
                  <a:lnTo>
                    <a:pt x="1734624" y="1210792"/>
                  </a:lnTo>
                  <a:lnTo>
                    <a:pt x="1735403" y="1210287"/>
                  </a:lnTo>
                  <a:lnTo>
                    <a:pt x="1736574" y="1208622"/>
                  </a:lnTo>
                  <a:lnTo>
                    <a:pt x="1736961" y="1207789"/>
                  </a:lnTo>
                  <a:lnTo>
                    <a:pt x="1737184" y="1207049"/>
                  </a:lnTo>
                  <a:lnTo>
                    <a:pt x="1737464" y="1206342"/>
                  </a:lnTo>
                  <a:lnTo>
                    <a:pt x="1738523" y="1204891"/>
                  </a:lnTo>
                  <a:lnTo>
                    <a:pt x="1739747" y="1202496"/>
                  </a:lnTo>
                  <a:lnTo>
                    <a:pt x="1740279" y="1202286"/>
                  </a:lnTo>
                  <a:lnTo>
                    <a:pt x="1741227" y="1202887"/>
                  </a:lnTo>
                  <a:lnTo>
                    <a:pt x="1741752" y="1202976"/>
                  </a:lnTo>
                  <a:lnTo>
                    <a:pt x="1742244" y="1202647"/>
                  </a:lnTo>
                  <a:lnTo>
                    <a:pt x="1743466" y="1201494"/>
                  </a:lnTo>
                  <a:lnTo>
                    <a:pt x="1746548" y="1200477"/>
                  </a:lnTo>
                  <a:lnTo>
                    <a:pt x="1749133" y="1198615"/>
                  </a:lnTo>
                  <a:lnTo>
                    <a:pt x="1748648" y="1197708"/>
                  </a:lnTo>
                  <a:lnTo>
                    <a:pt x="1747840" y="1197804"/>
                  </a:lnTo>
                  <a:lnTo>
                    <a:pt x="1746107" y="1198596"/>
                  </a:lnTo>
                  <a:lnTo>
                    <a:pt x="1744532" y="1198371"/>
                  </a:lnTo>
                  <a:lnTo>
                    <a:pt x="1743937" y="1197747"/>
                  </a:lnTo>
                  <a:lnTo>
                    <a:pt x="1743587" y="1196464"/>
                  </a:lnTo>
                  <a:lnTo>
                    <a:pt x="1743479" y="1195541"/>
                  </a:lnTo>
                  <a:lnTo>
                    <a:pt x="1743516" y="1194994"/>
                  </a:lnTo>
                  <a:lnTo>
                    <a:pt x="1743826" y="1194466"/>
                  </a:lnTo>
                  <a:lnTo>
                    <a:pt x="1744526" y="1193626"/>
                  </a:lnTo>
                  <a:lnTo>
                    <a:pt x="1745221" y="1192985"/>
                  </a:lnTo>
                  <a:lnTo>
                    <a:pt x="1746879" y="1192109"/>
                  </a:lnTo>
                  <a:lnTo>
                    <a:pt x="1748703" y="1192050"/>
                  </a:lnTo>
                  <a:lnTo>
                    <a:pt x="1750101" y="1191493"/>
                  </a:lnTo>
                  <a:lnTo>
                    <a:pt x="1751559" y="1190294"/>
                  </a:lnTo>
                  <a:lnTo>
                    <a:pt x="1752958" y="1188328"/>
                  </a:lnTo>
                  <a:lnTo>
                    <a:pt x="1754415" y="1186927"/>
                  </a:lnTo>
                  <a:lnTo>
                    <a:pt x="1756300" y="1186431"/>
                  </a:lnTo>
                  <a:lnTo>
                    <a:pt x="1758029" y="1186753"/>
                  </a:lnTo>
                  <a:lnTo>
                    <a:pt x="1758993" y="1187869"/>
                  </a:lnTo>
                  <a:lnTo>
                    <a:pt x="1758557" y="1188655"/>
                  </a:lnTo>
                  <a:lnTo>
                    <a:pt x="1758171" y="1189138"/>
                  </a:lnTo>
                  <a:lnTo>
                    <a:pt x="1757382" y="1189896"/>
                  </a:lnTo>
                  <a:lnTo>
                    <a:pt x="1753539" y="1191083"/>
                  </a:lnTo>
                  <a:lnTo>
                    <a:pt x="1752287" y="1192482"/>
                  </a:lnTo>
                  <a:lnTo>
                    <a:pt x="1752897" y="1192790"/>
                  </a:lnTo>
                  <a:lnTo>
                    <a:pt x="1754474" y="1192931"/>
                  </a:lnTo>
                  <a:lnTo>
                    <a:pt x="1754981" y="1193805"/>
                  </a:lnTo>
                  <a:lnTo>
                    <a:pt x="1751734" y="1196458"/>
                  </a:lnTo>
                  <a:lnTo>
                    <a:pt x="1750667" y="1198143"/>
                  </a:lnTo>
                  <a:lnTo>
                    <a:pt x="1751277" y="1199028"/>
                  </a:lnTo>
                  <a:lnTo>
                    <a:pt x="1752016" y="1198537"/>
                  </a:lnTo>
                  <a:lnTo>
                    <a:pt x="1752874" y="1197473"/>
                  </a:lnTo>
                  <a:lnTo>
                    <a:pt x="1753823" y="1196657"/>
                  </a:lnTo>
                  <a:lnTo>
                    <a:pt x="1754329" y="1196652"/>
                  </a:lnTo>
                  <a:lnTo>
                    <a:pt x="1755537" y="1197330"/>
                  </a:lnTo>
                  <a:lnTo>
                    <a:pt x="1755863" y="1197907"/>
                  </a:lnTo>
                  <a:lnTo>
                    <a:pt x="1755930" y="1198523"/>
                  </a:lnTo>
                  <a:lnTo>
                    <a:pt x="1755996" y="1200495"/>
                  </a:lnTo>
                  <a:lnTo>
                    <a:pt x="1755942" y="1200905"/>
                  </a:lnTo>
                  <a:lnTo>
                    <a:pt x="1757797" y="1201499"/>
                  </a:lnTo>
                  <a:lnTo>
                    <a:pt x="1758506" y="1202372"/>
                  </a:lnTo>
                  <a:lnTo>
                    <a:pt x="1759037" y="1204046"/>
                  </a:lnTo>
                  <a:lnTo>
                    <a:pt x="1759376" y="1206257"/>
                  </a:lnTo>
                  <a:lnTo>
                    <a:pt x="1759684" y="1207378"/>
                  </a:lnTo>
                  <a:lnTo>
                    <a:pt x="1760175" y="1208054"/>
                  </a:lnTo>
                  <a:lnTo>
                    <a:pt x="1760764" y="1205079"/>
                  </a:lnTo>
                  <a:lnTo>
                    <a:pt x="1760693" y="1202672"/>
                  </a:lnTo>
                  <a:lnTo>
                    <a:pt x="1760430" y="1200483"/>
                  </a:lnTo>
                  <a:lnTo>
                    <a:pt x="1760442" y="1198193"/>
                  </a:lnTo>
                  <a:lnTo>
                    <a:pt x="1761410" y="1194596"/>
                  </a:lnTo>
                  <a:lnTo>
                    <a:pt x="1762812" y="1193377"/>
                  </a:lnTo>
                  <a:lnTo>
                    <a:pt x="1764398" y="1192736"/>
                  </a:lnTo>
                  <a:lnTo>
                    <a:pt x="1765912" y="1190924"/>
                  </a:lnTo>
                  <a:lnTo>
                    <a:pt x="1765510" y="1189336"/>
                  </a:lnTo>
                  <a:lnTo>
                    <a:pt x="1765988" y="1188373"/>
                  </a:lnTo>
                  <a:lnTo>
                    <a:pt x="1766942" y="1187873"/>
                  </a:lnTo>
                  <a:lnTo>
                    <a:pt x="1767956" y="1187736"/>
                  </a:lnTo>
                  <a:lnTo>
                    <a:pt x="1772741" y="1189489"/>
                  </a:lnTo>
                  <a:lnTo>
                    <a:pt x="1772369" y="1186970"/>
                  </a:lnTo>
                  <a:lnTo>
                    <a:pt x="1772272" y="1185717"/>
                  </a:lnTo>
                  <a:lnTo>
                    <a:pt x="1772383" y="1184075"/>
                  </a:lnTo>
                  <a:lnTo>
                    <a:pt x="1776958" y="1179928"/>
                  </a:lnTo>
                  <a:lnTo>
                    <a:pt x="1777945" y="1179309"/>
                  </a:lnTo>
                  <a:lnTo>
                    <a:pt x="1778776" y="1179454"/>
                  </a:lnTo>
                  <a:lnTo>
                    <a:pt x="1780040" y="1181961"/>
                  </a:lnTo>
                  <a:lnTo>
                    <a:pt x="1780929" y="1182726"/>
                  </a:lnTo>
                  <a:lnTo>
                    <a:pt x="1782931" y="1183387"/>
                  </a:lnTo>
                  <a:lnTo>
                    <a:pt x="1784426" y="1183037"/>
                  </a:lnTo>
                  <a:lnTo>
                    <a:pt x="1784564" y="1183367"/>
                  </a:lnTo>
                  <a:lnTo>
                    <a:pt x="1784194" y="1184524"/>
                  </a:lnTo>
                  <a:lnTo>
                    <a:pt x="1783792" y="1185106"/>
                  </a:lnTo>
                  <a:lnTo>
                    <a:pt x="1779972" y="1187047"/>
                  </a:lnTo>
                  <a:lnTo>
                    <a:pt x="1779331" y="1187922"/>
                  </a:lnTo>
                  <a:lnTo>
                    <a:pt x="1779391" y="1189060"/>
                  </a:lnTo>
                  <a:lnTo>
                    <a:pt x="1779865" y="1190414"/>
                  </a:lnTo>
                  <a:lnTo>
                    <a:pt x="1780472" y="1191560"/>
                  </a:lnTo>
                  <a:lnTo>
                    <a:pt x="1780927" y="1192079"/>
                  </a:lnTo>
                  <a:lnTo>
                    <a:pt x="1781384" y="1192261"/>
                  </a:lnTo>
                  <a:lnTo>
                    <a:pt x="1783062" y="1193638"/>
                  </a:lnTo>
                  <a:lnTo>
                    <a:pt x="1783682" y="1194713"/>
                  </a:lnTo>
                  <a:lnTo>
                    <a:pt x="1784680" y="1195776"/>
                  </a:lnTo>
                  <a:lnTo>
                    <a:pt x="1785334" y="1197147"/>
                  </a:lnTo>
                  <a:lnTo>
                    <a:pt x="1786105" y="1198005"/>
                  </a:lnTo>
                  <a:lnTo>
                    <a:pt x="1787171" y="1197248"/>
                  </a:lnTo>
                  <a:lnTo>
                    <a:pt x="1782523" y="1191287"/>
                  </a:lnTo>
                  <a:lnTo>
                    <a:pt x="1781542" y="1188412"/>
                  </a:lnTo>
                  <a:lnTo>
                    <a:pt x="1782506" y="1187214"/>
                  </a:lnTo>
                  <a:lnTo>
                    <a:pt x="1783604" y="1186517"/>
                  </a:lnTo>
                  <a:lnTo>
                    <a:pt x="1784594" y="1186336"/>
                  </a:lnTo>
                  <a:lnTo>
                    <a:pt x="1785217" y="1186718"/>
                  </a:lnTo>
                  <a:lnTo>
                    <a:pt x="1785487" y="1186659"/>
                  </a:lnTo>
                  <a:lnTo>
                    <a:pt x="1785892" y="1186067"/>
                  </a:lnTo>
                  <a:lnTo>
                    <a:pt x="1786700" y="1184598"/>
                  </a:lnTo>
                  <a:lnTo>
                    <a:pt x="1787301" y="1183855"/>
                  </a:lnTo>
                  <a:lnTo>
                    <a:pt x="1787815" y="1183645"/>
                  </a:lnTo>
                  <a:lnTo>
                    <a:pt x="1788796" y="1183913"/>
                  </a:lnTo>
                  <a:lnTo>
                    <a:pt x="1789430" y="1184514"/>
                  </a:lnTo>
                  <a:lnTo>
                    <a:pt x="1790272" y="1186737"/>
                  </a:lnTo>
                  <a:lnTo>
                    <a:pt x="1791557" y="1187991"/>
                  </a:lnTo>
                  <a:lnTo>
                    <a:pt x="1792886" y="1193638"/>
                  </a:lnTo>
                  <a:lnTo>
                    <a:pt x="1794129" y="1196103"/>
                  </a:lnTo>
                  <a:lnTo>
                    <a:pt x="1794839" y="1196626"/>
                  </a:lnTo>
                  <a:lnTo>
                    <a:pt x="1794966" y="1196898"/>
                  </a:lnTo>
                  <a:lnTo>
                    <a:pt x="1795315" y="1198630"/>
                  </a:lnTo>
                  <a:lnTo>
                    <a:pt x="1795574" y="1198695"/>
                  </a:lnTo>
                  <a:lnTo>
                    <a:pt x="1797159" y="1197120"/>
                  </a:lnTo>
                  <a:lnTo>
                    <a:pt x="1797496" y="1197024"/>
                  </a:lnTo>
                  <a:lnTo>
                    <a:pt x="1798320" y="1196786"/>
                  </a:lnTo>
                  <a:lnTo>
                    <a:pt x="1801749" y="1199326"/>
                  </a:lnTo>
                  <a:lnTo>
                    <a:pt x="1802406" y="1200518"/>
                  </a:lnTo>
                  <a:lnTo>
                    <a:pt x="1803150" y="1201316"/>
                  </a:lnTo>
                  <a:lnTo>
                    <a:pt x="1804191" y="1200873"/>
                  </a:lnTo>
                  <a:lnTo>
                    <a:pt x="1803795" y="1199157"/>
                  </a:lnTo>
                  <a:lnTo>
                    <a:pt x="1798806" y="1193838"/>
                  </a:lnTo>
                  <a:lnTo>
                    <a:pt x="1798401" y="1192937"/>
                  </a:lnTo>
                  <a:lnTo>
                    <a:pt x="1797558" y="1191063"/>
                  </a:lnTo>
                  <a:lnTo>
                    <a:pt x="1791680" y="1184540"/>
                  </a:lnTo>
                  <a:lnTo>
                    <a:pt x="1792681" y="1183519"/>
                  </a:lnTo>
                  <a:lnTo>
                    <a:pt x="1793992" y="1183558"/>
                  </a:lnTo>
                  <a:lnTo>
                    <a:pt x="1796892" y="1185499"/>
                  </a:lnTo>
                  <a:lnTo>
                    <a:pt x="1799042" y="1190043"/>
                  </a:lnTo>
                  <a:lnTo>
                    <a:pt x="1799143" y="1190259"/>
                  </a:lnTo>
                  <a:lnTo>
                    <a:pt x="1802081" y="1194258"/>
                  </a:lnTo>
                  <a:lnTo>
                    <a:pt x="1803162" y="1194729"/>
                  </a:lnTo>
                  <a:lnTo>
                    <a:pt x="1804345" y="1194578"/>
                  </a:lnTo>
                  <a:lnTo>
                    <a:pt x="1805531" y="1193569"/>
                  </a:lnTo>
                  <a:lnTo>
                    <a:pt x="1805310" y="1192726"/>
                  </a:lnTo>
                  <a:lnTo>
                    <a:pt x="1804944" y="1190169"/>
                  </a:lnTo>
                  <a:lnTo>
                    <a:pt x="1804688" y="1189591"/>
                  </a:lnTo>
                  <a:lnTo>
                    <a:pt x="1804182" y="1189258"/>
                  </a:lnTo>
                  <a:lnTo>
                    <a:pt x="1803656" y="1188577"/>
                  </a:lnTo>
                  <a:lnTo>
                    <a:pt x="1802855" y="1186928"/>
                  </a:lnTo>
                  <a:lnTo>
                    <a:pt x="1802556" y="1185041"/>
                  </a:lnTo>
                  <a:lnTo>
                    <a:pt x="1802590" y="1183174"/>
                  </a:lnTo>
                  <a:lnTo>
                    <a:pt x="1802516" y="1181428"/>
                  </a:lnTo>
                  <a:lnTo>
                    <a:pt x="1801481" y="1179040"/>
                  </a:lnTo>
                  <a:lnTo>
                    <a:pt x="1800203" y="1176083"/>
                  </a:lnTo>
                  <a:lnTo>
                    <a:pt x="1799198" y="1174590"/>
                  </a:lnTo>
                  <a:lnTo>
                    <a:pt x="1797984" y="1174806"/>
                  </a:lnTo>
                  <a:lnTo>
                    <a:pt x="1796502" y="1175688"/>
                  </a:lnTo>
                  <a:lnTo>
                    <a:pt x="1794968" y="1175520"/>
                  </a:lnTo>
                  <a:lnTo>
                    <a:pt x="1793792" y="1174269"/>
                  </a:lnTo>
                  <a:lnTo>
                    <a:pt x="1793374" y="1171907"/>
                  </a:lnTo>
                  <a:lnTo>
                    <a:pt x="1796605" y="1172004"/>
                  </a:lnTo>
                  <a:lnTo>
                    <a:pt x="1797631" y="1171305"/>
                  </a:lnTo>
                  <a:lnTo>
                    <a:pt x="1797183" y="1169455"/>
                  </a:lnTo>
                  <a:lnTo>
                    <a:pt x="1797150" y="1167997"/>
                  </a:lnTo>
                  <a:lnTo>
                    <a:pt x="1797682" y="1167115"/>
                  </a:lnTo>
                  <a:lnTo>
                    <a:pt x="1800228" y="1167364"/>
                  </a:lnTo>
                  <a:lnTo>
                    <a:pt x="1802438" y="1168801"/>
                  </a:lnTo>
                  <a:lnTo>
                    <a:pt x="1803440" y="1170205"/>
                  </a:lnTo>
                  <a:lnTo>
                    <a:pt x="1806694" y="1174754"/>
                  </a:lnTo>
                  <a:lnTo>
                    <a:pt x="1807768" y="1175496"/>
                  </a:lnTo>
                  <a:lnTo>
                    <a:pt x="1808393" y="1175505"/>
                  </a:lnTo>
                  <a:lnTo>
                    <a:pt x="1808628" y="1174749"/>
                  </a:lnTo>
                  <a:lnTo>
                    <a:pt x="1808527" y="1173999"/>
                  </a:lnTo>
                  <a:lnTo>
                    <a:pt x="1808141" y="1172809"/>
                  </a:lnTo>
                  <a:lnTo>
                    <a:pt x="1807962" y="1171984"/>
                  </a:lnTo>
                  <a:lnTo>
                    <a:pt x="1808777" y="1170888"/>
                  </a:lnTo>
                  <a:lnTo>
                    <a:pt x="1809542" y="1170641"/>
                  </a:lnTo>
                  <a:lnTo>
                    <a:pt x="1810907" y="1171080"/>
                  </a:lnTo>
                  <a:lnTo>
                    <a:pt x="1810396" y="1169380"/>
                  </a:lnTo>
                  <a:lnTo>
                    <a:pt x="1806968" y="1168263"/>
                  </a:lnTo>
                  <a:lnTo>
                    <a:pt x="1805808" y="1167289"/>
                  </a:lnTo>
                  <a:lnTo>
                    <a:pt x="1804789" y="1165656"/>
                  </a:lnTo>
                  <a:lnTo>
                    <a:pt x="1804502" y="1165422"/>
                  </a:lnTo>
                  <a:lnTo>
                    <a:pt x="1803200" y="1164375"/>
                  </a:lnTo>
                  <a:lnTo>
                    <a:pt x="1801422" y="1163851"/>
                  </a:lnTo>
                  <a:lnTo>
                    <a:pt x="1799851" y="1164456"/>
                  </a:lnTo>
                  <a:lnTo>
                    <a:pt x="1798334" y="1165471"/>
                  </a:lnTo>
                  <a:lnTo>
                    <a:pt x="1796926" y="1165765"/>
                  </a:lnTo>
                  <a:lnTo>
                    <a:pt x="1796157" y="1165467"/>
                  </a:lnTo>
                  <a:lnTo>
                    <a:pt x="1795858" y="1164990"/>
                  </a:lnTo>
                  <a:lnTo>
                    <a:pt x="1796135" y="1164343"/>
                  </a:lnTo>
                  <a:lnTo>
                    <a:pt x="1797093" y="1163521"/>
                  </a:lnTo>
                  <a:lnTo>
                    <a:pt x="1798411" y="1163194"/>
                  </a:lnTo>
                  <a:lnTo>
                    <a:pt x="1799180" y="1162780"/>
                  </a:lnTo>
                  <a:lnTo>
                    <a:pt x="1799764" y="1161814"/>
                  </a:lnTo>
                  <a:lnTo>
                    <a:pt x="1800001" y="1160465"/>
                  </a:lnTo>
                  <a:lnTo>
                    <a:pt x="1799363" y="1159448"/>
                  </a:lnTo>
                  <a:lnTo>
                    <a:pt x="1799394" y="1158350"/>
                  </a:lnTo>
                  <a:lnTo>
                    <a:pt x="1798970" y="1156572"/>
                  </a:lnTo>
                  <a:lnTo>
                    <a:pt x="1791349" y="1153249"/>
                  </a:lnTo>
                  <a:lnTo>
                    <a:pt x="1790162" y="1151861"/>
                  </a:lnTo>
                  <a:lnTo>
                    <a:pt x="1789387" y="1149657"/>
                  </a:lnTo>
                  <a:lnTo>
                    <a:pt x="1788943" y="1145838"/>
                  </a:lnTo>
                  <a:lnTo>
                    <a:pt x="1788575" y="1144086"/>
                  </a:lnTo>
                  <a:lnTo>
                    <a:pt x="1787304" y="1142358"/>
                  </a:lnTo>
                  <a:lnTo>
                    <a:pt x="1786639" y="1140394"/>
                  </a:lnTo>
                  <a:lnTo>
                    <a:pt x="1786251" y="1138018"/>
                  </a:lnTo>
                  <a:lnTo>
                    <a:pt x="1786459" y="1135917"/>
                  </a:lnTo>
                  <a:lnTo>
                    <a:pt x="1787447" y="1134292"/>
                  </a:lnTo>
                  <a:lnTo>
                    <a:pt x="1788636" y="1133696"/>
                  </a:lnTo>
                  <a:lnTo>
                    <a:pt x="1798258" y="1136573"/>
                  </a:lnTo>
                  <a:lnTo>
                    <a:pt x="1807898" y="1139402"/>
                  </a:lnTo>
                  <a:lnTo>
                    <a:pt x="1809920" y="1141024"/>
                  </a:lnTo>
                  <a:lnTo>
                    <a:pt x="1812660" y="1143211"/>
                  </a:lnTo>
                  <a:lnTo>
                    <a:pt x="1812975" y="1144047"/>
                  </a:lnTo>
                  <a:lnTo>
                    <a:pt x="1812980" y="1145026"/>
                  </a:lnTo>
                  <a:lnTo>
                    <a:pt x="1812815" y="1145819"/>
                  </a:lnTo>
                  <a:lnTo>
                    <a:pt x="1812623" y="1146462"/>
                  </a:lnTo>
                  <a:lnTo>
                    <a:pt x="1812551" y="1146990"/>
                  </a:lnTo>
                  <a:lnTo>
                    <a:pt x="1813105" y="1148717"/>
                  </a:lnTo>
                  <a:lnTo>
                    <a:pt x="1814132" y="1148756"/>
                  </a:lnTo>
                  <a:lnTo>
                    <a:pt x="1816449" y="1147806"/>
                  </a:lnTo>
                  <a:lnTo>
                    <a:pt x="1818503" y="1148966"/>
                  </a:lnTo>
                  <a:lnTo>
                    <a:pt x="1820270" y="1150873"/>
                  </a:lnTo>
                  <a:lnTo>
                    <a:pt x="1819274" y="1152427"/>
                  </a:lnTo>
                  <a:lnTo>
                    <a:pt x="1816521" y="1152268"/>
                  </a:lnTo>
                  <a:lnTo>
                    <a:pt x="1815384" y="1153728"/>
                  </a:lnTo>
                  <a:lnTo>
                    <a:pt x="1824774" y="1167860"/>
                  </a:lnTo>
                  <a:lnTo>
                    <a:pt x="1824429" y="1168251"/>
                  </a:lnTo>
                  <a:lnTo>
                    <a:pt x="1823452" y="1169734"/>
                  </a:lnTo>
                  <a:lnTo>
                    <a:pt x="1830807" y="1169543"/>
                  </a:lnTo>
                  <a:lnTo>
                    <a:pt x="1831322" y="1170237"/>
                  </a:lnTo>
                  <a:lnTo>
                    <a:pt x="1832087" y="1171995"/>
                  </a:lnTo>
                  <a:lnTo>
                    <a:pt x="1832446" y="1172360"/>
                  </a:lnTo>
                  <a:lnTo>
                    <a:pt x="1831945" y="1172708"/>
                  </a:lnTo>
                  <a:lnTo>
                    <a:pt x="1831444" y="1172907"/>
                  </a:lnTo>
                  <a:lnTo>
                    <a:pt x="1830953" y="1173288"/>
                  </a:lnTo>
                  <a:lnTo>
                    <a:pt x="1830472" y="1174240"/>
                  </a:lnTo>
                  <a:lnTo>
                    <a:pt x="1833072" y="1178662"/>
                  </a:lnTo>
                  <a:lnTo>
                    <a:pt x="1836323" y="1180973"/>
                  </a:lnTo>
                  <a:lnTo>
                    <a:pt x="1836310" y="1181891"/>
                  </a:lnTo>
                  <a:lnTo>
                    <a:pt x="1835636" y="1182495"/>
                  </a:lnTo>
                  <a:lnTo>
                    <a:pt x="1832970" y="1183129"/>
                  </a:lnTo>
                  <a:lnTo>
                    <a:pt x="1833075" y="1184629"/>
                  </a:lnTo>
                  <a:lnTo>
                    <a:pt x="1832705" y="1185785"/>
                  </a:lnTo>
                  <a:lnTo>
                    <a:pt x="1832087" y="1186669"/>
                  </a:lnTo>
                  <a:lnTo>
                    <a:pt x="1831419" y="1187364"/>
                  </a:lnTo>
                  <a:lnTo>
                    <a:pt x="1831815" y="1188651"/>
                  </a:lnTo>
                  <a:lnTo>
                    <a:pt x="1831996" y="1188994"/>
                  </a:lnTo>
                  <a:lnTo>
                    <a:pt x="1831720" y="1189467"/>
                  </a:lnTo>
                  <a:lnTo>
                    <a:pt x="1831172" y="1190592"/>
                  </a:lnTo>
                  <a:lnTo>
                    <a:pt x="1830891" y="1191051"/>
                  </a:lnTo>
                  <a:lnTo>
                    <a:pt x="1831560" y="1191765"/>
                  </a:lnTo>
                  <a:lnTo>
                    <a:pt x="1834566" y="1191080"/>
                  </a:lnTo>
                  <a:lnTo>
                    <a:pt x="1836631" y="1192387"/>
                  </a:lnTo>
                  <a:lnTo>
                    <a:pt x="1837494" y="1192338"/>
                  </a:lnTo>
                  <a:lnTo>
                    <a:pt x="1837364" y="1191325"/>
                  </a:lnTo>
                  <a:lnTo>
                    <a:pt x="1837114" y="1190667"/>
                  </a:lnTo>
                  <a:lnTo>
                    <a:pt x="1836420" y="1189856"/>
                  </a:lnTo>
                  <a:lnTo>
                    <a:pt x="1837360" y="1188695"/>
                  </a:lnTo>
                  <a:lnTo>
                    <a:pt x="1842993" y="1192932"/>
                  </a:lnTo>
                  <a:lnTo>
                    <a:pt x="1844033" y="1194445"/>
                  </a:lnTo>
                  <a:lnTo>
                    <a:pt x="1844243" y="1196347"/>
                  </a:lnTo>
                  <a:lnTo>
                    <a:pt x="1844046" y="1198365"/>
                  </a:lnTo>
                  <a:lnTo>
                    <a:pt x="1844154" y="1199822"/>
                  </a:lnTo>
                  <a:lnTo>
                    <a:pt x="1844141" y="1201307"/>
                  </a:lnTo>
                  <a:lnTo>
                    <a:pt x="1843578" y="1203400"/>
                  </a:lnTo>
                  <a:lnTo>
                    <a:pt x="1843135" y="1204074"/>
                  </a:lnTo>
                  <a:lnTo>
                    <a:pt x="1842573" y="1204535"/>
                  </a:lnTo>
                  <a:lnTo>
                    <a:pt x="1842018" y="1205174"/>
                  </a:lnTo>
                  <a:lnTo>
                    <a:pt x="1841590" y="1206395"/>
                  </a:lnTo>
                  <a:lnTo>
                    <a:pt x="1841314" y="1207434"/>
                  </a:lnTo>
                  <a:lnTo>
                    <a:pt x="1840584" y="1209513"/>
                  </a:lnTo>
                  <a:lnTo>
                    <a:pt x="1839756" y="1212727"/>
                  </a:lnTo>
                  <a:lnTo>
                    <a:pt x="1839204" y="1214376"/>
                  </a:lnTo>
                  <a:lnTo>
                    <a:pt x="1838746" y="1216101"/>
                  </a:lnTo>
                  <a:lnTo>
                    <a:pt x="1838515" y="1218330"/>
                  </a:lnTo>
                  <a:lnTo>
                    <a:pt x="1838626" y="1219987"/>
                  </a:lnTo>
                  <a:lnTo>
                    <a:pt x="1839321" y="1222729"/>
                  </a:lnTo>
                  <a:lnTo>
                    <a:pt x="1839570" y="1224267"/>
                  </a:lnTo>
                  <a:lnTo>
                    <a:pt x="1839620" y="1233832"/>
                  </a:lnTo>
                  <a:lnTo>
                    <a:pt x="1839513" y="1234542"/>
                  </a:lnTo>
                  <a:lnTo>
                    <a:pt x="1838926" y="1237424"/>
                  </a:lnTo>
                  <a:lnTo>
                    <a:pt x="1838629" y="1238594"/>
                  </a:lnTo>
                  <a:lnTo>
                    <a:pt x="1838303" y="1239534"/>
                  </a:lnTo>
                  <a:lnTo>
                    <a:pt x="1838932" y="1240517"/>
                  </a:lnTo>
                  <a:lnTo>
                    <a:pt x="1839915" y="1241016"/>
                  </a:lnTo>
                  <a:lnTo>
                    <a:pt x="1840843" y="1240537"/>
                  </a:lnTo>
                  <a:lnTo>
                    <a:pt x="1841307" y="1238582"/>
                  </a:lnTo>
                  <a:lnTo>
                    <a:pt x="1841808" y="1238604"/>
                  </a:lnTo>
                  <a:lnTo>
                    <a:pt x="1842236" y="1238935"/>
                  </a:lnTo>
                  <a:lnTo>
                    <a:pt x="1842582" y="1239559"/>
                  </a:lnTo>
                  <a:lnTo>
                    <a:pt x="1842841" y="1240381"/>
                  </a:lnTo>
                  <a:lnTo>
                    <a:pt x="1842455" y="1241084"/>
                  </a:lnTo>
                  <a:lnTo>
                    <a:pt x="1842075" y="1241550"/>
                  </a:lnTo>
                  <a:lnTo>
                    <a:pt x="1841717" y="1241750"/>
                  </a:lnTo>
                  <a:lnTo>
                    <a:pt x="1841381" y="1241691"/>
                  </a:lnTo>
                  <a:lnTo>
                    <a:pt x="1841239" y="1242422"/>
                  </a:lnTo>
                  <a:lnTo>
                    <a:pt x="1842029" y="1242623"/>
                  </a:lnTo>
                  <a:lnTo>
                    <a:pt x="1842075" y="1243879"/>
                  </a:lnTo>
                  <a:lnTo>
                    <a:pt x="1841828" y="1245586"/>
                  </a:lnTo>
                  <a:lnTo>
                    <a:pt x="1841752" y="1247117"/>
                  </a:lnTo>
                  <a:lnTo>
                    <a:pt x="1841257" y="1249142"/>
                  </a:lnTo>
                  <a:lnTo>
                    <a:pt x="1840981" y="1249997"/>
                  </a:lnTo>
                  <a:lnTo>
                    <a:pt x="1840893" y="1251440"/>
                  </a:lnTo>
                  <a:lnTo>
                    <a:pt x="1840383" y="1253467"/>
                  </a:lnTo>
                  <a:lnTo>
                    <a:pt x="1839097" y="1257212"/>
                  </a:lnTo>
                  <a:lnTo>
                    <a:pt x="1841271" y="1257375"/>
                  </a:lnTo>
                  <a:lnTo>
                    <a:pt x="1842252" y="1257975"/>
                  </a:lnTo>
                  <a:lnTo>
                    <a:pt x="1842910" y="1259488"/>
                  </a:lnTo>
                  <a:lnTo>
                    <a:pt x="1841066" y="1262847"/>
                  </a:lnTo>
                  <a:lnTo>
                    <a:pt x="1840490" y="1263515"/>
                  </a:lnTo>
                  <a:lnTo>
                    <a:pt x="1841264" y="1263694"/>
                  </a:lnTo>
                  <a:lnTo>
                    <a:pt x="1843952" y="1261080"/>
                  </a:lnTo>
                  <a:lnTo>
                    <a:pt x="1845076" y="1260574"/>
                  </a:lnTo>
                  <a:lnTo>
                    <a:pt x="1846021" y="1261530"/>
                  </a:lnTo>
                  <a:lnTo>
                    <a:pt x="1845856" y="1262986"/>
                  </a:lnTo>
                  <a:lnTo>
                    <a:pt x="1843993" y="1266834"/>
                  </a:lnTo>
                  <a:lnTo>
                    <a:pt x="1842859" y="1268153"/>
                  </a:lnTo>
                  <a:lnTo>
                    <a:pt x="1841694" y="1268719"/>
                  </a:lnTo>
                  <a:lnTo>
                    <a:pt x="1840932" y="1269614"/>
                  </a:lnTo>
                  <a:lnTo>
                    <a:pt x="1841005" y="1271920"/>
                  </a:lnTo>
                  <a:lnTo>
                    <a:pt x="1841263" y="1272535"/>
                  </a:lnTo>
                  <a:lnTo>
                    <a:pt x="1841588" y="1273004"/>
                  </a:lnTo>
                  <a:lnTo>
                    <a:pt x="1841759" y="1273748"/>
                  </a:lnTo>
                  <a:lnTo>
                    <a:pt x="1841557" y="1275116"/>
                  </a:lnTo>
                  <a:lnTo>
                    <a:pt x="1841156" y="1276106"/>
                  </a:lnTo>
                  <a:lnTo>
                    <a:pt x="1839486" y="1278510"/>
                  </a:lnTo>
                  <a:lnTo>
                    <a:pt x="1839849" y="1280271"/>
                  </a:lnTo>
                  <a:lnTo>
                    <a:pt x="1840561" y="1281571"/>
                  </a:lnTo>
                  <a:lnTo>
                    <a:pt x="1841429" y="1282428"/>
                  </a:lnTo>
                  <a:lnTo>
                    <a:pt x="1842255" y="1282795"/>
                  </a:lnTo>
                  <a:lnTo>
                    <a:pt x="1842529" y="1283182"/>
                  </a:lnTo>
                  <a:lnTo>
                    <a:pt x="1842500" y="1284001"/>
                  </a:lnTo>
                  <a:lnTo>
                    <a:pt x="1842270" y="1284946"/>
                  </a:lnTo>
                  <a:lnTo>
                    <a:pt x="1841932" y="1285762"/>
                  </a:lnTo>
                  <a:lnTo>
                    <a:pt x="1841455" y="1286121"/>
                  </a:lnTo>
                  <a:lnTo>
                    <a:pt x="1839320" y="1286866"/>
                  </a:lnTo>
                  <a:lnTo>
                    <a:pt x="1840564" y="1288972"/>
                  </a:lnTo>
                  <a:lnTo>
                    <a:pt x="1844330" y="1287732"/>
                  </a:lnTo>
                  <a:lnTo>
                    <a:pt x="1845916" y="1288751"/>
                  </a:lnTo>
                  <a:lnTo>
                    <a:pt x="1846594" y="1290453"/>
                  </a:lnTo>
                  <a:lnTo>
                    <a:pt x="1847101" y="1292650"/>
                  </a:lnTo>
                  <a:lnTo>
                    <a:pt x="1847126" y="1295179"/>
                  </a:lnTo>
                  <a:lnTo>
                    <a:pt x="1846361" y="1297891"/>
                  </a:lnTo>
                  <a:lnTo>
                    <a:pt x="1848595" y="1298721"/>
                  </a:lnTo>
                  <a:lnTo>
                    <a:pt x="1850282" y="1301287"/>
                  </a:lnTo>
                  <a:lnTo>
                    <a:pt x="1851018" y="1301660"/>
                  </a:lnTo>
                  <a:lnTo>
                    <a:pt x="1851744" y="1301247"/>
                  </a:lnTo>
                  <a:lnTo>
                    <a:pt x="1851996" y="1301292"/>
                  </a:lnTo>
                  <a:lnTo>
                    <a:pt x="1852633" y="1300985"/>
                  </a:lnTo>
                  <a:lnTo>
                    <a:pt x="1853436" y="1301288"/>
                  </a:lnTo>
                  <a:lnTo>
                    <a:pt x="1854321" y="1301142"/>
                  </a:lnTo>
                  <a:lnTo>
                    <a:pt x="1855203" y="1299451"/>
                  </a:lnTo>
                  <a:lnTo>
                    <a:pt x="1853689" y="1295976"/>
                  </a:lnTo>
                  <a:lnTo>
                    <a:pt x="1853300" y="1295412"/>
                  </a:lnTo>
                  <a:lnTo>
                    <a:pt x="1852695" y="1295001"/>
                  </a:lnTo>
                  <a:lnTo>
                    <a:pt x="1852391" y="1294057"/>
                  </a:lnTo>
                  <a:lnTo>
                    <a:pt x="1852457" y="1292615"/>
                  </a:lnTo>
                  <a:lnTo>
                    <a:pt x="1852950" y="1290759"/>
                  </a:lnTo>
                  <a:lnTo>
                    <a:pt x="1854551" y="1288337"/>
                  </a:lnTo>
                  <a:lnTo>
                    <a:pt x="1855933" y="1289366"/>
                  </a:lnTo>
                  <a:lnTo>
                    <a:pt x="1857214" y="1291384"/>
                  </a:lnTo>
                  <a:lnTo>
                    <a:pt x="1858523" y="1291926"/>
                  </a:lnTo>
                  <a:lnTo>
                    <a:pt x="1860181" y="1290011"/>
                  </a:lnTo>
                  <a:lnTo>
                    <a:pt x="1861759" y="1287487"/>
                  </a:lnTo>
                  <a:lnTo>
                    <a:pt x="1863351" y="1285352"/>
                  </a:lnTo>
                  <a:lnTo>
                    <a:pt x="1865037" y="1284630"/>
                  </a:lnTo>
                  <a:lnTo>
                    <a:pt x="1874446" y="1283816"/>
                  </a:lnTo>
                  <a:lnTo>
                    <a:pt x="1873803" y="1282352"/>
                  </a:lnTo>
                  <a:lnTo>
                    <a:pt x="1872835" y="1281274"/>
                  </a:lnTo>
                  <a:lnTo>
                    <a:pt x="1870790" y="1280256"/>
                  </a:lnTo>
                  <a:lnTo>
                    <a:pt x="1870091" y="1279536"/>
                  </a:lnTo>
                  <a:lnTo>
                    <a:pt x="1869077" y="1276732"/>
                  </a:lnTo>
                  <a:lnTo>
                    <a:pt x="1868230" y="1275689"/>
                  </a:lnTo>
                  <a:lnTo>
                    <a:pt x="1868587" y="1275098"/>
                  </a:lnTo>
                  <a:lnTo>
                    <a:pt x="1869560" y="1274145"/>
                  </a:lnTo>
                  <a:lnTo>
                    <a:pt x="1870004" y="1274140"/>
                  </a:lnTo>
                  <a:lnTo>
                    <a:pt x="1872509" y="1276225"/>
                  </a:lnTo>
                  <a:lnTo>
                    <a:pt x="1873850" y="1276190"/>
                  </a:lnTo>
                  <a:lnTo>
                    <a:pt x="1875234" y="1275303"/>
                  </a:lnTo>
                  <a:lnTo>
                    <a:pt x="1876225" y="1273569"/>
                  </a:lnTo>
                  <a:lnTo>
                    <a:pt x="1875671" y="1272669"/>
                  </a:lnTo>
                  <a:lnTo>
                    <a:pt x="1873735" y="1271644"/>
                  </a:lnTo>
                  <a:lnTo>
                    <a:pt x="1871944" y="1269913"/>
                  </a:lnTo>
                  <a:lnTo>
                    <a:pt x="1871213" y="1269709"/>
                  </a:lnTo>
                  <a:lnTo>
                    <a:pt x="1871620" y="1268174"/>
                  </a:lnTo>
                  <a:lnTo>
                    <a:pt x="1871916" y="1266216"/>
                  </a:lnTo>
                  <a:lnTo>
                    <a:pt x="1871922" y="1264510"/>
                  </a:lnTo>
                  <a:lnTo>
                    <a:pt x="1871468" y="1263724"/>
                  </a:lnTo>
                  <a:lnTo>
                    <a:pt x="1870180" y="1263028"/>
                  </a:lnTo>
                  <a:lnTo>
                    <a:pt x="1867774" y="1260540"/>
                  </a:lnTo>
                  <a:lnTo>
                    <a:pt x="1866500" y="1259858"/>
                  </a:lnTo>
                  <a:lnTo>
                    <a:pt x="1866208" y="1258914"/>
                  </a:lnTo>
                  <a:lnTo>
                    <a:pt x="1865966" y="1256813"/>
                  </a:lnTo>
                  <a:lnTo>
                    <a:pt x="1865862" y="1254503"/>
                  </a:lnTo>
                  <a:lnTo>
                    <a:pt x="1865987" y="1252916"/>
                  </a:lnTo>
                  <a:lnTo>
                    <a:pt x="1866469" y="1252033"/>
                  </a:lnTo>
                  <a:lnTo>
                    <a:pt x="1867438" y="1251715"/>
                  </a:lnTo>
                  <a:lnTo>
                    <a:pt x="1867830" y="1250592"/>
                  </a:lnTo>
                  <a:lnTo>
                    <a:pt x="1867742" y="1249884"/>
                  </a:lnTo>
                  <a:lnTo>
                    <a:pt x="1866935" y="1248540"/>
                  </a:lnTo>
                  <a:lnTo>
                    <a:pt x="1866687" y="1247756"/>
                  </a:lnTo>
                  <a:lnTo>
                    <a:pt x="1866973" y="1247693"/>
                  </a:lnTo>
                  <a:lnTo>
                    <a:pt x="1867745" y="1247184"/>
                  </a:lnTo>
                  <a:lnTo>
                    <a:pt x="1863252" y="1244890"/>
                  </a:lnTo>
                  <a:lnTo>
                    <a:pt x="1863734" y="1243433"/>
                  </a:lnTo>
                  <a:lnTo>
                    <a:pt x="1863807" y="1242438"/>
                  </a:lnTo>
                  <a:lnTo>
                    <a:pt x="1863735" y="1241634"/>
                  </a:lnTo>
                  <a:lnTo>
                    <a:pt x="1863767" y="1240799"/>
                  </a:lnTo>
                  <a:lnTo>
                    <a:pt x="1864705" y="1235677"/>
                  </a:lnTo>
                  <a:lnTo>
                    <a:pt x="1864888" y="1233051"/>
                  </a:lnTo>
                  <a:lnTo>
                    <a:pt x="1864478" y="1231361"/>
                  </a:lnTo>
                  <a:lnTo>
                    <a:pt x="1863876" y="1229865"/>
                  </a:lnTo>
                  <a:lnTo>
                    <a:pt x="1863472" y="1227851"/>
                  </a:lnTo>
                  <a:lnTo>
                    <a:pt x="1863781" y="1226934"/>
                  </a:lnTo>
                  <a:lnTo>
                    <a:pt x="1864585" y="1226776"/>
                  </a:lnTo>
                  <a:lnTo>
                    <a:pt x="1865450" y="1227260"/>
                  </a:lnTo>
                  <a:lnTo>
                    <a:pt x="1866313" y="1229242"/>
                  </a:lnTo>
                  <a:lnTo>
                    <a:pt x="1867031" y="1229786"/>
                  </a:lnTo>
                  <a:lnTo>
                    <a:pt x="1867826" y="1229493"/>
                  </a:lnTo>
                  <a:lnTo>
                    <a:pt x="1868424" y="1227966"/>
                  </a:lnTo>
                  <a:lnTo>
                    <a:pt x="1868341" y="1225313"/>
                  </a:lnTo>
                  <a:lnTo>
                    <a:pt x="1867328" y="1223661"/>
                  </a:lnTo>
                  <a:lnTo>
                    <a:pt x="1866083" y="1222426"/>
                  </a:lnTo>
                  <a:lnTo>
                    <a:pt x="1865297" y="1221037"/>
                  </a:lnTo>
                  <a:lnTo>
                    <a:pt x="1866524" y="1220431"/>
                  </a:lnTo>
                  <a:lnTo>
                    <a:pt x="1867007" y="1219828"/>
                  </a:lnTo>
                  <a:lnTo>
                    <a:pt x="1867190" y="1218350"/>
                  </a:lnTo>
                  <a:lnTo>
                    <a:pt x="1866978" y="1217382"/>
                  </a:lnTo>
                  <a:lnTo>
                    <a:pt x="1866041" y="1216434"/>
                  </a:lnTo>
                  <a:lnTo>
                    <a:pt x="1865766" y="1215428"/>
                  </a:lnTo>
                  <a:lnTo>
                    <a:pt x="1865989" y="1212940"/>
                  </a:lnTo>
                  <a:lnTo>
                    <a:pt x="1868201" y="1212449"/>
                  </a:lnTo>
                  <a:lnTo>
                    <a:pt x="1869343" y="1210367"/>
                  </a:lnTo>
                  <a:lnTo>
                    <a:pt x="1867629" y="1209835"/>
                  </a:lnTo>
                  <a:lnTo>
                    <a:pt x="1866061" y="1208672"/>
                  </a:lnTo>
                  <a:lnTo>
                    <a:pt x="1864791" y="1206607"/>
                  </a:lnTo>
                  <a:lnTo>
                    <a:pt x="1863970" y="1203379"/>
                  </a:lnTo>
                  <a:lnTo>
                    <a:pt x="1867659" y="1203281"/>
                  </a:lnTo>
                  <a:lnTo>
                    <a:pt x="1867605" y="1201895"/>
                  </a:lnTo>
                  <a:lnTo>
                    <a:pt x="1867629" y="1200766"/>
                  </a:lnTo>
                  <a:lnTo>
                    <a:pt x="1867908" y="1199606"/>
                  </a:lnTo>
                  <a:lnTo>
                    <a:pt x="1868618" y="1198100"/>
                  </a:lnTo>
                  <a:lnTo>
                    <a:pt x="1868226" y="1195697"/>
                  </a:lnTo>
                  <a:lnTo>
                    <a:pt x="1867349" y="1194165"/>
                  </a:lnTo>
                  <a:lnTo>
                    <a:pt x="1865120" y="1192259"/>
                  </a:lnTo>
                  <a:lnTo>
                    <a:pt x="1865634" y="1191160"/>
                  </a:lnTo>
                  <a:lnTo>
                    <a:pt x="1866165" y="1190836"/>
                  </a:lnTo>
                  <a:lnTo>
                    <a:pt x="1866724" y="1190730"/>
                  </a:lnTo>
                  <a:lnTo>
                    <a:pt x="1867331" y="1190253"/>
                  </a:lnTo>
                  <a:lnTo>
                    <a:pt x="1866008" y="1187637"/>
                  </a:lnTo>
                  <a:lnTo>
                    <a:pt x="1865893" y="1185835"/>
                  </a:lnTo>
                  <a:lnTo>
                    <a:pt x="1867013" y="1183477"/>
                  </a:lnTo>
                  <a:lnTo>
                    <a:pt x="1866829" y="1182401"/>
                  </a:lnTo>
                  <a:lnTo>
                    <a:pt x="1866376" y="1180970"/>
                  </a:lnTo>
                  <a:lnTo>
                    <a:pt x="1866217" y="1179902"/>
                  </a:lnTo>
                  <a:lnTo>
                    <a:pt x="1865738" y="1178138"/>
                  </a:lnTo>
                  <a:lnTo>
                    <a:pt x="1865671" y="1176929"/>
                  </a:lnTo>
                  <a:lnTo>
                    <a:pt x="1866197" y="1176471"/>
                  </a:lnTo>
                  <a:lnTo>
                    <a:pt x="1866860" y="1175376"/>
                  </a:lnTo>
                  <a:lnTo>
                    <a:pt x="1866995" y="1172688"/>
                  </a:lnTo>
                  <a:lnTo>
                    <a:pt x="1866728" y="1168258"/>
                  </a:lnTo>
                  <a:lnTo>
                    <a:pt x="1866266" y="1165822"/>
                  </a:lnTo>
                  <a:lnTo>
                    <a:pt x="1866156" y="1164726"/>
                  </a:lnTo>
                  <a:lnTo>
                    <a:pt x="1866398" y="1162876"/>
                  </a:lnTo>
                  <a:lnTo>
                    <a:pt x="1867113" y="1162173"/>
                  </a:lnTo>
                  <a:lnTo>
                    <a:pt x="1867830" y="1161705"/>
                  </a:lnTo>
                  <a:lnTo>
                    <a:pt x="1868076" y="1160549"/>
                  </a:lnTo>
                  <a:lnTo>
                    <a:pt x="1867830" y="1159388"/>
                  </a:lnTo>
                  <a:lnTo>
                    <a:pt x="1867043" y="1157649"/>
                  </a:lnTo>
                  <a:lnTo>
                    <a:pt x="1866864" y="1156829"/>
                  </a:lnTo>
                  <a:lnTo>
                    <a:pt x="1867016" y="1155272"/>
                  </a:lnTo>
                  <a:lnTo>
                    <a:pt x="1867427" y="1153971"/>
                  </a:lnTo>
                  <a:lnTo>
                    <a:pt x="1867982" y="1153042"/>
                  </a:lnTo>
                  <a:lnTo>
                    <a:pt x="1868558" y="1152607"/>
                  </a:lnTo>
                  <a:lnTo>
                    <a:pt x="1867995" y="1150074"/>
                  </a:lnTo>
                  <a:lnTo>
                    <a:pt x="1866778" y="1146662"/>
                  </a:lnTo>
                  <a:lnTo>
                    <a:pt x="1866644" y="1145832"/>
                  </a:lnTo>
                  <a:lnTo>
                    <a:pt x="1867022" y="1145528"/>
                  </a:lnTo>
                  <a:lnTo>
                    <a:pt x="1868117" y="1145845"/>
                  </a:lnTo>
                  <a:lnTo>
                    <a:pt x="1868699" y="1145772"/>
                  </a:lnTo>
                  <a:lnTo>
                    <a:pt x="1869291" y="1145259"/>
                  </a:lnTo>
                  <a:lnTo>
                    <a:pt x="1866890" y="1139357"/>
                  </a:lnTo>
                  <a:lnTo>
                    <a:pt x="1866519" y="1135761"/>
                  </a:lnTo>
                  <a:lnTo>
                    <a:pt x="1868615" y="1131479"/>
                  </a:lnTo>
                  <a:lnTo>
                    <a:pt x="1872158" y="1128794"/>
                  </a:lnTo>
                  <a:lnTo>
                    <a:pt x="1875220" y="1129174"/>
                  </a:lnTo>
                  <a:lnTo>
                    <a:pt x="1881074" y="1132218"/>
                  </a:lnTo>
                  <a:lnTo>
                    <a:pt x="1880389" y="1129566"/>
                  </a:lnTo>
                  <a:lnTo>
                    <a:pt x="1876268" y="1126014"/>
                  </a:lnTo>
                  <a:lnTo>
                    <a:pt x="1875860" y="1125323"/>
                  </a:lnTo>
                  <a:lnTo>
                    <a:pt x="1875090" y="1123453"/>
                  </a:lnTo>
                  <a:lnTo>
                    <a:pt x="1874869" y="1122360"/>
                  </a:lnTo>
                  <a:lnTo>
                    <a:pt x="1874901" y="1121746"/>
                  </a:lnTo>
                  <a:lnTo>
                    <a:pt x="1875196" y="1120279"/>
                  </a:lnTo>
                  <a:lnTo>
                    <a:pt x="1875239" y="1119787"/>
                  </a:lnTo>
                  <a:lnTo>
                    <a:pt x="1875088" y="1119328"/>
                  </a:lnTo>
                  <a:lnTo>
                    <a:pt x="1874621" y="1118673"/>
                  </a:lnTo>
                  <a:lnTo>
                    <a:pt x="1874461" y="1118135"/>
                  </a:lnTo>
                  <a:lnTo>
                    <a:pt x="1875671" y="1117289"/>
                  </a:lnTo>
                  <a:lnTo>
                    <a:pt x="1879034" y="1118207"/>
                  </a:lnTo>
                  <a:lnTo>
                    <a:pt x="1878779" y="1116718"/>
                  </a:lnTo>
                  <a:lnTo>
                    <a:pt x="1877877" y="1114846"/>
                  </a:lnTo>
                  <a:lnTo>
                    <a:pt x="1877561" y="1113413"/>
                  </a:lnTo>
                  <a:lnTo>
                    <a:pt x="1879869" y="1113748"/>
                  </a:lnTo>
                  <a:lnTo>
                    <a:pt x="1886090" y="1118020"/>
                  </a:lnTo>
                  <a:lnTo>
                    <a:pt x="1890197" y="1118496"/>
                  </a:lnTo>
                  <a:lnTo>
                    <a:pt x="1893997" y="1122763"/>
                  </a:lnTo>
                  <a:lnTo>
                    <a:pt x="1895874" y="1123865"/>
                  </a:lnTo>
                  <a:lnTo>
                    <a:pt x="1898776" y="1128679"/>
                  </a:lnTo>
                  <a:lnTo>
                    <a:pt x="1899986" y="1129802"/>
                  </a:lnTo>
                  <a:lnTo>
                    <a:pt x="1900469" y="1131440"/>
                  </a:lnTo>
                  <a:lnTo>
                    <a:pt x="1901567" y="1132566"/>
                  </a:lnTo>
                  <a:lnTo>
                    <a:pt x="1902868" y="1135366"/>
                  </a:lnTo>
                  <a:lnTo>
                    <a:pt x="1905652" y="1137695"/>
                  </a:lnTo>
                  <a:lnTo>
                    <a:pt x="1906712" y="1137798"/>
                  </a:lnTo>
                  <a:lnTo>
                    <a:pt x="1907934" y="1135971"/>
                  </a:lnTo>
                  <a:lnTo>
                    <a:pt x="1907449" y="1134349"/>
                  </a:lnTo>
                  <a:lnTo>
                    <a:pt x="1905146" y="1130312"/>
                  </a:lnTo>
                  <a:lnTo>
                    <a:pt x="1906478" y="1128859"/>
                  </a:lnTo>
                  <a:lnTo>
                    <a:pt x="1907051" y="1127676"/>
                  </a:lnTo>
                  <a:lnTo>
                    <a:pt x="1907191" y="1126071"/>
                  </a:lnTo>
                  <a:lnTo>
                    <a:pt x="1907979" y="1125901"/>
                  </a:lnTo>
                  <a:lnTo>
                    <a:pt x="1909376" y="1124681"/>
                  </a:lnTo>
                  <a:lnTo>
                    <a:pt x="1910130" y="1124294"/>
                  </a:lnTo>
                  <a:lnTo>
                    <a:pt x="1910452" y="1124413"/>
                  </a:lnTo>
                  <a:lnTo>
                    <a:pt x="1911486" y="1125335"/>
                  </a:lnTo>
                  <a:lnTo>
                    <a:pt x="1911828" y="1125188"/>
                  </a:lnTo>
                  <a:lnTo>
                    <a:pt x="1913030" y="1124012"/>
                  </a:lnTo>
                  <a:lnTo>
                    <a:pt x="1914386" y="1123966"/>
                  </a:lnTo>
                  <a:lnTo>
                    <a:pt x="1915832" y="1124853"/>
                  </a:lnTo>
                  <a:lnTo>
                    <a:pt x="1917054" y="1126446"/>
                  </a:lnTo>
                  <a:lnTo>
                    <a:pt x="1917735" y="1128526"/>
                  </a:lnTo>
                  <a:lnTo>
                    <a:pt x="1918401" y="1132510"/>
                  </a:lnTo>
                  <a:lnTo>
                    <a:pt x="1918990" y="1134171"/>
                  </a:lnTo>
                  <a:lnTo>
                    <a:pt x="1922226" y="1136488"/>
                  </a:lnTo>
                  <a:lnTo>
                    <a:pt x="1922994" y="1135806"/>
                  </a:lnTo>
                  <a:lnTo>
                    <a:pt x="1923235" y="1135064"/>
                  </a:lnTo>
                  <a:lnTo>
                    <a:pt x="1923318" y="1134459"/>
                  </a:lnTo>
                  <a:lnTo>
                    <a:pt x="1923424" y="1134077"/>
                  </a:lnTo>
                  <a:lnTo>
                    <a:pt x="1923739" y="1133983"/>
                  </a:lnTo>
                  <a:lnTo>
                    <a:pt x="1924074" y="1134134"/>
                  </a:lnTo>
                  <a:lnTo>
                    <a:pt x="1924417" y="1134492"/>
                  </a:lnTo>
                  <a:lnTo>
                    <a:pt x="1924704" y="1135024"/>
                  </a:lnTo>
                  <a:lnTo>
                    <a:pt x="1924866" y="1135720"/>
                  </a:lnTo>
                  <a:lnTo>
                    <a:pt x="1924893" y="1136884"/>
                  </a:lnTo>
                  <a:lnTo>
                    <a:pt x="1924683" y="1138624"/>
                  </a:lnTo>
                  <a:lnTo>
                    <a:pt x="1924699" y="1139455"/>
                  </a:lnTo>
                  <a:lnTo>
                    <a:pt x="1924999" y="1140051"/>
                  </a:lnTo>
                  <a:lnTo>
                    <a:pt x="1925946" y="1141231"/>
                  </a:lnTo>
                  <a:lnTo>
                    <a:pt x="1926129" y="1143564"/>
                  </a:lnTo>
                  <a:lnTo>
                    <a:pt x="1926733" y="1144386"/>
                  </a:lnTo>
                  <a:lnTo>
                    <a:pt x="1927977" y="1145216"/>
                  </a:lnTo>
                  <a:lnTo>
                    <a:pt x="1929340" y="1148028"/>
                  </a:lnTo>
                  <a:lnTo>
                    <a:pt x="1929755" y="1148484"/>
                  </a:lnTo>
                  <a:lnTo>
                    <a:pt x="1929906" y="1148977"/>
                  </a:lnTo>
                  <a:lnTo>
                    <a:pt x="1930071" y="1151068"/>
                  </a:lnTo>
                  <a:lnTo>
                    <a:pt x="1930374" y="1151584"/>
                  </a:lnTo>
                  <a:lnTo>
                    <a:pt x="1932016" y="1152313"/>
                  </a:lnTo>
                  <a:lnTo>
                    <a:pt x="1935641" y="1156086"/>
                  </a:lnTo>
                  <a:lnTo>
                    <a:pt x="1936848" y="1156747"/>
                  </a:lnTo>
                  <a:lnTo>
                    <a:pt x="1938339" y="1156585"/>
                  </a:lnTo>
                  <a:lnTo>
                    <a:pt x="1938785" y="1156199"/>
                  </a:lnTo>
                  <a:lnTo>
                    <a:pt x="1939234" y="1155670"/>
                  </a:lnTo>
                  <a:lnTo>
                    <a:pt x="1939652" y="1155373"/>
                  </a:lnTo>
                  <a:lnTo>
                    <a:pt x="1940428" y="1156156"/>
                  </a:lnTo>
                  <a:lnTo>
                    <a:pt x="1942026" y="1156298"/>
                  </a:lnTo>
                  <a:lnTo>
                    <a:pt x="1942541" y="1157320"/>
                  </a:lnTo>
                  <a:lnTo>
                    <a:pt x="1942259" y="1159371"/>
                  </a:lnTo>
                  <a:lnTo>
                    <a:pt x="1941881" y="1161399"/>
                  </a:lnTo>
                  <a:lnTo>
                    <a:pt x="1942102" y="1162379"/>
                  </a:lnTo>
                  <a:lnTo>
                    <a:pt x="1942669" y="1163050"/>
                  </a:lnTo>
                  <a:lnTo>
                    <a:pt x="1943707" y="1165773"/>
                  </a:lnTo>
                  <a:lnTo>
                    <a:pt x="1947971" y="1169209"/>
                  </a:lnTo>
                  <a:lnTo>
                    <a:pt x="1946670" y="1170527"/>
                  </a:lnTo>
                  <a:lnTo>
                    <a:pt x="1947121" y="1171699"/>
                  </a:lnTo>
                  <a:lnTo>
                    <a:pt x="1948217" y="1173095"/>
                  </a:lnTo>
                  <a:lnTo>
                    <a:pt x="1948620" y="1173874"/>
                  </a:lnTo>
                  <a:lnTo>
                    <a:pt x="1948787" y="1174710"/>
                  </a:lnTo>
                  <a:lnTo>
                    <a:pt x="1948902" y="1175633"/>
                  </a:lnTo>
                  <a:lnTo>
                    <a:pt x="1949092" y="1176460"/>
                  </a:lnTo>
                  <a:lnTo>
                    <a:pt x="1949499" y="1176990"/>
                  </a:lnTo>
                  <a:lnTo>
                    <a:pt x="1949164" y="1177657"/>
                  </a:lnTo>
                  <a:lnTo>
                    <a:pt x="1948829" y="1178112"/>
                  </a:lnTo>
                  <a:lnTo>
                    <a:pt x="1948505" y="1178334"/>
                  </a:lnTo>
                  <a:lnTo>
                    <a:pt x="1948195" y="1178309"/>
                  </a:lnTo>
                  <a:lnTo>
                    <a:pt x="1948087" y="1179044"/>
                  </a:lnTo>
                  <a:lnTo>
                    <a:pt x="1949081" y="1179156"/>
                  </a:lnTo>
                  <a:lnTo>
                    <a:pt x="1950053" y="1179867"/>
                  </a:lnTo>
                  <a:lnTo>
                    <a:pt x="1950921" y="1181019"/>
                  </a:lnTo>
                  <a:lnTo>
                    <a:pt x="1951599" y="1182461"/>
                  </a:lnTo>
                  <a:lnTo>
                    <a:pt x="1952552" y="1186548"/>
                  </a:lnTo>
                  <a:lnTo>
                    <a:pt x="1953166" y="1187235"/>
                  </a:lnTo>
                  <a:lnTo>
                    <a:pt x="1952859" y="1187965"/>
                  </a:lnTo>
                  <a:lnTo>
                    <a:pt x="1952519" y="1188526"/>
                  </a:lnTo>
                  <a:lnTo>
                    <a:pt x="1951747" y="1189358"/>
                  </a:lnTo>
                  <a:lnTo>
                    <a:pt x="1953075" y="1190790"/>
                  </a:lnTo>
                  <a:lnTo>
                    <a:pt x="1953647" y="1191832"/>
                  </a:lnTo>
                  <a:lnTo>
                    <a:pt x="1953886" y="1193329"/>
                  </a:lnTo>
                  <a:lnTo>
                    <a:pt x="1952778" y="1194054"/>
                  </a:lnTo>
                  <a:lnTo>
                    <a:pt x="1952219" y="1194129"/>
                  </a:lnTo>
                  <a:lnTo>
                    <a:pt x="1951754" y="1193851"/>
                  </a:lnTo>
                  <a:lnTo>
                    <a:pt x="1951544" y="1193309"/>
                  </a:lnTo>
                  <a:lnTo>
                    <a:pt x="1951146" y="1191714"/>
                  </a:lnTo>
                  <a:lnTo>
                    <a:pt x="1950409" y="1190398"/>
                  </a:lnTo>
                  <a:lnTo>
                    <a:pt x="1949986" y="1188616"/>
                  </a:lnTo>
                  <a:lnTo>
                    <a:pt x="1949381" y="1187384"/>
                  </a:lnTo>
                  <a:lnTo>
                    <a:pt x="1948354" y="1188073"/>
                  </a:lnTo>
                  <a:lnTo>
                    <a:pt x="1950236" y="1193643"/>
                  </a:lnTo>
                  <a:lnTo>
                    <a:pt x="1949854" y="1194189"/>
                  </a:lnTo>
                  <a:lnTo>
                    <a:pt x="1949503" y="1194820"/>
                  </a:lnTo>
                  <a:lnTo>
                    <a:pt x="1949185" y="1195558"/>
                  </a:lnTo>
                  <a:lnTo>
                    <a:pt x="1948913" y="1196462"/>
                  </a:lnTo>
                  <a:lnTo>
                    <a:pt x="1951710" y="1200133"/>
                  </a:lnTo>
                  <a:lnTo>
                    <a:pt x="1953008" y="1200970"/>
                  </a:lnTo>
                  <a:lnTo>
                    <a:pt x="1953329" y="1201576"/>
                  </a:lnTo>
                  <a:lnTo>
                    <a:pt x="1953554" y="1202428"/>
                  </a:lnTo>
                  <a:lnTo>
                    <a:pt x="1953556" y="1203438"/>
                  </a:lnTo>
                  <a:lnTo>
                    <a:pt x="1953178" y="1204181"/>
                  </a:lnTo>
                  <a:lnTo>
                    <a:pt x="1951191" y="1205832"/>
                  </a:lnTo>
                  <a:lnTo>
                    <a:pt x="1951605" y="1207062"/>
                  </a:lnTo>
                  <a:lnTo>
                    <a:pt x="1951836" y="1208491"/>
                  </a:lnTo>
                  <a:lnTo>
                    <a:pt x="1951736" y="1210282"/>
                  </a:lnTo>
                  <a:lnTo>
                    <a:pt x="1951158" y="1212575"/>
                  </a:lnTo>
                  <a:lnTo>
                    <a:pt x="1953309" y="1213566"/>
                  </a:lnTo>
                  <a:lnTo>
                    <a:pt x="1953816" y="1214433"/>
                  </a:lnTo>
                  <a:lnTo>
                    <a:pt x="1953665" y="1214712"/>
                  </a:lnTo>
                  <a:lnTo>
                    <a:pt x="1953196" y="1215774"/>
                  </a:lnTo>
                  <a:lnTo>
                    <a:pt x="1953361" y="1216180"/>
                  </a:lnTo>
                  <a:lnTo>
                    <a:pt x="1953525" y="1217033"/>
                  </a:lnTo>
                  <a:lnTo>
                    <a:pt x="1953645" y="1217406"/>
                  </a:lnTo>
                  <a:lnTo>
                    <a:pt x="1952563" y="1219167"/>
                  </a:lnTo>
                  <a:lnTo>
                    <a:pt x="1952716" y="1220148"/>
                  </a:lnTo>
                  <a:lnTo>
                    <a:pt x="1954024" y="1221198"/>
                  </a:lnTo>
                  <a:lnTo>
                    <a:pt x="1953412" y="1223643"/>
                  </a:lnTo>
                  <a:lnTo>
                    <a:pt x="1953083" y="1224434"/>
                  </a:lnTo>
                  <a:lnTo>
                    <a:pt x="1952616" y="1224693"/>
                  </a:lnTo>
                  <a:lnTo>
                    <a:pt x="1951981" y="1224233"/>
                  </a:lnTo>
                  <a:lnTo>
                    <a:pt x="1951447" y="1223468"/>
                  </a:lnTo>
                  <a:lnTo>
                    <a:pt x="1950852" y="1223067"/>
                  </a:lnTo>
                  <a:lnTo>
                    <a:pt x="1950043" y="1223663"/>
                  </a:lnTo>
                  <a:lnTo>
                    <a:pt x="1950712" y="1225575"/>
                  </a:lnTo>
                  <a:lnTo>
                    <a:pt x="1951453" y="1230056"/>
                  </a:lnTo>
                  <a:lnTo>
                    <a:pt x="1952036" y="1232170"/>
                  </a:lnTo>
                  <a:lnTo>
                    <a:pt x="1953443" y="1235085"/>
                  </a:lnTo>
                  <a:lnTo>
                    <a:pt x="1953826" y="1236564"/>
                  </a:lnTo>
                  <a:lnTo>
                    <a:pt x="1953873" y="1237343"/>
                  </a:lnTo>
                  <a:lnTo>
                    <a:pt x="1953736" y="1239169"/>
                  </a:lnTo>
                  <a:lnTo>
                    <a:pt x="1953720" y="1239952"/>
                  </a:lnTo>
                  <a:lnTo>
                    <a:pt x="1953792" y="1240721"/>
                  </a:lnTo>
                  <a:lnTo>
                    <a:pt x="1954441" y="1243820"/>
                  </a:lnTo>
                  <a:lnTo>
                    <a:pt x="1955197" y="1245727"/>
                  </a:lnTo>
                  <a:lnTo>
                    <a:pt x="1955515" y="1246934"/>
                  </a:lnTo>
                  <a:lnTo>
                    <a:pt x="1955764" y="1249640"/>
                  </a:lnTo>
                  <a:lnTo>
                    <a:pt x="1956015" y="1250990"/>
                  </a:lnTo>
                  <a:lnTo>
                    <a:pt x="1956998" y="1252189"/>
                  </a:lnTo>
                  <a:lnTo>
                    <a:pt x="1957279" y="1253484"/>
                  </a:lnTo>
                  <a:lnTo>
                    <a:pt x="1957280" y="1255148"/>
                  </a:lnTo>
                  <a:lnTo>
                    <a:pt x="1956950" y="1256855"/>
                  </a:lnTo>
                  <a:lnTo>
                    <a:pt x="1956164" y="1258320"/>
                  </a:lnTo>
                  <a:lnTo>
                    <a:pt x="1954445" y="1259725"/>
                  </a:lnTo>
                  <a:lnTo>
                    <a:pt x="1953699" y="1261748"/>
                  </a:lnTo>
                  <a:lnTo>
                    <a:pt x="1954117" y="1262521"/>
                  </a:lnTo>
                  <a:lnTo>
                    <a:pt x="1954322" y="1263727"/>
                  </a:lnTo>
                  <a:lnTo>
                    <a:pt x="1954184" y="1265056"/>
                  </a:lnTo>
                  <a:lnTo>
                    <a:pt x="1953574" y="1266227"/>
                  </a:lnTo>
                  <a:lnTo>
                    <a:pt x="1954130" y="1266719"/>
                  </a:lnTo>
                  <a:lnTo>
                    <a:pt x="1955421" y="1267302"/>
                  </a:lnTo>
                  <a:lnTo>
                    <a:pt x="1955896" y="1268086"/>
                  </a:lnTo>
                  <a:lnTo>
                    <a:pt x="1956060" y="1269112"/>
                  </a:lnTo>
                  <a:lnTo>
                    <a:pt x="1956135" y="1271415"/>
                  </a:lnTo>
                  <a:lnTo>
                    <a:pt x="1956176" y="1271872"/>
                  </a:lnTo>
                  <a:lnTo>
                    <a:pt x="1956736" y="1272707"/>
                  </a:lnTo>
                  <a:lnTo>
                    <a:pt x="1957172" y="1274602"/>
                  </a:lnTo>
                  <a:lnTo>
                    <a:pt x="1957910" y="1280667"/>
                  </a:lnTo>
                  <a:lnTo>
                    <a:pt x="1957982" y="1282292"/>
                  </a:lnTo>
                  <a:lnTo>
                    <a:pt x="1957895" y="1284146"/>
                  </a:lnTo>
                  <a:lnTo>
                    <a:pt x="1957603" y="1286688"/>
                  </a:lnTo>
                  <a:lnTo>
                    <a:pt x="1957566" y="1289897"/>
                  </a:lnTo>
                  <a:lnTo>
                    <a:pt x="1958249" y="1291857"/>
                  </a:lnTo>
                  <a:lnTo>
                    <a:pt x="1959274" y="1292915"/>
                  </a:lnTo>
                  <a:lnTo>
                    <a:pt x="1961472" y="1293937"/>
                  </a:lnTo>
                  <a:lnTo>
                    <a:pt x="1961937" y="1294597"/>
                  </a:lnTo>
                  <a:lnTo>
                    <a:pt x="1962297" y="1295927"/>
                  </a:lnTo>
                  <a:lnTo>
                    <a:pt x="1962328" y="1296854"/>
                  </a:lnTo>
                  <a:lnTo>
                    <a:pt x="1962291" y="1298103"/>
                  </a:lnTo>
                  <a:lnTo>
                    <a:pt x="1962338" y="1299207"/>
                  </a:lnTo>
                  <a:lnTo>
                    <a:pt x="1962610" y="1299704"/>
                  </a:lnTo>
                  <a:lnTo>
                    <a:pt x="1963323" y="1300391"/>
                  </a:lnTo>
                  <a:lnTo>
                    <a:pt x="1963972" y="1301898"/>
                  </a:lnTo>
                  <a:lnTo>
                    <a:pt x="1964859" y="1305290"/>
                  </a:lnTo>
                  <a:lnTo>
                    <a:pt x="1964963" y="1306222"/>
                  </a:lnTo>
                  <a:lnTo>
                    <a:pt x="1964986" y="1308116"/>
                  </a:lnTo>
                  <a:lnTo>
                    <a:pt x="1965075" y="1308992"/>
                  </a:lnTo>
                  <a:lnTo>
                    <a:pt x="1965425" y="1310123"/>
                  </a:lnTo>
                  <a:lnTo>
                    <a:pt x="1966294" y="1311527"/>
                  </a:lnTo>
                  <a:lnTo>
                    <a:pt x="1968706" y="1319980"/>
                  </a:lnTo>
                  <a:lnTo>
                    <a:pt x="1968910" y="1322506"/>
                  </a:lnTo>
                  <a:lnTo>
                    <a:pt x="1968461" y="1324592"/>
                  </a:lnTo>
                  <a:lnTo>
                    <a:pt x="1966559" y="1329514"/>
                  </a:lnTo>
                  <a:lnTo>
                    <a:pt x="1966873" y="1331519"/>
                  </a:lnTo>
                  <a:lnTo>
                    <a:pt x="1967408" y="1332800"/>
                  </a:lnTo>
                  <a:lnTo>
                    <a:pt x="1969067" y="1334306"/>
                  </a:lnTo>
                  <a:lnTo>
                    <a:pt x="1967904" y="1337645"/>
                  </a:lnTo>
                  <a:lnTo>
                    <a:pt x="1967519" y="1339365"/>
                  </a:lnTo>
                  <a:lnTo>
                    <a:pt x="1967592" y="1341273"/>
                  </a:lnTo>
                  <a:lnTo>
                    <a:pt x="1968515" y="1344063"/>
                  </a:lnTo>
                  <a:lnTo>
                    <a:pt x="1968917" y="1345876"/>
                  </a:lnTo>
                  <a:lnTo>
                    <a:pt x="1968772" y="1347361"/>
                  </a:lnTo>
                  <a:lnTo>
                    <a:pt x="1967904" y="1347749"/>
                  </a:lnTo>
                  <a:lnTo>
                    <a:pt x="1964618" y="1344992"/>
                  </a:lnTo>
                  <a:lnTo>
                    <a:pt x="1963695" y="1344983"/>
                  </a:lnTo>
                  <a:lnTo>
                    <a:pt x="1962599" y="1345497"/>
                  </a:lnTo>
                  <a:lnTo>
                    <a:pt x="1961595" y="1346789"/>
                  </a:lnTo>
                  <a:lnTo>
                    <a:pt x="1960949" y="1349106"/>
                  </a:lnTo>
                  <a:lnTo>
                    <a:pt x="1961064" y="1352082"/>
                  </a:lnTo>
                  <a:lnTo>
                    <a:pt x="1961673" y="1354717"/>
                  </a:lnTo>
                  <a:lnTo>
                    <a:pt x="1961868" y="1357622"/>
                  </a:lnTo>
                  <a:lnTo>
                    <a:pt x="1960727" y="1361462"/>
                  </a:lnTo>
                  <a:lnTo>
                    <a:pt x="1959880" y="1363019"/>
                  </a:lnTo>
                  <a:lnTo>
                    <a:pt x="1957013" y="1366733"/>
                  </a:lnTo>
                  <a:lnTo>
                    <a:pt x="1954895" y="1367852"/>
                  </a:lnTo>
                  <a:lnTo>
                    <a:pt x="1953811" y="1368748"/>
                  </a:lnTo>
                  <a:lnTo>
                    <a:pt x="1952832" y="1370702"/>
                  </a:lnTo>
                  <a:lnTo>
                    <a:pt x="1953181" y="1371441"/>
                  </a:lnTo>
                  <a:lnTo>
                    <a:pt x="1953447" y="1372501"/>
                  </a:lnTo>
                  <a:lnTo>
                    <a:pt x="1953885" y="1374916"/>
                  </a:lnTo>
                  <a:lnTo>
                    <a:pt x="1954178" y="1375969"/>
                  </a:lnTo>
                  <a:lnTo>
                    <a:pt x="1962951" y="1388030"/>
                  </a:lnTo>
                  <a:lnTo>
                    <a:pt x="1965399" y="1389179"/>
                  </a:lnTo>
                  <a:lnTo>
                    <a:pt x="1966313" y="1390357"/>
                  </a:lnTo>
                  <a:lnTo>
                    <a:pt x="1967927" y="1393546"/>
                  </a:lnTo>
                  <a:lnTo>
                    <a:pt x="1969019" y="1396937"/>
                  </a:lnTo>
                  <a:lnTo>
                    <a:pt x="1970449" y="1409549"/>
                  </a:lnTo>
                  <a:lnTo>
                    <a:pt x="1971087" y="1412096"/>
                  </a:lnTo>
                  <a:lnTo>
                    <a:pt x="1971951" y="1413385"/>
                  </a:lnTo>
                  <a:lnTo>
                    <a:pt x="1973059" y="1413804"/>
                  </a:lnTo>
                  <a:lnTo>
                    <a:pt x="1975245" y="1413792"/>
                  </a:lnTo>
                  <a:lnTo>
                    <a:pt x="1975860" y="1414136"/>
                  </a:lnTo>
                  <a:lnTo>
                    <a:pt x="1976391" y="1414753"/>
                  </a:lnTo>
                  <a:lnTo>
                    <a:pt x="1978369" y="1418314"/>
                  </a:lnTo>
                  <a:lnTo>
                    <a:pt x="1979243" y="1419079"/>
                  </a:lnTo>
                  <a:lnTo>
                    <a:pt x="1980345" y="1420831"/>
                  </a:lnTo>
                  <a:lnTo>
                    <a:pt x="1980964" y="1422426"/>
                  </a:lnTo>
                  <a:lnTo>
                    <a:pt x="1982000" y="1423604"/>
                  </a:lnTo>
                  <a:lnTo>
                    <a:pt x="1982422" y="1424412"/>
                  </a:lnTo>
                  <a:lnTo>
                    <a:pt x="1983672" y="1428970"/>
                  </a:lnTo>
                  <a:lnTo>
                    <a:pt x="1984473" y="1430700"/>
                  </a:lnTo>
                  <a:lnTo>
                    <a:pt x="1985633" y="1431483"/>
                  </a:lnTo>
                  <a:lnTo>
                    <a:pt x="1993895" y="1432517"/>
                  </a:lnTo>
                  <a:lnTo>
                    <a:pt x="1995131" y="1433405"/>
                  </a:lnTo>
                  <a:lnTo>
                    <a:pt x="1995881" y="1435195"/>
                  </a:lnTo>
                  <a:lnTo>
                    <a:pt x="1996387" y="1436805"/>
                  </a:lnTo>
                  <a:lnTo>
                    <a:pt x="1997781" y="1438963"/>
                  </a:lnTo>
                  <a:lnTo>
                    <a:pt x="1999025" y="1442601"/>
                  </a:lnTo>
                  <a:lnTo>
                    <a:pt x="2005125" y="1445059"/>
                  </a:lnTo>
                  <a:lnTo>
                    <a:pt x="2006576" y="1444599"/>
                  </a:lnTo>
                  <a:lnTo>
                    <a:pt x="2007047" y="1442615"/>
                  </a:lnTo>
                  <a:lnTo>
                    <a:pt x="2006273" y="1441009"/>
                  </a:lnTo>
                  <a:lnTo>
                    <a:pt x="2003277" y="1440102"/>
                  </a:lnTo>
                  <a:lnTo>
                    <a:pt x="2002273" y="1438797"/>
                  </a:lnTo>
                  <a:lnTo>
                    <a:pt x="2001649" y="1437534"/>
                  </a:lnTo>
                  <a:lnTo>
                    <a:pt x="2000868" y="1436708"/>
                  </a:lnTo>
                  <a:lnTo>
                    <a:pt x="2000270" y="1435558"/>
                  </a:lnTo>
                  <a:lnTo>
                    <a:pt x="2000200" y="1433357"/>
                  </a:lnTo>
                  <a:lnTo>
                    <a:pt x="2000306" y="1431591"/>
                  </a:lnTo>
                  <a:lnTo>
                    <a:pt x="2000307" y="1429494"/>
                  </a:lnTo>
                  <a:lnTo>
                    <a:pt x="2000186" y="1427555"/>
                  </a:lnTo>
                  <a:lnTo>
                    <a:pt x="1999924" y="1426238"/>
                  </a:lnTo>
                  <a:lnTo>
                    <a:pt x="2001232" y="1424032"/>
                  </a:lnTo>
                  <a:lnTo>
                    <a:pt x="2002786" y="1424717"/>
                  </a:lnTo>
                  <a:lnTo>
                    <a:pt x="2006016" y="1427919"/>
                  </a:lnTo>
                  <a:lnTo>
                    <a:pt x="2006866" y="1429657"/>
                  </a:lnTo>
                  <a:lnTo>
                    <a:pt x="2007242" y="1431380"/>
                  </a:lnTo>
                  <a:lnTo>
                    <a:pt x="2007936" y="1432199"/>
                  </a:lnTo>
                  <a:lnTo>
                    <a:pt x="2009242" y="1433126"/>
                  </a:lnTo>
                  <a:lnTo>
                    <a:pt x="2010097" y="1434275"/>
                  </a:lnTo>
                  <a:lnTo>
                    <a:pt x="2010569" y="1436065"/>
                  </a:lnTo>
                  <a:lnTo>
                    <a:pt x="2010456" y="1438350"/>
                  </a:lnTo>
                  <a:lnTo>
                    <a:pt x="2009572" y="1440998"/>
                  </a:lnTo>
                  <a:lnTo>
                    <a:pt x="2009550" y="1442998"/>
                  </a:lnTo>
                  <a:lnTo>
                    <a:pt x="2014002" y="1445932"/>
                  </a:lnTo>
                  <a:lnTo>
                    <a:pt x="2014701" y="1446665"/>
                  </a:lnTo>
                  <a:lnTo>
                    <a:pt x="2016272" y="1447206"/>
                  </a:lnTo>
                  <a:lnTo>
                    <a:pt x="2017397" y="1449396"/>
                  </a:lnTo>
                  <a:lnTo>
                    <a:pt x="2019577" y="1450516"/>
                  </a:lnTo>
                  <a:lnTo>
                    <a:pt x="2021874" y="1453031"/>
                  </a:lnTo>
                  <a:lnTo>
                    <a:pt x="2024689" y="1454319"/>
                  </a:lnTo>
                  <a:lnTo>
                    <a:pt x="2030016" y="1460523"/>
                  </a:lnTo>
                  <a:lnTo>
                    <a:pt x="2031732" y="1464990"/>
                  </a:lnTo>
                  <a:lnTo>
                    <a:pt x="2031970" y="1465157"/>
                  </a:lnTo>
                  <a:lnTo>
                    <a:pt x="2032521" y="1465217"/>
                  </a:lnTo>
                  <a:lnTo>
                    <a:pt x="2033172" y="1464846"/>
                  </a:lnTo>
                  <a:lnTo>
                    <a:pt x="2033738" y="1464146"/>
                  </a:lnTo>
                  <a:lnTo>
                    <a:pt x="2034261" y="1463937"/>
                  </a:lnTo>
                  <a:lnTo>
                    <a:pt x="2034793" y="1465035"/>
                  </a:lnTo>
                  <a:lnTo>
                    <a:pt x="2035242" y="1466246"/>
                  </a:lnTo>
                  <a:lnTo>
                    <a:pt x="2035715" y="1466823"/>
                  </a:lnTo>
                  <a:lnTo>
                    <a:pt x="2036966" y="1467753"/>
                  </a:lnTo>
                  <a:lnTo>
                    <a:pt x="2039929" y="1472632"/>
                  </a:lnTo>
                  <a:lnTo>
                    <a:pt x="2041075" y="1473378"/>
                  </a:lnTo>
                  <a:lnTo>
                    <a:pt x="2043549" y="1473799"/>
                  </a:lnTo>
                  <a:lnTo>
                    <a:pt x="2044711" y="1472771"/>
                  </a:lnTo>
                  <a:lnTo>
                    <a:pt x="2045415" y="1469627"/>
                  </a:lnTo>
                  <a:lnTo>
                    <a:pt x="2046224" y="1469220"/>
                  </a:lnTo>
                  <a:lnTo>
                    <a:pt x="2049833" y="1469154"/>
                  </a:lnTo>
                  <a:lnTo>
                    <a:pt x="2050842" y="1470049"/>
                  </a:lnTo>
                  <a:lnTo>
                    <a:pt x="2051253" y="1471067"/>
                  </a:lnTo>
                  <a:lnTo>
                    <a:pt x="2051902" y="1471947"/>
                  </a:lnTo>
                  <a:lnTo>
                    <a:pt x="2052598" y="1472573"/>
                  </a:lnTo>
                  <a:lnTo>
                    <a:pt x="2053160" y="1472838"/>
                  </a:lnTo>
                  <a:lnTo>
                    <a:pt x="2053518" y="1473415"/>
                  </a:lnTo>
                  <a:lnTo>
                    <a:pt x="2052980" y="1474614"/>
                  </a:lnTo>
                  <a:lnTo>
                    <a:pt x="2051745" y="1476386"/>
                  </a:lnTo>
                  <a:lnTo>
                    <a:pt x="2050909" y="1478397"/>
                  </a:lnTo>
                  <a:lnTo>
                    <a:pt x="2050604" y="1480604"/>
                  </a:lnTo>
                  <a:lnTo>
                    <a:pt x="2050730" y="1482852"/>
                  </a:lnTo>
                  <a:lnTo>
                    <a:pt x="2051193" y="1485020"/>
                  </a:lnTo>
                  <a:lnTo>
                    <a:pt x="2052402" y="1488590"/>
                  </a:lnTo>
                  <a:lnTo>
                    <a:pt x="2053278" y="1490259"/>
                  </a:lnTo>
                  <a:lnTo>
                    <a:pt x="2054195" y="1490870"/>
                  </a:lnTo>
                  <a:lnTo>
                    <a:pt x="2054541" y="1490629"/>
                  </a:lnTo>
                  <a:lnTo>
                    <a:pt x="2055033" y="1489750"/>
                  </a:lnTo>
                  <a:lnTo>
                    <a:pt x="2055320" y="1489451"/>
                  </a:lnTo>
                  <a:lnTo>
                    <a:pt x="2055779" y="1489317"/>
                  </a:lnTo>
                  <a:lnTo>
                    <a:pt x="2058355" y="1489577"/>
                  </a:lnTo>
                  <a:lnTo>
                    <a:pt x="2059142" y="1488888"/>
                  </a:lnTo>
                  <a:lnTo>
                    <a:pt x="2059585" y="1487161"/>
                  </a:lnTo>
                  <a:lnTo>
                    <a:pt x="2060468" y="1484337"/>
                  </a:lnTo>
                  <a:lnTo>
                    <a:pt x="2061960" y="1485026"/>
                  </a:lnTo>
                  <a:lnTo>
                    <a:pt x="2064584" y="1488636"/>
                  </a:lnTo>
                  <a:lnTo>
                    <a:pt x="2065149" y="1488915"/>
                  </a:lnTo>
                  <a:lnTo>
                    <a:pt x="2065534" y="1488795"/>
                  </a:lnTo>
                  <a:lnTo>
                    <a:pt x="2066386" y="1488015"/>
                  </a:lnTo>
                  <a:lnTo>
                    <a:pt x="2068231" y="1487397"/>
                  </a:lnTo>
                  <a:lnTo>
                    <a:pt x="2068887" y="1486731"/>
                  </a:lnTo>
                  <a:lnTo>
                    <a:pt x="2069578" y="1485557"/>
                  </a:lnTo>
                  <a:lnTo>
                    <a:pt x="2069986" y="1484200"/>
                  </a:lnTo>
                  <a:lnTo>
                    <a:pt x="2069789" y="1482965"/>
                  </a:lnTo>
                  <a:lnTo>
                    <a:pt x="2070818" y="1482485"/>
                  </a:lnTo>
                  <a:lnTo>
                    <a:pt x="2072209" y="1483058"/>
                  </a:lnTo>
                  <a:lnTo>
                    <a:pt x="2073554" y="1484226"/>
                  </a:lnTo>
                  <a:lnTo>
                    <a:pt x="2074453" y="1485515"/>
                  </a:lnTo>
                  <a:lnTo>
                    <a:pt x="2074929" y="1487056"/>
                  </a:lnTo>
                  <a:lnTo>
                    <a:pt x="2074968" y="1488555"/>
                  </a:lnTo>
                  <a:lnTo>
                    <a:pt x="2074705" y="1490220"/>
                  </a:lnTo>
                  <a:lnTo>
                    <a:pt x="2073940" y="1493867"/>
                  </a:lnTo>
                  <a:lnTo>
                    <a:pt x="2073808" y="1494977"/>
                  </a:lnTo>
                  <a:lnTo>
                    <a:pt x="2073945" y="1496029"/>
                  </a:lnTo>
                  <a:lnTo>
                    <a:pt x="2075231" y="1500011"/>
                  </a:lnTo>
                  <a:lnTo>
                    <a:pt x="2075852" y="1502866"/>
                  </a:lnTo>
                  <a:lnTo>
                    <a:pt x="2075640" y="1502941"/>
                  </a:lnTo>
                  <a:lnTo>
                    <a:pt x="2075041" y="1503497"/>
                  </a:lnTo>
                  <a:lnTo>
                    <a:pt x="2075414" y="1505257"/>
                  </a:lnTo>
                  <a:lnTo>
                    <a:pt x="2075552" y="1506345"/>
                  </a:lnTo>
                  <a:lnTo>
                    <a:pt x="2075553" y="1507321"/>
                  </a:lnTo>
                  <a:lnTo>
                    <a:pt x="2075205" y="1508756"/>
                  </a:lnTo>
                  <a:lnTo>
                    <a:pt x="2074267" y="1510088"/>
                  </a:lnTo>
                  <a:lnTo>
                    <a:pt x="2074002" y="1511287"/>
                  </a:lnTo>
                  <a:lnTo>
                    <a:pt x="2073980" y="1512768"/>
                  </a:lnTo>
                  <a:lnTo>
                    <a:pt x="2074161" y="1513566"/>
                  </a:lnTo>
                  <a:lnTo>
                    <a:pt x="2074547" y="1513907"/>
                  </a:lnTo>
                  <a:lnTo>
                    <a:pt x="2075128" y="1514002"/>
                  </a:lnTo>
                  <a:lnTo>
                    <a:pt x="2075708" y="1514328"/>
                  </a:lnTo>
                  <a:lnTo>
                    <a:pt x="2075995" y="1515083"/>
                  </a:lnTo>
                  <a:lnTo>
                    <a:pt x="2076178" y="1516054"/>
                  </a:lnTo>
                  <a:lnTo>
                    <a:pt x="2076440" y="1517066"/>
                  </a:lnTo>
                  <a:lnTo>
                    <a:pt x="2076183" y="1518789"/>
                  </a:lnTo>
                  <a:lnTo>
                    <a:pt x="2076385" y="1525696"/>
                  </a:lnTo>
                  <a:lnTo>
                    <a:pt x="2075976" y="1528383"/>
                  </a:lnTo>
                  <a:lnTo>
                    <a:pt x="2075202" y="1530712"/>
                  </a:lnTo>
                  <a:lnTo>
                    <a:pt x="2074192" y="1532255"/>
                  </a:lnTo>
                  <a:lnTo>
                    <a:pt x="2073084" y="1532556"/>
                  </a:lnTo>
                  <a:lnTo>
                    <a:pt x="2073034" y="1533298"/>
                  </a:lnTo>
                  <a:lnTo>
                    <a:pt x="2073945" y="1535151"/>
                  </a:lnTo>
                  <a:lnTo>
                    <a:pt x="2073606" y="1537314"/>
                  </a:lnTo>
                  <a:lnTo>
                    <a:pt x="2071862" y="1541045"/>
                  </a:lnTo>
                  <a:lnTo>
                    <a:pt x="2071335" y="1541144"/>
                  </a:lnTo>
                  <a:lnTo>
                    <a:pt x="2068654" y="1540460"/>
                  </a:lnTo>
                  <a:lnTo>
                    <a:pt x="2067562" y="1541204"/>
                  </a:lnTo>
                  <a:lnTo>
                    <a:pt x="2066995" y="1541095"/>
                  </a:lnTo>
                  <a:lnTo>
                    <a:pt x="2066303" y="1540302"/>
                  </a:lnTo>
                  <a:lnTo>
                    <a:pt x="2065449" y="1538801"/>
                  </a:lnTo>
                  <a:lnTo>
                    <a:pt x="2064927" y="1537553"/>
                  </a:lnTo>
                  <a:lnTo>
                    <a:pt x="2064682" y="1537732"/>
                  </a:lnTo>
                  <a:lnTo>
                    <a:pt x="2064494" y="1538309"/>
                  </a:lnTo>
                  <a:lnTo>
                    <a:pt x="2064315" y="1538674"/>
                  </a:lnTo>
                  <a:lnTo>
                    <a:pt x="2060871" y="1539928"/>
                  </a:lnTo>
                  <a:lnTo>
                    <a:pt x="2059389" y="1539539"/>
                  </a:lnTo>
                  <a:lnTo>
                    <a:pt x="2058183" y="1538481"/>
                  </a:lnTo>
                  <a:lnTo>
                    <a:pt x="2057258" y="1536580"/>
                  </a:lnTo>
                  <a:lnTo>
                    <a:pt x="2056633" y="1533666"/>
                  </a:lnTo>
                  <a:lnTo>
                    <a:pt x="2056719" y="1532633"/>
                  </a:lnTo>
                  <a:lnTo>
                    <a:pt x="2055049" y="1528710"/>
                  </a:lnTo>
                  <a:lnTo>
                    <a:pt x="2054216" y="1522309"/>
                  </a:lnTo>
                  <a:lnTo>
                    <a:pt x="2054027" y="1521491"/>
                  </a:lnTo>
                  <a:lnTo>
                    <a:pt x="2054687" y="1519701"/>
                  </a:lnTo>
                  <a:lnTo>
                    <a:pt x="2056109" y="1516481"/>
                  </a:lnTo>
                  <a:lnTo>
                    <a:pt x="2056312" y="1514146"/>
                  </a:lnTo>
                  <a:lnTo>
                    <a:pt x="2055898" y="1513223"/>
                  </a:lnTo>
                  <a:lnTo>
                    <a:pt x="2055167" y="1513507"/>
                  </a:lnTo>
                  <a:lnTo>
                    <a:pt x="2054411" y="1514803"/>
                  </a:lnTo>
                  <a:lnTo>
                    <a:pt x="2050676" y="1525082"/>
                  </a:lnTo>
                  <a:lnTo>
                    <a:pt x="2049993" y="1528336"/>
                  </a:lnTo>
                  <a:lnTo>
                    <a:pt x="2049620" y="1530618"/>
                  </a:lnTo>
                  <a:lnTo>
                    <a:pt x="2048995" y="1532211"/>
                  </a:lnTo>
                  <a:lnTo>
                    <a:pt x="2046605" y="1535865"/>
                  </a:lnTo>
                  <a:lnTo>
                    <a:pt x="2045978" y="1537275"/>
                  </a:lnTo>
                  <a:lnTo>
                    <a:pt x="2044847" y="1541064"/>
                  </a:lnTo>
                  <a:lnTo>
                    <a:pt x="2044531" y="1540057"/>
                  </a:lnTo>
                  <a:lnTo>
                    <a:pt x="2044467" y="1539065"/>
                  </a:lnTo>
                  <a:lnTo>
                    <a:pt x="2044475" y="1538106"/>
                  </a:lnTo>
                  <a:lnTo>
                    <a:pt x="2044370" y="1537222"/>
                  </a:lnTo>
                  <a:lnTo>
                    <a:pt x="2043969" y="1536134"/>
                  </a:lnTo>
                  <a:lnTo>
                    <a:pt x="2039026" y="1529640"/>
                  </a:lnTo>
                  <a:lnTo>
                    <a:pt x="2038500" y="1529305"/>
                  </a:lnTo>
                  <a:lnTo>
                    <a:pt x="2037865" y="1529779"/>
                  </a:lnTo>
                  <a:lnTo>
                    <a:pt x="2037064" y="1530684"/>
                  </a:lnTo>
                  <a:lnTo>
                    <a:pt x="2036279" y="1531114"/>
                  </a:lnTo>
                  <a:lnTo>
                    <a:pt x="2035692" y="1530200"/>
                  </a:lnTo>
                  <a:lnTo>
                    <a:pt x="2034341" y="1526263"/>
                  </a:lnTo>
                  <a:lnTo>
                    <a:pt x="2033632" y="1524844"/>
                  </a:lnTo>
                  <a:lnTo>
                    <a:pt x="2033348" y="1524043"/>
                  </a:lnTo>
                  <a:lnTo>
                    <a:pt x="2033084" y="1522955"/>
                  </a:lnTo>
                  <a:lnTo>
                    <a:pt x="2033026" y="1522443"/>
                  </a:lnTo>
                  <a:lnTo>
                    <a:pt x="2033217" y="1521018"/>
                  </a:lnTo>
                  <a:lnTo>
                    <a:pt x="2033198" y="1518234"/>
                  </a:lnTo>
                  <a:lnTo>
                    <a:pt x="2032634" y="1517307"/>
                  </a:lnTo>
                  <a:lnTo>
                    <a:pt x="2031764" y="1517635"/>
                  </a:lnTo>
                  <a:lnTo>
                    <a:pt x="2030087" y="1519336"/>
                  </a:lnTo>
                  <a:lnTo>
                    <a:pt x="2029510" y="1519581"/>
                  </a:lnTo>
                  <a:lnTo>
                    <a:pt x="2028281" y="1519451"/>
                  </a:lnTo>
                  <a:lnTo>
                    <a:pt x="2028032" y="1519021"/>
                  </a:lnTo>
                  <a:lnTo>
                    <a:pt x="2027791" y="1518049"/>
                  </a:lnTo>
                  <a:lnTo>
                    <a:pt x="2027684" y="1516937"/>
                  </a:lnTo>
                  <a:lnTo>
                    <a:pt x="2027822" y="1516091"/>
                  </a:lnTo>
                  <a:lnTo>
                    <a:pt x="2028378" y="1513901"/>
                  </a:lnTo>
                  <a:lnTo>
                    <a:pt x="2028097" y="1511849"/>
                  </a:lnTo>
                  <a:lnTo>
                    <a:pt x="2027367" y="1510312"/>
                  </a:lnTo>
                  <a:lnTo>
                    <a:pt x="2026572" y="1509675"/>
                  </a:lnTo>
                  <a:lnTo>
                    <a:pt x="2025447" y="1510450"/>
                  </a:lnTo>
                  <a:lnTo>
                    <a:pt x="2025216" y="1512507"/>
                  </a:lnTo>
                  <a:lnTo>
                    <a:pt x="2025517" y="1516975"/>
                  </a:lnTo>
                  <a:lnTo>
                    <a:pt x="2023256" y="1516745"/>
                  </a:lnTo>
                  <a:lnTo>
                    <a:pt x="2022144" y="1517281"/>
                  </a:lnTo>
                  <a:lnTo>
                    <a:pt x="2021196" y="1518843"/>
                  </a:lnTo>
                  <a:lnTo>
                    <a:pt x="2022100" y="1520457"/>
                  </a:lnTo>
                  <a:lnTo>
                    <a:pt x="2022462" y="1521524"/>
                  </a:lnTo>
                  <a:lnTo>
                    <a:pt x="2022678" y="1522771"/>
                  </a:lnTo>
                  <a:lnTo>
                    <a:pt x="2022202" y="1523881"/>
                  </a:lnTo>
                  <a:lnTo>
                    <a:pt x="2021572" y="1525050"/>
                  </a:lnTo>
                  <a:lnTo>
                    <a:pt x="2020926" y="1525959"/>
                  </a:lnTo>
                  <a:lnTo>
                    <a:pt x="2020406" y="1526309"/>
                  </a:lnTo>
                  <a:lnTo>
                    <a:pt x="2019465" y="1526124"/>
                  </a:lnTo>
                  <a:lnTo>
                    <a:pt x="2019421" y="1525720"/>
                  </a:lnTo>
                  <a:lnTo>
                    <a:pt x="2019776" y="1524844"/>
                  </a:lnTo>
                  <a:lnTo>
                    <a:pt x="2020022" y="1523287"/>
                  </a:lnTo>
                  <a:lnTo>
                    <a:pt x="2019886" y="1522020"/>
                  </a:lnTo>
                  <a:lnTo>
                    <a:pt x="2019564" y="1520755"/>
                  </a:lnTo>
                  <a:lnTo>
                    <a:pt x="2019186" y="1520277"/>
                  </a:lnTo>
                  <a:lnTo>
                    <a:pt x="2018905" y="1521324"/>
                  </a:lnTo>
                  <a:lnTo>
                    <a:pt x="2018739" y="1522951"/>
                  </a:lnTo>
                  <a:lnTo>
                    <a:pt x="2018538" y="1523921"/>
                  </a:lnTo>
                  <a:lnTo>
                    <a:pt x="2018193" y="1524398"/>
                  </a:lnTo>
                  <a:lnTo>
                    <a:pt x="2017597" y="1524568"/>
                  </a:lnTo>
                  <a:lnTo>
                    <a:pt x="2017382" y="1524335"/>
                  </a:lnTo>
                  <a:lnTo>
                    <a:pt x="2016744" y="1523264"/>
                  </a:lnTo>
                  <a:lnTo>
                    <a:pt x="2016424" y="1522969"/>
                  </a:lnTo>
                  <a:lnTo>
                    <a:pt x="2016002" y="1522882"/>
                  </a:lnTo>
                  <a:lnTo>
                    <a:pt x="2015648" y="1522957"/>
                  </a:lnTo>
                  <a:lnTo>
                    <a:pt x="2015307" y="1523287"/>
                  </a:lnTo>
                  <a:lnTo>
                    <a:pt x="2013730" y="1526055"/>
                  </a:lnTo>
                  <a:lnTo>
                    <a:pt x="2013138" y="1526642"/>
                  </a:lnTo>
                  <a:lnTo>
                    <a:pt x="2011412" y="1527687"/>
                  </a:lnTo>
                  <a:lnTo>
                    <a:pt x="2011036" y="1527706"/>
                  </a:lnTo>
                  <a:lnTo>
                    <a:pt x="2010673" y="1527423"/>
                  </a:lnTo>
                  <a:lnTo>
                    <a:pt x="2010065" y="1526406"/>
                  </a:lnTo>
                  <a:lnTo>
                    <a:pt x="2009263" y="1525630"/>
                  </a:lnTo>
                  <a:lnTo>
                    <a:pt x="2008765" y="1524765"/>
                  </a:lnTo>
                  <a:lnTo>
                    <a:pt x="2008277" y="1524560"/>
                  </a:lnTo>
                  <a:lnTo>
                    <a:pt x="2007803" y="1525984"/>
                  </a:lnTo>
                  <a:lnTo>
                    <a:pt x="2009875" y="1530741"/>
                  </a:lnTo>
                  <a:lnTo>
                    <a:pt x="2011095" y="1532637"/>
                  </a:lnTo>
                  <a:lnTo>
                    <a:pt x="2014466" y="1533738"/>
                  </a:lnTo>
                  <a:lnTo>
                    <a:pt x="2014053" y="1536134"/>
                  </a:lnTo>
                  <a:lnTo>
                    <a:pt x="2013141" y="1539652"/>
                  </a:lnTo>
                  <a:lnTo>
                    <a:pt x="2013247" y="1543590"/>
                  </a:lnTo>
                  <a:lnTo>
                    <a:pt x="2012979" y="1544020"/>
                  </a:lnTo>
                  <a:lnTo>
                    <a:pt x="2012773" y="1544460"/>
                  </a:lnTo>
                  <a:lnTo>
                    <a:pt x="2012562" y="1544823"/>
                  </a:lnTo>
                  <a:lnTo>
                    <a:pt x="2012278" y="1545056"/>
                  </a:lnTo>
                  <a:lnTo>
                    <a:pt x="2012312" y="1545566"/>
                  </a:lnTo>
                  <a:lnTo>
                    <a:pt x="2012316" y="1546870"/>
                  </a:lnTo>
                  <a:lnTo>
                    <a:pt x="2012347" y="1547376"/>
                  </a:lnTo>
                  <a:lnTo>
                    <a:pt x="2011156" y="1548292"/>
                  </a:lnTo>
                  <a:lnTo>
                    <a:pt x="2009886" y="1548844"/>
                  </a:lnTo>
                  <a:lnTo>
                    <a:pt x="2007383" y="1549096"/>
                  </a:lnTo>
                  <a:lnTo>
                    <a:pt x="2005206" y="1548112"/>
                  </a:lnTo>
                  <a:lnTo>
                    <a:pt x="2004407" y="1548073"/>
                  </a:lnTo>
                  <a:lnTo>
                    <a:pt x="2001639" y="1549382"/>
                  </a:lnTo>
                  <a:lnTo>
                    <a:pt x="2000363" y="1549056"/>
                  </a:lnTo>
                  <a:lnTo>
                    <a:pt x="1998468" y="1546641"/>
                  </a:lnTo>
                  <a:lnTo>
                    <a:pt x="1993495" y="1543742"/>
                  </a:lnTo>
                  <a:lnTo>
                    <a:pt x="1993133" y="1542517"/>
                  </a:lnTo>
                  <a:lnTo>
                    <a:pt x="1990735" y="1541853"/>
                  </a:lnTo>
                  <a:lnTo>
                    <a:pt x="1988334" y="1539330"/>
                  </a:lnTo>
                  <a:lnTo>
                    <a:pt x="1986247" y="1535739"/>
                  </a:lnTo>
                  <a:lnTo>
                    <a:pt x="1984789" y="1531893"/>
                  </a:lnTo>
                  <a:lnTo>
                    <a:pt x="1983914" y="1530383"/>
                  </a:lnTo>
                  <a:lnTo>
                    <a:pt x="1982948" y="1530805"/>
                  </a:lnTo>
                  <a:lnTo>
                    <a:pt x="1981873" y="1531674"/>
                  </a:lnTo>
                  <a:lnTo>
                    <a:pt x="1980665" y="1531469"/>
                  </a:lnTo>
                  <a:lnTo>
                    <a:pt x="1980421" y="1530878"/>
                  </a:lnTo>
                  <a:lnTo>
                    <a:pt x="1980243" y="1529937"/>
                  </a:lnTo>
                  <a:lnTo>
                    <a:pt x="1979972" y="1528987"/>
                  </a:lnTo>
                  <a:lnTo>
                    <a:pt x="1979437" y="1528356"/>
                  </a:lnTo>
                  <a:lnTo>
                    <a:pt x="1978832" y="1528364"/>
                  </a:lnTo>
                  <a:lnTo>
                    <a:pt x="1976672" y="1529630"/>
                  </a:lnTo>
                  <a:lnTo>
                    <a:pt x="1976867" y="1531616"/>
                  </a:lnTo>
                  <a:lnTo>
                    <a:pt x="1976446" y="1533514"/>
                  </a:lnTo>
                  <a:lnTo>
                    <a:pt x="1975014" y="1537677"/>
                  </a:lnTo>
                  <a:lnTo>
                    <a:pt x="1977302" y="1538604"/>
                  </a:lnTo>
                  <a:lnTo>
                    <a:pt x="1981369" y="1543367"/>
                  </a:lnTo>
                  <a:lnTo>
                    <a:pt x="1985240" y="1545740"/>
                  </a:lnTo>
                  <a:lnTo>
                    <a:pt x="1986217" y="1548297"/>
                  </a:lnTo>
                  <a:lnTo>
                    <a:pt x="1986745" y="1551731"/>
                  </a:lnTo>
                  <a:lnTo>
                    <a:pt x="1987277" y="1557508"/>
                  </a:lnTo>
                  <a:lnTo>
                    <a:pt x="1987568" y="1558629"/>
                  </a:lnTo>
                  <a:lnTo>
                    <a:pt x="1988072" y="1558488"/>
                  </a:lnTo>
                  <a:lnTo>
                    <a:pt x="1988919" y="1556772"/>
                  </a:lnTo>
                  <a:lnTo>
                    <a:pt x="1989188" y="1555008"/>
                  </a:lnTo>
                  <a:lnTo>
                    <a:pt x="1989254" y="1552645"/>
                  </a:lnTo>
                  <a:lnTo>
                    <a:pt x="1989435" y="1550583"/>
                  </a:lnTo>
                  <a:lnTo>
                    <a:pt x="1990032" y="1549747"/>
                  </a:lnTo>
                  <a:lnTo>
                    <a:pt x="1991011" y="1550031"/>
                  </a:lnTo>
                  <a:lnTo>
                    <a:pt x="1991620" y="1550772"/>
                  </a:lnTo>
                  <a:lnTo>
                    <a:pt x="1991975" y="1552183"/>
                  </a:lnTo>
                  <a:lnTo>
                    <a:pt x="1992189" y="1554449"/>
                  </a:lnTo>
                  <a:lnTo>
                    <a:pt x="1992191" y="1555348"/>
                  </a:lnTo>
                  <a:lnTo>
                    <a:pt x="1992059" y="1557295"/>
                  </a:lnTo>
                  <a:lnTo>
                    <a:pt x="1992055" y="1558167"/>
                  </a:lnTo>
                  <a:lnTo>
                    <a:pt x="1992166" y="1558949"/>
                  </a:lnTo>
                  <a:lnTo>
                    <a:pt x="1992489" y="1560182"/>
                  </a:lnTo>
                  <a:lnTo>
                    <a:pt x="1992563" y="1561205"/>
                  </a:lnTo>
                  <a:lnTo>
                    <a:pt x="1992010" y="1562385"/>
                  </a:lnTo>
                  <a:lnTo>
                    <a:pt x="1990739" y="1565730"/>
                  </a:lnTo>
                  <a:lnTo>
                    <a:pt x="1990137" y="1566949"/>
                  </a:lnTo>
                  <a:lnTo>
                    <a:pt x="1990574" y="1569450"/>
                  </a:lnTo>
                  <a:lnTo>
                    <a:pt x="1990495" y="1571357"/>
                  </a:lnTo>
                  <a:lnTo>
                    <a:pt x="1989717" y="1576314"/>
                  </a:lnTo>
                  <a:lnTo>
                    <a:pt x="1988897" y="1578737"/>
                  </a:lnTo>
                  <a:lnTo>
                    <a:pt x="1987384" y="1580445"/>
                  </a:lnTo>
                  <a:lnTo>
                    <a:pt x="1982329" y="1583322"/>
                  </a:lnTo>
                  <a:lnTo>
                    <a:pt x="1981715" y="1584182"/>
                  </a:lnTo>
                  <a:lnTo>
                    <a:pt x="1981403" y="1585091"/>
                  </a:lnTo>
                  <a:lnTo>
                    <a:pt x="1981361" y="1585720"/>
                  </a:lnTo>
                  <a:lnTo>
                    <a:pt x="1981410" y="1586397"/>
                  </a:lnTo>
                  <a:lnTo>
                    <a:pt x="1981372" y="1587476"/>
                  </a:lnTo>
                  <a:lnTo>
                    <a:pt x="1981123" y="1588690"/>
                  </a:lnTo>
                  <a:lnTo>
                    <a:pt x="1980797" y="1589726"/>
                  </a:lnTo>
                  <a:lnTo>
                    <a:pt x="1980610" y="1590741"/>
                  </a:lnTo>
                  <a:lnTo>
                    <a:pt x="1980766" y="1591906"/>
                  </a:lnTo>
                  <a:lnTo>
                    <a:pt x="1981205" y="1592980"/>
                  </a:lnTo>
                  <a:lnTo>
                    <a:pt x="1981721" y="1593517"/>
                  </a:lnTo>
                  <a:lnTo>
                    <a:pt x="1982318" y="1593390"/>
                  </a:lnTo>
                  <a:lnTo>
                    <a:pt x="1982991" y="1592464"/>
                  </a:lnTo>
                  <a:lnTo>
                    <a:pt x="1983239" y="1591682"/>
                  </a:lnTo>
                  <a:lnTo>
                    <a:pt x="1983803" y="1589257"/>
                  </a:lnTo>
                  <a:lnTo>
                    <a:pt x="1984230" y="1588177"/>
                  </a:lnTo>
                  <a:lnTo>
                    <a:pt x="1984762" y="1587428"/>
                  </a:lnTo>
                  <a:lnTo>
                    <a:pt x="1986374" y="1585695"/>
                  </a:lnTo>
                  <a:lnTo>
                    <a:pt x="1987990" y="1584660"/>
                  </a:lnTo>
                  <a:lnTo>
                    <a:pt x="1989123" y="1582750"/>
                  </a:lnTo>
                  <a:lnTo>
                    <a:pt x="1992799" y="1574681"/>
                  </a:lnTo>
                  <a:lnTo>
                    <a:pt x="1993526" y="1573856"/>
                  </a:lnTo>
                  <a:lnTo>
                    <a:pt x="1994951" y="1572658"/>
                  </a:lnTo>
                  <a:lnTo>
                    <a:pt x="1995641" y="1571629"/>
                  </a:lnTo>
                  <a:lnTo>
                    <a:pt x="1995905" y="1570518"/>
                  </a:lnTo>
                  <a:lnTo>
                    <a:pt x="1996017" y="1569166"/>
                  </a:lnTo>
                  <a:lnTo>
                    <a:pt x="1996203" y="1568022"/>
                  </a:lnTo>
                  <a:lnTo>
                    <a:pt x="1996677" y="1567582"/>
                  </a:lnTo>
                  <a:lnTo>
                    <a:pt x="1996898" y="1567487"/>
                  </a:lnTo>
                  <a:lnTo>
                    <a:pt x="1997197" y="1567222"/>
                  </a:lnTo>
                  <a:lnTo>
                    <a:pt x="1997463" y="1566883"/>
                  </a:lnTo>
                  <a:lnTo>
                    <a:pt x="1997594" y="1566552"/>
                  </a:lnTo>
                  <a:lnTo>
                    <a:pt x="1997775" y="1565661"/>
                  </a:lnTo>
                  <a:lnTo>
                    <a:pt x="1998033" y="1565449"/>
                  </a:lnTo>
                  <a:lnTo>
                    <a:pt x="2003106" y="1565570"/>
                  </a:lnTo>
                  <a:lnTo>
                    <a:pt x="2004707" y="1564187"/>
                  </a:lnTo>
                  <a:lnTo>
                    <a:pt x="2006236" y="1563340"/>
                  </a:lnTo>
                  <a:lnTo>
                    <a:pt x="2009387" y="1563587"/>
                  </a:lnTo>
                  <a:lnTo>
                    <a:pt x="2010697" y="1562090"/>
                  </a:lnTo>
                  <a:lnTo>
                    <a:pt x="2012399" y="1557557"/>
                  </a:lnTo>
                  <a:lnTo>
                    <a:pt x="2013238" y="1556590"/>
                  </a:lnTo>
                  <a:lnTo>
                    <a:pt x="2016306" y="1556599"/>
                  </a:lnTo>
                  <a:lnTo>
                    <a:pt x="2017848" y="1556009"/>
                  </a:lnTo>
                  <a:lnTo>
                    <a:pt x="2019561" y="1554850"/>
                  </a:lnTo>
                  <a:lnTo>
                    <a:pt x="2020389" y="1554704"/>
                  </a:lnTo>
                  <a:lnTo>
                    <a:pt x="2022727" y="1556363"/>
                  </a:lnTo>
                  <a:lnTo>
                    <a:pt x="2027807" y="1556857"/>
                  </a:lnTo>
                  <a:lnTo>
                    <a:pt x="2028896" y="1557521"/>
                  </a:lnTo>
                  <a:lnTo>
                    <a:pt x="2031804" y="1562468"/>
                  </a:lnTo>
                  <a:lnTo>
                    <a:pt x="2032736" y="1564807"/>
                  </a:lnTo>
                  <a:lnTo>
                    <a:pt x="2032313" y="1566382"/>
                  </a:lnTo>
                  <a:lnTo>
                    <a:pt x="2028339" y="1571358"/>
                  </a:lnTo>
                  <a:lnTo>
                    <a:pt x="2025325" y="1570112"/>
                  </a:lnTo>
                  <a:lnTo>
                    <a:pt x="2023699" y="1570758"/>
                  </a:lnTo>
                  <a:lnTo>
                    <a:pt x="2023132" y="1571458"/>
                  </a:lnTo>
                  <a:lnTo>
                    <a:pt x="2023278" y="1572279"/>
                  </a:lnTo>
                  <a:lnTo>
                    <a:pt x="2023062" y="1572261"/>
                  </a:lnTo>
                  <a:lnTo>
                    <a:pt x="2022941" y="1574297"/>
                  </a:lnTo>
                  <a:lnTo>
                    <a:pt x="2022810" y="1575158"/>
                  </a:lnTo>
                  <a:lnTo>
                    <a:pt x="2023316" y="1575174"/>
                  </a:lnTo>
                  <a:lnTo>
                    <a:pt x="2024245" y="1574225"/>
                  </a:lnTo>
                  <a:lnTo>
                    <a:pt x="2024747" y="1573897"/>
                  </a:lnTo>
                  <a:lnTo>
                    <a:pt x="2025364" y="1573784"/>
                  </a:lnTo>
                  <a:lnTo>
                    <a:pt x="2025535" y="1573963"/>
                  </a:lnTo>
                  <a:lnTo>
                    <a:pt x="2025570" y="1574598"/>
                  </a:lnTo>
                  <a:lnTo>
                    <a:pt x="2025785" y="1575817"/>
                  </a:lnTo>
                  <a:lnTo>
                    <a:pt x="2026567" y="1577224"/>
                  </a:lnTo>
                  <a:lnTo>
                    <a:pt x="2027416" y="1577917"/>
                  </a:lnTo>
                  <a:lnTo>
                    <a:pt x="2027734" y="1578891"/>
                  </a:lnTo>
                  <a:lnTo>
                    <a:pt x="2026915" y="1581171"/>
                  </a:lnTo>
                  <a:lnTo>
                    <a:pt x="2025902" y="1583195"/>
                  </a:lnTo>
                  <a:lnTo>
                    <a:pt x="2025247" y="1583937"/>
                  </a:lnTo>
                  <a:lnTo>
                    <a:pt x="2024659" y="1583328"/>
                  </a:lnTo>
                  <a:lnTo>
                    <a:pt x="2023843" y="1581289"/>
                  </a:lnTo>
                  <a:lnTo>
                    <a:pt x="2023084" y="1579811"/>
                  </a:lnTo>
                  <a:lnTo>
                    <a:pt x="2022101" y="1579030"/>
                  </a:lnTo>
                  <a:lnTo>
                    <a:pt x="2021000" y="1579284"/>
                  </a:lnTo>
                  <a:lnTo>
                    <a:pt x="2019872" y="1580953"/>
                  </a:lnTo>
                  <a:lnTo>
                    <a:pt x="2020279" y="1581571"/>
                  </a:lnTo>
                  <a:lnTo>
                    <a:pt x="2020489" y="1582447"/>
                  </a:lnTo>
                  <a:lnTo>
                    <a:pt x="2020448" y="1583515"/>
                  </a:lnTo>
                  <a:lnTo>
                    <a:pt x="2020098" y="1584696"/>
                  </a:lnTo>
                  <a:lnTo>
                    <a:pt x="2020542" y="1585277"/>
                  </a:lnTo>
                  <a:lnTo>
                    <a:pt x="2021590" y="1586184"/>
                  </a:lnTo>
                  <a:lnTo>
                    <a:pt x="2022089" y="1586359"/>
                  </a:lnTo>
                  <a:lnTo>
                    <a:pt x="2022398" y="1586692"/>
                  </a:lnTo>
                  <a:lnTo>
                    <a:pt x="2022942" y="1588673"/>
                  </a:lnTo>
                  <a:lnTo>
                    <a:pt x="2023739" y="1589687"/>
                  </a:lnTo>
                  <a:lnTo>
                    <a:pt x="2024749" y="1590184"/>
                  </a:lnTo>
                  <a:lnTo>
                    <a:pt x="2025687" y="1589529"/>
                  </a:lnTo>
                  <a:lnTo>
                    <a:pt x="2026266" y="1587082"/>
                  </a:lnTo>
                  <a:lnTo>
                    <a:pt x="2026841" y="1585221"/>
                  </a:lnTo>
                  <a:lnTo>
                    <a:pt x="2027914" y="1583869"/>
                  </a:lnTo>
                  <a:lnTo>
                    <a:pt x="2029063" y="1582979"/>
                  </a:lnTo>
                  <a:lnTo>
                    <a:pt x="2030917" y="1582081"/>
                  </a:lnTo>
                  <a:lnTo>
                    <a:pt x="2031745" y="1582112"/>
                  </a:lnTo>
                  <a:lnTo>
                    <a:pt x="2032414" y="1582900"/>
                  </a:lnTo>
                  <a:lnTo>
                    <a:pt x="2032998" y="1584681"/>
                  </a:lnTo>
                  <a:lnTo>
                    <a:pt x="2034205" y="1586907"/>
                  </a:lnTo>
                  <a:lnTo>
                    <a:pt x="2035836" y="1588183"/>
                  </a:lnTo>
                  <a:lnTo>
                    <a:pt x="2037167" y="1589945"/>
                  </a:lnTo>
                  <a:lnTo>
                    <a:pt x="2037475" y="1593646"/>
                  </a:lnTo>
                  <a:lnTo>
                    <a:pt x="2036671" y="1597646"/>
                  </a:lnTo>
                  <a:lnTo>
                    <a:pt x="2035290" y="1600735"/>
                  </a:lnTo>
                  <a:lnTo>
                    <a:pt x="2032186" y="1605909"/>
                  </a:lnTo>
                  <a:lnTo>
                    <a:pt x="2032623" y="1606900"/>
                  </a:lnTo>
                  <a:lnTo>
                    <a:pt x="2033269" y="1607765"/>
                  </a:lnTo>
                  <a:lnTo>
                    <a:pt x="2033821" y="1608769"/>
                  </a:lnTo>
                  <a:lnTo>
                    <a:pt x="2033980" y="1610186"/>
                  </a:lnTo>
                  <a:lnTo>
                    <a:pt x="2033467" y="1611266"/>
                  </a:lnTo>
                  <a:lnTo>
                    <a:pt x="2032435" y="1612021"/>
                  </a:lnTo>
                  <a:lnTo>
                    <a:pt x="2027669" y="1613684"/>
                  </a:lnTo>
                  <a:lnTo>
                    <a:pt x="2026695" y="1613197"/>
                  </a:lnTo>
                  <a:lnTo>
                    <a:pt x="2026115" y="1612250"/>
                  </a:lnTo>
                  <a:lnTo>
                    <a:pt x="2025633" y="1611139"/>
                  </a:lnTo>
                  <a:lnTo>
                    <a:pt x="2025094" y="1610201"/>
                  </a:lnTo>
                  <a:lnTo>
                    <a:pt x="2024350" y="1609753"/>
                  </a:lnTo>
                  <a:lnTo>
                    <a:pt x="2023541" y="1610059"/>
                  </a:lnTo>
                  <a:lnTo>
                    <a:pt x="2022794" y="1610945"/>
                  </a:lnTo>
                  <a:lnTo>
                    <a:pt x="2021349" y="1613306"/>
                  </a:lnTo>
                  <a:lnTo>
                    <a:pt x="2020329" y="1614542"/>
                  </a:lnTo>
                  <a:lnTo>
                    <a:pt x="2019588" y="1614831"/>
                  </a:lnTo>
                  <a:lnTo>
                    <a:pt x="2017777" y="1614490"/>
                  </a:lnTo>
                  <a:lnTo>
                    <a:pt x="2013855" y="1615725"/>
                  </a:lnTo>
                  <a:lnTo>
                    <a:pt x="2012895" y="1615157"/>
                  </a:lnTo>
                  <a:lnTo>
                    <a:pt x="2011228" y="1613587"/>
                  </a:lnTo>
                  <a:lnTo>
                    <a:pt x="2010233" y="1613837"/>
                  </a:lnTo>
                  <a:lnTo>
                    <a:pt x="2010444" y="1615450"/>
                  </a:lnTo>
                  <a:lnTo>
                    <a:pt x="2010789" y="1616877"/>
                  </a:lnTo>
                  <a:lnTo>
                    <a:pt x="2010310" y="1617978"/>
                  </a:lnTo>
                  <a:lnTo>
                    <a:pt x="2009729" y="1618902"/>
                  </a:lnTo>
                  <a:lnTo>
                    <a:pt x="2009140" y="1619531"/>
                  </a:lnTo>
                  <a:lnTo>
                    <a:pt x="2007976" y="1620019"/>
                  </a:lnTo>
                  <a:lnTo>
                    <a:pt x="2007406" y="1620779"/>
                  </a:lnTo>
                  <a:lnTo>
                    <a:pt x="2006848" y="1621700"/>
                  </a:lnTo>
                  <a:lnTo>
                    <a:pt x="2006213" y="1622448"/>
                  </a:lnTo>
                  <a:lnTo>
                    <a:pt x="2004808" y="1623110"/>
                  </a:lnTo>
                  <a:lnTo>
                    <a:pt x="2000426" y="1622672"/>
                  </a:lnTo>
                  <a:lnTo>
                    <a:pt x="2000090" y="1622348"/>
                  </a:lnTo>
                  <a:lnTo>
                    <a:pt x="1998235" y="1619666"/>
                  </a:lnTo>
                  <a:lnTo>
                    <a:pt x="1997022" y="1618792"/>
                  </a:lnTo>
                  <a:lnTo>
                    <a:pt x="1996296" y="1618617"/>
                  </a:lnTo>
                  <a:lnTo>
                    <a:pt x="1995624" y="1619364"/>
                  </a:lnTo>
                  <a:lnTo>
                    <a:pt x="1995947" y="1621185"/>
                  </a:lnTo>
                  <a:lnTo>
                    <a:pt x="1996787" y="1623035"/>
                  </a:lnTo>
                  <a:lnTo>
                    <a:pt x="1997654" y="1623908"/>
                  </a:lnTo>
                  <a:lnTo>
                    <a:pt x="1997051" y="1625223"/>
                  </a:lnTo>
                  <a:lnTo>
                    <a:pt x="1996101" y="1625821"/>
                  </a:lnTo>
                  <a:lnTo>
                    <a:pt x="1992432" y="1625814"/>
                  </a:lnTo>
                  <a:lnTo>
                    <a:pt x="1991620" y="1626165"/>
                  </a:lnTo>
                  <a:lnTo>
                    <a:pt x="1988701" y="1628317"/>
                  </a:lnTo>
                  <a:lnTo>
                    <a:pt x="1986721" y="1628741"/>
                  </a:lnTo>
                  <a:lnTo>
                    <a:pt x="1984838" y="1628219"/>
                  </a:lnTo>
                  <a:lnTo>
                    <a:pt x="1982799" y="1626202"/>
                  </a:lnTo>
                  <a:lnTo>
                    <a:pt x="1981260" y="1625328"/>
                  </a:lnTo>
                  <a:lnTo>
                    <a:pt x="1980968" y="1624902"/>
                  </a:lnTo>
                  <a:lnTo>
                    <a:pt x="1980619" y="1624118"/>
                  </a:lnTo>
                  <a:lnTo>
                    <a:pt x="1980340" y="1623739"/>
                  </a:lnTo>
                  <a:lnTo>
                    <a:pt x="1979445" y="1623172"/>
                  </a:lnTo>
                  <a:lnTo>
                    <a:pt x="1972730" y="1623779"/>
                  </a:lnTo>
                  <a:lnTo>
                    <a:pt x="1971997" y="1624462"/>
                  </a:lnTo>
                  <a:lnTo>
                    <a:pt x="1971355" y="1625582"/>
                  </a:lnTo>
                  <a:lnTo>
                    <a:pt x="1971072" y="1626880"/>
                  </a:lnTo>
                  <a:lnTo>
                    <a:pt x="1971406" y="1628132"/>
                  </a:lnTo>
                  <a:lnTo>
                    <a:pt x="1970133" y="1628869"/>
                  </a:lnTo>
                  <a:lnTo>
                    <a:pt x="1968876" y="1628632"/>
                  </a:lnTo>
                  <a:lnTo>
                    <a:pt x="1967697" y="1627827"/>
                  </a:lnTo>
                  <a:lnTo>
                    <a:pt x="1965783" y="1625794"/>
                  </a:lnTo>
                  <a:lnTo>
                    <a:pt x="1964254" y="1623340"/>
                  </a:lnTo>
                  <a:lnTo>
                    <a:pt x="1963443" y="1622808"/>
                  </a:lnTo>
                  <a:lnTo>
                    <a:pt x="1962910" y="1622987"/>
                  </a:lnTo>
                  <a:lnTo>
                    <a:pt x="1961821" y="1623901"/>
                  </a:lnTo>
                  <a:lnTo>
                    <a:pt x="1961273" y="1624074"/>
                  </a:lnTo>
                  <a:lnTo>
                    <a:pt x="1957479" y="1622683"/>
                  </a:lnTo>
                  <a:lnTo>
                    <a:pt x="1955854" y="1621176"/>
                  </a:lnTo>
                  <a:lnTo>
                    <a:pt x="1955176" y="1620852"/>
                  </a:lnTo>
                  <a:lnTo>
                    <a:pt x="1953181" y="1620882"/>
                  </a:lnTo>
                  <a:lnTo>
                    <a:pt x="1951951" y="1620281"/>
                  </a:lnTo>
                  <a:lnTo>
                    <a:pt x="1949733" y="1617963"/>
                  </a:lnTo>
                  <a:lnTo>
                    <a:pt x="1948438" y="1617358"/>
                  </a:lnTo>
                  <a:lnTo>
                    <a:pt x="1944269" y="1617915"/>
                  </a:lnTo>
                  <a:lnTo>
                    <a:pt x="1942954" y="1617550"/>
                  </a:lnTo>
                  <a:lnTo>
                    <a:pt x="1939412" y="1614636"/>
                  </a:lnTo>
                  <a:lnTo>
                    <a:pt x="1938574" y="1613225"/>
                  </a:lnTo>
                  <a:lnTo>
                    <a:pt x="1938276" y="1612311"/>
                  </a:lnTo>
                  <a:lnTo>
                    <a:pt x="1938221" y="1611778"/>
                  </a:lnTo>
                  <a:lnTo>
                    <a:pt x="1938234" y="1611190"/>
                  </a:lnTo>
                  <a:lnTo>
                    <a:pt x="1938083" y="1609234"/>
                  </a:lnTo>
                  <a:lnTo>
                    <a:pt x="1938098" y="1608513"/>
                  </a:lnTo>
                  <a:lnTo>
                    <a:pt x="1938023" y="1607844"/>
                  </a:lnTo>
                  <a:lnTo>
                    <a:pt x="1937689" y="1607126"/>
                  </a:lnTo>
                  <a:lnTo>
                    <a:pt x="1935992" y="1607752"/>
                  </a:lnTo>
                  <a:lnTo>
                    <a:pt x="1936137" y="1608921"/>
                  </a:lnTo>
                  <a:lnTo>
                    <a:pt x="1936778" y="1610313"/>
                  </a:lnTo>
                  <a:lnTo>
                    <a:pt x="1936911" y="1611530"/>
                  </a:lnTo>
                  <a:lnTo>
                    <a:pt x="1935626" y="1611178"/>
                  </a:lnTo>
                  <a:lnTo>
                    <a:pt x="1933453" y="1608683"/>
                  </a:lnTo>
                  <a:lnTo>
                    <a:pt x="1930490" y="1606965"/>
                  </a:lnTo>
                  <a:lnTo>
                    <a:pt x="1929956" y="1607365"/>
                  </a:lnTo>
                  <a:lnTo>
                    <a:pt x="1929685" y="1608066"/>
                  </a:lnTo>
                  <a:lnTo>
                    <a:pt x="1929322" y="1609513"/>
                  </a:lnTo>
                  <a:lnTo>
                    <a:pt x="1929046" y="1610217"/>
                  </a:lnTo>
                  <a:lnTo>
                    <a:pt x="1926364" y="1613773"/>
                  </a:lnTo>
                  <a:lnTo>
                    <a:pt x="1923720" y="1614602"/>
                  </a:lnTo>
                  <a:lnTo>
                    <a:pt x="1913603" y="1611583"/>
                  </a:lnTo>
                  <a:lnTo>
                    <a:pt x="1903507" y="1608524"/>
                  </a:lnTo>
                  <a:lnTo>
                    <a:pt x="1902347" y="1607580"/>
                  </a:lnTo>
                  <a:lnTo>
                    <a:pt x="1901115" y="1604545"/>
                  </a:lnTo>
                  <a:lnTo>
                    <a:pt x="1900198" y="1603094"/>
                  </a:lnTo>
                  <a:lnTo>
                    <a:pt x="1899183" y="1601939"/>
                  </a:lnTo>
                  <a:lnTo>
                    <a:pt x="1898342" y="1601428"/>
                  </a:lnTo>
                  <a:lnTo>
                    <a:pt x="1899552" y="1601385"/>
                  </a:lnTo>
                  <a:lnTo>
                    <a:pt x="1900634" y="1600821"/>
                  </a:lnTo>
                  <a:lnTo>
                    <a:pt x="1901667" y="1599689"/>
                  </a:lnTo>
                  <a:lnTo>
                    <a:pt x="1902740" y="1597889"/>
                  </a:lnTo>
                  <a:lnTo>
                    <a:pt x="1904133" y="1597008"/>
                  </a:lnTo>
                  <a:lnTo>
                    <a:pt x="1907095" y="1598988"/>
                  </a:lnTo>
                  <a:lnTo>
                    <a:pt x="1908621" y="1597465"/>
                  </a:lnTo>
                  <a:lnTo>
                    <a:pt x="1908217" y="1596202"/>
                  </a:lnTo>
                  <a:lnTo>
                    <a:pt x="1908023" y="1595885"/>
                  </a:lnTo>
                  <a:lnTo>
                    <a:pt x="1911591" y="1594867"/>
                  </a:lnTo>
                  <a:lnTo>
                    <a:pt x="1913695" y="1593197"/>
                  </a:lnTo>
                  <a:lnTo>
                    <a:pt x="1914029" y="1590249"/>
                  </a:lnTo>
                  <a:lnTo>
                    <a:pt x="1913313" y="1588955"/>
                  </a:lnTo>
                  <a:lnTo>
                    <a:pt x="1912199" y="1588006"/>
                  </a:lnTo>
                  <a:lnTo>
                    <a:pt x="1908203" y="1586084"/>
                  </a:lnTo>
                  <a:lnTo>
                    <a:pt x="1907394" y="1586085"/>
                  </a:lnTo>
                  <a:lnTo>
                    <a:pt x="1906206" y="1587396"/>
                  </a:lnTo>
                  <a:lnTo>
                    <a:pt x="1907108" y="1587532"/>
                  </a:lnTo>
                  <a:lnTo>
                    <a:pt x="1908058" y="1588166"/>
                  </a:lnTo>
                  <a:lnTo>
                    <a:pt x="1908833" y="1589269"/>
                  </a:lnTo>
                  <a:lnTo>
                    <a:pt x="1909218" y="1590786"/>
                  </a:lnTo>
                  <a:lnTo>
                    <a:pt x="1902681" y="1588178"/>
                  </a:lnTo>
                  <a:lnTo>
                    <a:pt x="1901214" y="1586476"/>
                  </a:lnTo>
                  <a:lnTo>
                    <a:pt x="1893568" y="1584681"/>
                  </a:lnTo>
                  <a:lnTo>
                    <a:pt x="1893220" y="1584083"/>
                  </a:lnTo>
                  <a:lnTo>
                    <a:pt x="1892666" y="1581751"/>
                  </a:lnTo>
                  <a:lnTo>
                    <a:pt x="1892312" y="1580767"/>
                  </a:lnTo>
                  <a:lnTo>
                    <a:pt x="1891356" y="1578885"/>
                  </a:lnTo>
                  <a:lnTo>
                    <a:pt x="1890884" y="1578502"/>
                  </a:lnTo>
                  <a:lnTo>
                    <a:pt x="1878260" y="1574246"/>
                  </a:lnTo>
                  <a:lnTo>
                    <a:pt x="1876455" y="1575035"/>
                  </a:lnTo>
                  <a:lnTo>
                    <a:pt x="1874675" y="1576686"/>
                  </a:lnTo>
                  <a:lnTo>
                    <a:pt x="1874012" y="1576863"/>
                  </a:lnTo>
                  <a:lnTo>
                    <a:pt x="1873229" y="1576606"/>
                  </a:lnTo>
                  <a:lnTo>
                    <a:pt x="1870809" y="1574962"/>
                  </a:lnTo>
                  <a:lnTo>
                    <a:pt x="1865604" y="1575323"/>
                  </a:lnTo>
                  <a:lnTo>
                    <a:pt x="1861257" y="1571524"/>
                  </a:lnTo>
                  <a:lnTo>
                    <a:pt x="1858249" y="1570009"/>
                  </a:lnTo>
                  <a:lnTo>
                    <a:pt x="1858154" y="1569393"/>
                  </a:lnTo>
                  <a:lnTo>
                    <a:pt x="1858429" y="1568089"/>
                  </a:lnTo>
                  <a:lnTo>
                    <a:pt x="1859014" y="1565980"/>
                  </a:lnTo>
                  <a:lnTo>
                    <a:pt x="1859465" y="1564797"/>
                  </a:lnTo>
                  <a:lnTo>
                    <a:pt x="1860222" y="1563916"/>
                  </a:lnTo>
                  <a:lnTo>
                    <a:pt x="1864153" y="1561680"/>
                  </a:lnTo>
                  <a:lnTo>
                    <a:pt x="1865201" y="1560034"/>
                  </a:lnTo>
                  <a:lnTo>
                    <a:pt x="1865344" y="1557123"/>
                  </a:lnTo>
                  <a:lnTo>
                    <a:pt x="1865114" y="1556420"/>
                  </a:lnTo>
                  <a:lnTo>
                    <a:pt x="1864798" y="1555902"/>
                  </a:lnTo>
                  <a:lnTo>
                    <a:pt x="1864572" y="1555209"/>
                  </a:lnTo>
                  <a:lnTo>
                    <a:pt x="1864617" y="1554004"/>
                  </a:lnTo>
                  <a:lnTo>
                    <a:pt x="1865094" y="1549219"/>
                  </a:lnTo>
                  <a:lnTo>
                    <a:pt x="1865283" y="1548010"/>
                  </a:lnTo>
                  <a:lnTo>
                    <a:pt x="1865440" y="1547590"/>
                  </a:lnTo>
                  <a:lnTo>
                    <a:pt x="1865411" y="1547209"/>
                  </a:lnTo>
                  <a:lnTo>
                    <a:pt x="1865042" y="1546131"/>
                  </a:lnTo>
                  <a:lnTo>
                    <a:pt x="1864527" y="1545115"/>
                  </a:lnTo>
                  <a:lnTo>
                    <a:pt x="1863815" y="1544303"/>
                  </a:lnTo>
                  <a:lnTo>
                    <a:pt x="1863028" y="1543726"/>
                  </a:lnTo>
                  <a:lnTo>
                    <a:pt x="1862279" y="1543451"/>
                  </a:lnTo>
                  <a:lnTo>
                    <a:pt x="1861446" y="1542584"/>
                  </a:lnTo>
                  <a:lnTo>
                    <a:pt x="1859574" y="1536954"/>
                  </a:lnTo>
                  <a:lnTo>
                    <a:pt x="1858452" y="1535596"/>
                  </a:lnTo>
                  <a:lnTo>
                    <a:pt x="1857084" y="1535035"/>
                  </a:lnTo>
                  <a:lnTo>
                    <a:pt x="1855590" y="1535507"/>
                  </a:lnTo>
                  <a:lnTo>
                    <a:pt x="1853428" y="1538132"/>
                  </a:lnTo>
                  <a:lnTo>
                    <a:pt x="1852089" y="1539224"/>
                  </a:lnTo>
                  <a:lnTo>
                    <a:pt x="1851535" y="1539945"/>
                  </a:lnTo>
                  <a:lnTo>
                    <a:pt x="1851176" y="1540279"/>
                  </a:lnTo>
                  <a:lnTo>
                    <a:pt x="1850480" y="1540103"/>
                  </a:lnTo>
                  <a:lnTo>
                    <a:pt x="1850118" y="1540440"/>
                  </a:lnTo>
                  <a:lnTo>
                    <a:pt x="1849902" y="1541022"/>
                  </a:lnTo>
                  <a:lnTo>
                    <a:pt x="1849797" y="1541656"/>
                  </a:lnTo>
                  <a:lnTo>
                    <a:pt x="1849717" y="1542317"/>
                  </a:lnTo>
                  <a:lnTo>
                    <a:pt x="1849337" y="1544080"/>
                  </a:lnTo>
                  <a:lnTo>
                    <a:pt x="1849160" y="1545300"/>
                  </a:lnTo>
                  <a:lnTo>
                    <a:pt x="1848943" y="1546460"/>
                  </a:lnTo>
                  <a:lnTo>
                    <a:pt x="1848595" y="1547358"/>
                  </a:lnTo>
                  <a:lnTo>
                    <a:pt x="1847928" y="1547688"/>
                  </a:lnTo>
                  <a:lnTo>
                    <a:pt x="1841984" y="1547303"/>
                  </a:lnTo>
                  <a:lnTo>
                    <a:pt x="1840236" y="1547916"/>
                  </a:lnTo>
                  <a:lnTo>
                    <a:pt x="1838878" y="1549642"/>
                  </a:lnTo>
                  <a:lnTo>
                    <a:pt x="1838487" y="1551555"/>
                  </a:lnTo>
                  <a:lnTo>
                    <a:pt x="1839227" y="1555031"/>
                  </a:lnTo>
                  <a:lnTo>
                    <a:pt x="1839092" y="1558662"/>
                  </a:lnTo>
                  <a:lnTo>
                    <a:pt x="1839179" y="1559727"/>
                  </a:lnTo>
                  <a:lnTo>
                    <a:pt x="1839444" y="1561454"/>
                  </a:lnTo>
                  <a:lnTo>
                    <a:pt x="1839256" y="1562695"/>
                  </a:lnTo>
                  <a:lnTo>
                    <a:pt x="1838609" y="1563894"/>
                  </a:lnTo>
                  <a:lnTo>
                    <a:pt x="1837852" y="1564833"/>
                  </a:lnTo>
                  <a:lnTo>
                    <a:pt x="1837323" y="1565291"/>
                  </a:lnTo>
                  <a:lnTo>
                    <a:pt x="1834898" y="1565250"/>
                  </a:lnTo>
                  <a:lnTo>
                    <a:pt x="1834216" y="1566231"/>
                  </a:lnTo>
                  <a:lnTo>
                    <a:pt x="1834160" y="1567399"/>
                  </a:lnTo>
                  <a:lnTo>
                    <a:pt x="1834193" y="1569072"/>
                  </a:lnTo>
                  <a:lnTo>
                    <a:pt x="1834032" y="1570151"/>
                  </a:lnTo>
                  <a:lnTo>
                    <a:pt x="1833409" y="1569524"/>
                  </a:lnTo>
                  <a:lnTo>
                    <a:pt x="1831137" y="1568417"/>
                  </a:lnTo>
                  <a:lnTo>
                    <a:pt x="1828332" y="1570924"/>
                  </a:lnTo>
                  <a:lnTo>
                    <a:pt x="1822914" y="1578770"/>
                  </a:lnTo>
                  <a:lnTo>
                    <a:pt x="1819906" y="1581826"/>
                  </a:lnTo>
                  <a:lnTo>
                    <a:pt x="1813895" y="1584429"/>
                  </a:lnTo>
                  <a:lnTo>
                    <a:pt x="1797478" y="1585815"/>
                  </a:lnTo>
                  <a:lnTo>
                    <a:pt x="1794909" y="1586875"/>
                  </a:lnTo>
                  <a:lnTo>
                    <a:pt x="1783532" y="1585756"/>
                  </a:lnTo>
                  <a:lnTo>
                    <a:pt x="1780234" y="1583017"/>
                  </a:lnTo>
                  <a:lnTo>
                    <a:pt x="1771950" y="1582055"/>
                  </a:lnTo>
                  <a:lnTo>
                    <a:pt x="1770609" y="1583217"/>
                  </a:lnTo>
                  <a:lnTo>
                    <a:pt x="1771196" y="1584744"/>
                  </a:lnTo>
                  <a:lnTo>
                    <a:pt x="1771394" y="1585522"/>
                  </a:lnTo>
                  <a:lnTo>
                    <a:pt x="1771364" y="1586387"/>
                  </a:lnTo>
                  <a:lnTo>
                    <a:pt x="1770930" y="1587584"/>
                  </a:lnTo>
                  <a:lnTo>
                    <a:pt x="1770245" y="1588684"/>
                  </a:lnTo>
                  <a:lnTo>
                    <a:pt x="1769512" y="1589477"/>
                  </a:lnTo>
                  <a:lnTo>
                    <a:pt x="1767751" y="1590141"/>
                  </a:lnTo>
                  <a:lnTo>
                    <a:pt x="1764715" y="1592834"/>
                  </a:lnTo>
                  <a:lnTo>
                    <a:pt x="1758593" y="1596529"/>
                  </a:lnTo>
                  <a:lnTo>
                    <a:pt x="1755933" y="1597113"/>
                  </a:lnTo>
                  <a:lnTo>
                    <a:pt x="1753113" y="1599944"/>
                  </a:lnTo>
                  <a:lnTo>
                    <a:pt x="1751732" y="1600924"/>
                  </a:lnTo>
                  <a:lnTo>
                    <a:pt x="1748412" y="1602021"/>
                  </a:lnTo>
                  <a:lnTo>
                    <a:pt x="1735401" y="1602647"/>
                  </a:lnTo>
                  <a:lnTo>
                    <a:pt x="1723371" y="1606494"/>
                  </a:lnTo>
                  <a:lnTo>
                    <a:pt x="1716975" y="1606195"/>
                  </a:lnTo>
                  <a:lnTo>
                    <a:pt x="1712443" y="1604564"/>
                  </a:lnTo>
                  <a:lnTo>
                    <a:pt x="1708920" y="1605337"/>
                  </a:lnTo>
                  <a:lnTo>
                    <a:pt x="1702409" y="1603115"/>
                  </a:lnTo>
                  <a:lnTo>
                    <a:pt x="1699562" y="1603051"/>
                  </a:lnTo>
                  <a:lnTo>
                    <a:pt x="1696480" y="1604920"/>
                  </a:lnTo>
                  <a:lnTo>
                    <a:pt x="1693838" y="1607138"/>
                  </a:lnTo>
                  <a:lnTo>
                    <a:pt x="1692615" y="1607306"/>
                  </a:lnTo>
                  <a:lnTo>
                    <a:pt x="1691953" y="1605840"/>
                  </a:lnTo>
                  <a:lnTo>
                    <a:pt x="1691516" y="1603932"/>
                  </a:lnTo>
                  <a:lnTo>
                    <a:pt x="1690781" y="1603005"/>
                  </a:lnTo>
                  <a:lnTo>
                    <a:pt x="1686115" y="1601116"/>
                  </a:lnTo>
                  <a:lnTo>
                    <a:pt x="1684678" y="1601040"/>
                  </a:lnTo>
                  <a:lnTo>
                    <a:pt x="1681966" y="1603502"/>
                  </a:lnTo>
                  <a:lnTo>
                    <a:pt x="1680484" y="1603642"/>
                  </a:lnTo>
                  <a:lnTo>
                    <a:pt x="1677870" y="1603124"/>
                  </a:lnTo>
                  <a:lnTo>
                    <a:pt x="1668437" y="1605073"/>
                  </a:lnTo>
                  <a:lnTo>
                    <a:pt x="1666440" y="1602844"/>
                  </a:lnTo>
                  <a:lnTo>
                    <a:pt x="1667232" y="1602204"/>
                  </a:lnTo>
                  <a:lnTo>
                    <a:pt x="1668250" y="1601688"/>
                  </a:lnTo>
                  <a:lnTo>
                    <a:pt x="1674828" y="1601284"/>
                  </a:lnTo>
                  <a:lnTo>
                    <a:pt x="1674868" y="1600446"/>
                  </a:lnTo>
                  <a:lnTo>
                    <a:pt x="1674324" y="1599518"/>
                  </a:lnTo>
                  <a:lnTo>
                    <a:pt x="1673478" y="1599082"/>
                  </a:lnTo>
                  <a:lnTo>
                    <a:pt x="1668251" y="1598929"/>
                  </a:lnTo>
                  <a:lnTo>
                    <a:pt x="1665360" y="1600302"/>
                  </a:lnTo>
                  <a:lnTo>
                    <a:pt x="1664216" y="1600496"/>
                  </a:lnTo>
                  <a:lnTo>
                    <a:pt x="1654568" y="1597522"/>
                  </a:lnTo>
                  <a:lnTo>
                    <a:pt x="1652177" y="1597953"/>
                  </a:lnTo>
                  <a:lnTo>
                    <a:pt x="1653599" y="1600105"/>
                  </a:lnTo>
                  <a:lnTo>
                    <a:pt x="1657933" y="1601562"/>
                  </a:lnTo>
                  <a:lnTo>
                    <a:pt x="1659736" y="1602831"/>
                  </a:lnTo>
                  <a:lnTo>
                    <a:pt x="1657183" y="1605715"/>
                  </a:lnTo>
                  <a:lnTo>
                    <a:pt x="1653398" y="1604737"/>
                  </a:lnTo>
                  <a:lnTo>
                    <a:pt x="1646907" y="1600616"/>
                  </a:lnTo>
                  <a:lnTo>
                    <a:pt x="1632657" y="1598781"/>
                  </a:lnTo>
                  <a:lnTo>
                    <a:pt x="1618409" y="1596863"/>
                  </a:lnTo>
                  <a:lnTo>
                    <a:pt x="1617807" y="1596403"/>
                  </a:lnTo>
                  <a:lnTo>
                    <a:pt x="1617328" y="1595734"/>
                  </a:lnTo>
                  <a:lnTo>
                    <a:pt x="1616752" y="1595362"/>
                  </a:lnTo>
                  <a:lnTo>
                    <a:pt x="1614956" y="1596436"/>
                  </a:lnTo>
                  <a:lnTo>
                    <a:pt x="1614107" y="1596755"/>
                  </a:lnTo>
                  <a:lnTo>
                    <a:pt x="1612467" y="1596845"/>
                  </a:lnTo>
                  <a:lnTo>
                    <a:pt x="1605224" y="1594256"/>
                  </a:lnTo>
                  <a:lnTo>
                    <a:pt x="1604433" y="1594271"/>
                  </a:lnTo>
                  <a:lnTo>
                    <a:pt x="1603784" y="1594656"/>
                  </a:lnTo>
                  <a:lnTo>
                    <a:pt x="1601738" y="1596900"/>
                  </a:lnTo>
                  <a:lnTo>
                    <a:pt x="1601360" y="1597189"/>
                  </a:lnTo>
                  <a:lnTo>
                    <a:pt x="1600859" y="1597272"/>
                  </a:lnTo>
                  <a:lnTo>
                    <a:pt x="1599941" y="1596892"/>
                  </a:lnTo>
                  <a:lnTo>
                    <a:pt x="1597523" y="1597544"/>
                  </a:lnTo>
                  <a:lnTo>
                    <a:pt x="1592081" y="1594808"/>
                  </a:lnTo>
                  <a:lnTo>
                    <a:pt x="1578113" y="1593470"/>
                  </a:lnTo>
                  <a:lnTo>
                    <a:pt x="1576781" y="1592418"/>
                  </a:lnTo>
                  <a:lnTo>
                    <a:pt x="1576415" y="1590702"/>
                  </a:lnTo>
                  <a:lnTo>
                    <a:pt x="1577070" y="1589055"/>
                  </a:lnTo>
                  <a:lnTo>
                    <a:pt x="1578813" y="1588180"/>
                  </a:lnTo>
                  <a:lnTo>
                    <a:pt x="1580788" y="1588523"/>
                  </a:lnTo>
                  <a:lnTo>
                    <a:pt x="1586090" y="1591708"/>
                  </a:lnTo>
                  <a:lnTo>
                    <a:pt x="1587185" y="1591277"/>
                  </a:lnTo>
                  <a:lnTo>
                    <a:pt x="1587116" y="1589605"/>
                  </a:lnTo>
                  <a:lnTo>
                    <a:pt x="1585892" y="1586189"/>
                  </a:lnTo>
                  <a:lnTo>
                    <a:pt x="1584746" y="1584602"/>
                  </a:lnTo>
                  <a:lnTo>
                    <a:pt x="1581944" y="1582337"/>
                  </a:lnTo>
                  <a:lnTo>
                    <a:pt x="1580297" y="1579667"/>
                  </a:lnTo>
                  <a:lnTo>
                    <a:pt x="1577935" y="1577927"/>
                  </a:lnTo>
                  <a:lnTo>
                    <a:pt x="1577659" y="1577168"/>
                  </a:lnTo>
                  <a:lnTo>
                    <a:pt x="1577237" y="1575009"/>
                  </a:lnTo>
                  <a:lnTo>
                    <a:pt x="1577025" y="1574520"/>
                  </a:lnTo>
                  <a:lnTo>
                    <a:pt x="1576311" y="1573427"/>
                  </a:lnTo>
                  <a:lnTo>
                    <a:pt x="1575936" y="1571174"/>
                  </a:lnTo>
                  <a:lnTo>
                    <a:pt x="1576165" y="1568705"/>
                  </a:lnTo>
                  <a:lnTo>
                    <a:pt x="1577267" y="1566934"/>
                  </a:lnTo>
                  <a:lnTo>
                    <a:pt x="1577218" y="1565292"/>
                  </a:lnTo>
                  <a:lnTo>
                    <a:pt x="1576778" y="1563877"/>
                  </a:lnTo>
                  <a:lnTo>
                    <a:pt x="1574674" y="1559831"/>
                  </a:lnTo>
                  <a:lnTo>
                    <a:pt x="1574376" y="1558715"/>
                  </a:lnTo>
                  <a:lnTo>
                    <a:pt x="1574205" y="1557131"/>
                  </a:lnTo>
                  <a:lnTo>
                    <a:pt x="1573887" y="1555793"/>
                  </a:lnTo>
                  <a:lnTo>
                    <a:pt x="1572680" y="1554042"/>
                  </a:lnTo>
                  <a:lnTo>
                    <a:pt x="1572339" y="1552790"/>
                  </a:lnTo>
                  <a:lnTo>
                    <a:pt x="1572297" y="1551093"/>
                  </a:lnTo>
                  <a:lnTo>
                    <a:pt x="1572525" y="1549777"/>
                  </a:lnTo>
                  <a:lnTo>
                    <a:pt x="1573135" y="1549022"/>
                  </a:lnTo>
                  <a:lnTo>
                    <a:pt x="1574245" y="1548992"/>
                  </a:lnTo>
                  <a:lnTo>
                    <a:pt x="1575034" y="1548437"/>
                  </a:lnTo>
                  <a:lnTo>
                    <a:pt x="1574938" y="1546726"/>
                  </a:lnTo>
                  <a:lnTo>
                    <a:pt x="1574223" y="1544031"/>
                  </a:lnTo>
                  <a:lnTo>
                    <a:pt x="1574345" y="1542250"/>
                  </a:lnTo>
                  <a:lnTo>
                    <a:pt x="1574919" y="1541107"/>
                  </a:lnTo>
                  <a:lnTo>
                    <a:pt x="1576728" y="1539618"/>
                  </a:lnTo>
                  <a:lnTo>
                    <a:pt x="1578197" y="1537982"/>
                  </a:lnTo>
                  <a:lnTo>
                    <a:pt x="1579097" y="1537581"/>
                  </a:lnTo>
                  <a:lnTo>
                    <a:pt x="1579788" y="1536967"/>
                  </a:lnTo>
                  <a:lnTo>
                    <a:pt x="1580324" y="1536321"/>
                  </a:lnTo>
                  <a:lnTo>
                    <a:pt x="1580352" y="1535969"/>
                  </a:lnTo>
                  <a:lnTo>
                    <a:pt x="1580210" y="1534964"/>
                  </a:lnTo>
                  <a:lnTo>
                    <a:pt x="1580814" y="1532932"/>
                  </a:lnTo>
                  <a:lnTo>
                    <a:pt x="1581663" y="1530818"/>
                  </a:lnTo>
                  <a:lnTo>
                    <a:pt x="1582273" y="1529538"/>
                  </a:lnTo>
                  <a:lnTo>
                    <a:pt x="1579728" y="1528848"/>
                  </a:lnTo>
                  <a:lnTo>
                    <a:pt x="1580599" y="1527601"/>
                  </a:lnTo>
                  <a:lnTo>
                    <a:pt x="1581627" y="1527462"/>
                  </a:lnTo>
                  <a:lnTo>
                    <a:pt x="1583463" y="1528239"/>
                  </a:lnTo>
                  <a:lnTo>
                    <a:pt x="1583106" y="1526679"/>
                  </a:lnTo>
                  <a:lnTo>
                    <a:pt x="1581113" y="1523952"/>
                  </a:lnTo>
                  <a:lnTo>
                    <a:pt x="1580910" y="1522529"/>
                  </a:lnTo>
                  <a:lnTo>
                    <a:pt x="1581017" y="1521858"/>
                  </a:lnTo>
                  <a:lnTo>
                    <a:pt x="1581151" y="1520053"/>
                  </a:lnTo>
                  <a:lnTo>
                    <a:pt x="1581301" y="1519154"/>
                  </a:lnTo>
                  <a:lnTo>
                    <a:pt x="1581304" y="1518924"/>
                  </a:lnTo>
                  <a:lnTo>
                    <a:pt x="1581252" y="1518717"/>
                  </a:lnTo>
                  <a:lnTo>
                    <a:pt x="1581255" y="1518354"/>
                  </a:lnTo>
                  <a:lnTo>
                    <a:pt x="1581447" y="1517656"/>
                  </a:lnTo>
                  <a:lnTo>
                    <a:pt x="1581610" y="1517774"/>
                  </a:lnTo>
                  <a:lnTo>
                    <a:pt x="1582949" y="1517291"/>
                  </a:lnTo>
                  <a:lnTo>
                    <a:pt x="1581381" y="1515059"/>
                  </a:lnTo>
                  <a:lnTo>
                    <a:pt x="1581304" y="1514140"/>
                  </a:lnTo>
                  <a:lnTo>
                    <a:pt x="1581693" y="1513251"/>
                  </a:lnTo>
                  <a:lnTo>
                    <a:pt x="1582063" y="1512841"/>
                  </a:lnTo>
                  <a:lnTo>
                    <a:pt x="1582361" y="1512259"/>
                  </a:lnTo>
                  <a:lnTo>
                    <a:pt x="1582506" y="1510917"/>
                  </a:lnTo>
                  <a:lnTo>
                    <a:pt x="1583287" y="1511194"/>
                  </a:lnTo>
                  <a:lnTo>
                    <a:pt x="1584389" y="1512727"/>
                  </a:lnTo>
                  <a:lnTo>
                    <a:pt x="1588798" y="1514933"/>
                  </a:lnTo>
                  <a:lnTo>
                    <a:pt x="1588063" y="1512894"/>
                  </a:lnTo>
                  <a:lnTo>
                    <a:pt x="1586768" y="1511356"/>
                  </a:lnTo>
                  <a:lnTo>
                    <a:pt x="1576419" y="1505142"/>
                  </a:lnTo>
                  <a:lnTo>
                    <a:pt x="1576143" y="1504434"/>
                  </a:lnTo>
                  <a:lnTo>
                    <a:pt x="1575780" y="1502499"/>
                  </a:lnTo>
                  <a:lnTo>
                    <a:pt x="1575037" y="1501611"/>
                  </a:lnTo>
                  <a:lnTo>
                    <a:pt x="1571845" y="1501795"/>
                  </a:lnTo>
                  <a:lnTo>
                    <a:pt x="1567810" y="1500539"/>
                  </a:lnTo>
                  <a:lnTo>
                    <a:pt x="1565588" y="1498134"/>
                  </a:lnTo>
                  <a:lnTo>
                    <a:pt x="1564778" y="1496303"/>
                  </a:lnTo>
                  <a:lnTo>
                    <a:pt x="1564256" y="1495792"/>
                  </a:lnTo>
                  <a:lnTo>
                    <a:pt x="1559110" y="1493824"/>
                  </a:lnTo>
                  <a:lnTo>
                    <a:pt x="1541030" y="1492616"/>
                  </a:lnTo>
                  <a:lnTo>
                    <a:pt x="1539723" y="1491066"/>
                  </a:lnTo>
                  <a:lnTo>
                    <a:pt x="1539186" y="1489268"/>
                  </a:lnTo>
                  <a:lnTo>
                    <a:pt x="1538829" y="1488659"/>
                  </a:lnTo>
                  <a:lnTo>
                    <a:pt x="1536454" y="1487657"/>
                  </a:lnTo>
                  <a:lnTo>
                    <a:pt x="1535519" y="1487691"/>
                  </a:lnTo>
                  <a:lnTo>
                    <a:pt x="1534608" y="1488391"/>
                  </a:lnTo>
                  <a:lnTo>
                    <a:pt x="1532855" y="1490065"/>
                  </a:lnTo>
                  <a:lnTo>
                    <a:pt x="1531279" y="1490617"/>
                  </a:lnTo>
                  <a:lnTo>
                    <a:pt x="1528371" y="1490039"/>
                  </a:lnTo>
                  <a:lnTo>
                    <a:pt x="1514788" y="1482657"/>
                  </a:lnTo>
                  <a:lnTo>
                    <a:pt x="1501274" y="1475196"/>
                  </a:lnTo>
                  <a:lnTo>
                    <a:pt x="1500930" y="1474441"/>
                  </a:lnTo>
                  <a:lnTo>
                    <a:pt x="1500697" y="1473488"/>
                  </a:lnTo>
                  <a:lnTo>
                    <a:pt x="1500598" y="1472506"/>
                  </a:lnTo>
                  <a:lnTo>
                    <a:pt x="1500284" y="1471374"/>
                  </a:lnTo>
                  <a:lnTo>
                    <a:pt x="1499580" y="1470566"/>
                  </a:lnTo>
                  <a:lnTo>
                    <a:pt x="1496371" y="1468980"/>
                  </a:lnTo>
                  <a:lnTo>
                    <a:pt x="1488041" y="1459148"/>
                  </a:lnTo>
                  <a:lnTo>
                    <a:pt x="1484886" y="1456968"/>
                  </a:lnTo>
                  <a:lnTo>
                    <a:pt x="1482713" y="1450761"/>
                  </a:lnTo>
                  <a:lnTo>
                    <a:pt x="1483643" y="1449323"/>
                  </a:lnTo>
                  <a:lnTo>
                    <a:pt x="1484671" y="1448693"/>
                  </a:lnTo>
                  <a:lnTo>
                    <a:pt x="1486613" y="1448105"/>
                  </a:lnTo>
                  <a:lnTo>
                    <a:pt x="1486438" y="1446843"/>
                  </a:lnTo>
                  <a:lnTo>
                    <a:pt x="1486085" y="1445897"/>
                  </a:lnTo>
                  <a:lnTo>
                    <a:pt x="1485852" y="1444831"/>
                  </a:lnTo>
                  <a:lnTo>
                    <a:pt x="1486041" y="1443219"/>
                  </a:lnTo>
                  <a:lnTo>
                    <a:pt x="1487227" y="1442761"/>
                  </a:lnTo>
                  <a:lnTo>
                    <a:pt x="1487688" y="1441779"/>
                  </a:lnTo>
                  <a:lnTo>
                    <a:pt x="1487558" y="1440597"/>
                  </a:lnTo>
                  <a:lnTo>
                    <a:pt x="1486974" y="1439519"/>
                  </a:lnTo>
                  <a:lnTo>
                    <a:pt x="1482004" y="1437194"/>
                  </a:lnTo>
                  <a:lnTo>
                    <a:pt x="1482147" y="1438344"/>
                  </a:lnTo>
                  <a:lnTo>
                    <a:pt x="1483054" y="1440604"/>
                  </a:lnTo>
                  <a:lnTo>
                    <a:pt x="1481911" y="1441084"/>
                  </a:lnTo>
                  <a:lnTo>
                    <a:pt x="1481120" y="1440096"/>
                  </a:lnTo>
                  <a:lnTo>
                    <a:pt x="1480149" y="1436944"/>
                  </a:lnTo>
                  <a:lnTo>
                    <a:pt x="1477371" y="1433983"/>
                  </a:lnTo>
                  <a:lnTo>
                    <a:pt x="1477021" y="1432351"/>
                  </a:lnTo>
                  <a:lnTo>
                    <a:pt x="1479641" y="1431527"/>
                  </a:lnTo>
                  <a:lnTo>
                    <a:pt x="1480846" y="1430499"/>
                  </a:lnTo>
                  <a:lnTo>
                    <a:pt x="1481088" y="1428870"/>
                  </a:lnTo>
                  <a:lnTo>
                    <a:pt x="1481193" y="1428151"/>
                  </a:lnTo>
                  <a:lnTo>
                    <a:pt x="1480932" y="1427359"/>
                  </a:lnTo>
                  <a:lnTo>
                    <a:pt x="1479460" y="1426009"/>
                  </a:lnTo>
                  <a:lnTo>
                    <a:pt x="1478425" y="1423645"/>
                  </a:lnTo>
                  <a:lnTo>
                    <a:pt x="1475507" y="1421612"/>
                  </a:lnTo>
                  <a:lnTo>
                    <a:pt x="1474400" y="1420144"/>
                  </a:lnTo>
                  <a:lnTo>
                    <a:pt x="1473720" y="1416740"/>
                  </a:lnTo>
                  <a:lnTo>
                    <a:pt x="1472052" y="1413792"/>
                  </a:lnTo>
                  <a:lnTo>
                    <a:pt x="1471273" y="1413142"/>
                  </a:lnTo>
                  <a:lnTo>
                    <a:pt x="1470987" y="1412113"/>
                  </a:lnTo>
                  <a:lnTo>
                    <a:pt x="1471176" y="1410052"/>
                  </a:lnTo>
                  <a:lnTo>
                    <a:pt x="1471576" y="1407892"/>
                  </a:lnTo>
                  <a:lnTo>
                    <a:pt x="1471908" y="1406563"/>
                  </a:lnTo>
                  <a:lnTo>
                    <a:pt x="1472185" y="1404985"/>
                  </a:lnTo>
                  <a:lnTo>
                    <a:pt x="1472016" y="1400297"/>
                  </a:lnTo>
                  <a:lnTo>
                    <a:pt x="1472344" y="1394945"/>
                  </a:lnTo>
                  <a:lnTo>
                    <a:pt x="1473079" y="1391236"/>
                  </a:lnTo>
                  <a:lnTo>
                    <a:pt x="1472961" y="1389403"/>
                  </a:lnTo>
                  <a:lnTo>
                    <a:pt x="1472299" y="1386569"/>
                  </a:lnTo>
                  <a:lnTo>
                    <a:pt x="1474227" y="1384160"/>
                  </a:lnTo>
                  <a:lnTo>
                    <a:pt x="1475827" y="1382654"/>
                  </a:lnTo>
                  <a:lnTo>
                    <a:pt x="1477306" y="1381679"/>
                  </a:lnTo>
                  <a:lnTo>
                    <a:pt x="1479724" y="1381324"/>
                  </a:lnTo>
                  <a:lnTo>
                    <a:pt x="1484683" y="1378853"/>
                  </a:lnTo>
                  <a:lnTo>
                    <a:pt x="1494063" y="1377752"/>
                  </a:lnTo>
                  <a:lnTo>
                    <a:pt x="1502442" y="1378564"/>
                  </a:lnTo>
                  <a:lnTo>
                    <a:pt x="1511209" y="1379397"/>
                  </a:lnTo>
                  <a:lnTo>
                    <a:pt x="1529986" y="1378846"/>
                  </a:lnTo>
                  <a:lnTo>
                    <a:pt x="1544830" y="1380283"/>
                  </a:lnTo>
                  <a:lnTo>
                    <a:pt x="1559563" y="1382942"/>
                  </a:lnTo>
                  <a:lnTo>
                    <a:pt x="1566509" y="1383149"/>
                  </a:lnTo>
                  <a:lnTo>
                    <a:pt x="1577048" y="1384968"/>
                  </a:lnTo>
                  <a:lnTo>
                    <a:pt x="1586728" y="1385069"/>
                  </a:lnTo>
                  <a:lnTo>
                    <a:pt x="1598211" y="1388281"/>
                  </a:lnTo>
                  <a:lnTo>
                    <a:pt x="1602341" y="1393351"/>
                  </a:lnTo>
                  <a:lnTo>
                    <a:pt x="1615818" y="1399202"/>
                  </a:lnTo>
                  <a:lnTo>
                    <a:pt x="1622332" y="1398570"/>
                  </a:lnTo>
                  <a:lnTo>
                    <a:pt x="1630792" y="1403507"/>
                  </a:lnTo>
                  <a:lnTo>
                    <a:pt x="1638040" y="1408634"/>
                  </a:lnTo>
                  <a:lnTo>
                    <a:pt x="1639130" y="1408345"/>
                  </a:lnTo>
                  <a:lnTo>
                    <a:pt x="1638886" y="1407065"/>
                  </a:lnTo>
                  <a:lnTo>
                    <a:pt x="1638784" y="1406722"/>
                  </a:lnTo>
                  <a:lnTo>
                    <a:pt x="1639689" y="1406587"/>
                  </a:lnTo>
                  <a:lnTo>
                    <a:pt x="1642993" y="1408519"/>
                  </a:lnTo>
                  <a:lnTo>
                    <a:pt x="1643857" y="1410133"/>
                  </a:lnTo>
                  <a:lnTo>
                    <a:pt x="1651714" y="1415696"/>
                  </a:lnTo>
                  <a:lnTo>
                    <a:pt x="1652992" y="1415979"/>
                  </a:lnTo>
                  <a:lnTo>
                    <a:pt x="1654276" y="1415394"/>
                  </a:lnTo>
                  <a:lnTo>
                    <a:pt x="1653972" y="1414574"/>
                  </a:lnTo>
                  <a:lnTo>
                    <a:pt x="1652431" y="1413390"/>
                  </a:lnTo>
                  <a:lnTo>
                    <a:pt x="1653786" y="1411811"/>
                  </a:lnTo>
                  <a:lnTo>
                    <a:pt x="1655084" y="1411467"/>
                  </a:lnTo>
                  <a:lnTo>
                    <a:pt x="1657316" y="1412183"/>
                  </a:lnTo>
                  <a:lnTo>
                    <a:pt x="1657753" y="1412544"/>
                  </a:lnTo>
                  <a:lnTo>
                    <a:pt x="1658603" y="1413857"/>
                  </a:lnTo>
                  <a:lnTo>
                    <a:pt x="1659131" y="1414247"/>
                  </a:lnTo>
                  <a:lnTo>
                    <a:pt x="1660877" y="1413943"/>
                  </a:lnTo>
                  <a:lnTo>
                    <a:pt x="1661418" y="1414042"/>
                  </a:lnTo>
                  <a:lnTo>
                    <a:pt x="1661620" y="1413264"/>
                  </a:lnTo>
                  <a:lnTo>
                    <a:pt x="1660060" y="1412173"/>
                  </a:lnTo>
                  <a:lnTo>
                    <a:pt x="1660998" y="1411104"/>
                  </a:lnTo>
                  <a:lnTo>
                    <a:pt x="1662282" y="1410817"/>
                  </a:lnTo>
                  <a:lnTo>
                    <a:pt x="1668458" y="1412318"/>
                  </a:lnTo>
                  <a:lnTo>
                    <a:pt x="1669876" y="1411553"/>
                  </a:lnTo>
                  <a:lnTo>
                    <a:pt x="1665305" y="1409627"/>
                  </a:lnTo>
                  <a:lnTo>
                    <a:pt x="1664313" y="1407866"/>
                  </a:lnTo>
                  <a:lnTo>
                    <a:pt x="1666339" y="1407081"/>
                  </a:lnTo>
                  <a:lnTo>
                    <a:pt x="1676671" y="1414754"/>
                  </a:lnTo>
                  <a:lnTo>
                    <a:pt x="1680520" y="1414583"/>
                  </a:lnTo>
                  <a:lnTo>
                    <a:pt x="1684539" y="1416856"/>
                  </a:lnTo>
                  <a:lnTo>
                    <a:pt x="1687853" y="1415550"/>
                  </a:lnTo>
                  <a:lnTo>
                    <a:pt x="1690760" y="1417435"/>
                  </a:lnTo>
                  <a:lnTo>
                    <a:pt x="1691647" y="1417473"/>
                  </a:lnTo>
                  <a:lnTo>
                    <a:pt x="1693965" y="1416807"/>
                  </a:lnTo>
                  <a:lnTo>
                    <a:pt x="1694981" y="1416134"/>
                  </a:lnTo>
                  <a:lnTo>
                    <a:pt x="1694057" y="1414832"/>
                  </a:lnTo>
                  <a:lnTo>
                    <a:pt x="1690973" y="1414663"/>
                  </a:lnTo>
                  <a:lnTo>
                    <a:pt x="1690391" y="1412613"/>
                  </a:lnTo>
                  <a:lnTo>
                    <a:pt x="1691475" y="1412223"/>
                  </a:lnTo>
                  <a:lnTo>
                    <a:pt x="1693484" y="1412033"/>
                  </a:lnTo>
                  <a:lnTo>
                    <a:pt x="1694588" y="1411386"/>
                  </a:lnTo>
                  <a:lnTo>
                    <a:pt x="1694077" y="1408981"/>
                  </a:lnTo>
                  <a:lnTo>
                    <a:pt x="1692446" y="1407747"/>
                  </a:lnTo>
                  <a:lnTo>
                    <a:pt x="1683608" y="1406507"/>
                  </a:lnTo>
                  <a:lnTo>
                    <a:pt x="1681597" y="1404308"/>
                  </a:lnTo>
                  <a:lnTo>
                    <a:pt x="1678666" y="1402787"/>
                  </a:lnTo>
                  <a:lnTo>
                    <a:pt x="1678188" y="1402163"/>
                  </a:lnTo>
                  <a:lnTo>
                    <a:pt x="1677412" y="1400287"/>
                  </a:lnTo>
                  <a:lnTo>
                    <a:pt x="1676237" y="1398586"/>
                  </a:lnTo>
                  <a:lnTo>
                    <a:pt x="1675997" y="1397646"/>
                  </a:lnTo>
                  <a:lnTo>
                    <a:pt x="1676006" y="1396907"/>
                  </a:lnTo>
                  <a:lnTo>
                    <a:pt x="1676223" y="1395123"/>
                  </a:lnTo>
                  <a:lnTo>
                    <a:pt x="1676227" y="1394251"/>
                  </a:lnTo>
                  <a:lnTo>
                    <a:pt x="1675874" y="1390283"/>
                  </a:lnTo>
                  <a:lnTo>
                    <a:pt x="1675490" y="1388607"/>
                  </a:lnTo>
                  <a:lnTo>
                    <a:pt x="1674739" y="1387360"/>
                  </a:lnTo>
                  <a:lnTo>
                    <a:pt x="1674003" y="1386899"/>
                  </a:lnTo>
                  <a:lnTo>
                    <a:pt x="1671614" y="1386584"/>
                  </a:lnTo>
                  <a:lnTo>
                    <a:pt x="1670946" y="1386166"/>
                  </a:lnTo>
                  <a:lnTo>
                    <a:pt x="1669750" y="1383813"/>
                  </a:lnTo>
                  <a:lnTo>
                    <a:pt x="1668971" y="1383531"/>
                  </a:lnTo>
                  <a:lnTo>
                    <a:pt x="1667185" y="1384561"/>
                  </a:lnTo>
                  <a:lnTo>
                    <a:pt x="1666479" y="1384466"/>
                  </a:lnTo>
                  <a:lnTo>
                    <a:pt x="1666236" y="1383644"/>
                  </a:lnTo>
                  <a:lnTo>
                    <a:pt x="1666299" y="1382635"/>
                  </a:lnTo>
                  <a:lnTo>
                    <a:pt x="1666248" y="1381720"/>
                  </a:lnTo>
                  <a:lnTo>
                    <a:pt x="1665664" y="1381184"/>
                  </a:lnTo>
                  <a:lnTo>
                    <a:pt x="1665020" y="1381383"/>
                  </a:lnTo>
                  <a:lnTo>
                    <a:pt x="1663650" y="1382625"/>
                  </a:lnTo>
                  <a:lnTo>
                    <a:pt x="1662947" y="1382795"/>
                  </a:lnTo>
                  <a:lnTo>
                    <a:pt x="1662251" y="1382509"/>
                  </a:lnTo>
                  <a:lnTo>
                    <a:pt x="1660860" y="1381203"/>
                  </a:lnTo>
                  <a:lnTo>
                    <a:pt x="1659520" y="1378213"/>
                  </a:lnTo>
                  <a:lnTo>
                    <a:pt x="1658381" y="1376629"/>
                  </a:lnTo>
                  <a:lnTo>
                    <a:pt x="1657063" y="1375493"/>
                  </a:lnTo>
                  <a:lnTo>
                    <a:pt x="1653856" y="1374099"/>
                  </a:lnTo>
                  <a:lnTo>
                    <a:pt x="1652840" y="1374321"/>
                  </a:lnTo>
                  <a:lnTo>
                    <a:pt x="1651367" y="1376948"/>
                  </a:lnTo>
                  <a:lnTo>
                    <a:pt x="1650720" y="1376321"/>
                  </a:lnTo>
                  <a:lnTo>
                    <a:pt x="1649909" y="1374069"/>
                  </a:lnTo>
                  <a:lnTo>
                    <a:pt x="1646137" y="1370279"/>
                  </a:lnTo>
                  <a:lnTo>
                    <a:pt x="1645536" y="1367918"/>
                  </a:lnTo>
                  <a:lnTo>
                    <a:pt x="1645110" y="1366823"/>
                  </a:lnTo>
                  <a:lnTo>
                    <a:pt x="1644173" y="1366824"/>
                  </a:lnTo>
                  <a:lnTo>
                    <a:pt x="1642198" y="1367422"/>
                  </a:lnTo>
                  <a:lnTo>
                    <a:pt x="1641824" y="1366892"/>
                  </a:lnTo>
                  <a:lnTo>
                    <a:pt x="1641678" y="1365806"/>
                  </a:lnTo>
                  <a:lnTo>
                    <a:pt x="1641800" y="1364561"/>
                  </a:lnTo>
                  <a:lnTo>
                    <a:pt x="1642207" y="1363567"/>
                  </a:lnTo>
                  <a:lnTo>
                    <a:pt x="1642420" y="1362788"/>
                  </a:lnTo>
                  <a:lnTo>
                    <a:pt x="1636971" y="1361399"/>
                  </a:lnTo>
                  <a:lnTo>
                    <a:pt x="1635425" y="1360222"/>
                  </a:lnTo>
                  <a:lnTo>
                    <a:pt x="1633513" y="1356575"/>
                  </a:lnTo>
                  <a:lnTo>
                    <a:pt x="1633141" y="1356254"/>
                  </a:lnTo>
                  <a:lnTo>
                    <a:pt x="1632656" y="1356385"/>
                  </a:lnTo>
                  <a:lnTo>
                    <a:pt x="1632324" y="1356857"/>
                  </a:lnTo>
                  <a:lnTo>
                    <a:pt x="1632091" y="1357515"/>
                  </a:lnTo>
                  <a:lnTo>
                    <a:pt x="1631872" y="1358205"/>
                  </a:lnTo>
                  <a:lnTo>
                    <a:pt x="1631587" y="1358800"/>
                  </a:lnTo>
                  <a:lnTo>
                    <a:pt x="1629913" y="1359975"/>
                  </a:lnTo>
                  <a:lnTo>
                    <a:pt x="1628790" y="1358796"/>
                  </a:lnTo>
                  <a:lnTo>
                    <a:pt x="1627912" y="1356822"/>
                  </a:lnTo>
                  <a:lnTo>
                    <a:pt x="1626553" y="1355139"/>
                  </a:lnTo>
                  <a:lnTo>
                    <a:pt x="1625843" y="1353352"/>
                  </a:lnTo>
                  <a:lnTo>
                    <a:pt x="1617236" y="1348218"/>
                  </a:lnTo>
                  <a:lnTo>
                    <a:pt x="1615365" y="1348471"/>
                  </a:lnTo>
                  <a:lnTo>
                    <a:pt x="1610493" y="1351283"/>
                  </a:lnTo>
                  <a:lnTo>
                    <a:pt x="1609006" y="1351400"/>
                  </a:lnTo>
                  <a:lnTo>
                    <a:pt x="1603899" y="1347830"/>
                  </a:lnTo>
                  <a:lnTo>
                    <a:pt x="1601933" y="1348049"/>
                  </a:lnTo>
                  <a:lnTo>
                    <a:pt x="1597064" y="1350641"/>
                  </a:lnTo>
                  <a:lnTo>
                    <a:pt x="1583797" y="1348681"/>
                  </a:lnTo>
                  <a:lnTo>
                    <a:pt x="1577138" y="1349410"/>
                  </a:lnTo>
                  <a:lnTo>
                    <a:pt x="1570498" y="1346640"/>
                  </a:lnTo>
                  <a:lnTo>
                    <a:pt x="1561318" y="1345181"/>
                  </a:lnTo>
                  <a:lnTo>
                    <a:pt x="1560633" y="1345335"/>
                  </a:lnTo>
                  <a:lnTo>
                    <a:pt x="1559008" y="1346451"/>
                  </a:lnTo>
                  <a:lnTo>
                    <a:pt x="1558391" y="1346625"/>
                  </a:lnTo>
                  <a:lnTo>
                    <a:pt x="1557726" y="1346296"/>
                  </a:lnTo>
                  <a:lnTo>
                    <a:pt x="1553471" y="1341990"/>
                  </a:lnTo>
                  <a:lnTo>
                    <a:pt x="1541856" y="1341486"/>
                  </a:lnTo>
                  <a:lnTo>
                    <a:pt x="1537351" y="1337903"/>
                  </a:lnTo>
                  <a:lnTo>
                    <a:pt x="1536967" y="1336728"/>
                  </a:lnTo>
                  <a:lnTo>
                    <a:pt x="1537388" y="1335844"/>
                  </a:lnTo>
                  <a:lnTo>
                    <a:pt x="1538798" y="1335843"/>
                  </a:lnTo>
                  <a:lnTo>
                    <a:pt x="1538488" y="1334161"/>
                  </a:lnTo>
                  <a:lnTo>
                    <a:pt x="1537185" y="1333076"/>
                  </a:lnTo>
                  <a:lnTo>
                    <a:pt x="1524927" y="1329883"/>
                  </a:lnTo>
                  <a:lnTo>
                    <a:pt x="1521932" y="1331215"/>
                  </a:lnTo>
                  <a:lnTo>
                    <a:pt x="1520639" y="1331359"/>
                  </a:lnTo>
                  <a:lnTo>
                    <a:pt x="1509925" y="1328512"/>
                  </a:lnTo>
                  <a:lnTo>
                    <a:pt x="1502062" y="1323873"/>
                  </a:lnTo>
                  <a:lnTo>
                    <a:pt x="1498201" y="1324573"/>
                  </a:lnTo>
                  <a:lnTo>
                    <a:pt x="1497821" y="1323234"/>
                  </a:lnTo>
                  <a:lnTo>
                    <a:pt x="1498321" y="1322615"/>
                  </a:lnTo>
                  <a:lnTo>
                    <a:pt x="1497645" y="1321382"/>
                  </a:lnTo>
                  <a:lnTo>
                    <a:pt x="1492564" y="1320664"/>
                  </a:lnTo>
                  <a:lnTo>
                    <a:pt x="1492354" y="1320818"/>
                  </a:lnTo>
                  <a:lnTo>
                    <a:pt x="1492202" y="1321269"/>
                  </a:lnTo>
                  <a:lnTo>
                    <a:pt x="1492078" y="1321762"/>
                  </a:lnTo>
                  <a:lnTo>
                    <a:pt x="1491941" y="1322030"/>
                  </a:lnTo>
                  <a:lnTo>
                    <a:pt x="1491209" y="1322223"/>
                  </a:lnTo>
                  <a:lnTo>
                    <a:pt x="1490633" y="1322102"/>
                  </a:lnTo>
                  <a:lnTo>
                    <a:pt x="1489604" y="1321233"/>
                  </a:lnTo>
                  <a:lnTo>
                    <a:pt x="1486829" y="1316898"/>
                  </a:lnTo>
                  <a:lnTo>
                    <a:pt x="1486510" y="1313695"/>
                  </a:lnTo>
                  <a:lnTo>
                    <a:pt x="1488621" y="1310640"/>
                  </a:lnTo>
                  <a:lnTo>
                    <a:pt x="1488443" y="1308463"/>
                  </a:lnTo>
                  <a:lnTo>
                    <a:pt x="1487762" y="1306436"/>
                  </a:lnTo>
                  <a:lnTo>
                    <a:pt x="1486848" y="1304893"/>
                  </a:lnTo>
                  <a:lnTo>
                    <a:pt x="1484970" y="1303236"/>
                  </a:lnTo>
                  <a:lnTo>
                    <a:pt x="1477766" y="1290163"/>
                  </a:lnTo>
                  <a:lnTo>
                    <a:pt x="1476265" y="1285115"/>
                  </a:lnTo>
                  <a:lnTo>
                    <a:pt x="1475753" y="1281639"/>
                  </a:lnTo>
                  <a:lnTo>
                    <a:pt x="1475317" y="1273625"/>
                  </a:lnTo>
                  <a:lnTo>
                    <a:pt x="1475572" y="1271860"/>
                  </a:lnTo>
                  <a:lnTo>
                    <a:pt x="1477937" y="1269030"/>
                  </a:lnTo>
                  <a:lnTo>
                    <a:pt x="1490521" y="1264892"/>
                  </a:lnTo>
                  <a:lnTo>
                    <a:pt x="1503050" y="1260684"/>
                  </a:lnTo>
                  <a:lnTo>
                    <a:pt x="1514342" y="1262813"/>
                  </a:lnTo>
                  <a:lnTo>
                    <a:pt x="1529057" y="1261046"/>
                  </a:lnTo>
                  <a:lnTo>
                    <a:pt x="1535424" y="1263575"/>
                  </a:lnTo>
                  <a:lnTo>
                    <a:pt x="1537280" y="1263255"/>
                  </a:lnTo>
                  <a:lnTo>
                    <a:pt x="1538994" y="1261975"/>
                  </a:lnTo>
                  <a:lnTo>
                    <a:pt x="1538870" y="1261766"/>
                  </a:lnTo>
                  <a:lnTo>
                    <a:pt x="1538690" y="1261253"/>
                  </a:lnTo>
                  <a:lnTo>
                    <a:pt x="1538530" y="1261117"/>
                  </a:lnTo>
                  <a:lnTo>
                    <a:pt x="1540327" y="1259354"/>
                  </a:lnTo>
                  <a:lnTo>
                    <a:pt x="1558774" y="1258473"/>
                  </a:lnTo>
                  <a:lnTo>
                    <a:pt x="1560704" y="1257568"/>
                  </a:lnTo>
                  <a:lnTo>
                    <a:pt x="1566626" y="1257989"/>
                  </a:lnTo>
                  <a:lnTo>
                    <a:pt x="1567161" y="1259224"/>
                  </a:lnTo>
                  <a:lnTo>
                    <a:pt x="1563501" y="1259633"/>
                  </a:lnTo>
                  <a:lnTo>
                    <a:pt x="1563949" y="1260539"/>
                  </a:lnTo>
                  <a:lnTo>
                    <a:pt x="1564815" y="1260897"/>
                  </a:lnTo>
                  <a:lnTo>
                    <a:pt x="1565847" y="1260785"/>
                  </a:lnTo>
                  <a:lnTo>
                    <a:pt x="1567950" y="1259860"/>
                  </a:lnTo>
                  <a:lnTo>
                    <a:pt x="1577582" y="1262446"/>
                  </a:lnTo>
                  <a:lnTo>
                    <a:pt x="1579420" y="1260787"/>
                  </a:lnTo>
                  <a:lnTo>
                    <a:pt x="1577717" y="1259451"/>
                  </a:lnTo>
                  <a:lnTo>
                    <a:pt x="1573818" y="1258321"/>
                  </a:lnTo>
                  <a:lnTo>
                    <a:pt x="1569321" y="1253897"/>
                  </a:lnTo>
                  <a:lnTo>
                    <a:pt x="1564920" y="1251773"/>
                  </a:lnTo>
                  <a:lnTo>
                    <a:pt x="1564938" y="1250702"/>
                  </a:lnTo>
                  <a:lnTo>
                    <a:pt x="1566059" y="1250037"/>
                  </a:lnTo>
                  <a:lnTo>
                    <a:pt x="1570778" y="1251515"/>
                  </a:lnTo>
                  <a:lnTo>
                    <a:pt x="1583104" y="1247813"/>
                  </a:lnTo>
                  <a:lnTo>
                    <a:pt x="1581970" y="1249023"/>
                  </a:lnTo>
                  <a:lnTo>
                    <a:pt x="1581996" y="1250426"/>
                  </a:lnTo>
                  <a:lnTo>
                    <a:pt x="1582614" y="1250743"/>
                  </a:lnTo>
                  <a:lnTo>
                    <a:pt x="1586956" y="1250455"/>
                  </a:lnTo>
                  <a:lnTo>
                    <a:pt x="1587635" y="1251551"/>
                  </a:lnTo>
                  <a:lnTo>
                    <a:pt x="1586980" y="1252051"/>
                  </a:lnTo>
                  <a:lnTo>
                    <a:pt x="1587584" y="1253598"/>
                  </a:lnTo>
                  <a:lnTo>
                    <a:pt x="1590040" y="1254879"/>
                  </a:lnTo>
                  <a:lnTo>
                    <a:pt x="1591852" y="1257213"/>
                  </a:lnTo>
                  <a:lnTo>
                    <a:pt x="1593162" y="1256799"/>
                  </a:lnTo>
                  <a:lnTo>
                    <a:pt x="1594572" y="1255908"/>
                  </a:lnTo>
                  <a:lnTo>
                    <a:pt x="1595802" y="1255594"/>
                  </a:lnTo>
                  <a:lnTo>
                    <a:pt x="1599922" y="1256075"/>
                  </a:lnTo>
                  <a:lnTo>
                    <a:pt x="1602596" y="1254438"/>
                  </a:lnTo>
                  <a:lnTo>
                    <a:pt x="1606238" y="1253208"/>
                  </a:lnTo>
                  <a:lnTo>
                    <a:pt x="1604847" y="1251584"/>
                  </a:lnTo>
                  <a:lnTo>
                    <a:pt x="1597375" y="1253736"/>
                  </a:lnTo>
                  <a:lnTo>
                    <a:pt x="1592710" y="1253185"/>
                  </a:lnTo>
                  <a:lnTo>
                    <a:pt x="1590634" y="1252019"/>
                  </a:lnTo>
                  <a:lnTo>
                    <a:pt x="1589218" y="1249696"/>
                  </a:lnTo>
                  <a:lnTo>
                    <a:pt x="1589444" y="1248984"/>
                  </a:lnTo>
                  <a:lnTo>
                    <a:pt x="1593276" y="1248595"/>
                  </a:lnTo>
                  <a:lnTo>
                    <a:pt x="1593521" y="1247820"/>
                  </a:lnTo>
                  <a:lnTo>
                    <a:pt x="1589011" y="1244532"/>
                  </a:lnTo>
                  <a:lnTo>
                    <a:pt x="1581665" y="1243083"/>
                  </a:lnTo>
                  <a:lnTo>
                    <a:pt x="1578983" y="1244271"/>
                  </a:lnTo>
                  <a:lnTo>
                    <a:pt x="1575782" y="1243604"/>
                  </a:lnTo>
                  <a:lnTo>
                    <a:pt x="1573241" y="1244272"/>
                  </a:lnTo>
                  <a:lnTo>
                    <a:pt x="1570041" y="1243918"/>
                  </a:lnTo>
                  <a:lnTo>
                    <a:pt x="1568139" y="1244308"/>
                  </a:lnTo>
                  <a:lnTo>
                    <a:pt x="1555288" y="1242609"/>
                  </a:lnTo>
                  <a:lnTo>
                    <a:pt x="1551742" y="1244260"/>
                  </a:lnTo>
                  <a:lnTo>
                    <a:pt x="1548535" y="1243172"/>
                  </a:lnTo>
                  <a:lnTo>
                    <a:pt x="1544822" y="1244550"/>
                  </a:lnTo>
                  <a:lnTo>
                    <a:pt x="1541307" y="1243981"/>
                  </a:lnTo>
                  <a:lnTo>
                    <a:pt x="1537506" y="1241574"/>
                  </a:lnTo>
                  <a:lnTo>
                    <a:pt x="1536543" y="1241853"/>
                  </a:lnTo>
                  <a:lnTo>
                    <a:pt x="1535803" y="1242281"/>
                  </a:lnTo>
                  <a:lnTo>
                    <a:pt x="1534047" y="1242805"/>
                  </a:lnTo>
                  <a:lnTo>
                    <a:pt x="1532715" y="1242786"/>
                  </a:lnTo>
                  <a:lnTo>
                    <a:pt x="1531125" y="1243331"/>
                  </a:lnTo>
                  <a:lnTo>
                    <a:pt x="1530376" y="1243333"/>
                  </a:lnTo>
                  <a:lnTo>
                    <a:pt x="1528380" y="1242254"/>
                  </a:lnTo>
                  <a:lnTo>
                    <a:pt x="1525224" y="1243106"/>
                  </a:lnTo>
                  <a:lnTo>
                    <a:pt x="1524443" y="1242979"/>
                  </a:lnTo>
                  <a:lnTo>
                    <a:pt x="1523736" y="1242537"/>
                  </a:lnTo>
                  <a:lnTo>
                    <a:pt x="1523819" y="1241922"/>
                  </a:lnTo>
                  <a:lnTo>
                    <a:pt x="1524353" y="1241001"/>
                  </a:lnTo>
                  <a:lnTo>
                    <a:pt x="1525535" y="1238506"/>
                  </a:lnTo>
                  <a:lnTo>
                    <a:pt x="1526692" y="1237138"/>
                  </a:lnTo>
                  <a:lnTo>
                    <a:pt x="1527115" y="1236367"/>
                  </a:lnTo>
                  <a:lnTo>
                    <a:pt x="1526951" y="1235480"/>
                  </a:lnTo>
                  <a:lnTo>
                    <a:pt x="1524113" y="1234920"/>
                  </a:lnTo>
                  <a:lnTo>
                    <a:pt x="1524860" y="1234109"/>
                  </a:lnTo>
                  <a:lnTo>
                    <a:pt x="1525139" y="1233922"/>
                  </a:lnTo>
                  <a:lnTo>
                    <a:pt x="1525505" y="1233816"/>
                  </a:lnTo>
                  <a:lnTo>
                    <a:pt x="1525448" y="1232027"/>
                  </a:lnTo>
                  <a:lnTo>
                    <a:pt x="1524757" y="1230557"/>
                  </a:lnTo>
                  <a:lnTo>
                    <a:pt x="1523803" y="1229509"/>
                  </a:lnTo>
                  <a:lnTo>
                    <a:pt x="1522945" y="1229004"/>
                  </a:lnTo>
                  <a:lnTo>
                    <a:pt x="1522902" y="1229482"/>
                  </a:lnTo>
                  <a:lnTo>
                    <a:pt x="1522845" y="1229844"/>
                  </a:lnTo>
                  <a:lnTo>
                    <a:pt x="1522831" y="1230181"/>
                  </a:lnTo>
                  <a:lnTo>
                    <a:pt x="1522914" y="1230572"/>
                  </a:lnTo>
                  <a:lnTo>
                    <a:pt x="1521564" y="1231195"/>
                  </a:lnTo>
                  <a:lnTo>
                    <a:pt x="1520383" y="1231280"/>
                  </a:lnTo>
                  <a:lnTo>
                    <a:pt x="1519674" y="1231534"/>
                  </a:lnTo>
                  <a:lnTo>
                    <a:pt x="1519257" y="1232505"/>
                  </a:lnTo>
                  <a:lnTo>
                    <a:pt x="1519204" y="1233600"/>
                  </a:lnTo>
                  <a:lnTo>
                    <a:pt x="1519568" y="1234223"/>
                  </a:lnTo>
                  <a:lnTo>
                    <a:pt x="1521938" y="1235029"/>
                  </a:lnTo>
                  <a:lnTo>
                    <a:pt x="1522841" y="1236224"/>
                  </a:lnTo>
                  <a:lnTo>
                    <a:pt x="1522629" y="1238420"/>
                  </a:lnTo>
                  <a:lnTo>
                    <a:pt x="1521850" y="1239732"/>
                  </a:lnTo>
                  <a:lnTo>
                    <a:pt x="1520633" y="1241116"/>
                  </a:lnTo>
                  <a:lnTo>
                    <a:pt x="1519424" y="1242169"/>
                  </a:lnTo>
                  <a:lnTo>
                    <a:pt x="1518667" y="1242511"/>
                  </a:lnTo>
                  <a:lnTo>
                    <a:pt x="1513955" y="1239396"/>
                  </a:lnTo>
                  <a:lnTo>
                    <a:pt x="1514450" y="1238777"/>
                  </a:lnTo>
                  <a:lnTo>
                    <a:pt x="1514390" y="1237656"/>
                  </a:lnTo>
                  <a:lnTo>
                    <a:pt x="1513968" y="1237402"/>
                  </a:lnTo>
                  <a:lnTo>
                    <a:pt x="1513326" y="1237773"/>
                  </a:lnTo>
                  <a:lnTo>
                    <a:pt x="1511757" y="1239442"/>
                  </a:lnTo>
                  <a:lnTo>
                    <a:pt x="1511105" y="1239767"/>
                  </a:lnTo>
                  <a:lnTo>
                    <a:pt x="1510497" y="1239712"/>
                  </a:lnTo>
                  <a:lnTo>
                    <a:pt x="1509220" y="1239030"/>
                  </a:lnTo>
                  <a:lnTo>
                    <a:pt x="1508258" y="1237655"/>
                  </a:lnTo>
                  <a:lnTo>
                    <a:pt x="1507644" y="1237212"/>
                  </a:lnTo>
                  <a:lnTo>
                    <a:pt x="1498776" y="1235053"/>
                  </a:lnTo>
                  <a:lnTo>
                    <a:pt x="1496656" y="1232634"/>
                  </a:lnTo>
                  <a:lnTo>
                    <a:pt x="1495968" y="1227890"/>
                  </a:lnTo>
                  <a:lnTo>
                    <a:pt x="1497409" y="1224028"/>
                  </a:lnTo>
                  <a:lnTo>
                    <a:pt x="1500443" y="1221336"/>
                  </a:lnTo>
                  <a:lnTo>
                    <a:pt x="1505885" y="1219062"/>
                  </a:lnTo>
                  <a:lnTo>
                    <a:pt x="1512513" y="1220592"/>
                  </a:lnTo>
                  <a:lnTo>
                    <a:pt x="1516722" y="1223973"/>
                  </a:lnTo>
                  <a:lnTo>
                    <a:pt x="1517934" y="1223264"/>
                  </a:lnTo>
                  <a:lnTo>
                    <a:pt x="1516350" y="1221220"/>
                  </a:lnTo>
                  <a:lnTo>
                    <a:pt x="1515996" y="1220297"/>
                  </a:lnTo>
                  <a:lnTo>
                    <a:pt x="1518558" y="1220954"/>
                  </a:lnTo>
                  <a:lnTo>
                    <a:pt x="1520622" y="1222423"/>
                  </a:lnTo>
                  <a:lnTo>
                    <a:pt x="1521453" y="1222154"/>
                  </a:lnTo>
                  <a:lnTo>
                    <a:pt x="1522544" y="1220978"/>
                  </a:lnTo>
                  <a:lnTo>
                    <a:pt x="1521689" y="1219500"/>
                  </a:lnTo>
                  <a:lnTo>
                    <a:pt x="1519170" y="1218231"/>
                  </a:lnTo>
                  <a:lnTo>
                    <a:pt x="1518190" y="1217041"/>
                  </a:lnTo>
                  <a:lnTo>
                    <a:pt x="1518126" y="1215810"/>
                  </a:lnTo>
                  <a:lnTo>
                    <a:pt x="1518027" y="1215408"/>
                  </a:lnTo>
                  <a:lnTo>
                    <a:pt x="1516251" y="1213747"/>
                  </a:lnTo>
                  <a:lnTo>
                    <a:pt x="1515893" y="1213664"/>
                  </a:lnTo>
                  <a:lnTo>
                    <a:pt x="1515356" y="1213760"/>
                  </a:lnTo>
                  <a:lnTo>
                    <a:pt x="1515021" y="1214053"/>
                  </a:lnTo>
                  <a:lnTo>
                    <a:pt x="1514795" y="1214515"/>
                  </a:lnTo>
                  <a:lnTo>
                    <a:pt x="1514559" y="1214880"/>
                  </a:lnTo>
                  <a:lnTo>
                    <a:pt x="1514206" y="1214870"/>
                  </a:lnTo>
                  <a:lnTo>
                    <a:pt x="1513865" y="1214356"/>
                  </a:lnTo>
                  <a:lnTo>
                    <a:pt x="1513815" y="1213467"/>
                  </a:lnTo>
                  <a:lnTo>
                    <a:pt x="1514117" y="1212329"/>
                  </a:lnTo>
                  <a:lnTo>
                    <a:pt x="1514833" y="1211064"/>
                  </a:lnTo>
                  <a:lnTo>
                    <a:pt x="1515750" y="1210423"/>
                  </a:lnTo>
                  <a:lnTo>
                    <a:pt x="1518164" y="1211504"/>
                  </a:lnTo>
                  <a:lnTo>
                    <a:pt x="1524721" y="1210616"/>
                  </a:lnTo>
                  <a:lnTo>
                    <a:pt x="1524216" y="1209361"/>
                  </a:lnTo>
                  <a:lnTo>
                    <a:pt x="1512263" y="1206674"/>
                  </a:lnTo>
                  <a:lnTo>
                    <a:pt x="1509920" y="1207546"/>
                  </a:lnTo>
                  <a:lnTo>
                    <a:pt x="1507437" y="1209329"/>
                  </a:lnTo>
                  <a:lnTo>
                    <a:pt x="1506964" y="1211429"/>
                  </a:lnTo>
                  <a:lnTo>
                    <a:pt x="1505606" y="1212034"/>
                  </a:lnTo>
                  <a:lnTo>
                    <a:pt x="1502328" y="1211707"/>
                  </a:lnTo>
                  <a:lnTo>
                    <a:pt x="1500513" y="1210831"/>
                  </a:lnTo>
                  <a:lnTo>
                    <a:pt x="1499797" y="1210896"/>
                  </a:lnTo>
                  <a:lnTo>
                    <a:pt x="1498276" y="1211595"/>
                  </a:lnTo>
                  <a:lnTo>
                    <a:pt x="1497631" y="1211392"/>
                  </a:lnTo>
                  <a:lnTo>
                    <a:pt x="1498275" y="1210343"/>
                  </a:lnTo>
                  <a:lnTo>
                    <a:pt x="1499457" y="1209254"/>
                  </a:lnTo>
                  <a:lnTo>
                    <a:pt x="1500029" y="1208354"/>
                  </a:lnTo>
                  <a:lnTo>
                    <a:pt x="1500342" y="1207106"/>
                  </a:lnTo>
                  <a:lnTo>
                    <a:pt x="1500099" y="1206189"/>
                  </a:lnTo>
                  <a:lnTo>
                    <a:pt x="1499102" y="1204779"/>
                  </a:lnTo>
                  <a:lnTo>
                    <a:pt x="1499377" y="1203485"/>
                  </a:lnTo>
                  <a:lnTo>
                    <a:pt x="1498699" y="1202619"/>
                  </a:lnTo>
                  <a:lnTo>
                    <a:pt x="1496998" y="1201648"/>
                  </a:lnTo>
                  <a:lnTo>
                    <a:pt x="1495845" y="1200264"/>
                  </a:lnTo>
                  <a:lnTo>
                    <a:pt x="1495277" y="1200234"/>
                  </a:lnTo>
                  <a:lnTo>
                    <a:pt x="1494775" y="1200615"/>
                  </a:lnTo>
                  <a:lnTo>
                    <a:pt x="1493753" y="1201754"/>
                  </a:lnTo>
                  <a:lnTo>
                    <a:pt x="1493284" y="1201892"/>
                  </a:lnTo>
                  <a:lnTo>
                    <a:pt x="1492905" y="1201561"/>
                  </a:lnTo>
                  <a:lnTo>
                    <a:pt x="1492595" y="1200465"/>
                  </a:lnTo>
                  <a:lnTo>
                    <a:pt x="1492357" y="1199972"/>
                  </a:lnTo>
                  <a:lnTo>
                    <a:pt x="1487774" y="1198145"/>
                  </a:lnTo>
                  <a:lnTo>
                    <a:pt x="1486648" y="1198198"/>
                  </a:lnTo>
                  <a:lnTo>
                    <a:pt x="1486533" y="1199439"/>
                  </a:lnTo>
                  <a:lnTo>
                    <a:pt x="1485769" y="1200263"/>
                  </a:lnTo>
                  <a:lnTo>
                    <a:pt x="1485028" y="1200919"/>
                  </a:lnTo>
                  <a:lnTo>
                    <a:pt x="1484335" y="1201376"/>
                  </a:lnTo>
                  <a:lnTo>
                    <a:pt x="1483715" y="1201589"/>
                  </a:lnTo>
                  <a:lnTo>
                    <a:pt x="1483542" y="1202691"/>
                  </a:lnTo>
                  <a:lnTo>
                    <a:pt x="1483589" y="1203536"/>
                  </a:lnTo>
                  <a:lnTo>
                    <a:pt x="1483979" y="1204863"/>
                  </a:lnTo>
                  <a:lnTo>
                    <a:pt x="1482889" y="1205662"/>
                  </a:lnTo>
                  <a:lnTo>
                    <a:pt x="1481891" y="1204554"/>
                  </a:lnTo>
                  <a:lnTo>
                    <a:pt x="1480710" y="1200917"/>
                  </a:lnTo>
                  <a:lnTo>
                    <a:pt x="1480355" y="1200426"/>
                  </a:lnTo>
                  <a:lnTo>
                    <a:pt x="1479766" y="1199972"/>
                  </a:lnTo>
                  <a:lnTo>
                    <a:pt x="1479356" y="1199262"/>
                  </a:lnTo>
                  <a:lnTo>
                    <a:pt x="1479532" y="1198029"/>
                  </a:lnTo>
                  <a:lnTo>
                    <a:pt x="1479623" y="1194515"/>
                  </a:lnTo>
                  <a:lnTo>
                    <a:pt x="1480083" y="1192334"/>
                  </a:lnTo>
                  <a:lnTo>
                    <a:pt x="1481425" y="1187184"/>
                  </a:lnTo>
                  <a:lnTo>
                    <a:pt x="1481763" y="1185289"/>
                  </a:lnTo>
                  <a:lnTo>
                    <a:pt x="1482344" y="1183171"/>
                  </a:lnTo>
                  <a:lnTo>
                    <a:pt x="1483529" y="1180864"/>
                  </a:lnTo>
                  <a:lnTo>
                    <a:pt x="1485866" y="1176865"/>
                  </a:lnTo>
                  <a:lnTo>
                    <a:pt x="1487731" y="1172677"/>
                  </a:lnTo>
                  <a:lnTo>
                    <a:pt x="1488641" y="1171008"/>
                  </a:lnTo>
                  <a:lnTo>
                    <a:pt x="1489958" y="1169153"/>
                  </a:lnTo>
                  <a:lnTo>
                    <a:pt x="1491289" y="1167730"/>
                  </a:lnTo>
                  <a:lnTo>
                    <a:pt x="1496864" y="1163193"/>
                  </a:lnTo>
                  <a:lnTo>
                    <a:pt x="1502558" y="1159838"/>
                  </a:lnTo>
                  <a:lnTo>
                    <a:pt x="1505565" y="1159241"/>
                  </a:lnTo>
                  <a:lnTo>
                    <a:pt x="1507310" y="1157577"/>
                  </a:lnTo>
                  <a:lnTo>
                    <a:pt x="1507849" y="1156769"/>
                  </a:lnTo>
                  <a:lnTo>
                    <a:pt x="1508322" y="1155816"/>
                  </a:lnTo>
                  <a:lnTo>
                    <a:pt x="1508572" y="1154833"/>
                  </a:lnTo>
                  <a:lnTo>
                    <a:pt x="1508440" y="1153938"/>
                  </a:lnTo>
                  <a:lnTo>
                    <a:pt x="1509702" y="1152175"/>
                  </a:lnTo>
                  <a:lnTo>
                    <a:pt x="1511179" y="1150927"/>
                  </a:lnTo>
                  <a:lnTo>
                    <a:pt x="1515790" y="1148280"/>
                  </a:lnTo>
                  <a:lnTo>
                    <a:pt x="1520148" y="1149450"/>
                  </a:lnTo>
                  <a:lnTo>
                    <a:pt x="1531685" y="1148406"/>
                  </a:lnTo>
                  <a:lnTo>
                    <a:pt x="1533153" y="1146548"/>
                  </a:lnTo>
                  <a:lnTo>
                    <a:pt x="1534869" y="1140001"/>
                  </a:lnTo>
                  <a:lnTo>
                    <a:pt x="1534406" y="1136497"/>
                  </a:lnTo>
                  <a:lnTo>
                    <a:pt x="1532617" y="1134892"/>
                  </a:lnTo>
                  <a:lnTo>
                    <a:pt x="1526799" y="1132818"/>
                  </a:lnTo>
                  <a:lnTo>
                    <a:pt x="1525346" y="1130247"/>
                  </a:lnTo>
                  <a:lnTo>
                    <a:pt x="1524821" y="1129738"/>
                  </a:lnTo>
                  <a:lnTo>
                    <a:pt x="1524340" y="1128865"/>
                  </a:lnTo>
                  <a:lnTo>
                    <a:pt x="1524132" y="1127071"/>
                  </a:lnTo>
                  <a:lnTo>
                    <a:pt x="1524275" y="1124812"/>
                  </a:lnTo>
                  <a:lnTo>
                    <a:pt x="1524831" y="1122599"/>
                  </a:lnTo>
                  <a:lnTo>
                    <a:pt x="1527479" y="1117857"/>
                  </a:lnTo>
                  <a:lnTo>
                    <a:pt x="1530453" y="1115135"/>
                  </a:lnTo>
                  <a:lnTo>
                    <a:pt x="1540536" y="1109570"/>
                  </a:lnTo>
                  <a:lnTo>
                    <a:pt x="1541709" y="1109491"/>
                  </a:lnTo>
                  <a:lnTo>
                    <a:pt x="1542194" y="1109282"/>
                  </a:lnTo>
                  <a:lnTo>
                    <a:pt x="1542878" y="1108591"/>
                  </a:lnTo>
                  <a:lnTo>
                    <a:pt x="1544220" y="1106861"/>
                  </a:lnTo>
                  <a:lnTo>
                    <a:pt x="1545134" y="1105884"/>
                  </a:lnTo>
                  <a:lnTo>
                    <a:pt x="1545996" y="1105449"/>
                  </a:lnTo>
                  <a:lnTo>
                    <a:pt x="1547540" y="1105232"/>
                  </a:lnTo>
                  <a:lnTo>
                    <a:pt x="1551081" y="1103728"/>
                  </a:lnTo>
                  <a:lnTo>
                    <a:pt x="1552304" y="1103974"/>
                  </a:lnTo>
                  <a:lnTo>
                    <a:pt x="1557491" y="1102583"/>
                  </a:lnTo>
                  <a:lnTo>
                    <a:pt x="1560642" y="1099489"/>
                  </a:lnTo>
                  <a:lnTo>
                    <a:pt x="1569370" y="1095526"/>
                  </a:lnTo>
                  <a:lnTo>
                    <a:pt x="1572103" y="1092717"/>
                  </a:lnTo>
                  <a:lnTo>
                    <a:pt x="1574828" y="1091115"/>
                  </a:lnTo>
                  <a:lnTo>
                    <a:pt x="1576191" y="1089863"/>
                  </a:lnTo>
                  <a:lnTo>
                    <a:pt x="1579254" y="1086473"/>
                  </a:lnTo>
                  <a:lnTo>
                    <a:pt x="1580632" y="1085577"/>
                  </a:lnTo>
                  <a:lnTo>
                    <a:pt x="1585706" y="1086702"/>
                  </a:lnTo>
                  <a:lnTo>
                    <a:pt x="1589456" y="1085442"/>
                  </a:lnTo>
                  <a:lnTo>
                    <a:pt x="1596810" y="1085289"/>
                  </a:lnTo>
                  <a:lnTo>
                    <a:pt x="1606800" y="1080818"/>
                  </a:lnTo>
                  <a:lnTo>
                    <a:pt x="1609210" y="1078710"/>
                  </a:lnTo>
                  <a:lnTo>
                    <a:pt x="1612227" y="1079532"/>
                  </a:lnTo>
                  <a:lnTo>
                    <a:pt x="1613743" y="1079113"/>
                  </a:lnTo>
                  <a:lnTo>
                    <a:pt x="1614488" y="1078668"/>
                  </a:lnTo>
                  <a:lnTo>
                    <a:pt x="1618671" y="1077959"/>
                  </a:lnTo>
                  <a:lnTo>
                    <a:pt x="1623114" y="1076469"/>
                  </a:lnTo>
                  <a:lnTo>
                    <a:pt x="1629683" y="1076048"/>
                  </a:lnTo>
                  <a:lnTo>
                    <a:pt x="1638612" y="1073597"/>
                  </a:lnTo>
                  <a:lnTo>
                    <a:pt x="1644949" y="1073835"/>
                  </a:lnTo>
                  <a:lnTo>
                    <a:pt x="1651165" y="1072130"/>
                  </a:lnTo>
                  <a:lnTo>
                    <a:pt x="1651914" y="1071482"/>
                  </a:lnTo>
                  <a:lnTo>
                    <a:pt x="1652599" y="1070731"/>
                  </a:lnTo>
                  <a:lnTo>
                    <a:pt x="1653403" y="1070085"/>
                  </a:lnTo>
                  <a:lnTo>
                    <a:pt x="1654156" y="1069660"/>
                  </a:lnTo>
                  <a:lnTo>
                    <a:pt x="1654695" y="1069569"/>
                  </a:lnTo>
                  <a:lnTo>
                    <a:pt x="1657266" y="1070477"/>
                  </a:lnTo>
                  <a:lnTo>
                    <a:pt x="1658084" y="1070205"/>
                  </a:lnTo>
                  <a:lnTo>
                    <a:pt x="1661404" y="1068211"/>
                  </a:lnTo>
                  <a:lnTo>
                    <a:pt x="1668782" y="1067598"/>
                  </a:lnTo>
                  <a:lnTo>
                    <a:pt x="1675333" y="1064236"/>
                  </a:lnTo>
                  <a:close/>
                  <a:moveTo>
                    <a:pt x="2202085" y="1061461"/>
                  </a:moveTo>
                  <a:lnTo>
                    <a:pt x="2203172" y="1062073"/>
                  </a:lnTo>
                  <a:lnTo>
                    <a:pt x="2204083" y="1063688"/>
                  </a:lnTo>
                  <a:lnTo>
                    <a:pt x="2204471" y="1066860"/>
                  </a:lnTo>
                  <a:lnTo>
                    <a:pt x="2202912" y="1071101"/>
                  </a:lnTo>
                  <a:lnTo>
                    <a:pt x="2199328" y="1077018"/>
                  </a:lnTo>
                  <a:lnTo>
                    <a:pt x="2196508" y="1079392"/>
                  </a:lnTo>
                  <a:lnTo>
                    <a:pt x="2193658" y="1080692"/>
                  </a:lnTo>
                  <a:lnTo>
                    <a:pt x="2193232" y="1081122"/>
                  </a:lnTo>
                  <a:lnTo>
                    <a:pt x="2192410" y="1082524"/>
                  </a:lnTo>
                  <a:lnTo>
                    <a:pt x="2192145" y="1082824"/>
                  </a:lnTo>
                  <a:lnTo>
                    <a:pt x="2191843" y="1082981"/>
                  </a:lnTo>
                  <a:lnTo>
                    <a:pt x="2191668" y="1083420"/>
                  </a:lnTo>
                  <a:lnTo>
                    <a:pt x="2191388" y="1084730"/>
                  </a:lnTo>
                  <a:lnTo>
                    <a:pt x="2191101" y="1085453"/>
                  </a:lnTo>
                  <a:lnTo>
                    <a:pt x="2190824" y="1085700"/>
                  </a:lnTo>
                  <a:lnTo>
                    <a:pt x="2190534" y="1085817"/>
                  </a:lnTo>
                  <a:lnTo>
                    <a:pt x="2189565" y="1087096"/>
                  </a:lnTo>
                  <a:lnTo>
                    <a:pt x="2188952" y="1087631"/>
                  </a:lnTo>
                  <a:lnTo>
                    <a:pt x="2181159" y="1089831"/>
                  </a:lnTo>
                  <a:lnTo>
                    <a:pt x="2173345" y="1092001"/>
                  </a:lnTo>
                  <a:lnTo>
                    <a:pt x="2171409" y="1088612"/>
                  </a:lnTo>
                  <a:lnTo>
                    <a:pt x="2170621" y="1089732"/>
                  </a:lnTo>
                  <a:lnTo>
                    <a:pt x="2170390" y="1091709"/>
                  </a:lnTo>
                  <a:lnTo>
                    <a:pt x="2171221" y="1092746"/>
                  </a:lnTo>
                  <a:lnTo>
                    <a:pt x="2170563" y="1093614"/>
                  </a:lnTo>
                  <a:lnTo>
                    <a:pt x="2169873" y="1093845"/>
                  </a:lnTo>
                  <a:lnTo>
                    <a:pt x="2167668" y="1093205"/>
                  </a:lnTo>
                  <a:lnTo>
                    <a:pt x="2165793" y="1093489"/>
                  </a:lnTo>
                  <a:lnTo>
                    <a:pt x="2164092" y="1094687"/>
                  </a:lnTo>
                  <a:lnTo>
                    <a:pt x="2158284" y="1092907"/>
                  </a:lnTo>
                  <a:lnTo>
                    <a:pt x="2157459" y="1091537"/>
                  </a:lnTo>
                  <a:lnTo>
                    <a:pt x="2158305" y="1090800"/>
                  </a:lnTo>
                  <a:lnTo>
                    <a:pt x="2168003" y="1092102"/>
                  </a:lnTo>
                  <a:lnTo>
                    <a:pt x="2168238" y="1091509"/>
                  </a:lnTo>
                  <a:lnTo>
                    <a:pt x="2167536" y="1089900"/>
                  </a:lnTo>
                  <a:lnTo>
                    <a:pt x="2166577" y="1089365"/>
                  </a:lnTo>
                  <a:lnTo>
                    <a:pt x="2155255" y="1089159"/>
                  </a:lnTo>
                  <a:lnTo>
                    <a:pt x="2152026" y="1087825"/>
                  </a:lnTo>
                  <a:lnTo>
                    <a:pt x="2150392" y="1085958"/>
                  </a:lnTo>
                  <a:lnTo>
                    <a:pt x="2149639" y="1083072"/>
                  </a:lnTo>
                  <a:lnTo>
                    <a:pt x="2151242" y="1081537"/>
                  </a:lnTo>
                  <a:lnTo>
                    <a:pt x="2160262" y="1078222"/>
                  </a:lnTo>
                  <a:lnTo>
                    <a:pt x="2163192" y="1079082"/>
                  </a:lnTo>
                  <a:lnTo>
                    <a:pt x="2164002" y="1078354"/>
                  </a:lnTo>
                  <a:lnTo>
                    <a:pt x="2163602" y="1077969"/>
                  </a:lnTo>
                  <a:lnTo>
                    <a:pt x="2163236" y="1077324"/>
                  </a:lnTo>
                  <a:lnTo>
                    <a:pt x="2162914" y="1076434"/>
                  </a:lnTo>
                  <a:lnTo>
                    <a:pt x="2162646" y="1075342"/>
                  </a:lnTo>
                  <a:lnTo>
                    <a:pt x="2163872" y="1074174"/>
                  </a:lnTo>
                  <a:lnTo>
                    <a:pt x="2168149" y="1073070"/>
                  </a:lnTo>
                  <a:lnTo>
                    <a:pt x="2170428" y="1070571"/>
                  </a:lnTo>
                  <a:lnTo>
                    <a:pt x="2170962" y="1070309"/>
                  </a:lnTo>
                  <a:lnTo>
                    <a:pt x="2177694" y="1070531"/>
                  </a:lnTo>
                  <a:lnTo>
                    <a:pt x="2188594" y="1063814"/>
                  </a:lnTo>
                  <a:close/>
                  <a:moveTo>
                    <a:pt x="2335257" y="1052577"/>
                  </a:moveTo>
                  <a:lnTo>
                    <a:pt x="2343116" y="1056078"/>
                  </a:lnTo>
                  <a:lnTo>
                    <a:pt x="2349697" y="1056727"/>
                  </a:lnTo>
                  <a:lnTo>
                    <a:pt x="2350660" y="1057546"/>
                  </a:lnTo>
                  <a:lnTo>
                    <a:pt x="2351332" y="1059179"/>
                  </a:lnTo>
                  <a:lnTo>
                    <a:pt x="2351026" y="1060841"/>
                  </a:lnTo>
                  <a:lnTo>
                    <a:pt x="2351624" y="1061683"/>
                  </a:lnTo>
                  <a:lnTo>
                    <a:pt x="2352367" y="1061821"/>
                  </a:lnTo>
                  <a:lnTo>
                    <a:pt x="2352490" y="1061335"/>
                  </a:lnTo>
                  <a:lnTo>
                    <a:pt x="2353914" y="1059750"/>
                  </a:lnTo>
                  <a:lnTo>
                    <a:pt x="2354616" y="1059545"/>
                  </a:lnTo>
                  <a:lnTo>
                    <a:pt x="2358640" y="1062855"/>
                  </a:lnTo>
                  <a:lnTo>
                    <a:pt x="2361309" y="1063503"/>
                  </a:lnTo>
                  <a:lnTo>
                    <a:pt x="2363144" y="1064951"/>
                  </a:lnTo>
                  <a:lnTo>
                    <a:pt x="2364958" y="1067381"/>
                  </a:lnTo>
                  <a:lnTo>
                    <a:pt x="2366657" y="1070767"/>
                  </a:lnTo>
                  <a:lnTo>
                    <a:pt x="2366373" y="1072320"/>
                  </a:lnTo>
                  <a:lnTo>
                    <a:pt x="2365110" y="1075466"/>
                  </a:lnTo>
                  <a:lnTo>
                    <a:pt x="2365335" y="1075450"/>
                  </a:lnTo>
                  <a:lnTo>
                    <a:pt x="2365165" y="1076206"/>
                  </a:lnTo>
                  <a:lnTo>
                    <a:pt x="2371240" y="1074930"/>
                  </a:lnTo>
                  <a:lnTo>
                    <a:pt x="2371688" y="1074175"/>
                  </a:lnTo>
                  <a:lnTo>
                    <a:pt x="2371463" y="1074192"/>
                  </a:lnTo>
                  <a:lnTo>
                    <a:pt x="2371529" y="1073385"/>
                  </a:lnTo>
                  <a:lnTo>
                    <a:pt x="2371474" y="1071267"/>
                  </a:lnTo>
                  <a:lnTo>
                    <a:pt x="2371599" y="1070404"/>
                  </a:lnTo>
                  <a:lnTo>
                    <a:pt x="2371873" y="1070135"/>
                  </a:lnTo>
                  <a:lnTo>
                    <a:pt x="2373058" y="1070294"/>
                  </a:lnTo>
                  <a:lnTo>
                    <a:pt x="2373474" y="1070014"/>
                  </a:lnTo>
                  <a:lnTo>
                    <a:pt x="2374207" y="1069134"/>
                  </a:lnTo>
                  <a:lnTo>
                    <a:pt x="2380095" y="1065765"/>
                  </a:lnTo>
                  <a:lnTo>
                    <a:pt x="2381372" y="1066992"/>
                  </a:lnTo>
                  <a:lnTo>
                    <a:pt x="2387333" y="1064696"/>
                  </a:lnTo>
                  <a:lnTo>
                    <a:pt x="2393576" y="1066112"/>
                  </a:lnTo>
                  <a:lnTo>
                    <a:pt x="2404997" y="1066108"/>
                  </a:lnTo>
                  <a:lnTo>
                    <a:pt x="2416358" y="1070854"/>
                  </a:lnTo>
                  <a:lnTo>
                    <a:pt x="2425412" y="1073939"/>
                  </a:lnTo>
                  <a:lnTo>
                    <a:pt x="2425608" y="1072764"/>
                  </a:lnTo>
                  <a:lnTo>
                    <a:pt x="2425759" y="1072331"/>
                  </a:lnTo>
                  <a:lnTo>
                    <a:pt x="2427096" y="1072952"/>
                  </a:lnTo>
                  <a:lnTo>
                    <a:pt x="2427829" y="1073067"/>
                  </a:lnTo>
                  <a:lnTo>
                    <a:pt x="2428650" y="1073497"/>
                  </a:lnTo>
                  <a:lnTo>
                    <a:pt x="2430225" y="1074921"/>
                  </a:lnTo>
                  <a:lnTo>
                    <a:pt x="2429437" y="1079785"/>
                  </a:lnTo>
                  <a:lnTo>
                    <a:pt x="2428837" y="1081341"/>
                  </a:lnTo>
                  <a:lnTo>
                    <a:pt x="2427982" y="1081123"/>
                  </a:lnTo>
                  <a:lnTo>
                    <a:pt x="2427574" y="1080309"/>
                  </a:lnTo>
                  <a:lnTo>
                    <a:pt x="2427313" y="1079420"/>
                  </a:lnTo>
                  <a:lnTo>
                    <a:pt x="2427047" y="1078661"/>
                  </a:lnTo>
                  <a:lnTo>
                    <a:pt x="2426618" y="1078222"/>
                  </a:lnTo>
                  <a:lnTo>
                    <a:pt x="2426135" y="1078405"/>
                  </a:lnTo>
                  <a:lnTo>
                    <a:pt x="2425609" y="1079156"/>
                  </a:lnTo>
                  <a:lnTo>
                    <a:pt x="2425198" y="1080234"/>
                  </a:lnTo>
                  <a:lnTo>
                    <a:pt x="2425062" y="1081424"/>
                  </a:lnTo>
                  <a:lnTo>
                    <a:pt x="2425696" y="1082119"/>
                  </a:lnTo>
                  <a:lnTo>
                    <a:pt x="2426089" y="1083580"/>
                  </a:lnTo>
                  <a:lnTo>
                    <a:pt x="2426239" y="1085439"/>
                  </a:lnTo>
                  <a:lnTo>
                    <a:pt x="2426139" y="1087342"/>
                  </a:lnTo>
                  <a:lnTo>
                    <a:pt x="2424544" y="1092640"/>
                  </a:lnTo>
                  <a:lnTo>
                    <a:pt x="2423723" y="1094357"/>
                  </a:lnTo>
                  <a:lnTo>
                    <a:pt x="2423030" y="1097967"/>
                  </a:lnTo>
                  <a:lnTo>
                    <a:pt x="2421105" y="1102542"/>
                  </a:lnTo>
                  <a:lnTo>
                    <a:pt x="2419890" y="1104439"/>
                  </a:lnTo>
                  <a:lnTo>
                    <a:pt x="2416128" y="1114045"/>
                  </a:lnTo>
                  <a:lnTo>
                    <a:pt x="2414407" y="1115403"/>
                  </a:lnTo>
                  <a:lnTo>
                    <a:pt x="2411533" y="1115674"/>
                  </a:lnTo>
                  <a:lnTo>
                    <a:pt x="2411158" y="1115473"/>
                  </a:lnTo>
                  <a:lnTo>
                    <a:pt x="2410420" y="1114517"/>
                  </a:lnTo>
                  <a:lnTo>
                    <a:pt x="2410016" y="1114324"/>
                  </a:lnTo>
                  <a:lnTo>
                    <a:pt x="2409715" y="1115261"/>
                  </a:lnTo>
                  <a:lnTo>
                    <a:pt x="2410596" y="1117270"/>
                  </a:lnTo>
                  <a:lnTo>
                    <a:pt x="2412587" y="1120786"/>
                  </a:lnTo>
                  <a:lnTo>
                    <a:pt x="2412308" y="1122357"/>
                  </a:lnTo>
                  <a:lnTo>
                    <a:pt x="2409699" y="1126940"/>
                  </a:lnTo>
                  <a:lnTo>
                    <a:pt x="2409579" y="1127422"/>
                  </a:lnTo>
                  <a:lnTo>
                    <a:pt x="2409670" y="1128497"/>
                  </a:lnTo>
                  <a:lnTo>
                    <a:pt x="2409684" y="1129161"/>
                  </a:lnTo>
                  <a:lnTo>
                    <a:pt x="2409595" y="1129622"/>
                  </a:lnTo>
                  <a:lnTo>
                    <a:pt x="2409386" y="1130085"/>
                  </a:lnTo>
                  <a:lnTo>
                    <a:pt x="2409618" y="1130064"/>
                  </a:lnTo>
                  <a:lnTo>
                    <a:pt x="2409165" y="1130282"/>
                  </a:lnTo>
                  <a:lnTo>
                    <a:pt x="2408741" y="1131009"/>
                  </a:lnTo>
                  <a:lnTo>
                    <a:pt x="2408454" y="1132128"/>
                  </a:lnTo>
                  <a:lnTo>
                    <a:pt x="2408423" y="1133488"/>
                  </a:lnTo>
                  <a:lnTo>
                    <a:pt x="2408166" y="1134368"/>
                  </a:lnTo>
                  <a:lnTo>
                    <a:pt x="2406164" y="1137078"/>
                  </a:lnTo>
                  <a:lnTo>
                    <a:pt x="2405600" y="1139241"/>
                  </a:lnTo>
                  <a:lnTo>
                    <a:pt x="2404920" y="1144188"/>
                  </a:lnTo>
                  <a:lnTo>
                    <a:pt x="2404424" y="1146171"/>
                  </a:lnTo>
                  <a:lnTo>
                    <a:pt x="2403854" y="1147260"/>
                  </a:lnTo>
                  <a:lnTo>
                    <a:pt x="2403121" y="1148061"/>
                  </a:lnTo>
                  <a:lnTo>
                    <a:pt x="2402315" y="1148424"/>
                  </a:lnTo>
                  <a:lnTo>
                    <a:pt x="2400750" y="1148027"/>
                  </a:lnTo>
                  <a:lnTo>
                    <a:pt x="2398297" y="1149745"/>
                  </a:lnTo>
                  <a:lnTo>
                    <a:pt x="2394078" y="1150175"/>
                  </a:lnTo>
                  <a:lnTo>
                    <a:pt x="2392988" y="1151609"/>
                  </a:lnTo>
                  <a:lnTo>
                    <a:pt x="2401242" y="1152856"/>
                  </a:lnTo>
                  <a:lnTo>
                    <a:pt x="2401374" y="1153963"/>
                  </a:lnTo>
                  <a:lnTo>
                    <a:pt x="2398964" y="1161668"/>
                  </a:lnTo>
                  <a:lnTo>
                    <a:pt x="2398993" y="1162197"/>
                  </a:lnTo>
                  <a:lnTo>
                    <a:pt x="2398538" y="1165360"/>
                  </a:lnTo>
                  <a:lnTo>
                    <a:pt x="2397760" y="1167492"/>
                  </a:lnTo>
                  <a:lnTo>
                    <a:pt x="2396046" y="1170572"/>
                  </a:lnTo>
                  <a:lnTo>
                    <a:pt x="2395026" y="1173469"/>
                  </a:lnTo>
                  <a:lnTo>
                    <a:pt x="2394733" y="1173728"/>
                  </a:lnTo>
                  <a:lnTo>
                    <a:pt x="2394562" y="1174252"/>
                  </a:lnTo>
                  <a:lnTo>
                    <a:pt x="2394615" y="1175801"/>
                  </a:lnTo>
                  <a:lnTo>
                    <a:pt x="2394747" y="1177503"/>
                  </a:lnTo>
                  <a:lnTo>
                    <a:pt x="2394726" y="1178347"/>
                  </a:lnTo>
                  <a:lnTo>
                    <a:pt x="2394519" y="1178959"/>
                  </a:lnTo>
                  <a:lnTo>
                    <a:pt x="2391450" y="1185346"/>
                  </a:lnTo>
                  <a:lnTo>
                    <a:pt x="2390852" y="1187336"/>
                  </a:lnTo>
                  <a:lnTo>
                    <a:pt x="2389953" y="1191888"/>
                  </a:lnTo>
                  <a:lnTo>
                    <a:pt x="2389358" y="1193682"/>
                  </a:lnTo>
                  <a:lnTo>
                    <a:pt x="2384820" y="1199417"/>
                  </a:lnTo>
                  <a:lnTo>
                    <a:pt x="2384231" y="1200677"/>
                  </a:lnTo>
                  <a:lnTo>
                    <a:pt x="2383214" y="1204266"/>
                  </a:lnTo>
                  <a:lnTo>
                    <a:pt x="2382551" y="1205290"/>
                  </a:lnTo>
                  <a:lnTo>
                    <a:pt x="2380318" y="1207186"/>
                  </a:lnTo>
                  <a:lnTo>
                    <a:pt x="2373476" y="1209908"/>
                  </a:lnTo>
                  <a:lnTo>
                    <a:pt x="2370710" y="1208793"/>
                  </a:lnTo>
                  <a:lnTo>
                    <a:pt x="2366913" y="1208572"/>
                  </a:lnTo>
                  <a:lnTo>
                    <a:pt x="2365331" y="1207144"/>
                  </a:lnTo>
                  <a:lnTo>
                    <a:pt x="2351530" y="1204877"/>
                  </a:lnTo>
                  <a:lnTo>
                    <a:pt x="2349984" y="1203503"/>
                  </a:lnTo>
                  <a:lnTo>
                    <a:pt x="2349274" y="1203226"/>
                  </a:lnTo>
                  <a:lnTo>
                    <a:pt x="2346151" y="1203406"/>
                  </a:lnTo>
                  <a:lnTo>
                    <a:pt x="2345460" y="1203167"/>
                  </a:lnTo>
                  <a:lnTo>
                    <a:pt x="2343771" y="1200631"/>
                  </a:lnTo>
                  <a:lnTo>
                    <a:pt x="2343031" y="1200018"/>
                  </a:lnTo>
                  <a:lnTo>
                    <a:pt x="2342488" y="1200158"/>
                  </a:lnTo>
                  <a:lnTo>
                    <a:pt x="2341444" y="1201650"/>
                  </a:lnTo>
                  <a:lnTo>
                    <a:pt x="2339876" y="1202802"/>
                  </a:lnTo>
                  <a:lnTo>
                    <a:pt x="2336623" y="1202600"/>
                  </a:lnTo>
                  <a:lnTo>
                    <a:pt x="2333608" y="1204186"/>
                  </a:lnTo>
                  <a:lnTo>
                    <a:pt x="2324626" y="1205348"/>
                  </a:lnTo>
                  <a:lnTo>
                    <a:pt x="2315636" y="1206473"/>
                  </a:lnTo>
                  <a:lnTo>
                    <a:pt x="2312798" y="1205515"/>
                  </a:lnTo>
                  <a:lnTo>
                    <a:pt x="2311350" y="1205666"/>
                  </a:lnTo>
                  <a:lnTo>
                    <a:pt x="2310312" y="1207367"/>
                  </a:lnTo>
                  <a:lnTo>
                    <a:pt x="2310105" y="1208370"/>
                  </a:lnTo>
                  <a:lnTo>
                    <a:pt x="2309999" y="1209507"/>
                  </a:lnTo>
                  <a:lnTo>
                    <a:pt x="2310033" y="1210683"/>
                  </a:lnTo>
                  <a:lnTo>
                    <a:pt x="2310253" y="1211825"/>
                  </a:lnTo>
                  <a:lnTo>
                    <a:pt x="2310739" y="1212619"/>
                  </a:lnTo>
                  <a:lnTo>
                    <a:pt x="2311277" y="1212399"/>
                  </a:lnTo>
                  <a:lnTo>
                    <a:pt x="2312262" y="1211063"/>
                  </a:lnTo>
                  <a:lnTo>
                    <a:pt x="2313478" y="1210296"/>
                  </a:lnTo>
                  <a:lnTo>
                    <a:pt x="2314818" y="1210259"/>
                  </a:lnTo>
                  <a:lnTo>
                    <a:pt x="2320344" y="1212668"/>
                  </a:lnTo>
                  <a:lnTo>
                    <a:pt x="2325031" y="1212735"/>
                  </a:lnTo>
                  <a:lnTo>
                    <a:pt x="2325093" y="1212546"/>
                  </a:lnTo>
                  <a:lnTo>
                    <a:pt x="2325865" y="1211151"/>
                  </a:lnTo>
                  <a:lnTo>
                    <a:pt x="2326124" y="1210851"/>
                  </a:lnTo>
                  <a:lnTo>
                    <a:pt x="2326290" y="1210786"/>
                  </a:lnTo>
                  <a:lnTo>
                    <a:pt x="2326422" y="1210624"/>
                  </a:lnTo>
                  <a:lnTo>
                    <a:pt x="2326586" y="1210032"/>
                  </a:lnTo>
                  <a:lnTo>
                    <a:pt x="2326907" y="1209190"/>
                  </a:lnTo>
                  <a:lnTo>
                    <a:pt x="2327324" y="1208895"/>
                  </a:lnTo>
                  <a:lnTo>
                    <a:pt x="2327737" y="1209257"/>
                  </a:lnTo>
                  <a:lnTo>
                    <a:pt x="2328049" y="1210365"/>
                  </a:lnTo>
                  <a:lnTo>
                    <a:pt x="2327512" y="1210666"/>
                  </a:lnTo>
                  <a:lnTo>
                    <a:pt x="2327465" y="1211713"/>
                  </a:lnTo>
                  <a:lnTo>
                    <a:pt x="2327808" y="1214432"/>
                  </a:lnTo>
                  <a:lnTo>
                    <a:pt x="2327647" y="1215935"/>
                  </a:lnTo>
                  <a:lnTo>
                    <a:pt x="2327251" y="1217105"/>
                  </a:lnTo>
                  <a:lnTo>
                    <a:pt x="2327004" y="1218232"/>
                  </a:lnTo>
                  <a:lnTo>
                    <a:pt x="2327297" y="1219662"/>
                  </a:lnTo>
                  <a:lnTo>
                    <a:pt x="2328463" y="1221257"/>
                  </a:lnTo>
                  <a:lnTo>
                    <a:pt x="2332517" y="1222781"/>
                  </a:lnTo>
                  <a:lnTo>
                    <a:pt x="2333699" y="1224138"/>
                  </a:lnTo>
                  <a:lnTo>
                    <a:pt x="2336130" y="1227849"/>
                  </a:lnTo>
                  <a:lnTo>
                    <a:pt x="2338383" y="1233169"/>
                  </a:lnTo>
                  <a:lnTo>
                    <a:pt x="2339894" y="1238811"/>
                  </a:lnTo>
                  <a:lnTo>
                    <a:pt x="2339646" y="1238824"/>
                  </a:lnTo>
                  <a:lnTo>
                    <a:pt x="2339935" y="1239553"/>
                  </a:lnTo>
                  <a:lnTo>
                    <a:pt x="2339665" y="1241161"/>
                  </a:lnTo>
                  <a:lnTo>
                    <a:pt x="2339155" y="1242105"/>
                  </a:lnTo>
                  <a:lnTo>
                    <a:pt x="2338514" y="1242564"/>
                  </a:lnTo>
                  <a:lnTo>
                    <a:pt x="2337856" y="1242700"/>
                  </a:lnTo>
                  <a:lnTo>
                    <a:pt x="2337316" y="1243078"/>
                  </a:lnTo>
                  <a:lnTo>
                    <a:pt x="2337033" y="1243969"/>
                  </a:lnTo>
                  <a:lnTo>
                    <a:pt x="2336671" y="1246409"/>
                  </a:lnTo>
                  <a:lnTo>
                    <a:pt x="2336007" y="1248914"/>
                  </a:lnTo>
                  <a:lnTo>
                    <a:pt x="2335274" y="1250542"/>
                  </a:lnTo>
                  <a:lnTo>
                    <a:pt x="2333344" y="1253122"/>
                  </a:lnTo>
                  <a:lnTo>
                    <a:pt x="2331976" y="1254119"/>
                  </a:lnTo>
                  <a:lnTo>
                    <a:pt x="2330569" y="1254453"/>
                  </a:lnTo>
                  <a:lnTo>
                    <a:pt x="2329259" y="1255357"/>
                  </a:lnTo>
                  <a:lnTo>
                    <a:pt x="2328165" y="1258038"/>
                  </a:lnTo>
                  <a:lnTo>
                    <a:pt x="2327649" y="1260250"/>
                  </a:lnTo>
                  <a:lnTo>
                    <a:pt x="2327411" y="1260952"/>
                  </a:lnTo>
                  <a:lnTo>
                    <a:pt x="2326984" y="1261875"/>
                  </a:lnTo>
                  <a:lnTo>
                    <a:pt x="2326115" y="1263230"/>
                  </a:lnTo>
                  <a:lnTo>
                    <a:pt x="2325824" y="1264014"/>
                  </a:lnTo>
                  <a:lnTo>
                    <a:pt x="2325754" y="1265239"/>
                  </a:lnTo>
                  <a:lnTo>
                    <a:pt x="2325417" y="1267144"/>
                  </a:lnTo>
                  <a:lnTo>
                    <a:pt x="2322902" y="1273203"/>
                  </a:lnTo>
                  <a:lnTo>
                    <a:pt x="2322688" y="1274156"/>
                  </a:lnTo>
                  <a:lnTo>
                    <a:pt x="2322582" y="1274891"/>
                  </a:lnTo>
                  <a:lnTo>
                    <a:pt x="2322407" y="1276944"/>
                  </a:lnTo>
                  <a:lnTo>
                    <a:pt x="2322404" y="1277462"/>
                  </a:lnTo>
                  <a:lnTo>
                    <a:pt x="2322507" y="1278640"/>
                  </a:lnTo>
                  <a:lnTo>
                    <a:pt x="2322508" y="1279167"/>
                  </a:lnTo>
                  <a:lnTo>
                    <a:pt x="2322385" y="1279841"/>
                  </a:lnTo>
                  <a:lnTo>
                    <a:pt x="2322175" y="1280514"/>
                  </a:lnTo>
                  <a:lnTo>
                    <a:pt x="2321977" y="1280997"/>
                  </a:lnTo>
                  <a:lnTo>
                    <a:pt x="2321885" y="1281085"/>
                  </a:lnTo>
                  <a:lnTo>
                    <a:pt x="2321299" y="1283222"/>
                  </a:lnTo>
                  <a:lnTo>
                    <a:pt x="2316950" y="1284600"/>
                  </a:lnTo>
                  <a:lnTo>
                    <a:pt x="2316521" y="1286809"/>
                  </a:lnTo>
                  <a:lnTo>
                    <a:pt x="2317486" y="1287766"/>
                  </a:lnTo>
                  <a:lnTo>
                    <a:pt x="2318972" y="1287863"/>
                  </a:lnTo>
                  <a:lnTo>
                    <a:pt x="2320097" y="1287510"/>
                  </a:lnTo>
                  <a:lnTo>
                    <a:pt x="2320911" y="1286360"/>
                  </a:lnTo>
                  <a:lnTo>
                    <a:pt x="2321596" y="1284684"/>
                  </a:lnTo>
                  <a:lnTo>
                    <a:pt x="2322347" y="1283274"/>
                  </a:lnTo>
                  <a:lnTo>
                    <a:pt x="2323349" y="1282911"/>
                  </a:lnTo>
                  <a:lnTo>
                    <a:pt x="2321960" y="1287430"/>
                  </a:lnTo>
                  <a:lnTo>
                    <a:pt x="2323445" y="1289597"/>
                  </a:lnTo>
                  <a:lnTo>
                    <a:pt x="2322935" y="1290041"/>
                  </a:lnTo>
                  <a:lnTo>
                    <a:pt x="2322303" y="1290316"/>
                  </a:lnTo>
                  <a:lnTo>
                    <a:pt x="2322378" y="1290680"/>
                  </a:lnTo>
                  <a:lnTo>
                    <a:pt x="2322499" y="1291432"/>
                  </a:lnTo>
                  <a:lnTo>
                    <a:pt x="2322624" y="1291861"/>
                  </a:lnTo>
                  <a:lnTo>
                    <a:pt x="2321692" y="1292361"/>
                  </a:lnTo>
                  <a:lnTo>
                    <a:pt x="2320459" y="1291776"/>
                  </a:lnTo>
                  <a:lnTo>
                    <a:pt x="2318121" y="1289825"/>
                  </a:lnTo>
                  <a:lnTo>
                    <a:pt x="2314716" y="1290092"/>
                  </a:lnTo>
                  <a:lnTo>
                    <a:pt x="2312803" y="1287697"/>
                  </a:lnTo>
                  <a:lnTo>
                    <a:pt x="2304951" y="1288657"/>
                  </a:lnTo>
                  <a:lnTo>
                    <a:pt x="2304185" y="1289613"/>
                  </a:lnTo>
                  <a:lnTo>
                    <a:pt x="2304158" y="1288870"/>
                  </a:lnTo>
                  <a:lnTo>
                    <a:pt x="2303593" y="1289182"/>
                  </a:lnTo>
                  <a:lnTo>
                    <a:pt x="2299184" y="1289304"/>
                  </a:lnTo>
                  <a:lnTo>
                    <a:pt x="2285960" y="1295070"/>
                  </a:lnTo>
                  <a:lnTo>
                    <a:pt x="2285007" y="1294290"/>
                  </a:lnTo>
                  <a:lnTo>
                    <a:pt x="2285416" y="1293474"/>
                  </a:lnTo>
                  <a:lnTo>
                    <a:pt x="2287112" y="1292367"/>
                  </a:lnTo>
                  <a:lnTo>
                    <a:pt x="2287089" y="1291553"/>
                  </a:lnTo>
                  <a:lnTo>
                    <a:pt x="2284118" y="1292238"/>
                  </a:lnTo>
                  <a:lnTo>
                    <a:pt x="2283635" y="1292051"/>
                  </a:lnTo>
                  <a:lnTo>
                    <a:pt x="2283705" y="1290527"/>
                  </a:lnTo>
                  <a:lnTo>
                    <a:pt x="2284119" y="1288233"/>
                  </a:lnTo>
                  <a:lnTo>
                    <a:pt x="2284189" y="1286842"/>
                  </a:lnTo>
                  <a:lnTo>
                    <a:pt x="2284126" y="1286052"/>
                  </a:lnTo>
                  <a:lnTo>
                    <a:pt x="2284081" y="1284915"/>
                  </a:lnTo>
                  <a:lnTo>
                    <a:pt x="2284244" y="1283902"/>
                  </a:lnTo>
                  <a:lnTo>
                    <a:pt x="2285465" y="1283123"/>
                  </a:lnTo>
                  <a:lnTo>
                    <a:pt x="2287464" y="1280411"/>
                  </a:lnTo>
                  <a:lnTo>
                    <a:pt x="2283923" y="1280548"/>
                  </a:lnTo>
                  <a:lnTo>
                    <a:pt x="2283645" y="1279361"/>
                  </a:lnTo>
                  <a:lnTo>
                    <a:pt x="2284087" y="1278801"/>
                  </a:lnTo>
                  <a:lnTo>
                    <a:pt x="2286048" y="1278966"/>
                  </a:lnTo>
                  <a:lnTo>
                    <a:pt x="2286692" y="1278458"/>
                  </a:lnTo>
                  <a:lnTo>
                    <a:pt x="2287688" y="1277157"/>
                  </a:lnTo>
                  <a:lnTo>
                    <a:pt x="2297277" y="1273637"/>
                  </a:lnTo>
                  <a:lnTo>
                    <a:pt x="2295569" y="1272983"/>
                  </a:lnTo>
                  <a:lnTo>
                    <a:pt x="2286525" y="1276232"/>
                  </a:lnTo>
                  <a:lnTo>
                    <a:pt x="2284339" y="1274551"/>
                  </a:lnTo>
                  <a:lnTo>
                    <a:pt x="2284838" y="1273914"/>
                  </a:lnTo>
                  <a:lnTo>
                    <a:pt x="2284578" y="1273160"/>
                  </a:lnTo>
                  <a:lnTo>
                    <a:pt x="2283666" y="1271940"/>
                  </a:lnTo>
                  <a:lnTo>
                    <a:pt x="2283043" y="1270045"/>
                  </a:lnTo>
                  <a:lnTo>
                    <a:pt x="2282952" y="1269171"/>
                  </a:lnTo>
                  <a:lnTo>
                    <a:pt x="2282996" y="1267839"/>
                  </a:lnTo>
                  <a:lnTo>
                    <a:pt x="2283156" y="1266401"/>
                  </a:lnTo>
                  <a:lnTo>
                    <a:pt x="2283351" y="1265316"/>
                  </a:lnTo>
                  <a:lnTo>
                    <a:pt x="2283506" y="1264114"/>
                  </a:lnTo>
                  <a:lnTo>
                    <a:pt x="2283532" y="1262286"/>
                  </a:lnTo>
                  <a:lnTo>
                    <a:pt x="2283619" y="1261523"/>
                  </a:lnTo>
                  <a:lnTo>
                    <a:pt x="2284071" y="1260848"/>
                  </a:lnTo>
                  <a:lnTo>
                    <a:pt x="2284154" y="1260013"/>
                  </a:lnTo>
                  <a:lnTo>
                    <a:pt x="2284101" y="1259228"/>
                  </a:lnTo>
                  <a:lnTo>
                    <a:pt x="2283887" y="1257791"/>
                  </a:lnTo>
                  <a:lnTo>
                    <a:pt x="2283927" y="1256272"/>
                  </a:lnTo>
                  <a:lnTo>
                    <a:pt x="2284188" y="1254010"/>
                  </a:lnTo>
                  <a:lnTo>
                    <a:pt x="2284189" y="1252895"/>
                  </a:lnTo>
                  <a:lnTo>
                    <a:pt x="2283908" y="1251270"/>
                  </a:lnTo>
                  <a:lnTo>
                    <a:pt x="2283475" y="1250343"/>
                  </a:lnTo>
                  <a:lnTo>
                    <a:pt x="2282975" y="1249604"/>
                  </a:lnTo>
                  <a:lnTo>
                    <a:pt x="2282484" y="1248484"/>
                  </a:lnTo>
                  <a:lnTo>
                    <a:pt x="2281836" y="1246005"/>
                  </a:lnTo>
                  <a:lnTo>
                    <a:pt x="2281582" y="1244623"/>
                  </a:lnTo>
                  <a:lnTo>
                    <a:pt x="2281569" y="1243685"/>
                  </a:lnTo>
                  <a:lnTo>
                    <a:pt x="2282110" y="1243168"/>
                  </a:lnTo>
                  <a:lnTo>
                    <a:pt x="2284623" y="1243970"/>
                  </a:lnTo>
                  <a:lnTo>
                    <a:pt x="2284151" y="1243261"/>
                  </a:lnTo>
                  <a:lnTo>
                    <a:pt x="2282737" y="1241798"/>
                  </a:lnTo>
                  <a:lnTo>
                    <a:pt x="2283802" y="1241824"/>
                  </a:lnTo>
                  <a:lnTo>
                    <a:pt x="2284312" y="1241607"/>
                  </a:lnTo>
                  <a:lnTo>
                    <a:pt x="2284787" y="1241002"/>
                  </a:lnTo>
                  <a:lnTo>
                    <a:pt x="2283620" y="1239051"/>
                  </a:lnTo>
                  <a:lnTo>
                    <a:pt x="2283088" y="1237888"/>
                  </a:lnTo>
                  <a:lnTo>
                    <a:pt x="2282559" y="1234593"/>
                  </a:lnTo>
                  <a:lnTo>
                    <a:pt x="2281967" y="1233577"/>
                  </a:lnTo>
                  <a:lnTo>
                    <a:pt x="2281250" y="1233069"/>
                  </a:lnTo>
                  <a:lnTo>
                    <a:pt x="2279630" y="1233021"/>
                  </a:lnTo>
                  <a:lnTo>
                    <a:pt x="2279154" y="1232824"/>
                  </a:lnTo>
                  <a:lnTo>
                    <a:pt x="2278691" y="1232251"/>
                  </a:lnTo>
                  <a:lnTo>
                    <a:pt x="2278482" y="1231539"/>
                  </a:lnTo>
                  <a:lnTo>
                    <a:pt x="2278176" y="1229614"/>
                  </a:lnTo>
                  <a:lnTo>
                    <a:pt x="2278044" y="1229228"/>
                  </a:lnTo>
                  <a:lnTo>
                    <a:pt x="2277907" y="1228979"/>
                  </a:lnTo>
                  <a:lnTo>
                    <a:pt x="2277687" y="1228387"/>
                  </a:lnTo>
                  <a:lnTo>
                    <a:pt x="2277491" y="1227658"/>
                  </a:lnTo>
                  <a:lnTo>
                    <a:pt x="2277422" y="1227013"/>
                  </a:lnTo>
                  <a:lnTo>
                    <a:pt x="2277559" y="1226413"/>
                  </a:lnTo>
                  <a:lnTo>
                    <a:pt x="2277844" y="1226031"/>
                  </a:lnTo>
                  <a:lnTo>
                    <a:pt x="2278523" y="1225501"/>
                  </a:lnTo>
                  <a:lnTo>
                    <a:pt x="2277843" y="1224447"/>
                  </a:lnTo>
                  <a:lnTo>
                    <a:pt x="2276825" y="1222039"/>
                  </a:lnTo>
                  <a:lnTo>
                    <a:pt x="2276162" y="1221107"/>
                  </a:lnTo>
                  <a:lnTo>
                    <a:pt x="2274387" y="1220209"/>
                  </a:lnTo>
                  <a:lnTo>
                    <a:pt x="2274016" y="1219501"/>
                  </a:lnTo>
                  <a:lnTo>
                    <a:pt x="2273943" y="1218715"/>
                  </a:lnTo>
                  <a:lnTo>
                    <a:pt x="2273951" y="1217963"/>
                  </a:lnTo>
                  <a:lnTo>
                    <a:pt x="2273826" y="1217382"/>
                  </a:lnTo>
                  <a:lnTo>
                    <a:pt x="2270715" y="1216744"/>
                  </a:lnTo>
                  <a:lnTo>
                    <a:pt x="2269196" y="1215708"/>
                  </a:lnTo>
                  <a:lnTo>
                    <a:pt x="2269286" y="1213027"/>
                  </a:lnTo>
                  <a:lnTo>
                    <a:pt x="2269070" y="1212969"/>
                  </a:lnTo>
                  <a:lnTo>
                    <a:pt x="2268586" y="1212359"/>
                  </a:lnTo>
                  <a:lnTo>
                    <a:pt x="2269174" y="1210933"/>
                  </a:lnTo>
                  <a:lnTo>
                    <a:pt x="2269999" y="1210788"/>
                  </a:lnTo>
                  <a:lnTo>
                    <a:pt x="2271699" y="1211493"/>
                  </a:lnTo>
                  <a:lnTo>
                    <a:pt x="2271131" y="1210845"/>
                  </a:lnTo>
                  <a:lnTo>
                    <a:pt x="2269626" y="1207891"/>
                  </a:lnTo>
                  <a:lnTo>
                    <a:pt x="2270163" y="1206686"/>
                  </a:lnTo>
                  <a:lnTo>
                    <a:pt x="2269949" y="1206257"/>
                  </a:lnTo>
                  <a:lnTo>
                    <a:pt x="2268059" y="1206276"/>
                  </a:lnTo>
                  <a:lnTo>
                    <a:pt x="2267208" y="1205801"/>
                  </a:lnTo>
                  <a:lnTo>
                    <a:pt x="2266502" y="1204598"/>
                  </a:lnTo>
                  <a:lnTo>
                    <a:pt x="2266178" y="1202318"/>
                  </a:lnTo>
                  <a:lnTo>
                    <a:pt x="2266241" y="1199173"/>
                  </a:lnTo>
                  <a:lnTo>
                    <a:pt x="2266523" y="1195605"/>
                  </a:lnTo>
                  <a:lnTo>
                    <a:pt x="2267016" y="1192501"/>
                  </a:lnTo>
                  <a:lnTo>
                    <a:pt x="2267718" y="1190724"/>
                  </a:lnTo>
                  <a:lnTo>
                    <a:pt x="2267210" y="1189960"/>
                  </a:lnTo>
                  <a:lnTo>
                    <a:pt x="2266770" y="1188925"/>
                  </a:lnTo>
                  <a:lnTo>
                    <a:pt x="2266450" y="1187604"/>
                  </a:lnTo>
                  <a:lnTo>
                    <a:pt x="2266307" y="1185936"/>
                  </a:lnTo>
                  <a:lnTo>
                    <a:pt x="2265940" y="1184979"/>
                  </a:lnTo>
                  <a:lnTo>
                    <a:pt x="2265197" y="1184311"/>
                  </a:lnTo>
                  <a:lnTo>
                    <a:pt x="2264548" y="1183447"/>
                  </a:lnTo>
                  <a:lnTo>
                    <a:pt x="2264461" y="1181884"/>
                  </a:lnTo>
                  <a:lnTo>
                    <a:pt x="2264875" y="1181227"/>
                  </a:lnTo>
                  <a:lnTo>
                    <a:pt x="2265528" y="1181136"/>
                  </a:lnTo>
                  <a:lnTo>
                    <a:pt x="2266183" y="1180651"/>
                  </a:lnTo>
                  <a:lnTo>
                    <a:pt x="2266609" y="1178809"/>
                  </a:lnTo>
                  <a:lnTo>
                    <a:pt x="2266621" y="1176859"/>
                  </a:lnTo>
                  <a:lnTo>
                    <a:pt x="2266311" y="1175813"/>
                  </a:lnTo>
                  <a:lnTo>
                    <a:pt x="2265798" y="1174978"/>
                  </a:lnTo>
                  <a:lnTo>
                    <a:pt x="2265203" y="1173649"/>
                  </a:lnTo>
                  <a:lnTo>
                    <a:pt x="2266402" y="1170219"/>
                  </a:lnTo>
                  <a:lnTo>
                    <a:pt x="2266924" y="1169361"/>
                  </a:lnTo>
                  <a:lnTo>
                    <a:pt x="2267987" y="1168877"/>
                  </a:lnTo>
                  <a:lnTo>
                    <a:pt x="2270192" y="1169301"/>
                  </a:lnTo>
                  <a:lnTo>
                    <a:pt x="2270768" y="1168490"/>
                  </a:lnTo>
                  <a:lnTo>
                    <a:pt x="2270462" y="1168125"/>
                  </a:lnTo>
                  <a:lnTo>
                    <a:pt x="2270220" y="1167436"/>
                  </a:lnTo>
                  <a:lnTo>
                    <a:pt x="2269971" y="1166543"/>
                  </a:lnTo>
                  <a:lnTo>
                    <a:pt x="2269673" y="1166049"/>
                  </a:lnTo>
                  <a:lnTo>
                    <a:pt x="2268880" y="1165849"/>
                  </a:lnTo>
                  <a:lnTo>
                    <a:pt x="2268518" y="1165428"/>
                  </a:lnTo>
                  <a:lnTo>
                    <a:pt x="2268520" y="1163098"/>
                  </a:lnTo>
                  <a:lnTo>
                    <a:pt x="2268195" y="1160213"/>
                  </a:lnTo>
                  <a:lnTo>
                    <a:pt x="2268162" y="1158062"/>
                  </a:lnTo>
                  <a:lnTo>
                    <a:pt x="2269033" y="1157930"/>
                  </a:lnTo>
                  <a:lnTo>
                    <a:pt x="2269018" y="1157197"/>
                  </a:lnTo>
                  <a:lnTo>
                    <a:pt x="2268496" y="1157056"/>
                  </a:lnTo>
                  <a:lnTo>
                    <a:pt x="2268087" y="1156268"/>
                  </a:lnTo>
                  <a:lnTo>
                    <a:pt x="2267909" y="1155025"/>
                  </a:lnTo>
                  <a:lnTo>
                    <a:pt x="2268078" y="1153502"/>
                  </a:lnTo>
                  <a:lnTo>
                    <a:pt x="2267778" y="1152668"/>
                  </a:lnTo>
                  <a:lnTo>
                    <a:pt x="2267808" y="1151784"/>
                  </a:lnTo>
                  <a:lnTo>
                    <a:pt x="2267933" y="1150933"/>
                  </a:lnTo>
                  <a:lnTo>
                    <a:pt x="2267903" y="1150199"/>
                  </a:lnTo>
                  <a:lnTo>
                    <a:pt x="2267386" y="1149144"/>
                  </a:lnTo>
                  <a:lnTo>
                    <a:pt x="2266295" y="1148055"/>
                  </a:lnTo>
                  <a:lnTo>
                    <a:pt x="2265993" y="1146863"/>
                  </a:lnTo>
                  <a:lnTo>
                    <a:pt x="2266300" y="1146844"/>
                  </a:lnTo>
                  <a:lnTo>
                    <a:pt x="2266583" y="1146583"/>
                  </a:lnTo>
                  <a:lnTo>
                    <a:pt x="2266838" y="1146083"/>
                  </a:lnTo>
                  <a:lnTo>
                    <a:pt x="2267055" y="1145363"/>
                  </a:lnTo>
                  <a:lnTo>
                    <a:pt x="2266828" y="1144090"/>
                  </a:lnTo>
                  <a:lnTo>
                    <a:pt x="2266916" y="1143058"/>
                  </a:lnTo>
                  <a:lnTo>
                    <a:pt x="2267392" y="1140840"/>
                  </a:lnTo>
                  <a:lnTo>
                    <a:pt x="2266612" y="1140408"/>
                  </a:lnTo>
                  <a:lnTo>
                    <a:pt x="2266031" y="1139067"/>
                  </a:lnTo>
                  <a:lnTo>
                    <a:pt x="2265033" y="1135351"/>
                  </a:lnTo>
                  <a:lnTo>
                    <a:pt x="2264633" y="1132821"/>
                  </a:lnTo>
                  <a:lnTo>
                    <a:pt x="2264918" y="1130766"/>
                  </a:lnTo>
                  <a:lnTo>
                    <a:pt x="2265576" y="1129225"/>
                  </a:lnTo>
                  <a:lnTo>
                    <a:pt x="2266289" y="1128257"/>
                  </a:lnTo>
                  <a:lnTo>
                    <a:pt x="2265898" y="1127725"/>
                  </a:lnTo>
                  <a:lnTo>
                    <a:pt x="2265698" y="1127539"/>
                  </a:lnTo>
                  <a:lnTo>
                    <a:pt x="2265425" y="1127465"/>
                  </a:lnTo>
                  <a:lnTo>
                    <a:pt x="2266033" y="1125743"/>
                  </a:lnTo>
                  <a:lnTo>
                    <a:pt x="2265523" y="1124387"/>
                  </a:lnTo>
                  <a:lnTo>
                    <a:pt x="2263824" y="1122372"/>
                  </a:lnTo>
                  <a:lnTo>
                    <a:pt x="2264800" y="1122359"/>
                  </a:lnTo>
                  <a:lnTo>
                    <a:pt x="2265266" y="1122125"/>
                  </a:lnTo>
                  <a:lnTo>
                    <a:pt x="2265715" y="1121525"/>
                  </a:lnTo>
                  <a:lnTo>
                    <a:pt x="2265437" y="1121075"/>
                  </a:lnTo>
                  <a:lnTo>
                    <a:pt x="2265209" y="1120523"/>
                  </a:lnTo>
                  <a:lnTo>
                    <a:pt x="2264847" y="1119389"/>
                  </a:lnTo>
                  <a:lnTo>
                    <a:pt x="2265983" y="1118533"/>
                  </a:lnTo>
                  <a:lnTo>
                    <a:pt x="2266598" y="1118323"/>
                  </a:lnTo>
                  <a:lnTo>
                    <a:pt x="2267057" y="1118937"/>
                  </a:lnTo>
                  <a:lnTo>
                    <a:pt x="2267470" y="1119950"/>
                  </a:lnTo>
                  <a:lnTo>
                    <a:pt x="2267977" y="1120572"/>
                  </a:lnTo>
                  <a:lnTo>
                    <a:pt x="2268480" y="1120632"/>
                  </a:lnTo>
                  <a:lnTo>
                    <a:pt x="2268878" y="1119979"/>
                  </a:lnTo>
                  <a:lnTo>
                    <a:pt x="2268381" y="1118580"/>
                  </a:lnTo>
                  <a:lnTo>
                    <a:pt x="2266975" y="1116297"/>
                  </a:lnTo>
                  <a:lnTo>
                    <a:pt x="2265617" y="1114656"/>
                  </a:lnTo>
                  <a:lnTo>
                    <a:pt x="2263028" y="1113487"/>
                  </a:lnTo>
                  <a:lnTo>
                    <a:pt x="2264235" y="1110599"/>
                  </a:lnTo>
                  <a:lnTo>
                    <a:pt x="2264061" y="1109705"/>
                  </a:lnTo>
                  <a:lnTo>
                    <a:pt x="2263122" y="1108157"/>
                  </a:lnTo>
                  <a:lnTo>
                    <a:pt x="2263616" y="1107743"/>
                  </a:lnTo>
                  <a:lnTo>
                    <a:pt x="2264613" y="1107354"/>
                  </a:lnTo>
                  <a:lnTo>
                    <a:pt x="2265025" y="1106648"/>
                  </a:lnTo>
                  <a:lnTo>
                    <a:pt x="2264780" y="1106387"/>
                  </a:lnTo>
                  <a:lnTo>
                    <a:pt x="2264139" y="1105246"/>
                  </a:lnTo>
                  <a:lnTo>
                    <a:pt x="2264789" y="1103746"/>
                  </a:lnTo>
                  <a:lnTo>
                    <a:pt x="2265513" y="1103272"/>
                  </a:lnTo>
                  <a:lnTo>
                    <a:pt x="2267240" y="1102961"/>
                  </a:lnTo>
                  <a:lnTo>
                    <a:pt x="2271313" y="1098928"/>
                  </a:lnTo>
                  <a:lnTo>
                    <a:pt x="2271749" y="1098693"/>
                  </a:lnTo>
                  <a:lnTo>
                    <a:pt x="2272369" y="1098653"/>
                  </a:lnTo>
                  <a:lnTo>
                    <a:pt x="2272979" y="1098877"/>
                  </a:lnTo>
                  <a:lnTo>
                    <a:pt x="2273378" y="1099434"/>
                  </a:lnTo>
                  <a:lnTo>
                    <a:pt x="2273620" y="1100232"/>
                  </a:lnTo>
                  <a:lnTo>
                    <a:pt x="2273892" y="1100951"/>
                  </a:lnTo>
                  <a:lnTo>
                    <a:pt x="2274204" y="1101279"/>
                  </a:lnTo>
                  <a:lnTo>
                    <a:pt x="2275562" y="1099533"/>
                  </a:lnTo>
                  <a:lnTo>
                    <a:pt x="2276511" y="1099457"/>
                  </a:lnTo>
                  <a:lnTo>
                    <a:pt x="2277494" y="1100348"/>
                  </a:lnTo>
                  <a:lnTo>
                    <a:pt x="2282544" y="1107697"/>
                  </a:lnTo>
                  <a:lnTo>
                    <a:pt x="2284664" y="1109835"/>
                  </a:lnTo>
                  <a:lnTo>
                    <a:pt x="2291448" y="1111986"/>
                  </a:lnTo>
                  <a:lnTo>
                    <a:pt x="2297012" y="1111058"/>
                  </a:lnTo>
                  <a:lnTo>
                    <a:pt x="2294976" y="1107950"/>
                  </a:lnTo>
                  <a:lnTo>
                    <a:pt x="2290170" y="1107390"/>
                  </a:lnTo>
                  <a:lnTo>
                    <a:pt x="2287944" y="1105416"/>
                  </a:lnTo>
                  <a:lnTo>
                    <a:pt x="2287430" y="1104530"/>
                  </a:lnTo>
                  <a:lnTo>
                    <a:pt x="2285494" y="1102081"/>
                  </a:lnTo>
                  <a:lnTo>
                    <a:pt x="2284833" y="1100625"/>
                  </a:lnTo>
                  <a:lnTo>
                    <a:pt x="2284485" y="1100060"/>
                  </a:lnTo>
                  <a:lnTo>
                    <a:pt x="2282695" y="1098197"/>
                  </a:lnTo>
                  <a:lnTo>
                    <a:pt x="2281851" y="1096642"/>
                  </a:lnTo>
                  <a:lnTo>
                    <a:pt x="2281312" y="1094350"/>
                  </a:lnTo>
                  <a:lnTo>
                    <a:pt x="2286079" y="1092055"/>
                  </a:lnTo>
                  <a:lnTo>
                    <a:pt x="2286055" y="1091247"/>
                  </a:lnTo>
                  <a:lnTo>
                    <a:pt x="2285359" y="1090870"/>
                  </a:lnTo>
                  <a:lnTo>
                    <a:pt x="2283993" y="1089460"/>
                  </a:lnTo>
                  <a:lnTo>
                    <a:pt x="2283247" y="1089171"/>
                  </a:lnTo>
                  <a:lnTo>
                    <a:pt x="2282305" y="1089648"/>
                  </a:lnTo>
                  <a:lnTo>
                    <a:pt x="2281418" y="1090702"/>
                  </a:lnTo>
                  <a:lnTo>
                    <a:pt x="2281234" y="1091233"/>
                  </a:lnTo>
                  <a:lnTo>
                    <a:pt x="2281015" y="1092546"/>
                  </a:lnTo>
                  <a:lnTo>
                    <a:pt x="2280856" y="1092944"/>
                  </a:lnTo>
                  <a:lnTo>
                    <a:pt x="2280065" y="1092943"/>
                  </a:lnTo>
                  <a:lnTo>
                    <a:pt x="2278611" y="1090591"/>
                  </a:lnTo>
                  <a:lnTo>
                    <a:pt x="2277178" y="1089619"/>
                  </a:lnTo>
                  <a:lnTo>
                    <a:pt x="2276340" y="1088659"/>
                  </a:lnTo>
                  <a:lnTo>
                    <a:pt x="2275533" y="1087384"/>
                  </a:lnTo>
                  <a:lnTo>
                    <a:pt x="2274938" y="1086046"/>
                  </a:lnTo>
                  <a:lnTo>
                    <a:pt x="2274465" y="1083292"/>
                  </a:lnTo>
                  <a:lnTo>
                    <a:pt x="2274490" y="1080115"/>
                  </a:lnTo>
                  <a:lnTo>
                    <a:pt x="2274854" y="1077178"/>
                  </a:lnTo>
                  <a:lnTo>
                    <a:pt x="2275400" y="1075159"/>
                  </a:lnTo>
                  <a:lnTo>
                    <a:pt x="2276701" y="1073201"/>
                  </a:lnTo>
                  <a:lnTo>
                    <a:pt x="2282899" y="1071208"/>
                  </a:lnTo>
                  <a:lnTo>
                    <a:pt x="2285692" y="1068857"/>
                  </a:lnTo>
                  <a:lnTo>
                    <a:pt x="2288289" y="1067784"/>
                  </a:lnTo>
                  <a:lnTo>
                    <a:pt x="2289542" y="1066658"/>
                  </a:lnTo>
                  <a:lnTo>
                    <a:pt x="2291764" y="1063232"/>
                  </a:lnTo>
                  <a:lnTo>
                    <a:pt x="2292299" y="1062817"/>
                  </a:lnTo>
                  <a:lnTo>
                    <a:pt x="2294359" y="1063552"/>
                  </a:lnTo>
                  <a:lnTo>
                    <a:pt x="2300068" y="1062958"/>
                  </a:lnTo>
                  <a:lnTo>
                    <a:pt x="2300815" y="1062515"/>
                  </a:lnTo>
                  <a:lnTo>
                    <a:pt x="2301134" y="1061880"/>
                  </a:lnTo>
                  <a:lnTo>
                    <a:pt x="2301584" y="1060188"/>
                  </a:lnTo>
                  <a:lnTo>
                    <a:pt x="2301927" y="1059503"/>
                  </a:lnTo>
                  <a:lnTo>
                    <a:pt x="2302568" y="1059094"/>
                  </a:lnTo>
                  <a:lnTo>
                    <a:pt x="2316154" y="1057670"/>
                  </a:lnTo>
                  <a:lnTo>
                    <a:pt x="2317289" y="1058807"/>
                  </a:lnTo>
                  <a:lnTo>
                    <a:pt x="2319205" y="1063190"/>
                  </a:lnTo>
                  <a:lnTo>
                    <a:pt x="2320260" y="1064219"/>
                  </a:lnTo>
                  <a:lnTo>
                    <a:pt x="2321346" y="1064264"/>
                  </a:lnTo>
                  <a:lnTo>
                    <a:pt x="2322256" y="1063061"/>
                  </a:lnTo>
                  <a:lnTo>
                    <a:pt x="2321463" y="1062366"/>
                  </a:lnTo>
                  <a:lnTo>
                    <a:pt x="2321290" y="1061021"/>
                  </a:lnTo>
                  <a:lnTo>
                    <a:pt x="2321224" y="1059406"/>
                  </a:lnTo>
                  <a:lnTo>
                    <a:pt x="2320761" y="1057943"/>
                  </a:lnTo>
                  <a:lnTo>
                    <a:pt x="2321701" y="1055152"/>
                  </a:lnTo>
                  <a:lnTo>
                    <a:pt x="2323494" y="1053759"/>
                  </a:lnTo>
                  <a:lnTo>
                    <a:pt x="2329623" y="1052885"/>
                  </a:lnTo>
                  <a:close/>
                  <a:moveTo>
                    <a:pt x="2694263" y="1048979"/>
                  </a:moveTo>
                  <a:lnTo>
                    <a:pt x="2696183" y="1049798"/>
                  </a:lnTo>
                  <a:lnTo>
                    <a:pt x="2697378" y="1051499"/>
                  </a:lnTo>
                  <a:lnTo>
                    <a:pt x="2697890" y="1053727"/>
                  </a:lnTo>
                  <a:lnTo>
                    <a:pt x="2698148" y="1054311"/>
                  </a:lnTo>
                  <a:lnTo>
                    <a:pt x="2698811" y="1055397"/>
                  </a:lnTo>
                  <a:lnTo>
                    <a:pt x="2699547" y="1056436"/>
                  </a:lnTo>
                  <a:lnTo>
                    <a:pt x="2700180" y="1057072"/>
                  </a:lnTo>
                  <a:lnTo>
                    <a:pt x="2702712" y="1058748"/>
                  </a:lnTo>
                  <a:lnTo>
                    <a:pt x="2706430" y="1062671"/>
                  </a:lnTo>
                  <a:lnTo>
                    <a:pt x="2707062" y="1063554"/>
                  </a:lnTo>
                  <a:lnTo>
                    <a:pt x="2708091" y="1065322"/>
                  </a:lnTo>
                  <a:lnTo>
                    <a:pt x="2709090" y="1067587"/>
                  </a:lnTo>
                  <a:lnTo>
                    <a:pt x="2709861" y="1069919"/>
                  </a:lnTo>
                  <a:lnTo>
                    <a:pt x="2710090" y="1070519"/>
                  </a:lnTo>
                  <a:lnTo>
                    <a:pt x="2710316" y="1070773"/>
                  </a:lnTo>
                  <a:lnTo>
                    <a:pt x="2710514" y="1070928"/>
                  </a:lnTo>
                  <a:lnTo>
                    <a:pt x="2710675" y="1071257"/>
                  </a:lnTo>
                  <a:lnTo>
                    <a:pt x="2710761" y="1071711"/>
                  </a:lnTo>
                  <a:lnTo>
                    <a:pt x="2710940" y="1072932"/>
                  </a:lnTo>
                  <a:lnTo>
                    <a:pt x="2710944" y="1073099"/>
                  </a:lnTo>
                  <a:lnTo>
                    <a:pt x="2712109" y="1076118"/>
                  </a:lnTo>
                  <a:lnTo>
                    <a:pt x="2712498" y="1076924"/>
                  </a:lnTo>
                  <a:lnTo>
                    <a:pt x="2712950" y="1078180"/>
                  </a:lnTo>
                  <a:lnTo>
                    <a:pt x="2714253" y="1082841"/>
                  </a:lnTo>
                  <a:lnTo>
                    <a:pt x="2714613" y="1084509"/>
                  </a:lnTo>
                  <a:lnTo>
                    <a:pt x="2714550" y="1087185"/>
                  </a:lnTo>
                  <a:lnTo>
                    <a:pt x="2714469" y="1087682"/>
                  </a:lnTo>
                  <a:lnTo>
                    <a:pt x="2714534" y="1088227"/>
                  </a:lnTo>
                  <a:lnTo>
                    <a:pt x="2715311" y="1091239"/>
                  </a:lnTo>
                  <a:lnTo>
                    <a:pt x="2717027" y="1093962"/>
                  </a:lnTo>
                  <a:lnTo>
                    <a:pt x="2719165" y="1095385"/>
                  </a:lnTo>
                  <a:lnTo>
                    <a:pt x="2736360" y="1099624"/>
                  </a:lnTo>
                  <a:lnTo>
                    <a:pt x="2737347" y="1100460"/>
                  </a:lnTo>
                  <a:lnTo>
                    <a:pt x="2739763" y="1103797"/>
                  </a:lnTo>
                  <a:lnTo>
                    <a:pt x="2741379" y="1106753"/>
                  </a:lnTo>
                  <a:lnTo>
                    <a:pt x="2741453" y="1109631"/>
                  </a:lnTo>
                  <a:lnTo>
                    <a:pt x="2741352" y="1112216"/>
                  </a:lnTo>
                  <a:lnTo>
                    <a:pt x="2742431" y="1114250"/>
                  </a:lnTo>
                  <a:lnTo>
                    <a:pt x="2742242" y="1115822"/>
                  </a:lnTo>
                  <a:lnTo>
                    <a:pt x="2741416" y="1117900"/>
                  </a:lnTo>
                  <a:lnTo>
                    <a:pt x="2741471" y="1119957"/>
                  </a:lnTo>
                  <a:lnTo>
                    <a:pt x="2741971" y="1120527"/>
                  </a:lnTo>
                  <a:lnTo>
                    <a:pt x="2742490" y="1121463"/>
                  </a:lnTo>
                  <a:lnTo>
                    <a:pt x="2742899" y="1122579"/>
                  </a:lnTo>
                  <a:lnTo>
                    <a:pt x="2743083" y="1123727"/>
                  </a:lnTo>
                  <a:lnTo>
                    <a:pt x="2743414" y="1125015"/>
                  </a:lnTo>
                  <a:lnTo>
                    <a:pt x="2744110" y="1125850"/>
                  </a:lnTo>
                  <a:lnTo>
                    <a:pt x="2745403" y="1126688"/>
                  </a:lnTo>
                  <a:lnTo>
                    <a:pt x="2746801" y="1128235"/>
                  </a:lnTo>
                  <a:lnTo>
                    <a:pt x="2748849" y="1131683"/>
                  </a:lnTo>
                  <a:lnTo>
                    <a:pt x="2750120" y="1133125"/>
                  </a:lnTo>
                  <a:lnTo>
                    <a:pt x="2751919" y="1134047"/>
                  </a:lnTo>
                  <a:lnTo>
                    <a:pt x="2755168" y="1134268"/>
                  </a:lnTo>
                  <a:lnTo>
                    <a:pt x="2756902" y="1135167"/>
                  </a:lnTo>
                  <a:lnTo>
                    <a:pt x="2757487" y="1135813"/>
                  </a:lnTo>
                  <a:lnTo>
                    <a:pt x="2759204" y="1138474"/>
                  </a:lnTo>
                  <a:lnTo>
                    <a:pt x="2759717" y="1139539"/>
                  </a:lnTo>
                  <a:lnTo>
                    <a:pt x="2760187" y="1140643"/>
                  </a:lnTo>
                  <a:lnTo>
                    <a:pt x="2760677" y="1141457"/>
                  </a:lnTo>
                  <a:lnTo>
                    <a:pt x="2761260" y="1141704"/>
                  </a:lnTo>
                  <a:lnTo>
                    <a:pt x="2760898" y="1143225"/>
                  </a:lnTo>
                  <a:lnTo>
                    <a:pt x="2760105" y="1144416"/>
                  </a:lnTo>
                  <a:lnTo>
                    <a:pt x="2758325" y="1145637"/>
                  </a:lnTo>
                  <a:lnTo>
                    <a:pt x="2758085" y="1146004"/>
                  </a:lnTo>
                  <a:lnTo>
                    <a:pt x="2757523" y="1148164"/>
                  </a:lnTo>
                  <a:lnTo>
                    <a:pt x="2756557" y="1149742"/>
                  </a:lnTo>
                  <a:lnTo>
                    <a:pt x="2756410" y="1150387"/>
                  </a:lnTo>
                  <a:lnTo>
                    <a:pt x="2756306" y="1151846"/>
                  </a:lnTo>
                  <a:lnTo>
                    <a:pt x="2756055" y="1153288"/>
                  </a:lnTo>
                  <a:lnTo>
                    <a:pt x="2755661" y="1154416"/>
                  </a:lnTo>
                  <a:lnTo>
                    <a:pt x="2755139" y="1154962"/>
                  </a:lnTo>
                  <a:lnTo>
                    <a:pt x="2754647" y="1155894"/>
                  </a:lnTo>
                  <a:lnTo>
                    <a:pt x="2755299" y="1157603"/>
                  </a:lnTo>
                  <a:lnTo>
                    <a:pt x="2757061" y="1160673"/>
                  </a:lnTo>
                  <a:lnTo>
                    <a:pt x="2751243" y="1168357"/>
                  </a:lnTo>
                  <a:lnTo>
                    <a:pt x="2748402" y="1175890"/>
                  </a:lnTo>
                  <a:lnTo>
                    <a:pt x="2747078" y="1177120"/>
                  </a:lnTo>
                  <a:lnTo>
                    <a:pt x="2746401" y="1178740"/>
                  </a:lnTo>
                  <a:lnTo>
                    <a:pt x="2745912" y="1185255"/>
                  </a:lnTo>
                  <a:lnTo>
                    <a:pt x="2745013" y="1186930"/>
                  </a:lnTo>
                  <a:lnTo>
                    <a:pt x="2744949" y="1187176"/>
                  </a:lnTo>
                  <a:lnTo>
                    <a:pt x="2744943" y="1188833"/>
                  </a:lnTo>
                  <a:lnTo>
                    <a:pt x="2744732" y="1189765"/>
                  </a:lnTo>
                  <a:lnTo>
                    <a:pt x="2744302" y="1190058"/>
                  </a:lnTo>
                  <a:lnTo>
                    <a:pt x="2743796" y="1190131"/>
                  </a:lnTo>
                  <a:lnTo>
                    <a:pt x="2743365" y="1190423"/>
                  </a:lnTo>
                  <a:lnTo>
                    <a:pt x="2743050" y="1191148"/>
                  </a:lnTo>
                  <a:lnTo>
                    <a:pt x="2742963" y="1192117"/>
                  </a:lnTo>
                  <a:lnTo>
                    <a:pt x="2743193" y="1193362"/>
                  </a:lnTo>
                  <a:lnTo>
                    <a:pt x="2743827" y="1194917"/>
                  </a:lnTo>
                  <a:lnTo>
                    <a:pt x="2743572" y="1196573"/>
                  </a:lnTo>
                  <a:lnTo>
                    <a:pt x="2742945" y="1197509"/>
                  </a:lnTo>
                  <a:lnTo>
                    <a:pt x="2741321" y="1198677"/>
                  </a:lnTo>
                  <a:lnTo>
                    <a:pt x="2739137" y="1202995"/>
                  </a:lnTo>
                  <a:lnTo>
                    <a:pt x="2741414" y="1202302"/>
                  </a:lnTo>
                  <a:lnTo>
                    <a:pt x="2743236" y="1200115"/>
                  </a:lnTo>
                  <a:lnTo>
                    <a:pt x="2749636" y="1178759"/>
                  </a:lnTo>
                  <a:lnTo>
                    <a:pt x="2750183" y="1178032"/>
                  </a:lnTo>
                  <a:lnTo>
                    <a:pt x="2751680" y="1177580"/>
                  </a:lnTo>
                  <a:lnTo>
                    <a:pt x="2752277" y="1176889"/>
                  </a:lnTo>
                  <a:lnTo>
                    <a:pt x="2753348" y="1174296"/>
                  </a:lnTo>
                  <a:lnTo>
                    <a:pt x="2757981" y="1167644"/>
                  </a:lnTo>
                  <a:lnTo>
                    <a:pt x="2758598" y="1167587"/>
                  </a:lnTo>
                  <a:lnTo>
                    <a:pt x="2759304" y="1168037"/>
                  </a:lnTo>
                  <a:lnTo>
                    <a:pt x="2760064" y="1169111"/>
                  </a:lnTo>
                  <a:lnTo>
                    <a:pt x="2760437" y="1170004"/>
                  </a:lnTo>
                  <a:lnTo>
                    <a:pt x="2761141" y="1172170"/>
                  </a:lnTo>
                  <a:lnTo>
                    <a:pt x="2761501" y="1172969"/>
                  </a:lnTo>
                  <a:lnTo>
                    <a:pt x="2761844" y="1174007"/>
                  </a:lnTo>
                  <a:lnTo>
                    <a:pt x="2761928" y="1175292"/>
                  </a:lnTo>
                  <a:lnTo>
                    <a:pt x="2761816" y="1177500"/>
                  </a:lnTo>
                  <a:lnTo>
                    <a:pt x="2761967" y="1178488"/>
                  </a:lnTo>
                  <a:lnTo>
                    <a:pt x="2762359" y="1179582"/>
                  </a:lnTo>
                  <a:lnTo>
                    <a:pt x="2762832" y="1180599"/>
                  </a:lnTo>
                  <a:lnTo>
                    <a:pt x="2763231" y="1181360"/>
                  </a:lnTo>
                  <a:lnTo>
                    <a:pt x="2761387" y="1182613"/>
                  </a:lnTo>
                  <a:lnTo>
                    <a:pt x="2759902" y="1184893"/>
                  </a:lnTo>
                  <a:lnTo>
                    <a:pt x="2757625" y="1190979"/>
                  </a:lnTo>
                  <a:lnTo>
                    <a:pt x="2756457" y="1196749"/>
                  </a:lnTo>
                  <a:lnTo>
                    <a:pt x="2756511" y="1200120"/>
                  </a:lnTo>
                  <a:lnTo>
                    <a:pt x="2757812" y="1202147"/>
                  </a:lnTo>
                  <a:lnTo>
                    <a:pt x="2757060" y="1203464"/>
                  </a:lnTo>
                  <a:lnTo>
                    <a:pt x="2753556" y="1203950"/>
                  </a:lnTo>
                  <a:lnTo>
                    <a:pt x="2762186" y="1208704"/>
                  </a:lnTo>
                  <a:lnTo>
                    <a:pt x="2762947" y="1208538"/>
                  </a:lnTo>
                  <a:lnTo>
                    <a:pt x="2763740" y="1208904"/>
                  </a:lnTo>
                  <a:lnTo>
                    <a:pt x="2765425" y="1210169"/>
                  </a:lnTo>
                  <a:lnTo>
                    <a:pt x="2767641" y="1210799"/>
                  </a:lnTo>
                  <a:lnTo>
                    <a:pt x="2769694" y="1212364"/>
                  </a:lnTo>
                  <a:lnTo>
                    <a:pt x="2770124" y="1213278"/>
                  </a:lnTo>
                  <a:lnTo>
                    <a:pt x="2770039" y="1214764"/>
                  </a:lnTo>
                  <a:lnTo>
                    <a:pt x="2769505" y="1215564"/>
                  </a:lnTo>
                  <a:lnTo>
                    <a:pt x="2766412" y="1215014"/>
                  </a:lnTo>
                  <a:lnTo>
                    <a:pt x="2763296" y="1212623"/>
                  </a:lnTo>
                  <a:lnTo>
                    <a:pt x="2754872" y="1215973"/>
                  </a:lnTo>
                  <a:lnTo>
                    <a:pt x="2755281" y="1216244"/>
                  </a:lnTo>
                  <a:lnTo>
                    <a:pt x="2755694" y="1216642"/>
                  </a:lnTo>
                  <a:lnTo>
                    <a:pt x="2756115" y="1217170"/>
                  </a:lnTo>
                  <a:lnTo>
                    <a:pt x="2756558" y="1217849"/>
                  </a:lnTo>
                  <a:lnTo>
                    <a:pt x="2756044" y="1218805"/>
                  </a:lnTo>
                  <a:lnTo>
                    <a:pt x="2754015" y="1220796"/>
                  </a:lnTo>
                  <a:lnTo>
                    <a:pt x="2755490" y="1221701"/>
                  </a:lnTo>
                  <a:lnTo>
                    <a:pt x="2757204" y="1221831"/>
                  </a:lnTo>
                  <a:lnTo>
                    <a:pt x="2758789" y="1221319"/>
                  </a:lnTo>
                  <a:lnTo>
                    <a:pt x="2761992" y="1218546"/>
                  </a:lnTo>
                  <a:lnTo>
                    <a:pt x="2763344" y="1219103"/>
                  </a:lnTo>
                  <a:lnTo>
                    <a:pt x="2764367" y="1222050"/>
                  </a:lnTo>
                  <a:lnTo>
                    <a:pt x="2764268" y="1222392"/>
                  </a:lnTo>
                  <a:lnTo>
                    <a:pt x="2763955" y="1222464"/>
                  </a:lnTo>
                  <a:lnTo>
                    <a:pt x="2763740" y="1222831"/>
                  </a:lnTo>
                  <a:lnTo>
                    <a:pt x="2763931" y="1224046"/>
                  </a:lnTo>
                  <a:lnTo>
                    <a:pt x="2764147" y="1224705"/>
                  </a:lnTo>
                  <a:lnTo>
                    <a:pt x="2764587" y="1225673"/>
                  </a:lnTo>
                  <a:lnTo>
                    <a:pt x="2764773" y="1226206"/>
                  </a:lnTo>
                  <a:lnTo>
                    <a:pt x="2765082" y="1227579"/>
                  </a:lnTo>
                  <a:lnTo>
                    <a:pt x="2765196" y="1228639"/>
                  </a:lnTo>
                  <a:lnTo>
                    <a:pt x="2765142" y="1230687"/>
                  </a:lnTo>
                  <a:lnTo>
                    <a:pt x="2764505" y="1232543"/>
                  </a:lnTo>
                  <a:lnTo>
                    <a:pt x="2762185" y="1234894"/>
                  </a:lnTo>
                  <a:lnTo>
                    <a:pt x="2761972" y="1237265"/>
                  </a:lnTo>
                  <a:lnTo>
                    <a:pt x="2766387" y="1233902"/>
                  </a:lnTo>
                  <a:lnTo>
                    <a:pt x="2767835" y="1230223"/>
                  </a:lnTo>
                  <a:lnTo>
                    <a:pt x="2766678" y="1225295"/>
                  </a:lnTo>
                  <a:lnTo>
                    <a:pt x="2769100" y="1221995"/>
                  </a:lnTo>
                  <a:lnTo>
                    <a:pt x="2772065" y="1220509"/>
                  </a:lnTo>
                  <a:lnTo>
                    <a:pt x="2772624" y="1219889"/>
                  </a:lnTo>
                  <a:lnTo>
                    <a:pt x="2773301" y="1218348"/>
                  </a:lnTo>
                  <a:lnTo>
                    <a:pt x="2775004" y="1217209"/>
                  </a:lnTo>
                  <a:lnTo>
                    <a:pt x="2776586" y="1215191"/>
                  </a:lnTo>
                  <a:lnTo>
                    <a:pt x="2777253" y="1212217"/>
                  </a:lnTo>
                  <a:lnTo>
                    <a:pt x="2775832" y="1208533"/>
                  </a:lnTo>
                  <a:lnTo>
                    <a:pt x="2774733" y="1207436"/>
                  </a:lnTo>
                  <a:lnTo>
                    <a:pt x="2772522" y="1206147"/>
                  </a:lnTo>
                  <a:lnTo>
                    <a:pt x="2771336" y="1204759"/>
                  </a:lnTo>
                  <a:lnTo>
                    <a:pt x="2769999" y="1202209"/>
                  </a:lnTo>
                  <a:lnTo>
                    <a:pt x="2769910" y="1200883"/>
                  </a:lnTo>
                  <a:lnTo>
                    <a:pt x="2770600" y="1200329"/>
                  </a:lnTo>
                  <a:lnTo>
                    <a:pt x="2771588" y="1200070"/>
                  </a:lnTo>
                  <a:lnTo>
                    <a:pt x="2772118" y="1200287"/>
                  </a:lnTo>
                  <a:lnTo>
                    <a:pt x="2773345" y="1201553"/>
                  </a:lnTo>
                  <a:lnTo>
                    <a:pt x="2773939" y="1201757"/>
                  </a:lnTo>
                  <a:lnTo>
                    <a:pt x="2774342" y="1201508"/>
                  </a:lnTo>
                  <a:lnTo>
                    <a:pt x="2774683" y="1201054"/>
                  </a:lnTo>
                  <a:lnTo>
                    <a:pt x="2775172" y="1199811"/>
                  </a:lnTo>
                  <a:lnTo>
                    <a:pt x="2775236" y="1199088"/>
                  </a:lnTo>
                  <a:lnTo>
                    <a:pt x="2775162" y="1198368"/>
                  </a:lnTo>
                  <a:lnTo>
                    <a:pt x="2775178" y="1197799"/>
                  </a:lnTo>
                  <a:lnTo>
                    <a:pt x="2775500" y="1197482"/>
                  </a:lnTo>
                  <a:lnTo>
                    <a:pt x="2775976" y="1197566"/>
                  </a:lnTo>
                  <a:lnTo>
                    <a:pt x="2776441" y="1197772"/>
                  </a:lnTo>
                  <a:lnTo>
                    <a:pt x="2776825" y="1197732"/>
                  </a:lnTo>
                  <a:lnTo>
                    <a:pt x="2777049" y="1197066"/>
                  </a:lnTo>
                  <a:lnTo>
                    <a:pt x="2775300" y="1195121"/>
                  </a:lnTo>
                  <a:lnTo>
                    <a:pt x="2773432" y="1192646"/>
                  </a:lnTo>
                  <a:lnTo>
                    <a:pt x="2773266" y="1189173"/>
                  </a:lnTo>
                  <a:lnTo>
                    <a:pt x="2774165" y="1187654"/>
                  </a:lnTo>
                  <a:lnTo>
                    <a:pt x="2775675" y="1187688"/>
                  </a:lnTo>
                  <a:lnTo>
                    <a:pt x="2777343" y="1188864"/>
                  </a:lnTo>
                  <a:lnTo>
                    <a:pt x="2782410" y="1195229"/>
                  </a:lnTo>
                  <a:lnTo>
                    <a:pt x="2784049" y="1196171"/>
                  </a:lnTo>
                  <a:lnTo>
                    <a:pt x="2784954" y="1197395"/>
                  </a:lnTo>
                  <a:lnTo>
                    <a:pt x="2785341" y="1197842"/>
                  </a:lnTo>
                  <a:lnTo>
                    <a:pt x="2785807" y="1198064"/>
                  </a:lnTo>
                  <a:lnTo>
                    <a:pt x="2786726" y="1198254"/>
                  </a:lnTo>
                  <a:lnTo>
                    <a:pt x="2788080" y="1199124"/>
                  </a:lnTo>
                  <a:lnTo>
                    <a:pt x="2797608" y="1200701"/>
                  </a:lnTo>
                  <a:lnTo>
                    <a:pt x="2796383" y="1198831"/>
                  </a:lnTo>
                  <a:lnTo>
                    <a:pt x="2794934" y="1198060"/>
                  </a:lnTo>
                  <a:lnTo>
                    <a:pt x="2791208" y="1198084"/>
                  </a:lnTo>
                  <a:lnTo>
                    <a:pt x="2787369" y="1195805"/>
                  </a:lnTo>
                  <a:lnTo>
                    <a:pt x="2782520" y="1191402"/>
                  </a:lnTo>
                  <a:lnTo>
                    <a:pt x="2781891" y="1190570"/>
                  </a:lnTo>
                  <a:lnTo>
                    <a:pt x="2780517" y="1188417"/>
                  </a:lnTo>
                  <a:lnTo>
                    <a:pt x="2776715" y="1185726"/>
                  </a:lnTo>
                  <a:lnTo>
                    <a:pt x="2775801" y="1184227"/>
                  </a:lnTo>
                  <a:lnTo>
                    <a:pt x="2775707" y="1182736"/>
                  </a:lnTo>
                  <a:lnTo>
                    <a:pt x="2777534" y="1175672"/>
                  </a:lnTo>
                  <a:lnTo>
                    <a:pt x="2781081" y="1173377"/>
                  </a:lnTo>
                  <a:lnTo>
                    <a:pt x="2782150" y="1170926"/>
                  </a:lnTo>
                  <a:lnTo>
                    <a:pt x="2782062" y="1168870"/>
                  </a:lnTo>
                  <a:lnTo>
                    <a:pt x="2781525" y="1167265"/>
                  </a:lnTo>
                  <a:lnTo>
                    <a:pt x="2780883" y="1165837"/>
                  </a:lnTo>
                  <a:lnTo>
                    <a:pt x="2780480" y="1164296"/>
                  </a:lnTo>
                  <a:lnTo>
                    <a:pt x="2780726" y="1162875"/>
                  </a:lnTo>
                  <a:lnTo>
                    <a:pt x="2781586" y="1162293"/>
                  </a:lnTo>
                  <a:lnTo>
                    <a:pt x="2782653" y="1162319"/>
                  </a:lnTo>
                  <a:lnTo>
                    <a:pt x="2783534" y="1162747"/>
                  </a:lnTo>
                  <a:lnTo>
                    <a:pt x="2783406" y="1164039"/>
                  </a:lnTo>
                  <a:lnTo>
                    <a:pt x="2783298" y="1164359"/>
                  </a:lnTo>
                  <a:lnTo>
                    <a:pt x="2783894" y="1164953"/>
                  </a:lnTo>
                  <a:lnTo>
                    <a:pt x="2784308" y="1164963"/>
                  </a:lnTo>
                  <a:lnTo>
                    <a:pt x="2784547" y="1164482"/>
                  </a:lnTo>
                  <a:lnTo>
                    <a:pt x="2784599" y="1163574"/>
                  </a:lnTo>
                  <a:lnTo>
                    <a:pt x="2784855" y="1163347"/>
                  </a:lnTo>
                  <a:lnTo>
                    <a:pt x="2785472" y="1163691"/>
                  </a:lnTo>
                  <a:lnTo>
                    <a:pt x="2786192" y="1164328"/>
                  </a:lnTo>
                  <a:lnTo>
                    <a:pt x="2786740" y="1164949"/>
                  </a:lnTo>
                  <a:lnTo>
                    <a:pt x="2786444" y="1166399"/>
                  </a:lnTo>
                  <a:lnTo>
                    <a:pt x="2785780" y="1167772"/>
                  </a:lnTo>
                  <a:lnTo>
                    <a:pt x="2785362" y="1169352"/>
                  </a:lnTo>
                  <a:lnTo>
                    <a:pt x="2785797" y="1171389"/>
                  </a:lnTo>
                  <a:lnTo>
                    <a:pt x="2786849" y="1172709"/>
                  </a:lnTo>
                  <a:lnTo>
                    <a:pt x="2790772" y="1174711"/>
                  </a:lnTo>
                  <a:lnTo>
                    <a:pt x="2790711" y="1175143"/>
                  </a:lnTo>
                  <a:lnTo>
                    <a:pt x="2790712" y="1175566"/>
                  </a:lnTo>
                  <a:lnTo>
                    <a:pt x="2790732" y="1175952"/>
                  </a:lnTo>
                  <a:lnTo>
                    <a:pt x="2790732" y="1176270"/>
                  </a:lnTo>
                  <a:lnTo>
                    <a:pt x="2791481" y="1176129"/>
                  </a:lnTo>
                  <a:lnTo>
                    <a:pt x="2792215" y="1176564"/>
                  </a:lnTo>
                  <a:lnTo>
                    <a:pt x="2792970" y="1177205"/>
                  </a:lnTo>
                  <a:lnTo>
                    <a:pt x="2793771" y="1177672"/>
                  </a:lnTo>
                  <a:lnTo>
                    <a:pt x="2793615" y="1178872"/>
                  </a:lnTo>
                  <a:lnTo>
                    <a:pt x="2793716" y="1181202"/>
                  </a:lnTo>
                  <a:lnTo>
                    <a:pt x="2793695" y="1182332"/>
                  </a:lnTo>
                  <a:lnTo>
                    <a:pt x="2793380" y="1183600"/>
                  </a:lnTo>
                  <a:lnTo>
                    <a:pt x="2791378" y="1186671"/>
                  </a:lnTo>
                  <a:lnTo>
                    <a:pt x="2791020" y="1187669"/>
                  </a:lnTo>
                  <a:lnTo>
                    <a:pt x="2790813" y="1188886"/>
                  </a:lnTo>
                  <a:lnTo>
                    <a:pt x="2790964" y="1190184"/>
                  </a:lnTo>
                  <a:lnTo>
                    <a:pt x="2791789" y="1191599"/>
                  </a:lnTo>
                  <a:lnTo>
                    <a:pt x="2792767" y="1191921"/>
                  </a:lnTo>
                  <a:lnTo>
                    <a:pt x="2793618" y="1191556"/>
                  </a:lnTo>
                  <a:lnTo>
                    <a:pt x="2794048" y="1190875"/>
                  </a:lnTo>
                  <a:lnTo>
                    <a:pt x="2793174" y="1189570"/>
                  </a:lnTo>
                  <a:lnTo>
                    <a:pt x="2793429" y="1188712"/>
                  </a:lnTo>
                  <a:lnTo>
                    <a:pt x="2794563" y="1186862"/>
                  </a:lnTo>
                  <a:lnTo>
                    <a:pt x="2795006" y="1185310"/>
                  </a:lnTo>
                  <a:lnTo>
                    <a:pt x="2795342" y="1184617"/>
                  </a:lnTo>
                  <a:lnTo>
                    <a:pt x="2795884" y="1184170"/>
                  </a:lnTo>
                  <a:lnTo>
                    <a:pt x="2797311" y="1184087"/>
                  </a:lnTo>
                  <a:lnTo>
                    <a:pt x="2798168" y="1184455"/>
                  </a:lnTo>
                  <a:lnTo>
                    <a:pt x="2798940" y="1185246"/>
                  </a:lnTo>
                  <a:lnTo>
                    <a:pt x="2799300" y="1185975"/>
                  </a:lnTo>
                  <a:lnTo>
                    <a:pt x="2800023" y="1187863"/>
                  </a:lnTo>
                  <a:lnTo>
                    <a:pt x="2800414" y="1188661"/>
                  </a:lnTo>
                  <a:lnTo>
                    <a:pt x="2801732" y="1191014"/>
                  </a:lnTo>
                  <a:lnTo>
                    <a:pt x="2802421" y="1191871"/>
                  </a:lnTo>
                  <a:lnTo>
                    <a:pt x="2802794" y="1191507"/>
                  </a:lnTo>
                  <a:lnTo>
                    <a:pt x="2802619" y="1190667"/>
                  </a:lnTo>
                  <a:lnTo>
                    <a:pt x="2802153" y="1189429"/>
                  </a:lnTo>
                  <a:lnTo>
                    <a:pt x="2801635" y="1188266"/>
                  </a:lnTo>
                  <a:lnTo>
                    <a:pt x="2801311" y="1187638"/>
                  </a:lnTo>
                  <a:lnTo>
                    <a:pt x="2800829" y="1186843"/>
                  </a:lnTo>
                  <a:lnTo>
                    <a:pt x="2799717" y="1184765"/>
                  </a:lnTo>
                  <a:lnTo>
                    <a:pt x="2799151" y="1183956"/>
                  </a:lnTo>
                  <a:lnTo>
                    <a:pt x="2798533" y="1183463"/>
                  </a:lnTo>
                  <a:lnTo>
                    <a:pt x="2797410" y="1182967"/>
                  </a:lnTo>
                  <a:lnTo>
                    <a:pt x="2796779" y="1182306"/>
                  </a:lnTo>
                  <a:lnTo>
                    <a:pt x="2797640" y="1181326"/>
                  </a:lnTo>
                  <a:lnTo>
                    <a:pt x="2798304" y="1180918"/>
                  </a:lnTo>
                  <a:lnTo>
                    <a:pt x="2798204" y="1180628"/>
                  </a:lnTo>
                  <a:lnTo>
                    <a:pt x="2797969" y="1180224"/>
                  </a:lnTo>
                  <a:lnTo>
                    <a:pt x="2797892" y="1179669"/>
                  </a:lnTo>
                  <a:lnTo>
                    <a:pt x="2797868" y="1179399"/>
                  </a:lnTo>
                  <a:lnTo>
                    <a:pt x="2797701" y="1178557"/>
                  </a:lnTo>
                  <a:lnTo>
                    <a:pt x="2797690" y="1178177"/>
                  </a:lnTo>
                  <a:lnTo>
                    <a:pt x="2797888" y="1177716"/>
                  </a:lnTo>
                  <a:lnTo>
                    <a:pt x="2798451" y="1177239"/>
                  </a:lnTo>
                  <a:lnTo>
                    <a:pt x="2798980" y="1175457"/>
                  </a:lnTo>
                  <a:lnTo>
                    <a:pt x="2799747" y="1174018"/>
                  </a:lnTo>
                  <a:lnTo>
                    <a:pt x="2800095" y="1172235"/>
                  </a:lnTo>
                  <a:lnTo>
                    <a:pt x="2799261" y="1169931"/>
                  </a:lnTo>
                  <a:lnTo>
                    <a:pt x="2800210" y="1168853"/>
                  </a:lnTo>
                  <a:lnTo>
                    <a:pt x="2801985" y="1169237"/>
                  </a:lnTo>
                  <a:lnTo>
                    <a:pt x="2808603" y="1173301"/>
                  </a:lnTo>
                  <a:lnTo>
                    <a:pt x="2810241" y="1174809"/>
                  </a:lnTo>
                  <a:lnTo>
                    <a:pt x="2812988" y="1178167"/>
                  </a:lnTo>
                  <a:lnTo>
                    <a:pt x="2813679" y="1178512"/>
                  </a:lnTo>
                  <a:lnTo>
                    <a:pt x="2815328" y="1177773"/>
                  </a:lnTo>
                  <a:lnTo>
                    <a:pt x="2815854" y="1177870"/>
                  </a:lnTo>
                  <a:lnTo>
                    <a:pt x="2816299" y="1178568"/>
                  </a:lnTo>
                  <a:lnTo>
                    <a:pt x="2816449" y="1180229"/>
                  </a:lnTo>
                  <a:lnTo>
                    <a:pt x="2816330" y="1180971"/>
                  </a:lnTo>
                  <a:lnTo>
                    <a:pt x="2816174" y="1181474"/>
                  </a:lnTo>
                  <a:lnTo>
                    <a:pt x="2816206" y="1182200"/>
                  </a:lnTo>
                  <a:lnTo>
                    <a:pt x="2816649" y="1183596"/>
                  </a:lnTo>
                  <a:lnTo>
                    <a:pt x="2817170" y="1184585"/>
                  </a:lnTo>
                  <a:lnTo>
                    <a:pt x="2819057" y="1186837"/>
                  </a:lnTo>
                  <a:lnTo>
                    <a:pt x="2818555" y="1189867"/>
                  </a:lnTo>
                  <a:lnTo>
                    <a:pt x="2818432" y="1191701"/>
                  </a:lnTo>
                  <a:lnTo>
                    <a:pt x="2818700" y="1193536"/>
                  </a:lnTo>
                  <a:lnTo>
                    <a:pt x="2819054" y="1195027"/>
                  </a:lnTo>
                  <a:lnTo>
                    <a:pt x="2819722" y="1199075"/>
                  </a:lnTo>
                  <a:lnTo>
                    <a:pt x="2819865" y="1200568"/>
                  </a:lnTo>
                  <a:lnTo>
                    <a:pt x="2819613" y="1201949"/>
                  </a:lnTo>
                  <a:lnTo>
                    <a:pt x="2818572" y="1205275"/>
                  </a:lnTo>
                  <a:lnTo>
                    <a:pt x="2818619" y="1208541"/>
                  </a:lnTo>
                  <a:lnTo>
                    <a:pt x="2816968" y="1210899"/>
                  </a:lnTo>
                  <a:lnTo>
                    <a:pt x="2816687" y="1212462"/>
                  </a:lnTo>
                  <a:lnTo>
                    <a:pt x="2819111" y="1213858"/>
                  </a:lnTo>
                  <a:lnTo>
                    <a:pt x="2819866" y="1213880"/>
                  </a:lnTo>
                  <a:lnTo>
                    <a:pt x="2820489" y="1213336"/>
                  </a:lnTo>
                  <a:lnTo>
                    <a:pt x="2821369" y="1211479"/>
                  </a:lnTo>
                  <a:lnTo>
                    <a:pt x="2822012" y="1210929"/>
                  </a:lnTo>
                  <a:lnTo>
                    <a:pt x="2834969" y="1213162"/>
                  </a:lnTo>
                  <a:lnTo>
                    <a:pt x="2840806" y="1217484"/>
                  </a:lnTo>
                  <a:lnTo>
                    <a:pt x="2842589" y="1217916"/>
                  </a:lnTo>
                  <a:lnTo>
                    <a:pt x="2843508" y="1216182"/>
                  </a:lnTo>
                  <a:lnTo>
                    <a:pt x="2842531" y="1215339"/>
                  </a:lnTo>
                  <a:lnTo>
                    <a:pt x="2840751" y="1214767"/>
                  </a:lnTo>
                  <a:lnTo>
                    <a:pt x="2839743" y="1213845"/>
                  </a:lnTo>
                  <a:lnTo>
                    <a:pt x="2839316" y="1213180"/>
                  </a:lnTo>
                  <a:lnTo>
                    <a:pt x="2839116" y="1212600"/>
                  </a:lnTo>
                  <a:lnTo>
                    <a:pt x="2838975" y="1211934"/>
                  </a:lnTo>
                  <a:lnTo>
                    <a:pt x="2838734" y="1211005"/>
                  </a:lnTo>
                  <a:lnTo>
                    <a:pt x="2838160" y="1210023"/>
                  </a:lnTo>
                  <a:lnTo>
                    <a:pt x="2837430" y="1209660"/>
                  </a:lnTo>
                  <a:lnTo>
                    <a:pt x="2832468" y="1209777"/>
                  </a:lnTo>
                  <a:lnTo>
                    <a:pt x="2830265" y="1208971"/>
                  </a:lnTo>
                  <a:lnTo>
                    <a:pt x="2828230" y="1207506"/>
                  </a:lnTo>
                  <a:lnTo>
                    <a:pt x="2826638" y="1206492"/>
                  </a:lnTo>
                  <a:lnTo>
                    <a:pt x="2825743" y="1205542"/>
                  </a:lnTo>
                  <a:lnTo>
                    <a:pt x="2825144" y="1203751"/>
                  </a:lnTo>
                  <a:lnTo>
                    <a:pt x="2825038" y="1202548"/>
                  </a:lnTo>
                  <a:lnTo>
                    <a:pt x="2825158" y="1201940"/>
                  </a:lnTo>
                  <a:lnTo>
                    <a:pt x="2825332" y="1201445"/>
                  </a:lnTo>
                  <a:lnTo>
                    <a:pt x="2825378" y="1200576"/>
                  </a:lnTo>
                  <a:lnTo>
                    <a:pt x="2825257" y="1199627"/>
                  </a:lnTo>
                  <a:lnTo>
                    <a:pt x="2825036" y="1198789"/>
                  </a:lnTo>
                  <a:lnTo>
                    <a:pt x="2824771" y="1197924"/>
                  </a:lnTo>
                  <a:lnTo>
                    <a:pt x="2824497" y="1196890"/>
                  </a:lnTo>
                  <a:lnTo>
                    <a:pt x="2824467" y="1196362"/>
                  </a:lnTo>
                  <a:lnTo>
                    <a:pt x="2824529" y="1195914"/>
                  </a:lnTo>
                  <a:lnTo>
                    <a:pt x="2824523" y="1195471"/>
                  </a:lnTo>
                  <a:lnTo>
                    <a:pt x="2823380" y="1193027"/>
                  </a:lnTo>
                  <a:lnTo>
                    <a:pt x="2822518" y="1190949"/>
                  </a:lnTo>
                  <a:lnTo>
                    <a:pt x="2822252" y="1190102"/>
                  </a:lnTo>
                  <a:lnTo>
                    <a:pt x="2822110" y="1189047"/>
                  </a:lnTo>
                  <a:lnTo>
                    <a:pt x="2822475" y="1188306"/>
                  </a:lnTo>
                  <a:lnTo>
                    <a:pt x="2823413" y="1188208"/>
                  </a:lnTo>
                  <a:lnTo>
                    <a:pt x="2836197" y="1192650"/>
                  </a:lnTo>
                  <a:lnTo>
                    <a:pt x="2838174" y="1194717"/>
                  </a:lnTo>
                  <a:lnTo>
                    <a:pt x="2840125" y="1197729"/>
                  </a:lnTo>
                  <a:lnTo>
                    <a:pt x="2844168" y="1205097"/>
                  </a:lnTo>
                  <a:lnTo>
                    <a:pt x="2845245" y="1208139"/>
                  </a:lnTo>
                  <a:lnTo>
                    <a:pt x="2854773" y="1218559"/>
                  </a:lnTo>
                  <a:lnTo>
                    <a:pt x="2857916" y="1218896"/>
                  </a:lnTo>
                  <a:lnTo>
                    <a:pt x="2861239" y="1220724"/>
                  </a:lnTo>
                  <a:lnTo>
                    <a:pt x="2864822" y="1221294"/>
                  </a:lnTo>
                  <a:lnTo>
                    <a:pt x="2866289" y="1221008"/>
                  </a:lnTo>
                  <a:lnTo>
                    <a:pt x="2866061" y="1220298"/>
                  </a:lnTo>
                  <a:lnTo>
                    <a:pt x="2864852" y="1220221"/>
                  </a:lnTo>
                  <a:lnTo>
                    <a:pt x="2862117" y="1218838"/>
                  </a:lnTo>
                  <a:lnTo>
                    <a:pt x="2859898" y="1218609"/>
                  </a:lnTo>
                  <a:lnTo>
                    <a:pt x="2855124" y="1215416"/>
                  </a:lnTo>
                  <a:lnTo>
                    <a:pt x="2851974" y="1211725"/>
                  </a:lnTo>
                  <a:lnTo>
                    <a:pt x="2850969" y="1210875"/>
                  </a:lnTo>
                  <a:lnTo>
                    <a:pt x="2848793" y="1209725"/>
                  </a:lnTo>
                  <a:lnTo>
                    <a:pt x="2847957" y="1208628"/>
                  </a:lnTo>
                  <a:lnTo>
                    <a:pt x="2847416" y="1206417"/>
                  </a:lnTo>
                  <a:lnTo>
                    <a:pt x="2848012" y="1205286"/>
                  </a:lnTo>
                  <a:lnTo>
                    <a:pt x="2850928" y="1202771"/>
                  </a:lnTo>
                  <a:lnTo>
                    <a:pt x="2851679" y="1202552"/>
                  </a:lnTo>
                  <a:lnTo>
                    <a:pt x="2852374" y="1202999"/>
                  </a:lnTo>
                  <a:lnTo>
                    <a:pt x="2852581" y="1203483"/>
                  </a:lnTo>
                  <a:lnTo>
                    <a:pt x="2852744" y="1204121"/>
                  </a:lnTo>
                  <a:lnTo>
                    <a:pt x="2852947" y="1204815"/>
                  </a:lnTo>
                  <a:lnTo>
                    <a:pt x="2853274" y="1205453"/>
                  </a:lnTo>
                  <a:lnTo>
                    <a:pt x="2855206" y="1207091"/>
                  </a:lnTo>
                  <a:lnTo>
                    <a:pt x="2857721" y="1208559"/>
                  </a:lnTo>
                  <a:lnTo>
                    <a:pt x="2860079" y="1210555"/>
                  </a:lnTo>
                  <a:lnTo>
                    <a:pt x="2861546" y="1213824"/>
                  </a:lnTo>
                  <a:lnTo>
                    <a:pt x="2863761" y="1215692"/>
                  </a:lnTo>
                  <a:lnTo>
                    <a:pt x="2868095" y="1216720"/>
                  </a:lnTo>
                  <a:lnTo>
                    <a:pt x="2870549" y="1218904"/>
                  </a:lnTo>
                  <a:lnTo>
                    <a:pt x="2871791" y="1221052"/>
                  </a:lnTo>
                  <a:lnTo>
                    <a:pt x="2872196" y="1221424"/>
                  </a:lnTo>
                  <a:lnTo>
                    <a:pt x="2871388" y="1218131"/>
                  </a:lnTo>
                  <a:lnTo>
                    <a:pt x="2871269" y="1216624"/>
                  </a:lnTo>
                  <a:lnTo>
                    <a:pt x="2871409" y="1215379"/>
                  </a:lnTo>
                  <a:lnTo>
                    <a:pt x="2871823" y="1214608"/>
                  </a:lnTo>
                  <a:lnTo>
                    <a:pt x="2871037" y="1214063"/>
                  </a:lnTo>
                  <a:lnTo>
                    <a:pt x="2870343" y="1214052"/>
                  </a:lnTo>
                  <a:lnTo>
                    <a:pt x="2869133" y="1214597"/>
                  </a:lnTo>
                  <a:lnTo>
                    <a:pt x="2868567" y="1214536"/>
                  </a:lnTo>
                  <a:lnTo>
                    <a:pt x="2867272" y="1213916"/>
                  </a:lnTo>
                  <a:lnTo>
                    <a:pt x="2865724" y="1213820"/>
                  </a:lnTo>
                  <a:lnTo>
                    <a:pt x="2864507" y="1213300"/>
                  </a:lnTo>
                  <a:lnTo>
                    <a:pt x="2863206" y="1212424"/>
                  </a:lnTo>
                  <a:lnTo>
                    <a:pt x="2861992" y="1211345"/>
                  </a:lnTo>
                  <a:lnTo>
                    <a:pt x="2857835" y="1206776"/>
                  </a:lnTo>
                  <a:lnTo>
                    <a:pt x="2854644" y="1204978"/>
                  </a:lnTo>
                  <a:lnTo>
                    <a:pt x="2853744" y="1203824"/>
                  </a:lnTo>
                  <a:lnTo>
                    <a:pt x="2853589" y="1202470"/>
                  </a:lnTo>
                  <a:lnTo>
                    <a:pt x="2852461" y="1201816"/>
                  </a:lnTo>
                  <a:lnTo>
                    <a:pt x="2850258" y="1201704"/>
                  </a:lnTo>
                  <a:lnTo>
                    <a:pt x="2848204" y="1203247"/>
                  </a:lnTo>
                  <a:lnTo>
                    <a:pt x="2846991" y="1203504"/>
                  </a:lnTo>
                  <a:lnTo>
                    <a:pt x="2845507" y="1202366"/>
                  </a:lnTo>
                  <a:lnTo>
                    <a:pt x="2844667" y="1201043"/>
                  </a:lnTo>
                  <a:lnTo>
                    <a:pt x="2842600" y="1196168"/>
                  </a:lnTo>
                  <a:lnTo>
                    <a:pt x="2841812" y="1194643"/>
                  </a:lnTo>
                  <a:lnTo>
                    <a:pt x="2840914" y="1193143"/>
                  </a:lnTo>
                  <a:lnTo>
                    <a:pt x="2840020" y="1191827"/>
                  </a:lnTo>
                  <a:lnTo>
                    <a:pt x="2839242" y="1190883"/>
                  </a:lnTo>
                  <a:lnTo>
                    <a:pt x="2837984" y="1189890"/>
                  </a:lnTo>
                  <a:lnTo>
                    <a:pt x="2836686" y="1189325"/>
                  </a:lnTo>
                  <a:lnTo>
                    <a:pt x="2833257" y="1189141"/>
                  </a:lnTo>
                  <a:lnTo>
                    <a:pt x="2830598" y="1187742"/>
                  </a:lnTo>
                  <a:lnTo>
                    <a:pt x="2828335" y="1187548"/>
                  </a:lnTo>
                  <a:lnTo>
                    <a:pt x="2821371" y="1183687"/>
                  </a:lnTo>
                  <a:lnTo>
                    <a:pt x="2820140" y="1182577"/>
                  </a:lnTo>
                  <a:lnTo>
                    <a:pt x="2821780" y="1179899"/>
                  </a:lnTo>
                  <a:lnTo>
                    <a:pt x="2822486" y="1177961"/>
                  </a:lnTo>
                  <a:lnTo>
                    <a:pt x="2822358" y="1175713"/>
                  </a:lnTo>
                  <a:lnTo>
                    <a:pt x="2821647" y="1174322"/>
                  </a:lnTo>
                  <a:lnTo>
                    <a:pt x="2820896" y="1173988"/>
                  </a:lnTo>
                  <a:lnTo>
                    <a:pt x="2820171" y="1173962"/>
                  </a:lnTo>
                  <a:lnTo>
                    <a:pt x="2819510" y="1173443"/>
                  </a:lnTo>
                  <a:lnTo>
                    <a:pt x="2819045" y="1172433"/>
                  </a:lnTo>
                  <a:lnTo>
                    <a:pt x="2818854" y="1171467"/>
                  </a:lnTo>
                  <a:lnTo>
                    <a:pt x="2818959" y="1170715"/>
                  </a:lnTo>
                  <a:lnTo>
                    <a:pt x="2819379" y="1170313"/>
                  </a:lnTo>
                  <a:lnTo>
                    <a:pt x="2821274" y="1170611"/>
                  </a:lnTo>
                  <a:lnTo>
                    <a:pt x="2821895" y="1170418"/>
                  </a:lnTo>
                  <a:lnTo>
                    <a:pt x="2823835" y="1167441"/>
                  </a:lnTo>
                  <a:lnTo>
                    <a:pt x="2824685" y="1166776"/>
                  </a:lnTo>
                  <a:lnTo>
                    <a:pt x="2825857" y="1166673"/>
                  </a:lnTo>
                  <a:lnTo>
                    <a:pt x="2827213" y="1167379"/>
                  </a:lnTo>
                  <a:lnTo>
                    <a:pt x="2828635" y="1169182"/>
                  </a:lnTo>
                  <a:lnTo>
                    <a:pt x="2828423" y="1169589"/>
                  </a:lnTo>
                  <a:lnTo>
                    <a:pt x="2828362" y="1170107"/>
                  </a:lnTo>
                  <a:lnTo>
                    <a:pt x="2828434" y="1171586"/>
                  </a:lnTo>
                  <a:lnTo>
                    <a:pt x="2829311" y="1173075"/>
                  </a:lnTo>
                  <a:lnTo>
                    <a:pt x="2829643" y="1174213"/>
                  </a:lnTo>
                  <a:lnTo>
                    <a:pt x="2829871" y="1175437"/>
                  </a:lnTo>
                  <a:lnTo>
                    <a:pt x="2830437" y="1177199"/>
                  </a:lnTo>
                  <a:lnTo>
                    <a:pt x="2831316" y="1178747"/>
                  </a:lnTo>
                  <a:lnTo>
                    <a:pt x="2832147" y="1179277"/>
                  </a:lnTo>
                  <a:lnTo>
                    <a:pt x="2832997" y="1179477"/>
                  </a:lnTo>
                  <a:lnTo>
                    <a:pt x="2833939" y="1180038"/>
                  </a:lnTo>
                  <a:lnTo>
                    <a:pt x="2834713" y="1182465"/>
                  </a:lnTo>
                  <a:lnTo>
                    <a:pt x="2836093" y="1183673"/>
                  </a:lnTo>
                  <a:lnTo>
                    <a:pt x="2837166" y="1183702"/>
                  </a:lnTo>
                  <a:lnTo>
                    <a:pt x="2837019" y="1182606"/>
                  </a:lnTo>
                  <a:lnTo>
                    <a:pt x="2836663" y="1182204"/>
                  </a:lnTo>
                  <a:lnTo>
                    <a:pt x="2835936" y="1181723"/>
                  </a:lnTo>
                  <a:lnTo>
                    <a:pt x="2835475" y="1181134"/>
                  </a:lnTo>
                  <a:lnTo>
                    <a:pt x="2835493" y="1180934"/>
                  </a:lnTo>
                  <a:lnTo>
                    <a:pt x="2835407" y="1180292"/>
                  </a:lnTo>
                  <a:lnTo>
                    <a:pt x="2835247" y="1179538"/>
                  </a:lnTo>
                  <a:lnTo>
                    <a:pt x="2835046" y="1179001"/>
                  </a:lnTo>
                  <a:lnTo>
                    <a:pt x="2834389" y="1178290"/>
                  </a:lnTo>
                  <a:lnTo>
                    <a:pt x="2832420" y="1177384"/>
                  </a:lnTo>
                  <a:lnTo>
                    <a:pt x="2831839" y="1173194"/>
                  </a:lnTo>
                  <a:lnTo>
                    <a:pt x="2831333" y="1171682"/>
                  </a:lnTo>
                  <a:lnTo>
                    <a:pt x="2830178" y="1169573"/>
                  </a:lnTo>
                  <a:lnTo>
                    <a:pt x="2831817" y="1167917"/>
                  </a:lnTo>
                  <a:lnTo>
                    <a:pt x="2845760" y="1169311"/>
                  </a:lnTo>
                  <a:lnTo>
                    <a:pt x="2846483" y="1170259"/>
                  </a:lnTo>
                  <a:lnTo>
                    <a:pt x="2846578" y="1172305"/>
                  </a:lnTo>
                  <a:lnTo>
                    <a:pt x="2848700" y="1170253"/>
                  </a:lnTo>
                  <a:lnTo>
                    <a:pt x="2849611" y="1169878"/>
                  </a:lnTo>
                  <a:lnTo>
                    <a:pt x="2854418" y="1170658"/>
                  </a:lnTo>
                  <a:lnTo>
                    <a:pt x="2858331" y="1172602"/>
                  </a:lnTo>
                  <a:lnTo>
                    <a:pt x="2860245" y="1174561"/>
                  </a:lnTo>
                  <a:lnTo>
                    <a:pt x="2860684" y="1177350"/>
                  </a:lnTo>
                  <a:lnTo>
                    <a:pt x="2861384" y="1178024"/>
                  </a:lnTo>
                  <a:lnTo>
                    <a:pt x="2862083" y="1178470"/>
                  </a:lnTo>
                  <a:lnTo>
                    <a:pt x="2862721" y="1179028"/>
                  </a:lnTo>
                  <a:lnTo>
                    <a:pt x="2863251" y="1180062"/>
                  </a:lnTo>
                  <a:lnTo>
                    <a:pt x="2863354" y="1180937"/>
                  </a:lnTo>
                  <a:lnTo>
                    <a:pt x="2863121" y="1182975"/>
                  </a:lnTo>
                  <a:lnTo>
                    <a:pt x="2862980" y="1183586"/>
                  </a:lnTo>
                  <a:lnTo>
                    <a:pt x="2863234" y="1184363"/>
                  </a:lnTo>
                  <a:lnTo>
                    <a:pt x="2863815" y="1183850"/>
                  </a:lnTo>
                  <a:lnTo>
                    <a:pt x="2864195" y="1182711"/>
                  </a:lnTo>
                  <a:lnTo>
                    <a:pt x="2864336" y="1181145"/>
                  </a:lnTo>
                  <a:lnTo>
                    <a:pt x="2864222" y="1179365"/>
                  </a:lnTo>
                  <a:lnTo>
                    <a:pt x="2863163" y="1178135"/>
                  </a:lnTo>
                  <a:lnTo>
                    <a:pt x="2862556" y="1177278"/>
                  </a:lnTo>
                  <a:lnTo>
                    <a:pt x="2861976" y="1176166"/>
                  </a:lnTo>
                  <a:lnTo>
                    <a:pt x="2862697" y="1175041"/>
                  </a:lnTo>
                  <a:lnTo>
                    <a:pt x="2871732" y="1171429"/>
                  </a:lnTo>
                  <a:lnTo>
                    <a:pt x="2873180" y="1171594"/>
                  </a:lnTo>
                  <a:lnTo>
                    <a:pt x="2876505" y="1173263"/>
                  </a:lnTo>
                  <a:lnTo>
                    <a:pt x="2883222" y="1174060"/>
                  </a:lnTo>
                  <a:lnTo>
                    <a:pt x="2877619" y="1171494"/>
                  </a:lnTo>
                  <a:lnTo>
                    <a:pt x="2872366" y="1170517"/>
                  </a:lnTo>
                  <a:lnTo>
                    <a:pt x="2863485" y="1172973"/>
                  </a:lnTo>
                  <a:lnTo>
                    <a:pt x="2860021" y="1170773"/>
                  </a:lnTo>
                  <a:lnTo>
                    <a:pt x="2857809" y="1170515"/>
                  </a:lnTo>
                  <a:lnTo>
                    <a:pt x="2851990" y="1167578"/>
                  </a:lnTo>
                  <a:lnTo>
                    <a:pt x="2847848" y="1167236"/>
                  </a:lnTo>
                  <a:lnTo>
                    <a:pt x="2845370" y="1165948"/>
                  </a:lnTo>
                  <a:lnTo>
                    <a:pt x="2837296" y="1165286"/>
                  </a:lnTo>
                  <a:lnTo>
                    <a:pt x="2824778" y="1159034"/>
                  </a:lnTo>
                  <a:lnTo>
                    <a:pt x="2823441" y="1157247"/>
                  </a:lnTo>
                  <a:lnTo>
                    <a:pt x="2822898" y="1155108"/>
                  </a:lnTo>
                  <a:lnTo>
                    <a:pt x="2822394" y="1152785"/>
                  </a:lnTo>
                  <a:lnTo>
                    <a:pt x="2821174" y="1150431"/>
                  </a:lnTo>
                  <a:lnTo>
                    <a:pt x="2821797" y="1149791"/>
                  </a:lnTo>
                  <a:lnTo>
                    <a:pt x="2822926" y="1144788"/>
                  </a:lnTo>
                  <a:lnTo>
                    <a:pt x="2822909" y="1144070"/>
                  </a:lnTo>
                  <a:lnTo>
                    <a:pt x="2822428" y="1142292"/>
                  </a:lnTo>
                  <a:lnTo>
                    <a:pt x="2822332" y="1141394"/>
                  </a:lnTo>
                  <a:lnTo>
                    <a:pt x="2822601" y="1140545"/>
                  </a:lnTo>
                  <a:lnTo>
                    <a:pt x="2823123" y="1140308"/>
                  </a:lnTo>
                  <a:lnTo>
                    <a:pt x="2823732" y="1140278"/>
                  </a:lnTo>
                  <a:lnTo>
                    <a:pt x="2824245" y="1140040"/>
                  </a:lnTo>
                  <a:lnTo>
                    <a:pt x="2828077" y="1132070"/>
                  </a:lnTo>
                  <a:lnTo>
                    <a:pt x="2832447" y="1128201"/>
                  </a:lnTo>
                  <a:lnTo>
                    <a:pt x="2832692" y="1127777"/>
                  </a:lnTo>
                  <a:lnTo>
                    <a:pt x="2832956" y="1126038"/>
                  </a:lnTo>
                  <a:lnTo>
                    <a:pt x="2833165" y="1125388"/>
                  </a:lnTo>
                  <a:lnTo>
                    <a:pt x="2838479" y="1123083"/>
                  </a:lnTo>
                  <a:lnTo>
                    <a:pt x="2840041" y="1119931"/>
                  </a:lnTo>
                  <a:lnTo>
                    <a:pt x="2841816" y="1118197"/>
                  </a:lnTo>
                  <a:lnTo>
                    <a:pt x="2842860" y="1115807"/>
                  </a:lnTo>
                  <a:lnTo>
                    <a:pt x="2854043" y="1112950"/>
                  </a:lnTo>
                  <a:lnTo>
                    <a:pt x="2865212" y="1110028"/>
                  </a:lnTo>
                  <a:lnTo>
                    <a:pt x="2868953" y="1110405"/>
                  </a:lnTo>
                  <a:lnTo>
                    <a:pt x="2873011" y="1112776"/>
                  </a:lnTo>
                  <a:lnTo>
                    <a:pt x="2873709" y="1113438"/>
                  </a:lnTo>
                  <a:lnTo>
                    <a:pt x="2874445" y="1114471"/>
                  </a:lnTo>
                  <a:lnTo>
                    <a:pt x="2875048" y="1115632"/>
                  </a:lnTo>
                  <a:lnTo>
                    <a:pt x="2875238" y="1116584"/>
                  </a:lnTo>
                  <a:lnTo>
                    <a:pt x="2874735" y="1117027"/>
                  </a:lnTo>
                  <a:lnTo>
                    <a:pt x="2876235" y="1118424"/>
                  </a:lnTo>
                  <a:lnTo>
                    <a:pt x="2891710" y="1117765"/>
                  </a:lnTo>
                  <a:lnTo>
                    <a:pt x="2892851" y="1118315"/>
                  </a:lnTo>
                  <a:lnTo>
                    <a:pt x="2893736" y="1119350"/>
                  </a:lnTo>
                  <a:lnTo>
                    <a:pt x="2894240" y="1120694"/>
                  </a:lnTo>
                  <a:lnTo>
                    <a:pt x="2894473" y="1121891"/>
                  </a:lnTo>
                  <a:lnTo>
                    <a:pt x="2894604" y="1122912"/>
                  </a:lnTo>
                  <a:lnTo>
                    <a:pt x="2894809" y="1123710"/>
                  </a:lnTo>
                  <a:lnTo>
                    <a:pt x="2895368" y="1124636"/>
                  </a:lnTo>
                  <a:lnTo>
                    <a:pt x="2897819" y="1128122"/>
                  </a:lnTo>
                  <a:lnTo>
                    <a:pt x="2898982" y="1129076"/>
                  </a:lnTo>
                  <a:lnTo>
                    <a:pt x="2899628" y="1128884"/>
                  </a:lnTo>
                  <a:lnTo>
                    <a:pt x="2900594" y="1127172"/>
                  </a:lnTo>
                  <a:lnTo>
                    <a:pt x="2900149" y="1126325"/>
                  </a:lnTo>
                  <a:lnTo>
                    <a:pt x="2897507" y="1121892"/>
                  </a:lnTo>
                  <a:lnTo>
                    <a:pt x="2897244" y="1120944"/>
                  </a:lnTo>
                  <a:lnTo>
                    <a:pt x="2897978" y="1119828"/>
                  </a:lnTo>
                  <a:lnTo>
                    <a:pt x="2898276" y="1117641"/>
                  </a:lnTo>
                  <a:lnTo>
                    <a:pt x="2898541" y="1116845"/>
                  </a:lnTo>
                  <a:lnTo>
                    <a:pt x="2899895" y="1115773"/>
                  </a:lnTo>
                  <a:lnTo>
                    <a:pt x="2906566" y="1114574"/>
                  </a:lnTo>
                  <a:lnTo>
                    <a:pt x="2910189" y="1115529"/>
                  </a:lnTo>
                  <a:lnTo>
                    <a:pt x="2912663" y="1115362"/>
                  </a:lnTo>
                  <a:lnTo>
                    <a:pt x="2913590" y="1115587"/>
                  </a:lnTo>
                  <a:lnTo>
                    <a:pt x="2916610" y="1117221"/>
                  </a:lnTo>
                  <a:lnTo>
                    <a:pt x="2926315" y="1117433"/>
                  </a:lnTo>
                  <a:lnTo>
                    <a:pt x="2926725" y="1117842"/>
                  </a:lnTo>
                  <a:lnTo>
                    <a:pt x="2927139" y="1119025"/>
                  </a:lnTo>
                  <a:lnTo>
                    <a:pt x="2927560" y="1120456"/>
                  </a:lnTo>
                  <a:lnTo>
                    <a:pt x="2927984" y="1121593"/>
                  </a:lnTo>
                  <a:lnTo>
                    <a:pt x="2928119" y="1121657"/>
                  </a:lnTo>
                  <a:lnTo>
                    <a:pt x="2929625" y="1123373"/>
                  </a:lnTo>
                  <a:lnTo>
                    <a:pt x="2930502" y="1124843"/>
                  </a:lnTo>
                  <a:lnTo>
                    <a:pt x="2930832" y="1125320"/>
                  </a:lnTo>
                  <a:lnTo>
                    <a:pt x="2935603" y="1130234"/>
                  </a:lnTo>
                  <a:lnTo>
                    <a:pt x="2936814" y="1132316"/>
                  </a:lnTo>
                  <a:lnTo>
                    <a:pt x="2937849" y="1133582"/>
                  </a:lnTo>
                  <a:lnTo>
                    <a:pt x="2941932" y="1137370"/>
                  </a:lnTo>
                  <a:lnTo>
                    <a:pt x="2943484" y="1139133"/>
                  </a:lnTo>
                  <a:lnTo>
                    <a:pt x="2942694" y="1142161"/>
                  </a:lnTo>
                  <a:lnTo>
                    <a:pt x="2942577" y="1143928"/>
                  </a:lnTo>
                  <a:lnTo>
                    <a:pt x="2942378" y="1144223"/>
                  </a:lnTo>
                  <a:lnTo>
                    <a:pt x="2942330" y="1144438"/>
                  </a:lnTo>
                  <a:lnTo>
                    <a:pt x="2942494" y="1144842"/>
                  </a:lnTo>
                  <a:lnTo>
                    <a:pt x="2942704" y="1145296"/>
                  </a:lnTo>
                  <a:lnTo>
                    <a:pt x="2942804" y="1145657"/>
                  </a:lnTo>
                  <a:lnTo>
                    <a:pt x="2942403" y="1147762"/>
                  </a:lnTo>
                  <a:lnTo>
                    <a:pt x="2938874" y="1155757"/>
                  </a:lnTo>
                  <a:lnTo>
                    <a:pt x="2937911" y="1156610"/>
                  </a:lnTo>
                  <a:lnTo>
                    <a:pt x="2930868" y="1156448"/>
                  </a:lnTo>
                  <a:lnTo>
                    <a:pt x="2925858" y="1158435"/>
                  </a:lnTo>
                  <a:lnTo>
                    <a:pt x="2915623" y="1168498"/>
                  </a:lnTo>
                  <a:lnTo>
                    <a:pt x="2914833" y="1170248"/>
                  </a:lnTo>
                  <a:lnTo>
                    <a:pt x="2915026" y="1172516"/>
                  </a:lnTo>
                  <a:lnTo>
                    <a:pt x="2915449" y="1174813"/>
                  </a:lnTo>
                  <a:lnTo>
                    <a:pt x="2915505" y="1177568"/>
                  </a:lnTo>
                  <a:lnTo>
                    <a:pt x="2915335" y="1180091"/>
                  </a:lnTo>
                  <a:lnTo>
                    <a:pt x="2915071" y="1181659"/>
                  </a:lnTo>
                  <a:lnTo>
                    <a:pt x="2912714" y="1186005"/>
                  </a:lnTo>
                  <a:lnTo>
                    <a:pt x="2912421" y="1188398"/>
                  </a:lnTo>
                  <a:lnTo>
                    <a:pt x="2912341" y="1192747"/>
                  </a:lnTo>
                  <a:lnTo>
                    <a:pt x="2911604" y="1194988"/>
                  </a:lnTo>
                  <a:lnTo>
                    <a:pt x="2911567" y="1196153"/>
                  </a:lnTo>
                  <a:lnTo>
                    <a:pt x="2912855" y="1196789"/>
                  </a:lnTo>
                  <a:lnTo>
                    <a:pt x="2913559" y="1196041"/>
                  </a:lnTo>
                  <a:lnTo>
                    <a:pt x="2913848" y="1194275"/>
                  </a:lnTo>
                  <a:lnTo>
                    <a:pt x="2913987" y="1189454"/>
                  </a:lnTo>
                  <a:lnTo>
                    <a:pt x="2914285" y="1187289"/>
                  </a:lnTo>
                  <a:lnTo>
                    <a:pt x="2915402" y="1183916"/>
                  </a:lnTo>
                  <a:lnTo>
                    <a:pt x="2916962" y="1181127"/>
                  </a:lnTo>
                  <a:lnTo>
                    <a:pt x="2917429" y="1179391"/>
                  </a:lnTo>
                  <a:lnTo>
                    <a:pt x="2917528" y="1176821"/>
                  </a:lnTo>
                  <a:lnTo>
                    <a:pt x="2917084" y="1173169"/>
                  </a:lnTo>
                  <a:lnTo>
                    <a:pt x="2917109" y="1172159"/>
                  </a:lnTo>
                  <a:lnTo>
                    <a:pt x="2917448" y="1171254"/>
                  </a:lnTo>
                  <a:lnTo>
                    <a:pt x="2926047" y="1160770"/>
                  </a:lnTo>
                  <a:lnTo>
                    <a:pt x="2930562" y="1159044"/>
                  </a:lnTo>
                  <a:lnTo>
                    <a:pt x="2940707" y="1160326"/>
                  </a:lnTo>
                  <a:lnTo>
                    <a:pt x="2941869" y="1161553"/>
                  </a:lnTo>
                  <a:lnTo>
                    <a:pt x="2941835" y="1163661"/>
                  </a:lnTo>
                  <a:lnTo>
                    <a:pt x="2940646" y="1165444"/>
                  </a:lnTo>
                  <a:lnTo>
                    <a:pt x="2933721" y="1170228"/>
                  </a:lnTo>
                  <a:lnTo>
                    <a:pt x="2932823" y="1172310"/>
                  </a:lnTo>
                  <a:lnTo>
                    <a:pt x="2932624" y="1173962"/>
                  </a:lnTo>
                  <a:lnTo>
                    <a:pt x="2932808" y="1175927"/>
                  </a:lnTo>
                  <a:lnTo>
                    <a:pt x="2933350" y="1178228"/>
                  </a:lnTo>
                  <a:lnTo>
                    <a:pt x="2934231" y="1180900"/>
                  </a:lnTo>
                  <a:lnTo>
                    <a:pt x="2934655" y="1182504"/>
                  </a:lnTo>
                  <a:lnTo>
                    <a:pt x="2934555" y="1183315"/>
                  </a:lnTo>
                  <a:lnTo>
                    <a:pt x="2934253" y="1183844"/>
                  </a:lnTo>
                  <a:lnTo>
                    <a:pt x="2934050" y="1184593"/>
                  </a:lnTo>
                  <a:lnTo>
                    <a:pt x="2934107" y="1185576"/>
                  </a:lnTo>
                  <a:lnTo>
                    <a:pt x="2934436" y="1187363"/>
                  </a:lnTo>
                  <a:lnTo>
                    <a:pt x="2934439" y="1188327"/>
                  </a:lnTo>
                  <a:lnTo>
                    <a:pt x="2935411" y="1189993"/>
                  </a:lnTo>
                  <a:lnTo>
                    <a:pt x="2935528" y="1191674"/>
                  </a:lnTo>
                  <a:lnTo>
                    <a:pt x="2934933" y="1194475"/>
                  </a:lnTo>
                  <a:lnTo>
                    <a:pt x="2934863" y="1195788"/>
                  </a:lnTo>
                  <a:lnTo>
                    <a:pt x="2934964" y="1200057"/>
                  </a:lnTo>
                  <a:lnTo>
                    <a:pt x="2933877" y="1204017"/>
                  </a:lnTo>
                  <a:lnTo>
                    <a:pt x="2929326" y="1206650"/>
                  </a:lnTo>
                  <a:lnTo>
                    <a:pt x="2927427" y="1208962"/>
                  </a:lnTo>
                  <a:lnTo>
                    <a:pt x="2927676" y="1209666"/>
                  </a:lnTo>
                  <a:lnTo>
                    <a:pt x="2928986" y="1209124"/>
                  </a:lnTo>
                  <a:lnTo>
                    <a:pt x="2930579" y="1207197"/>
                  </a:lnTo>
                  <a:lnTo>
                    <a:pt x="2932870" y="1207096"/>
                  </a:lnTo>
                  <a:lnTo>
                    <a:pt x="2934802" y="1205870"/>
                  </a:lnTo>
                  <a:lnTo>
                    <a:pt x="2935575" y="1204780"/>
                  </a:lnTo>
                  <a:lnTo>
                    <a:pt x="2936103" y="1203289"/>
                  </a:lnTo>
                  <a:lnTo>
                    <a:pt x="2936294" y="1201755"/>
                  </a:lnTo>
                  <a:lnTo>
                    <a:pt x="2936508" y="1195206"/>
                  </a:lnTo>
                  <a:lnTo>
                    <a:pt x="2937061" y="1192509"/>
                  </a:lnTo>
                  <a:lnTo>
                    <a:pt x="2937031" y="1190656"/>
                  </a:lnTo>
                  <a:lnTo>
                    <a:pt x="2936847" y="1189665"/>
                  </a:lnTo>
                  <a:lnTo>
                    <a:pt x="2936317" y="1187727"/>
                  </a:lnTo>
                  <a:lnTo>
                    <a:pt x="2936153" y="1186937"/>
                  </a:lnTo>
                  <a:lnTo>
                    <a:pt x="2936080" y="1186002"/>
                  </a:lnTo>
                  <a:lnTo>
                    <a:pt x="2936361" y="1182556"/>
                  </a:lnTo>
                  <a:lnTo>
                    <a:pt x="2936360" y="1180955"/>
                  </a:lnTo>
                  <a:lnTo>
                    <a:pt x="2936006" y="1179190"/>
                  </a:lnTo>
                  <a:lnTo>
                    <a:pt x="2935074" y="1177483"/>
                  </a:lnTo>
                  <a:lnTo>
                    <a:pt x="2934529" y="1175889"/>
                  </a:lnTo>
                  <a:lnTo>
                    <a:pt x="2934696" y="1174031"/>
                  </a:lnTo>
                  <a:lnTo>
                    <a:pt x="2935533" y="1171541"/>
                  </a:lnTo>
                  <a:lnTo>
                    <a:pt x="2936594" y="1170394"/>
                  </a:lnTo>
                  <a:lnTo>
                    <a:pt x="2941042" y="1169403"/>
                  </a:lnTo>
                  <a:lnTo>
                    <a:pt x="2942090" y="1169002"/>
                  </a:lnTo>
                  <a:lnTo>
                    <a:pt x="2943397" y="1167723"/>
                  </a:lnTo>
                  <a:lnTo>
                    <a:pt x="2944411" y="1165870"/>
                  </a:lnTo>
                  <a:lnTo>
                    <a:pt x="2944752" y="1163690"/>
                  </a:lnTo>
                  <a:lnTo>
                    <a:pt x="2944625" y="1162677"/>
                  </a:lnTo>
                  <a:lnTo>
                    <a:pt x="2944179" y="1160202"/>
                  </a:lnTo>
                  <a:lnTo>
                    <a:pt x="2944054" y="1159184"/>
                  </a:lnTo>
                  <a:lnTo>
                    <a:pt x="2944068" y="1158344"/>
                  </a:lnTo>
                  <a:lnTo>
                    <a:pt x="2944260" y="1156702"/>
                  </a:lnTo>
                  <a:lnTo>
                    <a:pt x="2944277" y="1155860"/>
                  </a:lnTo>
                  <a:lnTo>
                    <a:pt x="2944636" y="1153718"/>
                  </a:lnTo>
                  <a:lnTo>
                    <a:pt x="2945776" y="1152668"/>
                  </a:lnTo>
                  <a:lnTo>
                    <a:pt x="2947279" y="1152461"/>
                  </a:lnTo>
                  <a:lnTo>
                    <a:pt x="2950672" y="1153537"/>
                  </a:lnTo>
                  <a:lnTo>
                    <a:pt x="2960166" y="1151353"/>
                  </a:lnTo>
                  <a:lnTo>
                    <a:pt x="2969654" y="1149124"/>
                  </a:lnTo>
                  <a:lnTo>
                    <a:pt x="2971148" y="1149558"/>
                  </a:lnTo>
                  <a:lnTo>
                    <a:pt x="2971871" y="1149140"/>
                  </a:lnTo>
                  <a:lnTo>
                    <a:pt x="2972307" y="1149166"/>
                  </a:lnTo>
                  <a:lnTo>
                    <a:pt x="2972628" y="1149487"/>
                  </a:lnTo>
                  <a:lnTo>
                    <a:pt x="2973439" y="1150650"/>
                  </a:lnTo>
                  <a:lnTo>
                    <a:pt x="2973789" y="1151074"/>
                  </a:lnTo>
                  <a:lnTo>
                    <a:pt x="2976377" y="1153293"/>
                  </a:lnTo>
                  <a:lnTo>
                    <a:pt x="2979093" y="1156779"/>
                  </a:lnTo>
                  <a:lnTo>
                    <a:pt x="2980692" y="1159165"/>
                  </a:lnTo>
                  <a:lnTo>
                    <a:pt x="2981012" y="1160390"/>
                  </a:lnTo>
                  <a:lnTo>
                    <a:pt x="2979819" y="1163957"/>
                  </a:lnTo>
                  <a:lnTo>
                    <a:pt x="2979852" y="1165465"/>
                  </a:lnTo>
                  <a:lnTo>
                    <a:pt x="2980110" y="1165975"/>
                  </a:lnTo>
                  <a:lnTo>
                    <a:pt x="2980670" y="1166331"/>
                  </a:lnTo>
                  <a:lnTo>
                    <a:pt x="2981593" y="1167352"/>
                  </a:lnTo>
                  <a:lnTo>
                    <a:pt x="2982010" y="1168007"/>
                  </a:lnTo>
                  <a:lnTo>
                    <a:pt x="2982609" y="1169103"/>
                  </a:lnTo>
                  <a:lnTo>
                    <a:pt x="2983006" y="1170184"/>
                  </a:lnTo>
                  <a:lnTo>
                    <a:pt x="2982683" y="1171360"/>
                  </a:lnTo>
                  <a:lnTo>
                    <a:pt x="2982794" y="1173566"/>
                  </a:lnTo>
                  <a:lnTo>
                    <a:pt x="2982185" y="1175509"/>
                  </a:lnTo>
                  <a:lnTo>
                    <a:pt x="2981964" y="1175905"/>
                  </a:lnTo>
                  <a:lnTo>
                    <a:pt x="2980206" y="1176563"/>
                  </a:lnTo>
                  <a:lnTo>
                    <a:pt x="2977690" y="1179092"/>
                  </a:lnTo>
                  <a:lnTo>
                    <a:pt x="2975915" y="1179504"/>
                  </a:lnTo>
                  <a:lnTo>
                    <a:pt x="2974966" y="1179381"/>
                  </a:lnTo>
                  <a:lnTo>
                    <a:pt x="2973862" y="1178923"/>
                  </a:lnTo>
                  <a:lnTo>
                    <a:pt x="2973594" y="1178666"/>
                  </a:lnTo>
                  <a:lnTo>
                    <a:pt x="2973295" y="1178294"/>
                  </a:lnTo>
                  <a:lnTo>
                    <a:pt x="2972938" y="1177984"/>
                  </a:lnTo>
                  <a:lnTo>
                    <a:pt x="2972499" y="1177905"/>
                  </a:lnTo>
                  <a:lnTo>
                    <a:pt x="2972294" y="1178080"/>
                  </a:lnTo>
                  <a:lnTo>
                    <a:pt x="2971909" y="1178777"/>
                  </a:lnTo>
                  <a:lnTo>
                    <a:pt x="2971679" y="1179004"/>
                  </a:lnTo>
                  <a:lnTo>
                    <a:pt x="2972232" y="1179880"/>
                  </a:lnTo>
                  <a:lnTo>
                    <a:pt x="2973061" y="1180627"/>
                  </a:lnTo>
                  <a:lnTo>
                    <a:pt x="2973613" y="1181465"/>
                  </a:lnTo>
                  <a:lnTo>
                    <a:pt x="2973126" y="1182470"/>
                  </a:lnTo>
                  <a:lnTo>
                    <a:pt x="2971758" y="1183941"/>
                  </a:lnTo>
                  <a:lnTo>
                    <a:pt x="2971266" y="1185117"/>
                  </a:lnTo>
                  <a:lnTo>
                    <a:pt x="2971156" y="1186204"/>
                  </a:lnTo>
                  <a:lnTo>
                    <a:pt x="2971127" y="1188446"/>
                  </a:lnTo>
                  <a:lnTo>
                    <a:pt x="2970852" y="1189446"/>
                  </a:lnTo>
                  <a:lnTo>
                    <a:pt x="2970015" y="1190369"/>
                  </a:lnTo>
                  <a:lnTo>
                    <a:pt x="2967781" y="1191147"/>
                  </a:lnTo>
                  <a:lnTo>
                    <a:pt x="2966876" y="1191959"/>
                  </a:lnTo>
                  <a:lnTo>
                    <a:pt x="2965645" y="1194469"/>
                  </a:lnTo>
                  <a:lnTo>
                    <a:pt x="2964992" y="1194956"/>
                  </a:lnTo>
                  <a:lnTo>
                    <a:pt x="2960502" y="1195062"/>
                  </a:lnTo>
                  <a:lnTo>
                    <a:pt x="2951706" y="1200855"/>
                  </a:lnTo>
                  <a:lnTo>
                    <a:pt x="2951182" y="1202003"/>
                  </a:lnTo>
                  <a:lnTo>
                    <a:pt x="2951276" y="1203898"/>
                  </a:lnTo>
                  <a:lnTo>
                    <a:pt x="2960183" y="1197482"/>
                  </a:lnTo>
                  <a:lnTo>
                    <a:pt x="2962730" y="1196952"/>
                  </a:lnTo>
                  <a:lnTo>
                    <a:pt x="2964328" y="1197339"/>
                  </a:lnTo>
                  <a:lnTo>
                    <a:pt x="2965865" y="1198673"/>
                  </a:lnTo>
                  <a:lnTo>
                    <a:pt x="2966447" y="1200033"/>
                  </a:lnTo>
                  <a:lnTo>
                    <a:pt x="2966258" y="1201166"/>
                  </a:lnTo>
                  <a:lnTo>
                    <a:pt x="2961370" y="1208950"/>
                  </a:lnTo>
                  <a:lnTo>
                    <a:pt x="2959698" y="1213923"/>
                  </a:lnTo>
                  <a:lnTo>
                    <a:pt x="2956280" y="1219537"/>
                  </a:lnTo>
                  <a:lnTo>
                    <a:pt x="2957126" y="1219907"/>
                  </a:lnTo>
                  <a:lnTo>
                    <a:pt x="2958838" y="1216253"/>
                  </a:lnTo>
                  <a:lnTo>
                    <a:pt x="2962084" y="1214119"/>
                  </a:lnTo>
                  <a:lnTo>
                    <a:pt x="2965183" y="1207013"/>
                  </a:lnTo>
                  <a:lnTo>
                    <a:pt x="2968559" y="1204148"/>
                  </a:lnTo>
                  <a:lnTo>
                    <a:pt x="2969158" y="1203240"/>
                  </a:lnTo>
                  <a:lnTo>
                    <a:pt x="2969401" y="1202438"/>
                  </a:lnTo>
                  <a:lnTo>
                    <a:pt x="2969432" y="1201675"/>
                  </a:lnTo>
                  <a:lnTo>
                    <a:pt x="2969279" y="1199388"/>
                  </a:lnTo>
                  <a:lnTo>
                    <a:pt x="2969399" y="1198450"/>
                  </a:lnTo>
                  <a:lnTo>
                    <a:pt x="2970102" y="1196111"/>
                  </a:lnTo>
                  <a:lnTo>
                    <a:pt x="2972119" y="1193329"/>
                  </a:lnTo>
                  <a:lnTo>
                    <a:pt x="2972739" y="1192922"/>
                  </a:lnTo>
                  <a:lnTo>
                    <a:pt x="2973323" y="1193143"/>
                  </a:lnTo>
                  <a:lnTo>
                    <a:pt x="2974208" y="1193890"/>
                  </a:lnTo>
                  <a:lnTo>
                    <a:pt x="2975125" y="1194869"/>
                  </a:lnTo>
                  <a:lnTo>
                    <a:pt x="2975833" y="1195831"/>
                  </a:lnTo>
                  <a:lnTo>
                    <a:pt x="2976326" y="1196654"/>
                  </a:lnTo>
                  <a:lnTo>
                    <a:pt x="2976526" y="1197121"/>
                  </a:lnTo>
                  <a:lnTo>
                    <a:pt x="2976855" y="1200563"/>
                  </a:lnTo>
                  <a:lnTo>
                    <a:pt x="2976902" y="1202232"/>
                  </a:lnTo>
                  <a:lnTo>
                    <a:pt x="2976778" y="1203182"/>
                  </a:lnTo>
                  <a:lnTo>
                    <a:pt x="2976256" y="1204704"/>
                  </a:lnTo>
                  <a:lnTo>
                    <a:pt x="2976176" y="1205643"/>
                  </a:lnTo>
                  <a:lnTo>
                    <a:pt x="2975904" y="1206329"/>
                  </a:lnTo>
                  <a:lnTo>
                    <a:pt x="2974798" y="1207462"/>
                  </a:lnTo>
                  <a:lnTo>
                    <a:pt x="2974882" y="1208534"/>
                  </a:lnTo>
                  <a:lnTo>
                    <a:pt x="2974863" y="1209478"/>
                  </a:lnTo>
                  <a:lnTo>
                    <a:pt x="2974299" y="1210252"/>
                  </a:lnTo>
                  <a:lnTo>
                    <a:pt x="2968423" y="1213143"/>
                  </a:lnTo>
                  <a:lnTo>
                    <a:pt x="2967844" y="1215053"/>
                  </a:lnTo>
                  <a:lnTo>
                    <a:pt x="2967621" y="1216867"/>
                  </a:lnTo>
                  <a:lnTo>
                    <a:pt x="2966633" y="1219627"/>
                  </a:lnTo>
                  <a:lnTo>
                    <a:pt x="2966855" y="1222183"/>
                  </a:lnTo>
                  <a:lnTo>
                    <a:pt x="2967601" y="1221660"/>
                  </a:lnTo>
                  <a:lnTo>
                    <a:pt x="2967845" y="1220241"/>
                  </a:lnTo>
                  <a:lnTo>
                    <a:pt x="2967928" y="1218486"/>
                  </a:lnTo>
                  <a:lnTo>
                    <a:pt x="2968184" y="1216948"/>
                  </a:lnTo>
                  <a:lnTo>
                    <a:pt x="2969074" y="1215469"/>
                  </a:lnTo>
                  <a:lnTo>
                    <a:pt x="2974875" y="1213066"/>
                  </a:lnTo>
                  <a:lnTo>
                    <a:pt x="2975981" y="1213827"/>
                  </a:lnTo>
                  <a:lnTo>
                    <a:pt x="2976756" y="1216229"/>
                  </a:lnTo>
                  <a:lnTo>
                    <a:pt x="2976634" y="1217678"/>
                  </a:lnTo>
                  <a:lnTo>
                    <a:pt x="2975329" y="1220300"/>
                  </a:lnTo>
                  <a:lnTo>
                    <a:pt x="2974716" y="1220939"/>
                  </a:lnTo>
                  <a:lnTo>
                    <a:pt x="2978642" y="1219957"/>
                  </a:lnTo>
                  <a:lnTo>
                    <a:pt x="2981258" y="1220299"/>
                  </a:lnTo>
                  <a:lnTo>
                    <a:pt x="2983110" y="1222283"/>
                  </a:lnTo>
                  <a:lnTo>
                    <a:pt x="2983800" y="1223698"/>
                  </a:lnTo>
                  <a:lnTo>
                    <a:pt x="2984353" y="1224536"/>
                  </a:lnTo>
                  <a:lnTo>
                    <a:pt x="2984626" y="1225317"/>
                  </a:lnTo>
                  <a:lnTo>
                    <a:pt x="2984471" y="1226549"/>
                  </a:lnTo>
                  <a:lnTo>
                    <a:pt x="2984229" y="1227168"/>
                  </a:lnTo>
                  <a:lnTo>
                    <a:pt x="2983490" y="1228001"/>
                  </a:lnTo>
                  <a:lnTo>
                    <a:pt x="2983060" y="1228220"/>
                  </a:lnTo>
                  <a:lnTo>
                    <a:pt x="2982843" y="1228607"/>
                  </a:lnTo>
                  <a:lnTo>
                    <a:pt x="2982908" y="1229321"/>
                  </a:lnTo>
                  <a:lnTo>
                    <a:pt x="2983090" y="1230178"/>
                  </a:lnTo>
                  <a:lnTo>
                    <a:pt x="2983213" y="1230985"/>
                  </a:lnTo>
                  <a:lnTo>
                    <a:pt x="2982878" y="1233706"/>
                  </a:lnTo>
                  <a:lnTo>
                    <a:pt x="2982538" y="1235093"/>
                  </a:lnTo>
                  <a:lnTo>
                    <a:pt x="2982209" y="1235751"/>
                  </a:lnTo>
                  <a:lnTo>
                    <a:pt x="2982018" y="1236569"/>
                  </a:lnTo>
                  <a:lnTo>
                    <a:pt x="2982088" y="1239812"/>
                  </a:lnTo>
                  <a:lnTo>
                    <a:pt x="2981741" y="1240680"/>
                  </a:lnTo>
                  <a:lnTo>
                    <a:pt x="2981447" y="1241013"/>
                  </a:lnTo>
                  <a:lnTo>
                    <a:pt x="2980871" y="1242433"/>
                  </a:lnTo>
                  <a:lnTo>
                    <a:pt x="2980566" y="1243795"/>
                  </a:lnTo>
                  <a:lnTo>
                    <a:pt x="2980567" y="1244192"/>
                  </a:lnTo>
                  <a:lnTo>
                    <a:pt x="2980642" y="1244623"/>
                  </a:lnTo>
                  <a:lnTo>
                    <a:pt x="2980717" y="1245457"/>
                  </a:lnTo>
                  <a:lnTo>
                    <a:pt x="2980520" y="1246833"/>
                  </a:lnTo>
                  <a:lnTo>
                    <a:pt x="2979389" y="1248468"/>
                  </a:lnTo>
                  <a:lnTo>
                    <a:pt x="2979072" y="1249650"/>
                  </a:lnTo>
                  <a:lnTo>
                    <a:pt x="2980241" y="1250581"/>
                  </a:lnTo>
                  <a:lnTo>
                    <a:pt x="2981130" y="1249860"/>
                  </a:lnTo>
                  <a:lnTo>
                    <a:pt x="2983865" y="1241892"/>
                  </a:lnTo>
                  <a:lnTo>
                    <a:pt x="2984247" y="1239430"/>
                  </a:lnTo>
                  <a:lnTo>
                    <a:pt x="2984382" y="1236481"/>
                  </a:lnTo>
                  <a:lnTo>
                    <a:pt x="2985562" y="1232571"/>
                  </a:lnTo>
                  <a:lnTo>
                    <a:pt x="2985830" y="1229888"/>
                  </a:lnTo>
                  <a:lnTo>
                    <a:pt x="2986590" y="1227193"/>
                  </a:lnTo>
                  <a:lnTo>
                    <a:pt x="2986939" y="1224137"/>
                  </a:lnTo>
                  <a:lnTo>
                    <a:pt x="2985900" y="1221260"/>
                  </a:lnTo>
                  <a:lnTo>
                    <a:pt x="2983887" y="1219331"/>
                  </a:lnTo>
                  <a:lnTo>
                    <a:pt x="2982052" y="1218100"/>
                  </a:lnTo>
                  <a:lnTo>
                    <a:pt x="2980292" y="1216334"/>
                  </a:lnTo>
                  <a:lnTo>
                    <a:pt x="2978510" y="1212805"/>
                  </a:lnTo>
                  <a:lnTo>
                    <a:pt x="2977809" y="1209563"/>
                  </a:lnTo>
                  <a:lnTo>
                    <a:pt x="2978567" y="1208238"/>
                  </a:lnTo>
                  <a:lnTo>
                    <a:pt x="2979867" y="1207704"/>
                  </a:lnTo>
                  <a:lnTo>
                    <a:pt x="2980787" y="1206801"/>
                  </a:lnTo>
                  <a:lnTo>
                    <a:pt x="2980876" y="1205300"/>
                  </a:lnTo>
                  <a:lnTo>
                    <a:pt x="2980054" y="1197015"/>
                  </a:lnTo>
                  <a:lnTo>
                    <a:pt x="2979841" y="1195908"/>
                  </a:lnTo>
                  <a:lnTo>
                    <a:pt x="2979833" y="1195029"/>
                  </a:lnTo>
                  <a:lnTo>
                    <a:pt x="2980241" y="1194205"/>
                  </a:lnTo>
                  <a:lnTo>
                    <a:pt x="2982823" y="1192915"/>
                  </a:lnTo>
                  <a:lnTo>
                    <a:pt x="2984540" y="1187762"/>
                  </a:lnTo>
                  <a:lnTo>
                    <a:pt x="2984563" y="1185649"/>
                  </a:lnTo>
                  <a:lnTo>
                    <a:pt x="2984715" y="1184819"/>
                  </a:lnTo>
                  <a:lnTo>
                    <a:pt x="2989025" y="1182160"/>
                  </a:lnTo>
                  <a:lnTo>
                    <a:pt x="2989314" y="1182122"/>
                  </a:lnTo>
                  <a:lnTo>
                    <a:pt x="2989708" y="1182197"/>
                  </a:lnTo>
                  <a:lnTo>
                    <a:pt x="2990132" y="1182398"/>
                  </a:lnTo>
                  <a:lnTo>
                    <a:pt x="2990521" y="1182764"/>
                  </a:lnTo>
                  <a:lnTo>
                    <a:pt x="2990792" y="1183299"/>
                  </a:lnTo>
                  <a:lnTo>
                    <a:pt x="2990832" y="1183788"/>
                  </a:lnTo>
                  <a:lnTo>
                    <a:pt x="2990833" y="1184315"/>
                  </a:lnTo>
                  <a:lnTo>
                    <a:pt x="2990976" y="1184946"/>
                  </a:lnTo>
                  <a:lnTo>
                    <a:pt x="2991708" y="1187612"/>
                  </a:lnTo>
                  <a:lnTo>
                    <a:pt x="2991755" y="1189743"/>
                  </a:lnTo>
                  <a:lnTo>
                    <a:pt x="2991353" y="1191405"/>
                  </a:lnTo>
                  <a:lnTo>
                    <a:pt x="2990154" y="1194108"/>
                  </a:lnTo>
                  <a:lnTo>
                    <a:pt x="2990173" y="1195483"/>
                  </a:lnTo>
                  <a:lnTo>
                    <a:pt x="2990730" y="1197245"/>
                  </a:lnTo>
                  <a:lnTo>
                    <a:pt x="2991764" y="1199869"/>
                  </a:lnTo>
                  <a:lnTo>
                    <a:pt x="2992869" y="1201469"/>
                  </a:lnTo>
                  <a:lnTo>
                    <a:pt x="2994418" y="1202555"/>
                  </a:lnTo>
                  <a:lnTo>
                    <a:pt x="2995916" y="1203128"/>
                  </a:lnTo>
                  <a:lnTo>
                    <a:pt x="2996842" y="1203140"/>
                  </a:lnTo>
                  <a:lnTo>
                    <a:pt x="2993090" y="1198593"/>
                  </a:lnTo>
                  <a:lnTo>
                    <a:pt x="2991301" y="1195616"/>
                  </a:lnTo>
                  <a:lnTo>
                    <a:pt x="2991688" y="1193845"/>
                  </a:lnTo>
                  <a:lnTo>
                    <a:pt x="2992860" y="1192872"/>
                  </a:lnTo>
                  <a:lnTo>
                    <a:pt x="2993351" y="1191128"/>
                  </a:lnTo>
                  <a:lnTo>
                    <a:pt x="2993321" y="1188629"/>
                  </a:lnTo>
                  <a:lnTo>
                    <a:pt x="2992931" y="1185401"/>
                  </a:lnTo>
                  <a:lnTo>
                    <a:pt x="2993062" y="1179377"/>
                  </a:lnTo>
                  <a:lnTo>
                    <a:pt x="2995075" y="1176108"/>
                  </a:lnTo>
                  <a:lnTo>
                    <a:pt x="3000832" y="1173598"/>
                  </a:lnTo>
                  <a:lnTo>
                    <a:pt x="3001639" y="1173855"/>
                  </a:lnTo>
                  <a:lnTo>
                    <a:pt x="3002700" y="1175148"/>
                  </a:lnTo>
                  <a:lnTo>
                    <a:pt x="3003583" y="1176781"/>
                  </a:lnTo>
                  <a:lnTo>
                    <a:pt x="3003860" y="1178105"/>
                  </a:lnTo>
                  <a:lnTo>
                    <a:pt x="3004136" y="1178799"/>
                  </a:lnTo>
                  <a:lnTo>
                    <a:pt x="3004374" y="1178708"/>
                  </a:lnTo>
                  <a:lnTo>
                    <a:pt x="3003663" y="1174776"/>
                  </a:lnTo>
                  <a:lnTo>
                    <a:pt x="3004256" y="1172945"/>
                  </a:lnTo>
                  <a:lnTo>
                    <a:pt x="3005386" y="1173520"/>
                  </a:lnTo>
                  <a:lnTo>
                    <a:pt x="3006248" y="1176753"/>
                  </a:lnTo>
                  <a:lnTo>
                    <a:pt x="3006278" y="1178402"/>
                  </a:lnTo>
                  <a:lnTo>
                    <a:pt x="3006039" y="1179710"/>
                  </a:lnTo>
                  <a:lnTo>
                    <a:pt x="3003764" y="1185586"/>
                  </a:lnTo>
                  <a:lnTo>
                    <a:pt x="3003260" y="1186331"/>
                  </a:lnTo>
                  <a:lnTo>
                    <a:pt x="3003089" y="1186807"/>
                  </a:lnTo>
                  <a:lnTo>
                    <a:pt x="3003447" y="1187613"/>
                  </a:lnTo>
                  <a:lnTo>
                    <a:pt x="3003951" y="1188463"/>
                  </a:lnTo>
                  <a:lnTo>
                    <a:pt x="3004227" y="1189086"/>
                  </a:lnTo>
                  <a:lnTo>
                    <a:pt x="3004200" y="1189840"/>
                  </a:lnTo>
                  <a:lnTo>
                    <a:pt x="3004000" y="1190392"/>
                  </a:lnTo>
                  <a:lnTo>
                    <a:pt x="3002403" y="1191945"/>
                  </a:lnTo>
                  <a:lnTo>
                    <a:pt x="3002396" y="1192715"/>
                  </a:lnTo>
                  <a:lnTo>
                    <a:pt x="3002790" y="1193907"/>
                  </a:lnTo>
                  <a:lnTo>
                    <a:pt x="3003145" y="1195971"/>
                  </a:lnTo>
                  <a:lnTo>
                    <a:pt x="3002989" y="1197035"/>
                  </a:lnTo>
                  <a:lnTo>
                    <a:pt x="3002149" y="1198964"/>
                  </a:lnTo>
                  <a:lnTo>
                    <a:pt x="3002072" y="1200363"/>
                  </a:lnTo>
                  <a:lnTo>
                    <a:pt x="3002361" y="1201924"/>
                  </a:lnTo>
                  <a:lnTo>
                    <a:pt x="3002749" y="1203570"/>
                  </a:lnTo>
                  <a:lnTo>
                    <a:pt x="3003017" y="1205133"/>
                  </a:lnTo>
                  <a:lnTo>
                    <a:pt x="3002958" y="1206493"/>
                  </a:lnTo>
                  <a:lnTo>
                    <a:pt x="3003441" y="1206962"/>
                  </a:lnTo>
                  <a:lnTo>
                    <a:pt x="3003874" y="1207283"/>
                  </a:lnTo>
                  <a:lnTo>
                    <a:pt x="3004255" y="1207442"/>
                  </a:lnTo>
                  <a:lnTo>
                    <a:pt x="3004607" y="1207461"/>
                  </a:lnTo>
                  <a:lnTo>
                    <a:pt x="3004741" y="1209132"/>
                  </a:lnTo>
                  <a:lnTo>
                    <a:pt x="3003933" y="1209534"/>
                  </a:lnTo>
                  <a:lnTo>
                    <a:pt x="3001887" y="1209291"/>
                  </a:lnTo>
                  <a:lnTo>
                    <a:pt x="3001137" y="1210006"/>
                  </a:lnTo>
                  <a:lnTo>
                    <a:pt x="2999965" y="1212240"/>
                  </a:lnTo>
                  <a:lnTo>
                    <a:pt x="2999066" y="1212816"/>
                  </a:lnTo>
                  <a:lnTo>
                    <a:pt x="2999162" y="1213402"/>
                  </a:lnTo>
                  <a:lnTo>
                    <a:pt x="2997351" y="1215474"/>
                  </a:lnTo>
                  <a:lnTo>
                    <a:pt x="2996158" y="1217819"/>
                  </a:lnTo>
                  <a:lnTo>
                    <a:pt x="2997288" y="1218194"/>
                  </a:lnTo>
                  <a:lnTo>
                    <a:pt x="2998305" y="1217030"/>
                  </a:lnTo>
                  <a:lnTo>
                    <a:pt x="2999782" y="1214067"/>
                  </a:lnTo>
                  <a:lnTo>
                    <a:pt x="3004423" y="1211528"/>
                  </a:lnTo>
                  <a:lnTo>
                    <a:pt x="3004692" y="1212215"/>
                  </a:lnTo>
                  <a:lnTo>
                    <a:pt x="3004531" y="1213399"/>
                  </a:lnTo>
                  <a:lnTo>
                    <a:pt x="3004536" y="1214899"/>
                  </a:lnTo>
                  <a:lnTo>
                    <a:pt x="3004891" y="1216572"/>
                  </a:lnTo>
                  <a:lnTo>
                    <a:pt x="3005787" y="1218264"/>
                  </a:lnTo>
                  <a:lnTo>
                    <a:pt x="3006312" y="1220035"/>
                  </a:lnTo>
                  <a:lnTo>
                    <a:pt x="3006974" y="1221558"/>
                  </a:lnTo>
                  <a:lnTo>
                    <a:pt x="3007236" y="1222738"/>
                  </a:lnTo>
                  <a:lnTo>
                    <a:pt x="3005910" y="1223966"/>
                  </a:lnTo>
                  <a:lnTo>
                    <a:pt x="3004650" y="1226594"/>
                  </a:lnTo>
                  <a:lnTo>
                    <a:pt x="3004945" y="1227353"/>
                  </a:lnTo>
                  <a:lnTo>
                    <a:pt x="3006568" y="1226471"/>
                  </a:lnTo>
                  <a:lnTo>
                    <a:pt x="3007539" y="1226405"/>
                  </a:lnTo>
                  <a:lnTo>
                    <a:pt x="3008296" y="1227246"/>
                  </a:lnTo>
                  <a:lnTo>
                    <a:pt x="3008608" y="1228597"/>
                  </a:lnTo>
                  <a:lnTo>
                    <a:pt x="3008509" y="1229614"/>
                  </a:lnTo>
                  <a:lnTo>
                    <a:pt x="3008273" y="1230463"/>
                  </a:lnTo>
                  <a:lnTo>
                    <a:pt x="3008137" y="1233214"/>
                  </a:lnTo>
                  <a:lnTo>
                    <a:pt x="3007261" y="1236689"/>
                  </a:lnTo>
                  <a:lnTo>
                    <a:pt x="3006729" y="1237844"/>
                  </a:lnTo>
                  <a:lnTo>
                    <a:pt x="3006998" y="1238541"/>
                  </a:lnTo>
                  <a:lnTo>
                    <a:pt x="3008154" y="1236112"/>
                  </a:lnTo>
                  <a:lnTo>
                    <a:pt x="3009931" y="1223007"/>
                  </a:lnTo>
                  <a:lnTo>
                    <a:pt x="3009887" y="1222220"/>
                  </a:lnTo>
                  <a:lnTo>
                    <a:pt x="3009504" y="1221171"/>
                  </a:lnTo>
                  <a:lnTo>
                    <a:pt x="3008506" y="1219656"/>
                  </a:lnTo>
                  <a:lnTo>
                    <a:pt x="3007964" y="1218558"/>
                  </a:lnTo>
                  <a:lnTo>
                    <a:pt x="3007273" y="1211635"/>
                  </a:lnTo>
                  <a:lnTo>
                    <a:pt x="3007597" y="1210898"/>
                  </a:lnTo>
                  <a:lnTo>
                    <a:pt x="3007980" y="1210443"/>
                  </a:lnTo>
                  <a:lnTo>
                    <a:pt x="3008213" y="1209807"/>
                  </a:lnTo>
                  <a:lnTo>
                    <a:pt x="3008097" y="1208533"/>
                  </a:lnTo>
                  <a:lnTo>
                    <a:pt x="3007801" y="1207712"/>
                  </a:lnTo>
                  <a:lnTo>
                    <a:pt x="3007357" y="1206820"/>
                  </a:lnTo>
                  <a:lnTo>
                    <a:pt x="3006934" y="1205824"/>
                  </a:lnTo>
                  <a:lnTo>
                    <a:pt x="3006701" y="1204670"/>
                  </a:lnTo>
                  <a:lnTo>
                    <a:pt x="3006747" y="1202882"/>
                  </a:lnTo>
                  <a:lnTo>
                    <a:pt x="3006619" y="1201745"/>
                  </a:lnTo>
                  <a:lnTo>
                    <a:pt x="3006201" y="1200829"/>
                  </a:lnTo>
                  <a:lnTo>
                    <a:pt x="3005994" y="1200055"/>
                  </a:lnTo>
                  <a:lnTo>
                    <a:pt x="3006242" y="1199128"/>
                  </a:lnTo>
                  <a:lnTo>
                    <a:pt x="3006897" y="1197733"/>
                  </a:lnTo>
                  <a:lnTo>
                    <a:pt x="3007661" y="1194187"/>
                  </a:lnTo>
                  <a:lnTo>
                    <a:pt x="3008271" y="1192833"/>
                  </a:lnTo>
                  <a:lnTo>
                    <a:pt x="3009388" y="1191974"/>
                  </a:lnTo>
                  <a:lnTo>
                    <a:pt x="3010668" y="1191800"/>
                  </a:lnTo>
                  <a:lnTo>
                    <a:pt x="3011923" y="1192178"/>
                  </a:lnTo>
                  <a:lnTo>
                    <a:pt x="3014782" y="1193963"/>
                  </a:lnTo>
                  <a:lnTo>
                    <a:pt x="3014896" y="1195570"/>
                  </a:lnTo>
                  <a:lnTo>
                    <a:pt x="3014663" y="1197196"/>
                  </a:lnTo>
                  <a:lnTo>
                    <a:pt x="3014664" y="1198845"/>
                  </a:lnTo>
                  <a:lnTo>
                    <a:pt x="3016197" y="1201945"/>
                  </a:lnTo>
                  <a:lnTo>
                    <a:pt x="3016514" y="1203764"/>
                  </a:lnTo>
                  <a:lnTo>
                    <a:pt x="3016615" y="1206868"/>
                  </a:lnTo>
                  <a:lnTo>
                    <a:pt x="3017493" y="1207278"/>
                  </a:lnTo>
                  <a:lnTo>
                    <a:pt x="3019616" y="1209753"/>
                  </a:lnTo>
                  <a:lnTo>
                    <a:pt x="3020383" y="1210211"/>
                  </a:lnTo>
                  <a:lnTo>
                    <a:pt x="3020682" y="1210782"/>
                  </a:lnTo>
                  <a:lnTo>
                    <a:pt x="3020393" y="1215005"/>
                  </a:lnTo>
                  <a:lnTo>
                    <a:pt x="3021215" y="1214325"/>
                  </a:lnTo>
                  <a:lnTo>
                    <a:pt x="3022448" y="1212245"/>
                  </a:lnTo>
                  <a:lnTo>
                    <a:pt x="3023242" y="1211580"/>
                  </a:lnTo>
                  <a:lnTo>
                    <a:pt x="3023280" y="1210906"/>
                  </a:lnTo>
                  <a:lnTo>
                    <a:pt x="3022367" y="1207829"/>
                  </a:lnTo>
                  <a:lnTo>
                    <a:pt x="3022040" y="1206362"/>
                  </a:lnTo>
                  <a:lnTo>
                    <a:pt x="3022243" y="1205424"/>
                  </a:lnTo>
                  <a:lnTo>
                    <a:pt x="3022827" y="1204519"/>
                  </a:lnTo>
                  <a:lnTo>
                    <a:pt x="3023520" y="1204038"/>
                  </a:lnTo>
                  <a:lnTo>
                    <a:pt x="3024049" y="1204377"/>
                  </a:lnTo>
                  <a:lnTo>
                    <a:pt x="3024962" y="1206156"/>
                  </a:lnTo>
                  <a:lnTo>
                    <a:pt x="3025856" y="1207197"/>
                  </a:lnTo>
                  <a:lnTo>
                    <a:pt x="3026768" y="1207987"/>
                  </a:lnTo>
                  <a:lnTo>
                    <a:pt x="3027735" y="1209028"/>
                  </a:lnTo>
                  <a:lnTo>
                    <a:pt x="3026733" y="1210609"/>
                  </a:lnTo>
                  <a:lnTo>
                    <a:pt x="3026109" y="1211167"/>
                  </a:lnTo>
                  <a:lnTo>
                    <a:pt x="3025372" y="1211473"/>
                  </a:lnTo>
                  <a:lnTo>
                    <a:pt x="3024903" y="1211675"/>
                  </a:lnTo>
                  <a:lnTo>
                    <a:pt x="3024658" y="1212061"/>
                  </a:lnTo>
                  <a:lnTo>
                    <a:pt x="3024543" y="1212597"/>
                  </a:lnTo>
                  <a:lnTo>
                    <a:pt x="3024644" y="1213398"/>
                  </a:lnTo>
                  <a:lnTo>
                    <a:pt x="3024929" y="1214003"/>
                  </a:lnTo>
                  <a:lnTo>
                    <a:pt x="3025240" y="1214527"/>
                  </a:lnTo>
                  <a:lnTo>
                    <a:pt x="3025423" y="1215101"/>
                  </a:lnTo>
                  <a:lnTo>
                    <a:pt x="3025414" y="1216507"/>
                  </a:lnTo>
                  <a:lnTo>
                    <a:pt x="3024414" y="1218689"/>
                  </a:lnTo>
                  <a:lnTo>
                    <a:pt x="3023616" y="1222594"/>
                  </a:lnTo>
                  <a:lnTo>
                    <a:pt x="3023450" y="1224813"/>
                  </a:lnTo>
                  <a:lnTo>
                    <a:pt x="3023517" y="1227477"/>
                  </a:lnTo>
                  <a:lnTo>
                    <a:pt x="3023924" y="1227921"/>
                  </a:lnTo>
                  <a:lnTo>
                    <a:pt x="3024248" y="1228564"/>
                  </a:lnTo>
                  <a:lnTo>
                    <a:pt x="3024493" y="1229385"/>
                  </a:lnTo>
                  <a:lnTo>
                    <a:pt x="3024645" y="1230314"/>
                  </a:lnTo>
                  <a:lnTo>
                    <a:pt x="3025140" y="1230853"/>
                  </a:lnTo>
                  <a:lnTo>
                    <a:pt x="3025218" y="1231733"/>
                  </a:lnTo>
                  <a:lnTo>
                    <a:pt x="3025251" y="1233642"/>
                  </a:lnTo>
                  <a:lnTo>
                    <a:pt x="3025425" y="1234819"/>
                  </a:lnTo>
                  <a:lnTo>
                    <a:pt x="3025866" y="1236175"/>
                  </a:lnTo>
                  <a:lnTo>
                    <a:pt x="3027109" y="1238843"/>
                  </a:lnTo>
                  <a:lnTo>
                    <a:pt x="3027650" y="1240428"/>
                  </a:lnTo>
                  <a:lnTo>
                    <a:pt x="3027776" y="1243887"/>
                  </a:lnTo>
                  <a:lnTo>
                    <a:pt x="3024734" y="1246595"/>
                  </a:lnTo>
                  <a:lnTo>
                    <a:pt x="3023976" y="1248883"/>
                  </a:lnTo>
                  <a:lnTo>
                    <a:pt x="3024843" y="1249277"/>
                  </a:lnTo>
                  <a:lnTo>
                    <a:pt x="3025179" y="1248806"/>
                  </a:lnTo>
                  <a:lnTo>
                    <a:pt x="3025360" y="1248023"/>
                  </a:lnTo>
                  <a:lnTo>
                    <a:pt x="3025771" y="1247476"/>
                  </a:lnTo>
                  <a:lnTo>
                    <a:pt x="3028092" y="1246235"/>
                  </a:lnTo>
                  <a:lnTo>
                    <a:pt x="3029042" y="1245146"/>
                  </a:lnTo>
                  <a:lnTo>
                    <a:pt x="3029679" y="1243581"/>
                  </a:lnTo>
                  <a:lnTo>
                    <a:pt x="3029712" y="1241080"/>
                  </a:lnTo>
                  <a:lnTo>
                    <a:pt x="3028907" y="1238772"/>
                  </a:lnTo>
                  <a:lnTo>
                    <a:pt x="3027794" y="1236311"/>
                  </a:lnTo>
                  <a:lnTo>
                    <a:pt x="3026915" y="1233373"/>
                  </a:lnTo>
                  <a:lnTo>
                    <a:pt x="3026816" y="1232615"/>
                  </a:lnTo>
                  <a:lnTo>
                    <a:pt x="3026740" y="1230637"/>
                  </a:lnTo>
                  <a:lnTo>
                    <a:pt x="3026624" y="1229980"/>
                  </a:lnTo>
                  <a:lnTo>
                    <a:pt x="3026239" y="1228507"/>
                  </a:lnTo>
                  <a:lnTo>
                    <a:pt x="3026094" y="1227723"/>
                  </a:lnTo>
                  <a:lnTo>
                    <a:pt x="3026158" y="1226659"/>
                  </a:lnTo>
                  <a:lnTo>
                    <a:pt x="3026932" y="1223034"/>
                  </a:lnTo>
                  <a:lnTo>
                    <a:pt x="3026844" y="1222099"/>
                  </a:lnTo>
                  <a:lnTo>
                    <a:pt x="3026709" y="1221341"/>
                  </a:lnTo>
                  <a:lnTo>
                    <a:pt x="3026737" y="1220766"/>
                  </a:lnTo>
                  <a:lnTo>
                    <a:pt x="3027614" y="1220102"/>
                  </a:lnTo>
                  <a:lnTo>
                    <a:pt x="3028384" y="1219001"/>
                  </a:lnTo>
                  <a:lnTo>
                    <a:pt x="3028626" y="1218295"/>
                  </a:lnTo>
                  <a:lnTo>
                    <a:pt x="3028805" y="1217252"/>
                  </a:lnTo>
                  <a:lnTo>
                    <a:pt x="3028733" y="1216234"/>
                  </a:lnTo>
                  <a:lnTo>
                    <a:pt x="3028292" y="1215145"/>
                  </a:lnTo>
                  <a:lnTo>
                    <a:pt x="3027373" y="1213903"/>
                  </a:lnTo>
                  <a:lnTo>
                    <a:pt x="3031718" y="1212960"/>
                  </a:lnTo>
                  <a:lnTo>
                    <a:pt x="3034126" y="1213235"/>
                  </a:lnTo>
                  <a:lnTo>
                    <a:pt x="3037567" y="1214477"/>
                  </a:lnTo>
                  <a:lnTo>
                    <a:pt x="3037938" y="1214804"/>
                  </a:lnTo>
                  <a:lnTo>
                    <a:pt x="3038367" y="1215639"/>
                  </a:lnTo>
                  <a:lnTo>
                    <a:pt x="3038752" y="1215990"/>
                  </a:lnTo>
                  <a:lnTo>
                    <a:pt x="3039835" y="1214888"/>
                  </a:lnTo>
                  <a:lnTo>
                    <a:pt x="3041395" y="1215194"/>
                  </a:lnTo>
                  <a:lnTo>
                    <a:pt x="3042211" y="1215608"/>
                  </a:lnTo>
                  <a:lnTo>
                    <a:pt x="3043206" y="1216654"/>
                  </a:lnTo>
                  <a:lnTo>
                    <a:pt x="3038420" y="1221326"/>
                  </a:lnTo>
                  <a:lnTo>
                    <a:pt x="3037779" y="1224336"/>
                  </a:lnTo>
                  <a:lnTo>
                    <a:pt x="3038772" y="1225366"/>
                  </a:lnTo>
                  <a:lnTo>
                    <a:pt x="3039895" y="1226914"/>
                  </a:lnTo>
                  <a:lnTo>
                    <a:pt x="3040954" y="1228798"/>
                  </a:lnTo>
                  <a:lnTo>
                    <a:pt x="3041746" y="1230873"/>
                  </a:lnTo>
                  <a:lnTo>
                    <a:pt x="3041974" y="1233996"/>
                  </a:lnTo>
                  <a:lnTo>
                    <a:pt x="3042403" y="1237036"/>
                  </a:lnTo>
                  <a:lnTo>
                    <a:pt x="3041880" y="1239234"/>
                  </a:lnTo>
                  <a:lnTo>
                    <a:pt x="3039719" y="1243360"/>
                  </a:lnTo>
                  <a:lnTo>
                    <a:pt x="3039783" y="1246072"/>
                  </a:lnTo>
                  <a:lnTo>
                    <a:pt x="3040680" y="1246482"/>
                  </a:lnTo>
                  <a:lnTo>
                    <a:pt x="3043709" y="1249357"/>
                  </a:lnTo>
                  <a:lnTo>
                    <a:pt x="3044259" y="1250017"/>
                  </a:lnTo>
                  <a:lnTo>
                    <a:pt x="3043717" y="1248050"/>
                  </a:lnTo>
                  <a:lnTo>
                    <a:pt x="3041765" y="1245949"/>
                  </a:lnTo>
                  <a:lnTo>
                    <a:pt x="3041031" y="1243991"/>
                  </a:lnTo>
                  <a:lnTo>
                    <a:pt x="3041426" y="1242461"/>
                  </a:lnTo>
                  <a:lnTo>
                    <a:pt x="3043648" y="1239861"/>
                  </a:lnTo>
                  <a:lnTo>
                    <a:pt x="3043517" y="1237804"/>
                  </a:lnTo>
                  <a:lnTo>
                    <a:pt x="3043115" y="1236083"/>
                  </a:lnTo>
                  <a:lnTo>
                    <a:pt x="3043196" y="1234540"/>
                  </a:lnTo>
                  <a:lnTo>
                    <a:pt x="3043649" y="1231731"/>
                  </a:lnTo>
                  <a:lnTo>
                    <a:pt x="3043574" y="1230030"/>
                  </a:lnTo>
                  <a:lnTo>
                    <a:pt x="3043379" y="1228231"/>
                  </a:lnTo>
                  <a:lnTo>
                    <a:pt x="3043107" y="1227610"/>
                  </a:lnTo>
                  <a:lnTo>
                    <a:pt x="3041897" y="1225840"/>
                  </a:lnTo>
                  <a:lnTo>
                    <a:pt x="3041396" y="1224922"/>
                  </a:lnTo>
                  <a:lnTo>
                    <a:pt x="3041117" y="1222559"/>
                  </a:lnTo>
                  <a:lnTo>
                    <a:pt x="3042210" y="1221415"/>
                  </a:lnTo>
                  <a:lnTo>
                    <a:pt x="3044784" y="1220850"/>
                  </a:lnTo>
                  <a:lnTo>
                    <a:pt x="3045405" y="1220235"/>
                  </a:lnTo>
                  <a:lnTo>
                    <a:pt x="3045665" y="1219112"/>
                  </a:lnTo>
                  <a:lnTo>
                    <a:pt x="3045651" y="1217594"/>
                  </a:lnTo>
                  <a:lnTo>
                    <a:pt x="3045441" y="1215766"/>
                  </a:lnTo>
                  <a:lnTo>
                    <a:pt x="3045097" y="1213920"/>
                  </a:lnTo>
                  <a:lnTo>
                    <a:pt x="3044622" y="1212198"/>
                  </a:lnTo>
                  <a:lnTo>
                    <a:pt x="3044040" y="1210532"/>
                  </a:lnTo>
                  <a:lnTo>
                    <a:pt x="3043371" y="1208844"/>
                  </a:lnTo>
                  <a:lnTo>
                    <a:pt x="3042313" y="1206631"/>
                  </a:lnTo>
                  <a:lnTo>
                    <a:pt x="3041365" y="1205174"/>
                  </a:lnTo>
                  <a:lnTo>
                    <a:pt x="3040398" y="1203848"/>
                  </a:lnTo>
                  <a:lnTo>
                    <a:pt x="3039296" y="1202059"/>
                  </a:lnTo>
                  <a:lnTo>
                    <a:pt x="3040707" y="1200117"/>
                  </a:lnTo>
                  <a:lnTo>
                    <a:pt x="3044739" y="1198634"/>
                  </a:lnTo>
                  <a:lnTo>
                    <a:pt x="3045837" y="1196149"/>
                  </a:lnTo>
                  <a:lnTo>
                    <a:pt x="3044359" y="1193807"/>
                  </a:lnTo>
                  <a:lnTo>
                    <a:pt x="3043588" y="1192784"/>
                  </a:lnTo>
                  <a:lnTo>
                    <a:pt x="3043014" y="1192458"/>
                  </a:lnTo>
                  <a:lnTo>
                    <a:pt x="3042459" y="1192297"/>
                  </a:lnTo>
                  <a:lnTo>
                    <a:pt x="3041621" y="1191665"/>
                  </a:lnTo>
                  <a:lnTo>
                    <a:pt x="3040741" y="1190724"/>
                  </a:lnTo>
                  <a:lnTo>
                    <a:pt x="3040042" y="1189627"/>
                  </a:lnTo>
                  <a:lnTo>
                    <a:pt x="3040313" y="1189072"/>
                  </a:lnTo>
                  <a:lnTo>
                    <a:pt x="3041922" y="1187956"/>
                  </a:lnTo>
                  <a:lnTo>
                    <a:pt x="3044930" y="1183556"/>
                  </a:lnTo>
                  <a:lnTo>
                    <a:pt x="3044411" y="1180467"/>
                  </a:lnTo>
                  <a:lnTo>
                    <a:pt x="3043952" y="1178929"/>
                  </a:lnTo>
                  <a:lnTo>
                    <a:pt x="3043075" y="1176691"/>
                  </a:lnTo>
                  <a:lnTo>
                    <a:pt x="3042710" y="1175553"/>
                  </a:lnTo>
                  <a:lnTo>
                    <a:pt x="3042304" y="1173887"/>
                  </a:lnTo>
                  <a:lnTo>
                    <a:pt x="3042082" y="1172363"/>
                  </a:lnTo>
                  <a:lnTo>
                    <a:pt x="3042025" y="1171767"/>
                  </a:lnTo>
                  <a:lnTo>
                    <a:pt x="3042719" y="1170332"/>
                  </a:lnTo>
                  <a:lnTo>
                    <a:pt x="3044197" y="1170471"/>
                  </a:lnTo>
                  <a:lnTo>
                    <a:pt x="3045912" y="1171137"/>
                  </a:lnTo>
                  <a:lnTo>
                    <a:pt x="3056234" y="1171217"/>
                  </a:lnTo>
                  <a:lnTo>
                    <a:pt x="3066571" y="1171245"/>
                  </a:lnTo>
                  <a:lnTo>
                    <a:pt x="3072659" y="1173398"/>
                  </a:lnTo>
                  <a:lnTo>
                    <a:pt x="3079887" y="1172663"/>
                  </a:lnTo>
                  <a:lnTo>
                    <a:pt x="3081519" y="1173156"/>
                  </a:lnTo>
                  <a:lnTo>
                    <a:pt x="3082680" y="1174394"/>
                  </a:lnTo>
                  <a:lnTo>
                    <a:pt x="3083237" y="1174370"/>
                  </a:lnTo>
                  <a:lnTo>
                    <a:pt x="3087674" y="1176369"/>
                  </a:lnTo>
                  <a:lnTo>
                    <a:pt x="3088078" y="1178047"/>
                  </a:lnTo>
                  <a:lnTo>
                    <a:pt x="3088122" y="1178609"/>
                  </a:lnTo>
                  <a:lnTo>
                    <a:pt x="3090537" y="1180065"/>
                  </a:lnTo>
                  <a:lnTo>
                    <a:pt x="3095027" y="1181755"/>
                  </a:lnTo>
                  <a:lnTo>
                    <a:pt x="3103587" y="1188812"/>
                  </a:lnTo>
                  <a:lnTo>
                    <a:pt x="3105547" y="1190793"/>
                  </a:lnTo>
                  <a:lnTo>
                    <a:pt x="3105529" y="1193950"/>
                  </a:lnTo>
                  <a:lnTo>
                    <a:pt x="3104060" y="1198030"/>
                  </a:lnTo>
                  <a:lnTo>
                    <a:pt x="3103748" y="1201850"/>
                  </a:lnTo>
                  <a:lnTo>
                    <a:pt x="3103011" y="1203383"/>
                  </a:lnTo>
                  <a:lnTo>
                    <a:pt x="3102821" y="1204177"/>
                  </a:lnTo>
                  <a:lnTo>
                    <a:pt x="3103006" y="1208154"/>
                  </a:lnTo>
                  <a:lnTo>
                    <a:pt x="3103621" y="1212862"/>
                  </a:lnTo>
                  <a:lnTo>
                    <a:pt x="3103718" y="1215053"/>
                  </a:lnTo>
                  <a:lnTo>
                    <a:pt x="3103234" y="1216189"/>
                  </a:lnTo>
                  <a:lnTo>
                    <a:pt x="3098107" y="1217617"/>
                  </a:lnTo>
                  <a:lnTo>
                    <a:pt x="3094065" y="1216366"/>
                  </a:lnTo>
                  <a:lnTo>
                    <a:pt x="3088472" y="1216746"/>
                  </a:lnTo>
                  <a:lnTo>
                    <a:pt x="3087615" y="1217351"/>
                  </a:lnTo>
                  <a:lnTo>
                    <a:pt x="3085240" y="1220987"/>
                  </a:lnTo>
                  <a:lnTo>
                    <a:pt x="3083726" y="1222127"/>
                  </a:lnTo>
                  <a:lnTo>
                    <a:pt x="3083184" y="1223075"/>
                  </a:lnTo>
                  <a:lnTo>
                    <a:pt x="3082766" y="1224637"/>
                  </a:lnTo>
                  <a:lnTo>
                    <a:pt x="3082685" y="1225712"/>
                  </a:lnTo>
                  <a:lnTo>
                    <a:pt x="3082901" y="1226760"/>
                  </a:lnTo>
                  <a:lnTo>
                    <a:pt x="3083413" y="1227536"/>
                  </a:lnTo>
                  <a:lnTo>
                    <a:pt x="3084139" y="1228464"/>
                  </a:lnTo>
                  <a:lnTo>
                    <a:pt x="3084672" y="1229295"/>
                  </a:lnTo>
                  <a:lnTo>
                    <a:pt x="3084600" y="1229763"/>
                  </a:lnTo>
                  <a:lnTo>
                    <a:pt x="3084369" y="1230234"/>
                  </a:lnTo>
                  <a:lnTo>
                    <a:pt x="3084287" y="1231136"/>
                  </a:lnTo>
                  <a:lnTo>
                    <a:pt x="3084433" y="1235253"/>
                  </a:lnTo>
                  <a:lnTo>
                    <a:pt x="3084352" y="1235966"/>
                  </a:lnTo>
                  <a:lnTo>
                    <a:pt x="3081910" y="1238084"/>
                  </a:lnTo>
                  <a:lnTo>
                    <a:pt x="3081380" y="1239399"/>
                  </a:lnTo>
                  <a:lnTo>
                    <a:pt x="3081334" y="1241690"/>
                  </a:lnTo>
                  <a:lnTo>
                    <a:pt x="3082442" y="1243180"/>
                  </a:lnTo>
                  <a:lnTo>
                    <a:pt x="3082763" y="1244738"/>
                  </a:lnTo>
                  <a:lnTo>
                    <a:pt x="3082628" y="1246121"/>
                  </a:lnTo>
                  <a:lnTo>
                    <a:pt x="3082353" y="1247085"/>
                  </a:lnTo>
                  <a:lnTo>
                    <a:pt x="3071557" y="1257533"/>
                  </a:lnTo>
                  <a:lnTo>
                    <a:pt x="3071030" y="1258842"/>
                  </a:lnTo>
                  <a:lnTo>
                    <a:pt x="3080106" y="1252836"/>
                  </a:lnTo>
                  <a:lnTo>
                    <a:pt x="3084337" y="1246922"/>
                  </a:lnTo>
                  <a:lnTo>
                    <a:pt x="3085300" y="1246753"/>
                  </a:lnTo>
                  <a:lnTo>
                    <a:pt x="3087414" y="1247651"/>
                  </a:lnTo>
                  <a:lnTo>
                    <a:pt x="3089286" y="1247771"/>
                  </a:lnTo>
                  <a:lnTo>
                    <a:pt x="3089880" y="1248021"/>
                  </a:lnTo>
                  <a:lnTo>
                    <a:pt x="3090312" y="1248426"/>
                  </a:lnTo>
                  <a:lnTo>
                    <a:pt x="3090752" y="1249353"/>
                  </a:lnTo>
                  <a:lnTo>
                    <a:pt x="3090745" y="1249779"/>
                  </a:lnTo>
                  <a:lnTo>
                    <a:pt x="3090570" y="1250049"/>
                  </a:lnTo>
                  <a:lnTo>
                    <a:pt x="3090488" y="1250488"/>
                  </a:lnTo>
                  <a:lnTo>
                    <a:pt x="3090447" y="1251690"/>
                  </a:lnTo>
                  <a:lnTo>
                    <a:pt x="3089499" y="1256409"/>
                  </a:lnTo>
                  <a:lnTo>
                    <a:pt x="3088705" y="1258506"/>
                  </a:lnTo>
                  <a:lnTo>
                    <a:pt x="3088124" y="1259024"/>
                  </a:lnTo>
                  <a:lnTo>
                    <a:pt x="3089022" y="1260407"/>
                  </a:lnTo>
                  <a:lnTo>
                    <a:pt x="3089492" y="1261024"/>
                  </a:lnTo>
                  <a:lnTo>
                    <a:pt x="3090009" y="1261552"/>
                  </a:lnTo>
                  <a:lnTo>
                    <a:pt x="3090143" y="1266344"/>
                  </a:lnTo>
                  <a:lnTo>
                    <a:pt x="3089844" y="1267462"/>
                  </a:lnTo>
                  <a:lnTo>
                    <a:pt x="3087541" y="1271834"/>
                  </a:lnTo>
                  <a:lnTo>
                    <a:pt x="3084684" y="1273613"/>
                  </a:lnTo>
                  <a:lnTo>
                    <a:pt x="3083799" y="1275445"/>
                  </a:lnTo>
                  <a:lnTo>
                    <a:pt x="3084576" y="1275804"/>
                  </a:lnTo>
                  <a:lnTo>
                    <a:pt x="3085051" y="1275410"/>
                  </a:lnTo>
                  <a:lnTo>
                    <a:pt x="3085474" y="1274806"/>
                  </a:lnTo>
                  <a:lnTo>
                    <a:pt x="3086083" y="1274521"/>
                  </a:lnTo>
                  <a:lnTo>
                    <a:pt x="3086129" y="1275098"/>
                  </a:lnTo>
                  <a:lnTo>
                    <a:pt x="3086469" y="1276786"/>
                  </a:lnTo>
                  <a:lnTo>
                    <a:pt x="3087135" y="1276569"/>
                  </a:lnTo>
                  <a:lnTo>
                    <a:pt x="3087608" y="1275863"/>
                  </a:lnTo>
                  <a:lnTo>
                    <a:pt x="3087863" y="1274774"/>
                  </a:lnTo>
                  <a:lnTo>
                    <a:pt x="3087877" y="1273389"/>
                  </a:lnTo>
                  <a:lnTo>
                    <a:pt x="3088164" y="1272172"/>
                  </a:lnTo>
                  <a:lnTo>
                    <a:pt x="3090710" y="1270225"/>
                  </a:lnTo>
                  <a:lnTo>
                    <a:pt x="3091490" y="1268853"/>
                  </a:lnTo>
                  <a:lnTo>
                    <a:pt x="3091968" y="1267257"/>
                  </a:lnTo>
                  <a:lnTo>
                    <a:pt x="3092203" y="1265355"/>
                  </a:lnTo>
                  <a:lnTo>
                    <a:pt x="3092245" y="1263061"/>
                  </a:lnTo>
                  <a:lnTo>
                    <a:pt x="3091914" y="1258479"/>
                  </a:lnTo>
                  <a:lnTo>
                    <a:pt x="3092033" y="1256609"/>
                  </a:lnTo>
                  <a:lnTo>
                    <a:pt x="3099398" y="1250395"/>
                  </a:lnTo>
                  <a:lnTo>
                    <a:pt x="3102180" y="1244974"/>
                  </a:lnTo>
                  <a:lnTo>
                    <a:pt x="3104742" y="1242611"/>
                  </a:lnTo>
                  <a:lnTo>
                    <a:pt x="3107765" y="1237152"/>
                  </a:lnTo>
                  <a:lnTo>
                    <a:pt x="3115922" y="1232013"/>
                  </a:lnTo>
                  <a:lnTo>
                    <a:pt x="3116790" y="1231864"/>
                  </a:lnTo>
                  <a:lnTo>
                    <a:pt x="3120863" y="1233691"/>
                  </a:lnTo>
                  <a:lnTo>
                    <a:pt x="3121582" y="1233682"/>
                  </a:lnTo>
                  <a:lnTo>
                    <a:pt x="3122110" y="1232930"/>
                  </a:lnTo>
                  <a:lnTo>
                    <a:pt x="3121427" y="1232007"/>
                  </a:lnTo>
                  <a:lnTo>
                    <a:pt x="3117588" y="1229746"/>
                  </a:lnTo>
                  <a:lnTo>
                    <a:pt x="3116763" y="1229441"/>
                  </a:lnTo>
                  <a:lnTo>
                    <a:pt x="3116106" y="1229452"/>
                  </a:lnTo>
                  <a:lnTo>
                    <a:pt x="3115620" y="1227915"/>
                  </a:lnTo>
                  <a:lnTo>
                    <a:pt x="3115516" y="1226835"/>
                  </a:lnTo>
                  <a:lnTo>
                    <a:pt x="3115786" y="1225080"/>
                  </a:lnTo>
                  <a:lnTo>
                    <a:pt x="3115814" y="1224020"/>
                  </a:lnTo>
                  <a:lnTo>
                    <a:pt x="3115644" y="1223191"/>
                  </a:lnTo>
                  <a:lnTo>
                    <a:pt x="3115346" y="1222272"/>
                  </a:lnTo>
                  <a:lnTo>
                    <a:pt x="3115002" y="1220979"/>
                  </a:lnTo>
                  <a:lnTo>
                    <a:pt x="3114553" y="1218324"/>
                  </a:lnTo>
                  <a:lnTo>
                    <a:pt x="3114492" y="1216192"/>
                  </a:lnTo>
                  <a:lnTo>
                    <a:pt x="3114835" y="1214534"/>
                  </a:lnTo>
                  <a:lnTo>
                    <a:pt x="3118782" y="1208839"/>
                  </a:lnTo>
                  <a:lnTo>
                    <a:pt x="3120992" y="1203337"/>
                  </a:lnTo>
                  <a:lnTo>
                    <a:pt x="3123142" y="1201737"/>
                  </a:lnTo>
                  <a:lnTo>
                    <a:pt x="3125994" y="1201752"/>
                  </a:lnTo>
                  <a:lnTo>
                    <a:pt x="3129578" y="1203195"/>
                  </a:lnTo>
                  <a:lnTo>
                    <a:pt x="3130533" y="1203893"/>
                  </a:lnTo>
                  <a:lnTo>
                    <a:pt x="3133242" y="1206850"/>
                  </a:lnTo>
                  <a:lnTo>
                    <a:pt x="3133846" y="1207694"/>
                  </a:lnTo>
                  <a:lnTo>
                    <a:pt x="3135009" y="1209957"/>
                  </a:lnTo>
                  <a:lnTo>
                    <a:pt x="3135548" y="1210737"/>
                  </a:lnTo>
                  <a:lnTo>
                    <a:pt x="3138470" y="1213565"/>
                  </a:lnTo>
                  <a:lnTo>
                    <a:pt x="3139946" y="1215562"/>
                  </a:lnTo>
                  <a:lnTo>
                    <a:pt x="3140831" y="1217904"/>
                  </a:lnTo>
                  <a:lnTo>
                    <a:pt x="3140855" y="1219908"/>
                  </a:lnTo>
                  <a:lnTo>
                    <a:pt x="3137970" y="1228093"/>
                  </a:lnTo>
                  <a:lnTo>
                    <a:pt x="3138003" y="1229213"/>
                  </a:lnTo>
                  <a:lnTo>
                    <a:pt x="3138486" y="1231411"/>
                  </a:lnTo>
                  <a:lnTo>
                    <a:pt x="3138685" y="1232682"/>
                  </a:lnTo>
                  <a:lnTo>
                    <a:pt x="3140630" y="1237089"/>
                  </a:lnTo>
                  <a:lnTo>
                    <a:pt x="3140147" y="1240942"/>
                  </a:lnTo>
                  <a:lnTo>
                    <a:pt x="3133682" y="1249513"/>
                  </a:lnTo>
                  <a:lnTo>
                    <a:pt x="3133176" y="1251553"/>
                  </a:lnTo>
                  <a:lnTo>
                    <a:pt x="3133437" y="1253669"/>
                  </a:lnTo>
                  <a:lnTo>
                    <a:pt x="3134000" y="1255785"/>
                  </a:lnTo>
                  <a:lnTo>
                    <a:pt x="3134432" y="1257753"/>
                  </a:lnTo>
                  <a:lnTo>
                    <a:pt x="3134304" y="1259439"/>
                  </a:lnTo>
                  <a:lnTo>
                    <a:pt x="3133088" y="1261026"/>
                  </a:lnTo>
                  <a:lnTo>
                    <a:pt x="3131293" y="1261595"/>
                  </a:lnTo>
                  <a:lnTo>
                    <a:pt x="3120962" y="1261609"/>
                  </a:lnTo>
                  <a:lnTo>
                    <a:pt x="3119618" y="1263050"/>
                  </a:lnTo>
                  <a:lnTo>
                    <a:pt x="3119426" y="1263635"/>
                  </a:lnTo>
                  <a:lnTo>
                    <a:pt x="3119409" y="1264349"/>
                  </a:lnTo>
                  <a:lnTo>
                    <a:pt x="3119745" y="1265227"/>
                  </a:lnTo>
                  <a:lnTo>
                    <a:pt x="3120624" y="1266311"/>
                  </a:lnTo>
                  <a:lnTo>
                    <a:pt x="3121431" y="1267474"/>
                  </a:lnTo>
                  <a:lnTo>
                    <a:pt x="3121815" y="1268720"/>
                  </a:lnTo>
                  <a:lnTo>
                    <a:pt x="3121908" y="1269841"/>
                  </a:lnTo>
                  <a:lnTo>
                    <a:pt x="3121847" y="1270636"/>
                  </a:lnTo>
                  <a:lnTo>
                    <a:pt x="3119656" y="1276837"/>
                  </a:lnTo>
                  <a:lnTo>
                    <a:pt x="3119637" y="1277763"/>
                  </a:lnTo>
                  <a:lnTo>
                    <a:pt x="3119839" y="1278577"/>
                  </a:lnTo>
                  <a:lnTo>
                    <a:pt x="3120829" y="1280799"/>
                  </a:lnTo>
                  <a:lnTo>
                    <a:pt x="3121052" y="1281971"/>
                  </a:lnTo>
                  <a:lnTo>
                    <a:pt x="3120705" y="1282736"/>
                  </a:lnTo>
                  <a:lnTo>
                    <a:pt x="3116587" y="1284605"/>
                  </a:lnTo>
                  <a:lnTo>
                    <a:pt x="3115384" y="1285783"/>
                  </a:lnTo>
                  <a:lnTo>
                    <a:pt x="3114875" y="1287820"/>
                  </a:lnTo>
                  <a:lnTo>
                    <a:pt x="3116168" y="1288072"/>
                  </a:lnTo>
                  <a:lnTo>
                    <a:pt x="3119477" y="1284280"/>
                  </a:lnTo>
                  <a:lnTo>
                    <a:pt x="3122169" y="1283957"/>
                  </a:lnTo>
                  <a:lnTo>
                    <a:pt x="3122677" y="1284067"/>
                  </a:lnTo>
                  <a:lnTo>
                    <a:pt x="3123022" y="1284749"/>
                  </a:lnTo>
                  <a:lnTo>
                    <a:pt x="3125137" y="1291152"/>
                  </a:lnTo>
                  <a:lnTo>
                    <a:pt x="3125560" y="1294420"/>
                  </a:lnTo>
                  <a:lnTo>
                    <a:pt x="3125133" y="1296778"/>
                  </a:lnTo>
                  <a:lnTo>
                    <a:pt x="3124138" y="1298610"/>
                  </a:lnTo>
                  <a:lnTo>
                    <a:pt x="3125229" y="1298646"/>
                  </a:lnTo>
                  <a:lnTo>
                    <a:pt x="3126115" y="1297385"/>
                  </a:lnTo>
                  <a:lnTo>
                    <a:pt x="3126692" y="1295544"/>
                  </a:lnTo>
                  <a:lnTo>
                    <a:pt x="3126905" y="1288522"/>
                  </a:lnTo>
                  <a:lnTo>
                    <a:pt x="3126020" y="1286807"/>
                  </a:lnTo>
                  <a:lnTo>
                    <a:pt x="3125302" y="1284262"/>
                  </a:lnTo>
                  <a:lnTo>
                    <a:pt x="3124429" y="1279688"/>
                  </a:lnTo>
                  <a:lnTo>
                    <a:pt x="3124108" y="1279446"/>
                  </a:lnTo>
                  <a:lnTo>
                    <a:pt x="3123504" y="1278850"/>
                  </a:lnTo>
                  <a:lnTo>
                    <a:pt x="3123128" y="1278613"/>
                  </a:lnTo>
                  <a:lnTo>
                    <a:pt x="3124531" y="1272678"/>
                  </a:lnTo>
                  <a:lnTo>
                    <a:pt x="3124850" y="1268865"/>
                  </a:lnTo>
                  <a:lnTo>
                    <a:pt x="3123157" y="1265609"/>
                  </a:lnTo>
                  <a:lnTo>
                    <a:pt x="3123869" y="1264551"/>
                  </a:lnTo>
                  <a:lnTo>
                    <a:pt x="3124929" y="1263955"/>
                  </a:lnTo>
                  <a:lnTo>
                    <a:pt x="3126208" y="1263918"/>
                  </a:lnTo>
                  <a:lnTo>
                    <a:pt x="3127590" y="1264607"/>
                  </a:lnTo>
                  <a:lnTo>
                    <a:pt x="3126556" y="1266603"/>
                  </a:lnTo>
                  <a:lnTo>
                    <a:pt x="3127481" y="1266930"/>
                  </a:lnTo>
                  <a:lnTo>
                    <a:pt x="3129465" y="1264546"/>
                  </a:lnTo>
                  <a:lnTo>
                    <a:pt x="3130585" y="1264444"/>
                  </a:lnTo>
                  <a:lnTo>
                    <a:pt x="3133234" y="1264990"/>
                  </a:lnTo>
                  <a:lnTo>
                    <a:pt x="3134342" y="1264896"/>
                  </a:lnTo>
                  <a:lnTo>
                    <a:pt x="3135019" y="1264580"/>
                  </a:lnTo>
                  <a:lnTo>
                    <a:pt x="3135771" y="1264489"/>
                  </a:lnTo>
                  <a:lnTo>
                    <a:pt x="3136602" y="1265087"/>
                  </a:lnTo>
                  <a:lnTo>
                    <a:pt x="3137491" y="1266785"/>
                  </a:lnTo>
                  <a:lnTo>
                    <a:pt x="3139345" y="1277845"/>
                  </a:lnTo>
                  <a:lnTo>
                    <a:pt x="3140082" y="1281156"/>
                  </a:lnTo>
                  <a:lnTo>
                    <a:pt x="3141585" y="1285904"/>
                  </a:lnTo>
                  <a:lnTo>
                    <a:pt x="3141330" y="1286818"/>
                  </a:lnTo>
                  <a:lnTo>
                    <a:pt x="3140901" y="1287525"/>
                  </a:lnTo>
                  <a:lnTo>
                    <a:pt x="3141035" y="1289019"/>
                  </a:lnTo>
                  <a:lnTo>
                    <a:pt x="3141733" y="1290325"/>
                  </a:lnTo>
                  <a:lnTo>
                    <a:pt x="3142789" y="1291419"/>
                  </a:lnTo>
                  <a:lnTo>
                    <a:pt x="3144803" y="1293173"/>
                  </a:lnTo>
                  <a:lnTo>
                    <a:pt x="3145470" y="1298144"/>
                  </a:lnTo>
                  <a:lnTo>
                    <a:pt x="3145442" y="1299222"/>
                  </a:lnTo>
                  <a:lnTo>
                    <a:pt x="3144812" y="1302041"/>
                  </a:lnTo>
                  <a:lnTo>
                    <a:pt x="3145621" y="1303493"/>
                  </a:lnTo>
                  <a:lnTo>
                    <a:pt x="3145753" y="1304701"/>
                  </a:lnTo>
                  <a:lnTo>
                    <a:pt x="3145451" y="1305587"/>
                  </a:lnTo>
                  <a:lnTo>
                    <a:pt x="3144946" y="1306049"/>
                  </a:lnTo>
                  <a:lnTo>
                    <a:pt x="3144904" y="1306590"/>
                  </a:lnTo>
                  <a:lnTo>
                    <a:pt x="3145312" y="1309007"/>
                  </a:lnTo>
                  <a:lnTo>
                    <a:pt x="3145521" y="1309935"/>
                  </a:lnTo>
                  <a:lnTo>
                    <a:pt x="3145566" y="1309306"/>
                  </a:lnTo>
                  <a:lnTo>
                    <a:pt x="3145732" y="1308969"/>
                  </a:lnTo>
                  <a:lnTo>
                    <a:pt x="3146379" y="1308693"/>
                  </a:lnTo>
                  <a:lnTo>
                    <a:pt x="3146637" y="1310701"/>
                  </a:lnTo>
                  <a:lnTo>
                    <a:pt x="3145227" y="1314942"/>
                  </a:lnTo>
                  <a:lnTo>
                    <a:pt x="3145341" y="1316287"/>
                  </a:lnTo>
                  <a:lnTo>
                    <a:pt x="3146080" y="1320050"/>
                  </a:lnTo>
                  <a:lnTo>
                    <a:pt x="3146514" y="1321710"/>
                  </a:lnTo>
                  <a:lnTo>
                    <a:pt x="3147018" y="1321046"/>
                  </a:lnTo>
                  <a:lnTo>
                    <a:pt x="3147064" y="1319778"/>
                  </a:lnTo>
                  <a:lnTo>
                    <a:pt x="3146798" y="1316710"/>
                  </a:lnTo>
                  <a:lnTo>
                    <a:pt x="3146927" y="1314723"/>
                  </a:lnTo>
                  <a:lnTo>
                    <a:pt x="3148617" y="1309012"/>
                  </a:lnTo>
                  <a:lnTo>
                    <a:pt x="3148637" y="1307870"/>
                  </a:lnTo>
                  <a:lnTo>
                    <a:pt x="3148318" y="1306425"/>
                  </a:lnTo>
                  <a:lnTo>
                    <a:pt x="3147681" y="1304139"/>
                  </a:lnTo>
                  <a:lnTo>
                    <a:pt x="3147200" y="1301814"/>
                  </a:lnTo>
                  <a:lnTo>
                    <a:pt x="3147152" y="1300166"/>
                  </a:lnTo>
                  <a:lnTo>
                    <a:pt x="3147815" y="1297579"/>
                  </a:lnTo>
                  <a:lnTo>
                    <a:pt x="3147381" y="1296398"/>
                  </a:lnTo>
                  <a:lnTo>
                    <a:pt x="3147172" y="1293300"/>
                  </a:lnTo>
                  <a:lnTo>
                    <a:pt x="3146922" y="1292108"/>
                  </a:lnTo>
                  <a:lnTo>
                    <a:pt x="3146445" y="1291644"/>
                  </a:lnTo>
                  <a:lnTo>
                    <a:pt x="3145816" y="1291220"/>
                  </a:lnTo>
                  <a:lnTo>
                    <a:pt x="3145112" y="1290155"/>
                  </a:lnTo>
                  <a:lnTo>
                    <a:pt x="3144829" y="1289025"/>
                  </a:lnTo>
                  <a:lnTo>
                    <a:pt x="3144815" y="1285771"/>
                  </a:lnTo>
                  <a:lnTo>
                    <a:pt x="3144732" y="1285811"/>
                  </a:lnTo>
                  <a:lnTo>
                    <a:pt x="3144401" y="1285046"/>
                  </a:lnTo>
                  <a:lnTo>
                    <a:pt x="3143879" y="1283656"/>
                  </a:lnTo>
                  <a:lnTo>
                    <a:pt x="3143709" y="1282099"/>
                  </a:lnTo>
                  <a:lnTo>
                    <a:pt x="3143286" y="1279937"/>
                  </a:lnTo>
                  <a:lnTo>
                    <a:pt x="3143135" y="1278793"/>
                  </a:lnTo>
                  <a:lnTo>
                    <a:pt x="3143246" y="1278231"/>
                  </a:lnTo>
                  <a:lnTo>
                    <a:pt x="3143189" y="1277674"/>
                  </a:lnTo>
                  <a:lnTo>
                    <a:pt x="3142476" y="1275127"/>
                  </a:lnTo>
                  <a:lnTo>
                    <a:pt x="3142262" y="1274176"/>
                  </a:lnTo>
                  <a:lnTo>
                    <a:pt x="3141684" y="1268191"/>
                  </a:lnTo>
                  <a:lnTo>
                    <a:pt x="3141226" y="1265995"/>
                  </a:lnTo>
                  <a:lnTo>
                    <a:pt x="3140670" y="1265410"/>
                  </a:lnTo>
                  <a:lnTo>
                    <a:pt x="3141036" y="1264513"/>
                  </a:lnTo>
                  <a:lnTo>
                    <a:pt x="3142563" y="1263846"/>
                  </a:lnTo>
                  <a:lnTo>
                    <a:pt x="3142809" y="1262860"/>
                  </a:lnTo>
                  <a:lnTo>
                    <a:pt x="3142104" y="1262427"/>
                  </a:lnTo>
                  <a:lnTo>
                    <a:pt x="3139606" y="1261806"/>
                  </a:lnTo>
                  <a:lnTo>
                    <a:pt x="3139256" y="1259816"/>
                  </a:lnTo>
                  <a:lnTo>
                    <a:pt x="3139342" y="1258574"/>
                  </a:lnTo>
                  <a:lnTo>
                    <a:pt x="3139244" y="1257154"/>
                  </a:lnTo>
                  <a:lnTo>
                    <a:pt x="3138334" y="1254610"/>
                  </a:lnTo>
                  <a:lnTo>
                    <a:pt x="3138292" y="1252587"/>
                  </a:lnTo>
                  <a:lnTo>
                    <a:pt x="3142342" y="1249118"/>
                  </a:lnTo>
                  <a:lnTo>
                    <a:pt x="3144778" y="1241369"/>
                  </a:lnTo>
                  <a:lnTo>
                    <a:pt x="3145995" y="1239848"/>
                  </a:lnTo>
                  <a:lnTo>
                    <a:pt x="3146213" y="1239030"/>
                  </a:lnTo>
                  <a:lnTo>
                    <a:pt x="3146258" y="1238197"/>
                  </a:lnTo>
                  <a:lnTo>
                    <a:pt x="3146072" y="1237669"/>
                  </a:lnTo>
                  <a:lnTo>
                    <a:pt x="3147518" y="1235591"/>
                  </a:lnTo>
                  <a:lnTo>
                    <a:pt x="3148933" y="1234968"/>
                  </a:lnTo>
                  <a:lnTo>
                    <a:pt x="3149342" y="1234172"/>
                  </a:lnTo>
                  <a:lnTo>
                    <a:pt x="3149909" y="1231285"/>
                  </a:lnTo>
                  <a:lnTo>
                    <a:pt x="3150776" y="1229034"/>
                  </a:lnTo>
                  <a:lnTo>
                    <a:pt x="3155283" y="1225035"/>
                  </a:lnTo>
                  <a:lnTo>
                    <a:pt x="3162067" y="1212474"/>
                  </a:lnTo>
                  <a:lnTo>
                    <a:pt x="3163123" y="1211453"/>
                  </a:lnTo>
                  <a:lnTo>
                    <a:pt x="3165279" y="1211275"/>
                  </a:lnTo>
                  <a:lnTo>
                    <a:pt x="3166145" y="1211433"/>
                  </a:lnTo>
                  <a:lnTo>
                    <a:pt x="3167021" y="1211860"/>
                  </a:lnTo>
                  <a:lnTo>
                    <a:pt x="3167720" y="1212741"/>
                  </a:lnTo>
                  <a:lnTo>
                    <a:pt x="3168012" y="1213627"/>
                  </a:lnTo>
                  <a:lnTo>
                    <a:pt x="3167939" y="1214647"/>
                  </a:lnTo>
                  <a:lnTo>
                    <a:pt x="3168334" y="1215756"/>
                  </a:lnTo>
                  <a:lnTo>
                    <a:pt x="3168590" y="1217325"/>
                  </a:lnTo>
                  <a:lnTo>
                    <a:pt x="3168423" y="1222030"/>
                  </a:lnTo>
                  <a:lnTo>
                    <a:pt x="3167473" y="1227510"/>
                  </a:lnTo>
                  <a:lnTo>
                    <a:pt x="3162918" y="1238933"/>
                  </a:lnTo>
                  <a:lnTo>
                    <a:pt x="3161060" y="1241474"/>
                  </a:lnTo>
                  <a:lnTo>
                    <a:pt x="3156920" y="1243317"/>
                  </a:lnTo>
                  <a:lnTo>
                    <a:pt x="3155920" y="1244646"/>
                  </a:lnTo>
                  <a:lnTo>
                    <a:pt x="3155885" y="1247301"/>
                  </a:lnTo>
                  <a:lnTo>
                    <a:pt x="3156864" y="1248320"/>
                  </a:lnTo>
                  <a:lnTo>
                    <a:pt x="3157301" y="1248715"/>
                  </a:lnTo>
                  <a:lnTo>
                    <a:pt x="3157717" y="1248940"/>
                  </a:lnTo>
                  <a:lnTo>
                    <a:pt x="3158706" y="1250959"/>
                  </a:lnTo>
                  <a:lnTo>
                    <a:pt x="3161655" y="1253407"/>
                  </a:lnTo>
                  <a:lnTo>
                    <a:pt x="3162404" y="1254669"/>
                  </a:lnTo>
                  <a:lnTo>
                    <a:pt x="3162409" y="1256453"/>
                  </a:lnTo>
                  <a:lnTo>
                    <a:pt x="3161036" y="1259821"/>
                  </a:lnTo>
                  <a:lnTo>
                    <a:pt x="3161345" y="1260498"/>
                  </a:lnTo>
                  <a:lnTo>
                    <a:pt x="3162244" y="1260713"/>
                  </a:lnTo>
                  <a:lnTo>
                    <a:pt x="3162893" y="1260303"/>
                  </a:lnTo>
                  <a:lnTo>
                    <a:pt x="3164936" y="1256785"/>
                  </a:lnTo>
                  <a:lnTo>
                    <a:pt x="3166539" y="1255725"/>
                  </a:lnTo>
                  <a:lnTo>
                    <a:pt x="3164284" y="1252510"/>
                  </a:lnTo>
                  <a:lnTo>
                    <a:pt x="3162445" y="1250750"/>
                  </a:lnTo>
                  <a:lnTo>
                    <a:pt x="3160625" y="1249287"/>
                  </a:lnTo>
                  <a:lnTo>
                    <a:pt x="3158445" y="1246980"/>
                  </a:lnTo>
                  <a:lnTo>
                    <a:pt x="3158668" y="1245880"/>
                  </a:lnTo>
                  <a:lnTo>
                    <a:pt x="3159217" y="1245376"/>
                  </a:lnTo>
                  <a:lnTo>
                    <a:pt x="3160851" y="1245085"/>
                  </a:lnTo>
                  <a:lnTo>
                    <a:pt x="3165040" y="1242382"/>
                  </a:lnTo>
                  <a:lnTo>
                    <a:pt x="3168380" y="1241873"/>
                  </a:lnTo>
                  <a:lnTo>
                    <a:pt x="3169178" y="1241336"/>
                  </a:lnTo>
                  <a:lnTo>
                    <a:pt x="3168771" y="1239279"/>
                  </a:lnTo>
                  <a:lnTo>
                    <a:pt x="3168921" y="1238809"/>
                  </a:lnTo>
                  <a:lnTo>
                    <a:pt x="3169917" y="1240590"/>
                  </a:lnTo>
                  <a:lnTo>
                    <a:pt x="3171102" y="1242456"/>
                  </a:lnTo>
                  <a:lnTo>
                    <a:pt x="3171139" y="1240908"/>
                  </a:lnTo>
                  <a:lnTo>
                    <a:pt x="3170439" y="1235839"/>
                  </a:lnTo>
                  <a:lnTo>
                    <a:pt x="3170859" y="1234766"/>
                  </a:lnTo>
                  <a:lnTo>
                    <a:pt x="3172393" y="1233347"/>
                  </a:lnTo>
                  <a:lnTo>
                    <a:pt x="3172842" y="1230462"/>
                  </a:lnTo>
                  <a:lnTo>
                    <a:pt x="3174936" y="1230298"/>
                  </a:lnTo>
                  <a:lnTo>
                    <a:pt x="3175538" y="1229320"/>
                  </a:lnTo>
                  <a:lnTo>
                    <a:pt x="3175124" y="1229186"/>
                  </a:lnTo>
                  <a:lnTo>
                    <a:pt x="3173784" y="1228476"/>
                  </a:lnTo>
                  <a:lnTo>
                    <a:pt x="3173873" y="1226434"/>
                  </a:lnTo>
                  <a:lnTo>
                    <a:pt x="3174909" y="1226572"/>
                  </a:lnTo>
                  <a:lnTo>
                    <a:pt x="3177565" y="1228389"/>
                  </a:lnTo>
                  <a:lnTo>
                    <a:pt x="3178728" y="1228281"/>
                  </a:lnTo>
                  <a:lnTo>
                    <a:pt x="3178888" y="1227338"/>
                  </a:lnTo>
                  <a:lnTo>
                    <a:pt x="3178406" y="1225675"/>
                  </a:lnTo>
                  <a:lnTo>
                    <a:pt x="3177645" y="1223409"/>
                  </a:lnTo>
                  <a:lnTo>
                    <a:pt x="3177207" y="1221342"/>
                  </a:lnTo>
                  <a:lnTo>
                    <a:pt x="3177194" y="1219546"/>
                  </a:lnTo>
                  <a:lnTo>
                    <a:pt x="3177573" y="1218187"/>
                  </a:lnTo>
                  <a:lnTo>
                    <a:pt x="3180518" y="1214660"/>
                  </a:lnTo>
                  <a:lnTo>
                    <a:pt x="3182750" y="1213621"/>
                  </a:lnTo>
                  <a:lnTo>
                    <a:pt x="3183113" y="1214711"/>
                  </a:lnTo>
                  <a:lnTo>
                    <a:pt x="3183225" y="1215127"/>
                  </a:lnTo>
                  <a:lnTo>
                    <a:pt x="3187254" y="1212087"/>
                  </a:lnTo>
                  <a:lnTo>
                    <a:pt x="3189843" y="1211749"/>
                  </a:lnTo>
                  <a:lnTo>
                    <a:pt x="3194531" y="1215176"/>
                  </a:lnTo>
                  <a:lnTo>
                    <a:pt x="3195933" y="1215698"/>
                  </a:lnTo>
                  <a:lnTo>
                    <a:pt x="3211197" y="1216862"/>
                  </a:lnTo>
                  <a:lnTo>
                    <a:pt x="3226505" y="1217920"/>
                  </a:lnTo>
                  <a:lnTo>
                    <a:pt x="3227905" y="1218742"/>
                  </a:lnTo>
                  <a:lnTo>
                    <a:pt x="3229877" y="1219418"/>
                  </a:lnTo>
                  <a:lnTo>
                    <a:pt x="3230329" y="1219779"/>
                  </a:lnTo>
                  <a:lnTo>
                    <a:pt x="3231082" y="1220797"/>
                  </a:lnTo>
                  <a:lnTo>
                    <a:pt x="3231874" y="1222074"/>
                  </a:lnTo>
                  <a:lnTo>
                    <a:pt x="3232428" y="1223164"/>
                  </a:lnTo>
                  <a:lnTo>
                    <a:pt x="3232768" y="1224353"/>
                  </a:lnTo>
                  <a:lnTo>
                    <a:pt x="3232883" y="1225473"/>
                  </a:lnTo>
                  <a:lnTo>
                    <a:pt x="3232588" y="1228844"/>
                  </a:lnTo>
                  <a:lnTo>
                    <a:pt x="3232381" y="1229589"/>
                  </a:lnTo>
                  <a:lnTo>
                    <a:pt x="3232085" y="1230001"/>
                  </a:lnTo>
                  <a:lnTo>
                    <a:pt x="3231983" y="1230716"/>
                  </a:lnTo>
                  <a:lnTo>
                    <a:pt x="3232861" y="1233196"/>
                  </a:lnTo>
                  <a:lnTo>
                    <a:pt x="3232781" y="1233900"/>
                  </a:lnTo>
                  <a:lnTo>
                    <a:pt x="3232036" y="1234965"/>
                  </a:lnTo>
                  <a:lnTo>
                    <a:pt x="3232424" y="1236513"/>
                  </a:lnTo>
                  <a:lnTo>
                    <a:pt x="3233215" y="1238321"/>
                  </a:lnTo>
                  <a:lnTo>
                    <a:pt x="3233687" y="1240190"/>
                  </a:lnTo>
                  <a:lnTo>
                    <a:pt x="3232927" y="1241019"/>
                  </a:lnTo>
                  <a:lnTo>
                    <a:pt x="3231124" y="1240775"/>
                  </a:lnTo>
                  <a:lnTo>
                    <a:pt x="3229118" y="1239781"/>
                  </a:lnTo>
                  <a:lnTo>
                    <a:pt x="3227780" y="1238401"/>
                  </a:lnTo>
                  <a:lnTo>
                    <a:pt x="3227455" y="1237329"/>
                  </a:lnTo>
                  <a:lnTo>
                    <a:pt x="3227535" y="1235611"/>
                  </a:lnTo>
                  <a:lnTo>
                    <a:pt x="3227404" y="1234842"/>
                  </a:lnTo>
                  <a:lnTo>
                    <a:pt x="3226316" y="1232984"/>
                  </a:lnTo>
                  <a:lnTo>
                    <a:pt x="3225425" y="1232591"/>
                  </a:lnTo>
                  <a:lnTo>
                    <a:pt x="3224767" y="1233053"/>
                  </a:lnTo>
                  <a:lnTo>
                    <a:pt x="3224369" y="1233734"/>
                  </a:lnTo>
                  <a:lnTo>
                    <a:pt x="3224070" y="1234829"/>
                  </a:lnTo>
                  <a:lnTo>
                    <a:pt x="3223907" y="1236610"/>
                  </a:lnTo>
                  <a:lnTo>
                    <a:pt x="3224203" y="1238616"/>
                  </a:lnTo>
                  <a:lnTo>
                    <a:pt x="3225297" y="1240417"/>
                  </a:lnTo>
                  <a:lnTo>
                    <a:pt x="3226845" y="1242327"/>
                  </a:lnTo>
                  <a:lnTo>
                    <a:pt x="3227854" y="1244366"/>
                  </a:lnTo>
                  <a:lnTo>
                    <a:pt x="3228324" y="1246283"/>
                  </a:lnTo>
                  <a:lnTo>
                    <a:pt x="3228252" y="1247803"/>
                  </a:lnTo>
                  <a:lnTo>
                    <a:pt x="3227549" y="1249312"/>
                  </a:lnTo>
                  <a:lnTo>
                    <a:pt x="3224092" y="1251944"/>
                  </a:lnTo>
                  <a:lnTo>
                    <a:pt x="3222655" y="1254732"/>
                  </a:lnTo>
                  <a:lnTo>
                    <a:pt x="3218691" y="1255650"/>
                  </a:lnTo>
                  <a:lnTo>
                    <a:pt x="3217014" y="1259199"/>
                  </a:lnTo>
                  <a:lnTo>
                    <a:pt x="3215851" y="1260024"/>
                  </a:lnTo>
                  <a:lnTo>
                    <a:pt x="3213096" y="1260786"/>
                  </a:lnTo>
                  <a:lnTo>
                    <a:pt x="3212581" y="1261309"/>
                  </a:lnTo>
                  <a:lnTo>
                    <a:pt x="3211666" y="1262920"/>
                  </a:lnTo>
                  <a:lnTo>
                    <a:pt x="3210544" y="1263932"/>
                  </a:lnTo>
                  <a:lnTo>
                    <a:pt x="3209375" y="1265836"/>
                  </a:lnTo>
                  <a:lnTo>
                    <a:pt x="3206244" y="1268355"/>
                  </a:lnTo>
                  <a:lnTo>
                    <a:pt x="3206054" y="1269402"/>
                  </a:lnTo>
                  <a:lnTo>
                    <a:pt x="3206180" y="1271158"/>
                  </a:lnTo>
                  <a:lnTo>
                    <a:pt x="3205142" y="1272395"/>
                  </a:lnTo>
                  <a:lnTo>
                    <a:pt x="3202870" y="1273808"/>
                  </a:lnTo>
                  <a:lnTo>
                    <a:pt x="3200931" y="1278982"/>
                  </a:lnTo>
                  <a:lnTo>
                    <a:pt x="3198764" y="1281627"/>
                  </a:lnTo>
                  <a:lnTo>
                    <a:pt x="3198548" y="1282373"/>
                  </a:lnTo>
                  <a:lnTo>
                    <a:pt x="3198597" y="1283380"/>
                  </a:lnTo>
                  <a:lnTo>
                    <a:pt x="3198866" y="1284262"/>
                  </a:lnTo>
                  <a:lnTo>
                    <a:pt x="3199214" y="1285153"/>
                  </a:lnTo>
                  <a:lnTo>
                    <a:pt x="3199473" y="1286132"/>
                  </a:lnTo>
                  <a:lnTo>
                    <a:pt x="3199523" y="1288385"/>
                  </a:lnTo>
                  <a:lnTo>
                    <a:pt x="3199066" y="1290338"/>
                  </a:lnTo>
                  <a:lnTo>
                    <a:pt x="3198321" y="1291853"/>
                  </a:lnTo>
                  <a:lnTo>
                    <a:pt x="3193898" y="1295689"/>
                  </a:lnTo>
                  <a:lnTo>
                    <a:pt x="3193589" y="1297472"/>
                  </a:lnTo>
                  <a:lnTo>
                    <a:pt x="3192650" y="1298991"/>
                  </a:lnTo>
                  <a:lnTo>
                    <a:pt x="3192538" y="1300597"/>
                  </a:lnTo>
                  <a:lnTo>
                    <a:pt x="3193011" y="1301837"/>
                  </a:lnTo>
                  <a:lnTo>
                    <a:pt x="3194151" y="1301768"/>
                  </a:lnTo>
                  <a:lnTo>
                    <a:pt x="3194891" y="1300388"/>
                  </a:lnTo>
                  <a:lnTo>
                    <a:pt x="3195271" y="1296326"/>
                  </a:lnTo>
                  <a:lnTo>
                    <a:pt x="3196097" y="1295071"/>
                  </a:lnTo>
                  <a:lnTo>
                    <a:pt x="3198959" y="1294482"/>
                  </a:lnTo>
                  <a:lnTo>
                    <a:pt x="3202160" y="1294858"/>
                  </a:lnTo>
                  <a:lnTo>
                    <a:pt x="3203398" y="1295675"/>
                  </a:lnTo>
                  <a:lnTo>
                    <a:pt x="3205264" y="1297309"/>
                  </a:lnTo>
                  <a:lnTo>
                    <a:pt x="3206667" y="1299066"/>
                  </a:lnTo>
                  <a:lnTo>
                    <a:pt x="3206493" y="1300214"/>
                  </a:lnTo>
                  <a:lnTo>
                    <a:pt x="3200192" y="1301504"/>
                  </a:lnTo>
                  <a:lnTo>
                    <a:pt x="3199201" y="1302565"/>
                  </a:lnTo>
                  <a:lnTo>
                    <a:pt x="3197534" y="1305755"/>
                  </a:lnTo>
                  <a:lnTo>
                    <a:pt x="3196551" y="1306360"/>
                  </a:lnTo>
                  <a:lnTo>
                    <a:pt x="3195473" y="1308293"/>
                  </a:lnTo>
                  <a:lnTo>
                    <a:pt x="3195308" y="1309423"/>
                  </a:lnTo>
                  <a:lnTo>
                    <a:pt x="3195080" y="1309623"/>
                  </a:lnTo>
                  <a:lnTo>
                    <a:pt x="3194960" y="1309951"/>
                  </a:lnTo>
                  <a:lnTo>
                    <a:pt x="3195193" y="1310707"/>
                  </a:lnTo>
                  <a:lnTo>
                    <a:pt x="3195436" y="1311076"/>
                  </a:lnTo>
                  <a:lnTo>
                    <a:pt x="3195777" y="1311509"/>
                  </a:lnTo>
                  <a:lnTo>
                    <a:pt x="3196095" y="1311963"/>
                  </a:lnTo>
                  <a:lnTo>
                    <a:pt x="3196249" y="1312393"/>
                  </a:lnTo>
                  <a:lnTo>
                    <a:pt x="3196105" y="1314041"/>
                  </a:lnTo>
                  <a:lnTo>
                    <a:pt x="3195493" y="1315165"/>
                  </a:lnTo>
                  <a:lnTo>
                    <a:pt x="3193962" y="1316623"/>
                  </a:lnTo>
                  <a:lnTo>
                    <a:pt x="3193522" y="1317469"/>
                  </a:lnTo>
                  <a:lnTo>
                    <a:pt x="3193387" y="1319434"/>
                  </a:lnTo>
                  <a:lnTo>
                    <a:pt x="3193116" y="1320350"/>
                  </a:lnTo>
                  <a:lnTo>
                    <a:pt x="3192776" y="1320688"/>
                  </a:lnTo>
                  <a:lnTo>
                    <a:pt x="3191378" y="1321124"/>
                  </a:lnTo>
                  <a:lnTo>
                    <a:pt x="3191127" y="1321519"/>
                  </a:lnTo>
                  <a:lnTo>
                    <a:pt x="3191035" y="1323731"/>
                  </a:lnTo>
                  <a:lnTo>
                    <a:pt x="3194567" y="1322291"/>
                  </a:lnTo>
                  <a:lnTo>
                    <a:pt x="3195362" y="1320911"/>
                  </a:lnTo>
                  <a:lnTo>
                    <a:pt x="3199037" y="1306897"/>
                  </a:lnTo>
                  <a:lnTo>
                    <a:pt x="3199889" y="1305509"/>
                  </a:lnTo>
                  <a:lnTo>
                    <a:pt x="3203749" y="1303209"/>
                  </a:lnTo>
                  <a:lnTo>
                    <a:pt x="3204690" y="1303154"/>
                  </a:lnTo>
                  <a:lnTo>
                    <a:pt x="3206466" y="1304030"/>
                  </a:lnTo>
                  <a:lnTo>
                    <a:pt x="3207125" y="1303475"/>
                  </a:lnTo>
                  <a:lnTo>
                    <a:pt x="3208115" y="1301934"/>
                  </a:lnTo>
                  <a:lnTo>
                    <a:pt x="3208931" y="1301257"/>
                  </a:lnTo>
                  <a:lnTo>
                    <a:pt x="3209463" y="1300092"/>
                  </a:lnTo>
                  <a:lnTo>
                    <a:pt x="3209459" y="1298567"/>
                  </a:lnTo>
                  <a:lnTo>
                    <a:pt x="3208669" y="1296815"/>
                  </a:lnTo>
                  <a:lnTo>
                    <a:pt x="3207716" y="1295741"/>
                  </a:lnTo>
                  <a:lnTo>
                    <a:pt x="3206965" y="1295339"/>
                  </a:lnTo>
                  <a:lnTo>
                    <a:pt x="3206277" y="1295114"/>
                  </a:lnTo>
                  <a:lnTo>
                    <a:pt x="3205512" y="1294562"/>
                  </a:lnTo>
                  <a:lnTo>
                    <a:pt x="3204707" y="1293710"/>
                  </a:lnTo>
                  <a:lnTo>
                    <a:pt x="3204391" y="1293261"/>
                  </a:lnTo>
                  <a:lnTo>
                    <a:pt x="3203562" y="1291295"/>
                  </a:lnTo>
                  <a:lnTo>
                    <a:pt x="3203094" y="1289489"/>
                  </a:lnTo>
                  <a:lnTo>
                    <a:pt x="3203095" y="1287546"/>
                  </a:lnTo>
                  <a:lnTo>
                    <a:pt x="3203599" y="1284243"/>
                  </a:lnTo>
                  <a:lnTo>
                    <a:pt x="3204222" y="1282392"/>
                  </a:lnTo>
                  <a:lnTo>
                    <a:pt x="3217555" y="1269751"/>
                  </a:lnTo>
                  <a:lnTo>
                    <a:pt x="3219467" y="1269370"/>
                  </a:lnTo>
                  <a:lnTo>
                    <a:pt x="3223025" y="1270121"/>
                  </a:lnTo>
                  <a:lnTo>
                    <a:pt x="3224467" y="1269558"/>
                  </a:lnTo>
                  <a:lnTo>
                    <a:pt x="3224258" y="1267111"/>
                  </a:lnTo>
                  <a:lnTo>
                    <a:pt x="3220388" y="1267399"/>
                  </a:lnTo>
                  <a:lnTo>
                    <a:pt x="3219080" y="1266254"/>
                  </a:lnTo>
                  <a:lnTo>
                    <a:pt x="3219876" y="1265366"/>
                  </a:lnTo>
                  <a:lnTo>
                    <a:pt x="3224060" y="1265551"/>
                  </a:lnTo>
                  <a:lnTo>
                    <a:pt x="3225630" y="1265173"/>
                  </a:lnTo>
                  <a:lnTo>
                    <a:pt x="3233452" y="1260213"/>
                  </a:lnTo>
                  <a:lnTo>
                    <a:pt x="3234730" y="1260466"/>
                  </a:lnTo>
                  <a:lnTo>
                    <a:pt x="3235077" y="1260933"/>
                  </a:lnTo>
                  <a:lnTo>
                    <a:pt x="3235647" y="1261798"/>
                  </a:lnTo>
                  <a:lnTo>
                    <a:pt x="3236231" y="1262592"/>
                  </a:lnTo>
                  <a:lnTo>
                    <a:pt x="3236940" y="1263098"/>
                  </a:lnTo>
                  <a:lnTo>
                    <a:pt x="3237466" y="1263746"/>
                  </a:lnTo>
                  <a:lnTo>
                    <a:pt x="3238556" y="1265351"/>
                  </a:lnTo>
                  <a:lnTo>
                    <a:pt x="3236655" y="1271249"/>
                  </a:lnTo>
                  <a:lnTo>
                    <a:pt x="3237830" y="1272512"/>
                  </a:lnTo>
                  <a:lnTo>
                    <a:pt x="3238899" y="1273485"/>
                  </a:lnTo>
                  <a:lnTo>
                    <a:pt x="3238769" y="1278121"/>
                  </a:lnTo>
                  <a:lnTo>
                    <a:pt x="3237326" y="1281448"/>
                  </a:lnTo>
                  <a:lnTo>
                    <a:pt x="3231582" y="1288340"/>
                  </a:lnTo>
                  <a:lnTo>
                    <a:pt x="3230813" y="1289916"/>
                  </a:lnTo>
                  <a:lnTo>
                    <a:pt x="3230692" y="1292679"/>
                  </a:lnTo>
                  <a:lnTo>
                    <a:pt x="3230192" y="1294733"/>
                  </a:lnTo>
                  <a:lnTo>
                    <a:pt x="3229636" y="1295866"/>
                  </a:lnTo>
                  <a:lnTo>
                    <a:pt x="3229549" y="1298172"/>
                  </a:lnTo>
                  <a:lnTo>
                    <a:pt x="3228751" y="1299663"/>
                  </a:lnTo>
                  <a:lnTo>
                    <a:pt x="3228537" y="1301226"/>
                  </a:lnTo>
                  <a:lnTo>
                    <a:pt x="3228549" y="1306969"/>
                  </a:lnTo>
                  <a:lnTo>
                    <a:pt x="3228053" y="1308853"/>
                  </a:lnTo>
                  <a:lnTo>
                    <a:pt x="3227205" y="1310216"/>
                  </a:lnTo>
                  <a:lnTo>
                    <a:pt x="3226102" y="1311037"/>
                  </a:lnTo>
                  <a:lnTo>
                    <a:pt x="3217061" y="1312073"/>
                  </a:lnTo>
                  <a:lnTo>
                    <a:pt x="3215800" y="1312911"/>
                  </a:lnTo>
                  <a:lnTo>
                    <a:pt x="3214993" y="1314502"/>
                  </a:lnTo>
                  <a:lnTo>
                    <a:pt x="3214337" y="1317891"/>
                  </a:lnTo>
                  <a:lnTo>
                    <a:pt x="3214310" y="1319413"/>
                  </a:lnTo>
                  <a:lnTo>
                    <a:pt x="3214639" y="1320930"/>
                  </a:lnTo>
                  <a:lnTo>
                    <a:pt x="3215621" y="1324158"/>
                  </a:lnTo>
                  <a:lnTo>
                    <a:pt x="3215959" y="1325651"/>
                  </a:lnTo>
                  <a:lnTo>
                    <a:pt x="3215964" y="1327413"/>
                  </a:lnTo>
                  <a:lnTo>
                    <a:pt x="3215188" y="1329985"/>
                  </a:lnTo>
                  <a:lnTo>
                    <a:pt x="3215093" y="1331463"/>
                  </a:lnTo>
                  <a:lnTo>
                    <a:pt x="3215223" y="1333054"/>
                  </a:lnTo>
                  <a:lnTo>
                    <a:pt x="3215351" y="1333731"/>
                  </a:lnTo>
                  <a:lnTo>
                    <a:pt x="3215658" y="1334826"/>
                  </a:lnTo>
                  <a:lnTo>
                    <a:pt x="3216025" y="1335809"/>
                  </a:lnTo>
                  <a:lnTo>
                    <a:pt x="3216748" y="1337431"/>
                  </a:lnTo>
                  <a:lnTo>
                    <a:pt x="3217004" y="1338402"/>
                  </a:lnTo>
                  <a:lnTo>
                    <a:pt x="3218284" y="1338840"/>
                  </a:lnTo>
                  <a:lnTo>
                    <a:pt x="3218078" y="1336750"/>
                  </a:lnTo>
                  <a:lnTo>
                    <a:pt x="3217399" y="1334007"/>
                  </a:lnTo>
                  <a:lnTo>
                    <a:pt x="3217289" y="1332524"/>
                  </a:lnTo>
                  <a:lnTo>
                    <a:pt x="3218056" y="1331342"/>
                  </a:lnTo>
                  <a:lnTo>
                    <a:pt x="3218585" y="1329028"/>
                  </a:lnTo>
                  <a:lnTo>
                    <a:pt x="3218749" y="1326246"/>
                  </a:lnTo>
                  <a:lnTo>
                    <a:pt x="3218444" y="1323694"/>
                  </a:lnTo>
                  <a:lnTo>
                    <a:pt x="3218015" y="1322875"/>
                  </a:lnTo>
                  <a:lnTo>
                    <a:pt x="3217334" y="1321808"/>
                  </a:lnTo>
                  <a:lnTo>
                    <a:pt x="3216872" y="1320813"/>
                  </a:lnTo>
                  <a:lnTo>
                    <a:pt x="3217269" y="1319601"/>
                  </a:lnTo>
                  <a:lnTo>
                    <a:pt x="3217339" y="1317303"/>
                  </a:lnTo>
                  <a:lnTo>
                    <a:pt x="3217699" y="1316634"/>
                  </a:lnTo>
                  <a:lnTo>
                    <a:pt x="3222261" y="1313668"/>
                  </a:lnTo>
                  <a:lnTo>
                    <a:pt x="3224220" y="1313633"/>
                  </a:lnTo>
                  <a:lnTo>
                    <a:pt x="3226826" y="1314625"/>
                  </a:lnTo>
                  <a:lnTo>
                    <a:pt x="3227631" y="1314532"/>
                  </a:lnTo>
                  <a:lnTo>
                    <a:pt x="3230787" y="1313067"/>
                  </a:lnTo>
                  <a:lnTo>
                    <a:pt x="3231302" y="1312060"/>
                  </a:lnTo>
                  <a:lnTo>
                    <a:pt x="3231949" y="1299965"/>
                  </a:lnTo>
                  <a:lnTo>
                    <a:pt x="3233223" y="1298263"/>
                  </a:lnTo>
                  <a:lnTo>
                    <a:pt x="3234062" y="1294999"/>
                  </a:lnTo>
                  <a:lnTo>
                    <a:pt x="3236391" y="1292168"/>
                  </a:lnTo>
                  <a:lnTo>
                    <a:pt x="3237673" y="1289384"/>
                  </a:lnTo>
                  <a:lnTo>
                    <a:pt x="3238282" y="1288784"/>
                  </a:lnTo>
                  <a:lnTo>
                    <a:pt x="3243452" y="1286763"/>
                  </a:lnTo>
                  <a:lnTo>
                    <a:pt x="3246770" y="1287318"/>
                  </a:lnTo>
                  <a:lnTo>
                    <a:pt x="3247051" y="1286981"/>
                  </a:lnTo>
                  <a:lnTo>
                    <a:pt x="3246563" y="1285670"/>
                  </a:lnTo>
                  <a:lnTo>
                    <a:pt x="3247228" y="1285857"/>
                  </a:lnTo>
                  <a:lnTo>
                    <a:pt x="3247822" y="1285859"/>
                  </a:lnTo>
                  <a:lnTo>
                    <a:pt x="3248248" y="1285536"/>
                  </a:lnTo>
                  <a:lnTo>
                    <a:pt x="3248416" y="1284782"/>
                  </a:lnTo>
                  <a:lnTo>
                    <a:pt x="3248095" y="1284689"/>
                  </a:lnTo>
                  <a:lnTo>
                    <a:pt x="3247760" y="1284528"/>
                  </a:lnTo>
                  <a:lnTo>
                    <a:pt x="3247437" y="1284430"/>
                  </a:lnTo>
                  <a:lnTo>
                    <a:pt x="3247146" y="1284555"/>
                  </a:lnTo>
                  <a:lnTo>
                    <a:pt x="3246822" y="1283463"/>
                  </a:lnTo>
                  <a:lnTo>
                    <a:pt x="3246445" y="1282570"/>
                  </a:lnTo>
                  <a:lnTo>
                    <a:pt x="3246017" y="1282008"/>
                  </a:lnTo>
                  <a:lnTo>
                    <a:pt x="3245552" y="1281930"/>
                  </a:lnTo>
                  <a:lnTo>
                    <a:pt x="3245860" y="1280896"/>
                  </a:lnTo>
                  <a:lnTo>
                    <a:pt x="3246532" y="1280598"/>
                  </a:lnTo>
                  <a:lnTo>
                    <a:pt x="3247098" y="1280068"/>
                  </a:lnTo>
                  <a:lnTo>
                    <a:pt x="3247092" y="1277268"/>
                  </a:lnTo>
                  <a:lnTo>
                    <a:pt x="3247704" y="1275725"/>
                  </a:lnTo>
                  <a:lnTo>
                    <a:pt x="3247540" y="1274397"/>
                  </a:lnTo>
                  <a:lnTo>
                    <a:pt x="3246886" y="1274722"/>
                  </a:lnTo>
                  <a:lnTo>
                    <a:pt x="3246129" y="1274186"/>
                  </a:lnTo>
                  <a:lnTo>
                    <a:pt x="3245712" y="1273302"/>
                  </a:lnTo>
                  <a:lnTo>
                    <a:pt x="3246093" y="1272609"/>
                  </a:lnTo>
                  <a:lnTo>
                    <a:pt x="3246496" y="1272522"/>
                  </a:lnTo>
                  <a:lnTo>
                    <a:pt x="3247355" y="1272628"/>
                  </a:lnTo>
                  <a:lnTo>
                    <a:pt x="3249076" y="1272099"/>
                  </a:lnTo>
                  <a:lnTo>
                    <a:pt x="3249351" y="1271782"/>
                  </a:lnTo>
                  <a:lnTo>
                    <a:pt x="3249239" y="1271554"/>
                  </a:lnTo>
                  <a:lnTo>
                    <a:pt x="3248766" y="1270444"/>
                  </a:lnTo>
                  <a:lnTo>
                    <a:pt x="3248647" y="1270075"/>
                  </a:lnTo>
                  <a:lnTo>
                    <a:pt x="3248861" y="1269327"/>
                  </a:lnTo>
                  <a:lnTo>
                    <a:pt x="3249523" y="1269175"/>
                  </a:lnTo>
                  <a:lnTo>
                    <a:pt x="3250958" y="1269338"/>
                  </a:lnTo>
                  <a:lnTo>
                    <a:pt x="3252556" y="1268110"/>
                  </a:lnTo>
                  <a:lnTo>
                    <a:pt x="3253554" y="1265747"/>
                  </a:lnTo>
                  <a:lnTo>
                    <a:pt x="3254564" y="1260078"/>
                  </a:lnTo>
                  <a:lnTo>
                    <a:pt x="3253358" y="1259724"/>
                  </a:lnTo>
                  <a:lnTo>
                    <a:pt x="3249353" y="1260684"/>
                  </a:lnTo>
                  <a:lnTo>
                    <a:pt x="3248869" y="1260260"/>
                  </a:lnTo>
                  <a:lnTo>
                    <a:pt x="3248910" y="1259402"/>
                  </a:lnTo>
                  <a:lnTo>
                    <a:pt x="3249471" y="1258329"/>
                  </a:lnTo>
                  <a:lnTo>
                    <a:pt x="3249166" y="1257718"/>
                  </a:lnTo>
                  <a:lnTo>
                    <a:pt x="3247887" y="1258430"/>
                  </a:lnTo>
                  <a:lnTo>
                    <a:pt x="3247059" y="1258119"/>
                  </a:lnTo>
                  <a:lnTo>
                    <a:pt x="3246305" y="1256535"/>
                  </a:lnTo>
                  <a:lnTo>
                    <a:pt x="3246338" y="1255830"/>
                  </a:lnTo>
                  <a:lnTo>
                    <a:pt x="3246857" y="1255726"/>
                  </a:lnTo>
                  <a:lnTo>
                    <a:pt x="3247555" y="1255808"/>
                  </a:lnTo>
                  <a:lnTo>
                    <a:pt x="3248131" y="1255646"/>
                  </a:lnTo>
                  <a:lnTo>
                    <a:pt x="3246355" y="1253965"/>
                  </a:lnTo>
                  <a:lnTo>
                    <a:pt x="3245456" y="1252715"/>
                  </a:lnTo>
                  <a:lnTo>
                    <a:pt x="3245648" y="1251867"/>
                  </a:lnTo>
                  <a:lnTo>
                    <a:pt x="3246112" y="1251239"/>
                  </a:lnTo>
                  <a:lnTo>
                    <a:pt x="3246409" y="1247742"/>
                  </a:lnTo>
                  <a:lnTo>
                    <a:pt x="3247367" y="1244501"/>
                  </a:lnTo>
                  <a:lnTo>
                    <a:pt x="3247404" y="1242395"/>
                  </a:lnTo>
                  <a:lnTo>
                    <a:pt x="3246261" y="1240729"/>
                  </a:lnTo>
                  <a:lnTo>
                    <a:pt x="3248409" y="1238609"/>
                  </a:lnTo>
                  <a:lnTo>
                    <a:pt x="3249282" y="1238414"/>
                  </a:lnTo>
                  <a:lnTo>
                    <a:pt x="3249638" y="1238656"/>
                  </a:lnTo>
                  <a:lnTo>
                    <a:pt x="3250618" y="1239726"/>
                  </a:lnTo>
                  <a:lnTo>
                    <a:pt x="3250988" y="1240076"/>
                  </a:lnTo>
                  <a:lnTo>
                    <a:pt x="3251728" y="1240458"/>
                  </a:lnTo>
                  <a:lnTo>
                    <a:pt x="3252430" y="1240654"/>
                  </a:lnTo>
                  <a:lnTo>
                    <a:pt x="3257835" y="1239906"/>
                  </a:lnTo>
                  <a:lnTo>
                    <a:pt x="3260395" y="1240429"/>
                  </a:lnTo>
                  <a:lnTo>
                    <a:pt x="3262762" y="1241689"/>
                  </a:lnTo>
                  <a:lnTo>
                    <a:pt x="3264381" y="1242812"/>
                  </a:lnTo>
                  <a:lnTo>
                    <a:pt x="3272920" y="1247016"/>
                  </a:lnTo>
                  <a:lnTo>
                    <a:pt x="3274821" y="1247461"/>
                  </a:lnTo>
                  <a:lnTo>
                    <a:pt x="3278262" y="1249653"/>
                  </a:lnTo>
                  <a:lnTo>
                    <a:pt x="3279317" y="1250757"/>
                  </a:lnTo>
                  <a:lnTo>
                    <a:pt x="3281727" y="1252361"/>
                  </a:lnTo>
                  <a:lnTo>
                    <a:pt x="3282453" y="1252985"/>
                  </a:lnTo>
                  <a:lnTo>
                    <a:pt x="3282548" y="1252537"/>
                  </a:lnTo>
                  <a:lnTo>
                    <a:pt x="3282736" y="1252422"/>
                  </a:lnTo>
                  <a:lnTo>
                    <a:pt x="3283081" y="1252623"/>
                  </a:lnTo>
                  <a:lnTo>
                    <a:pt x="3283667" y="1253138"/>
                  </a:lnTo>
                  <a:lnTo>
                    <a:pt x="3283218" y="1253364"/>
                  </a:lnTo>
                  <a:lnTo>
                    <a:pt x="3284774" y="1254139"/>
                  </a:lnTo>
                  <a:lnTo>
                    <a:pt x="3285516" y="1254664"/>
                  </a:lnTo>
                  <a:lnTo>
                    <a:pt x="3286509" y="1255558"/>
                  </a:lnTo>
                  <a:lnTo>
                    <a:pt x="3286818" y="1255932"/>
                  </a:lnTo>
                  <a:lnTo>
                    <a:pt x="3287098" y="1256401"/>
                  </a:lnTo>
                  <a:lnTo>
                    <a:pt x="3287638" y="1257464"/>
                  </a:lnTo>
                  <a:lnTo>
                    <a:pt x="3287893" y="1257695"/>
                  </a:lnTo>
                  <a:lnTo>
                    <a:pt x="3288186" y="1257697"/>
                  </a:lnTo>
                  <a:lnTo>
                    <a:pt x="3288552" y="1257837"/>
                  </a:lnTo>
                  <a:lnTo>
                    <a:pt x="3289019" y="1258481"/>
                  </a:lnTo>
                  <a:lnTo>
                    <a:pt x="3293891" y="1260465"/>
                  </a:lnTo>
                  <a:lnTo>
                    <a:pt x="3295454" y="1261524"/>
                  </a:lnTo>
                  <a:lnTo>
                    <a:pt x="3296847" y="1263511"/>
                  </a:lnTo>
                  <a:lnTo>
                    <a:pt x="3299203" y="1268044"/>
                  </a:lnTo>
                  <a:lnTo>
                    <a:pt x="3300366" y="1269571"/>
                  </a:lnTo>
                  <a:lnTo>
                    <a:pt x="3303767" y="1272425"/>
                  </a:lnTo>
                  <a:lnTo>
                    <a:pt x="3305132" y="1274195"/>
                  </a:lnTo>
                  <a:lnTo>
                    <a:pt x="3305273" y="1275938"/>
                  </a:lnTo>
                  <a:lnTo>
                    <a:pt x="3307771" y="1278192"/>
                  </a:lnTo>
                  <a:lnTo>
                    <a:pt x="3309067" y="1279527"/>
                  </a:lnTo>
                  <a:lnTo>
                    <a:pt x="3310246" y="1281050"/>
                  </a:lnTo>
                  <a:lnTo>
                    <a:pt x="3303102" y="1286165"/>
                  </a:lnTo>
                  <a:lnTo>
                    <a:pt x="3294943" y="1287377"/>
                  </a:lnTo>
                  <a:lnTo>
                    <a:pt x="3291970" y="1286659"/>
                  </a:lnTo>
                  <a:lnTo>
                    <a:pt x="3290272" y="1287189"/>
                  </a:lnTo>
                  <a:lnTo>
                    <a:pt x="3288314" y="1286594"/>
                  </a:lnTo>
                  <a:lnTo>
                    <a:pt x="3286370" y="1286460"/>
                  </a:lnTo>
                  <a:lnTo>
                    <a:pt x="3277762" y="1291526"/>
                  </a:lnTo>
                  <a:lnTo>
                    <a:pt x="3276667" y="1292931"/>
                  </a:lnTo>
                  <a:lnTo>
                    <a:pt x="3276299" y="1293793"/>
                  </a:lnTo>
                  <a:lnTo>
                    <a:pt x="3276131" y="1294661"/>
                  </a:lnTo>
                  <a:lnTo>
                    <a:pt x="3276114" y="1296395"/>
                  </a:lnTo>
                  <a:lnTo>
                    <a:pt x="3276007" y="1297268"/>
                  </a:lnTo>
                  <a:lnTo>
                    <a:pt x="3274320" y="1299764"/>
                  </a:lnTo>
                  <a:lnTo>
                    <a:pt x="3273845" y="1301516"/>
                  </a:lnTo>
                  <a:lnTo>
                    <a:pt x="3274633" y="1304231"/>
                  </a:lnTo>
                  <a:lnTo>
                    <a:pt x="3274975" y="1306160"/>
                  </a:lnTo>
                  <a:lnTo>
                    <a:pt x="3274648" y="1308350"/>
                  </a:lnTo>
                  <a:lnTo>
                    <a:pt x="3274010" y="1310209"/>
                  </a:lnTo>
                  <a:lnTo>
                    <a:pt x="3273408" y="1311112"/>
                  </a:lnTo>
                  <a:lnTo>
                    <a:pt x="3266649" y="1314381"/>
                  </a:lnTo>
                  <a:lnTo>
                    <a:pt x="3261941" y="1314860"/>
                  </a:lnTo>
                  <a:lnTo>
                    <a:pt x="3260727" y="1315754"/>
                  </a:lnTo>
                  <a:lnTo>
                    <a:pt x="3259931" y="1315952"/>
                  </a:lnTo>
                  <a:lnTo>
                    <a:pt x="3260166" y="1316274"/>
                  </a:lnTo>
                  <a:lnTo>
                    <a:pt x="3260117" y="1316520"/>
                  </a:lnTo>
                  <a:lnTo>
                    <a:pt x="3259257" y="1317144"/>
                  </a:lnTo>
                  <a:lnTo>
                    <a:pt x="3258330" y="1319539"/>
                  </a:lnTo>
                  <a:lnTo>
                    <a:pt x="3254016" y="1324493"/>
                  </a:lnTo>
                  <a:lnTo>
                    <a:pt x="3253205" y="1327171"/>
                  </a:lnTo>
                  <a:lnTo>
                    <a:pt x="3252832" y="1327683"/>
                  </a:lnTo>
                  <a:lnTo>
                    <a:pt x="3250496" y="1329356"/>
                  </a:lnTo>
                  <a:lnTo>
                    <a:pt x="3249464" y="1330719"/>
                  </a:lnTo>
                  <a:lnTo>
                    <a:pt x="3248171" y="1334342"/>
                  </a:lnTo>
                  <a:lnTo>
                    <a:pt x="3246972" y="1335642"/>
                  </a:lnTo>
                  <a:lnTo>
                    <a:pt x="3229920" y="1339093"/>
                  </a:lnTo>
                  <a:lnTo>
                    <a:pt x="3227269" y="1340920"/>
                  </a:lnTo>
                  <a:lnTo>
                    <a:pt x="3223270" y="1346325"/>
                  </a:lnTo>
                  <a:lnTo>
                    <a:pt x="3220881" y="1346664"/>
                  </a:lnTo>
                  <a:lnTo>
                    <a:pt x="3220651" y="1347512"/>
                  </a:lnTo>
                  <a:lnTo>
                    <a:pt x="3221297" y="1348517"/>
                  </a:lnTo>
                  <a:lnTo>
                    <a:pt x="3222537" y="1348543"/>
                  </a:lnTo>
                  <a:lnTo>
                    <a:pt x="3223737" y="1348121"/>
                  </a:lnTo>
                  <a:lnTo>
                    <a:pt x="3226720" y="1348333"/>
                  </a:lnTo>
                  <a:lnTo>
                    <a:pt x="3227598" y="1346507"/>
                  </a:lnTo>
                  <a:lnTo>
                    <a:pt x="3228243" y="1344183"/>
                  </a:lnTo>
                  <a:lnTo>
                    <a:pt x="3229201" y="1342720"/>
                  </a:lnTo>
                  <a:lnTo>
                    <a:pt x="3232532" y="1340367"/>
                  </a:lnTo>
                  <a:lnTo>
                    <a:pt x="3247185" y="1338708"/>
                  </a:lnTo>
                  <a:lnTo>
                    <a:pt x="3248822" y="1337559"/>
                  </a:lnTo>
                  <a:lnTo>
                    <a:pt x="3250293" y="1335436"/>
                  </a:lnTo>
                  <a:lnTo>
                    <a:pt x="3251542" y="1334909"/>
                  </a:lnTo>
                  <a:lnTo>
                    <a:pt x="3251838" y="1334519"/>
                  </a:lnTo>
                  <a:lnTo>
                    <a:pt x="3252128" y="1333233"/>
                  </a:lnTo>
                  <a:lnTo>
                    <a:pt x="3252442" y="1332839"/>
                  </a:lnTo>
                  <a:lnTo>
                    <a:pt x="3254551" y="1332201"/>
                  </a:lnTo>
                  <a:lnTo>
                    <a:pt x="3255437" y="1331457"/>
                  </a:lnTo>
                  <a:lnTo>
                    <a:pt x="3255968" y="1327493"/>
                  </a:lnTo>
                  <a:lnTo>
                    <a:pt x="3261197" y="1321944"/>
                  </a:lnTo>
                  <a:lnTo>
                    <a:pt x="3267344" y="1319173"/>
                  </a:lnTo>
                  <a:lnTo>
                    <a:pt x="3273021" y="1319364"/>
                  </a:lnTo>
                  <a:lnTo>
                    <a:pt x="3275942" y="1320360"/>
                  </a:lnTo>
                  <a:lnTo>
                    <a:pt x="3293509" y="1322182"/>
                  </a:lnTo>
                  <a:lnTo>
                    <a:pt x="3296880" y="1321456"/>
                  </a:lnTo>
                  <a:lnTo>
                    <a:pt x="3298167" y="1320226"/>
                  </a:lnTo>
                  <a:lnTo>
                    <a:pt x="3299875" y="1316763"/>
                  </a:lnTo>
                  <a:lnTo>
                    <a:pt x="3306671" y="1313419"/>
                  </a:lnTo>
                  <a:lnTo>
                    <a:pt x="3308717" y="1313547"/>
                  </a:lnTo>
                  <a:lnTo>
                    <a:pt x="3319846" y="1308719"/>
                  </a:lnTo>
                  <a:lnTo>
                    <a:pt x="3341082" y="1313168"/>
                  </a:lnTo>
                  <a:lnTo>
                    <a:pt x="3341888" y="1313657"/>
                  </a:lnTo>
                  <a:lnTo>
                    <a:pt x="3344726" y="1316036"/>
                  </a:lnTo>
                  <a:lnTo>
                    <a:pt x="3345607" y="1316561"/>
                  </a:lnTo>
                  <a:lnTo>
                    <a:pt x="3346226" y="1316632"/>
                  </a:lnTo>
                  <a:lnTo>
                    <a:pt x="3347314" y="1317009"/>
                  </a:lnTo>
                  <a:lnTo>
                    <a:pt x="3348933" y="1318454"/>
                  </a:lnTo>
                  <a:lnTo>
                    <a:pt x="3350595" y="1320359"/>
                  </a:lnTo>
                  <a:lnTo>
                    <a:pt x="3351843" y="1322168"/>
                  </a:lnTo>
                  <a:lnTo>
                    <a:pt x="3352831" y="1324423"/>
                  </a:lnTo>
                  <a:lnTo>
                    <a:pt x="3353109" y="1326162"/>
                  </a:lnTo>
                  <a:lnTo>
                    <a:pt x="3353036" y="1332097"/>
                  </a:lnTo>
                  <a:lnTo>
                    <a:pt x="3351867" y="1333165"/>
                  </a:lnTo>
                  <a:lnTo>
                    <a:pt x="3342927" y="1332356"/>
                  </a:lnTo>
                  <a:lnTo>
                    <a:pt x="3336303" y="1334808"/>
                  </a:lnTo>
                  <a:lnTo>
                    <a:pt x="3335271" y="1336570"/>
                  </a:lnTo>
                  <a:lnTo>
                    <a:pt x="3335651" y="1337305"/>
                  </a:lnTo>
                  <a:lnTo>
                    <a:pt x="3336031" y="1337517"/>
                  </a:lnTo>
                  <a:lnTo>
                    <a:pt x="3336987" y="1338223"/>
                  </a:lnTo>
                  <a:lnTo>
                    <a:pt x="3336325" y="1339302"/>
                  </a:lnTo>
                  <a:lnTo>
                    <a:pt x="3334546" y="1339193"/>
                  </a:lnTo>
                  <a:lnTo>
                    <a:pt x="3330760" y="1337636"/>
                  </a:lnTo>
                  <a:lnTo>
                    <a:pt x="3329143" y="1337418"/>
                  </a:lnTo>
                  <a:lnTo>
                    <a:pt x="3328043" y="1338528"/>
                  </a:lnTo>
                  <a:lnTo>
                    <a:pt x="3326680" y="1341840"/>
                  </a:lnTo>
                  <a:lnTo>
                    <a:pt x="3325447" y="1343209"/>
                  </a:lnTo>
                  <a:lnTo>
                    <a:pt x="3318821" y="1344517"/>
                  </a:lnTo>
                  <a:lnTo>
                    <a:pt x="3308274" y="1342842"/>
                  </a:lnTo>
                  <a:lnTo>
                    <a:pt x="3306525" y="1342217"/>
                  </a:lnTo>
                  <a:lnTo>
                    <a:pt x="3303829" y="1342252"/>
                  </a:lnTo>
                  <a:lnTo>
                    <a:pt x="3301349" y="1341267"/>
                  </a:lnTo>
                  <a:lnTo>
                    <a:pt x="3299311" y="1341447"/>
                  </a:lnTo>
                  <a:lnTo>
                    <a:pt x="3294307" y="1340242"/>
                  </a:lnTo>
                  <a:lnTo>
                    <a:pt x="3292923" y="1340739"/>
                  </a:lnTo>
                  <a:lnTo>
                    <a:pt x="3289825" y="1343973"/>
                  </a:lnTo>
                  <a:lnTo>
                    <a:pt x="3276823" y="1346521"/>
                  </a:lnTo>
                  <a:lnTo>
                    <a:pt x="3263823" y="1348993"/>
                  </a:lnTo>
                  <a:lnTo>
                    <a:pt x="3259819" y="1357867"/>
                  </a:lnTo>
                  <a:lnTo>
                    <a:pt x="3259165" y="1361182"/>
                  </a:lnTo>
                  <a:lnTo>
                    <a:pt x="3260616" y="1361948"/>
                  </a:lnTo>
                  <a:lnTo>
                    <a:pt x="3261314" y="1360399"/>
                  </a:lnTo>
                  <a:lnTo>
                    <a:pt x="3262164" y="1356467"/>
                  </a:lnTo>
                  <a:lnTo>
                    <a:pt x="3265493" y="1351195"/>
                  </a:lnTo>
                  <a:lnTo>
                    <a:pt x="3266909" y="1350012"/>
                  </a:lnTo>
                  <a:lnTo>
                    <a:pt x="3274056" y="1348732"/>
                  </a:lnTo>
                  <a:lnTo>
                    <a:pt x="3277221" y="1349272"/>
                  </a:lnTo>
                  <a:lnTo>
                    <a:pt x="3288473" y="1347381"/>
                  </a:lnTo>
                  <a:lnTo>
                    <a:pt x="3294903" y="1343185"/>
                  </a:lnTo>
                  <a:lnTo>
                    <a:pt x="3296919" y="1343140"/>
                  </a:lnTo>
                  <a:lnTo>
                    <a:pt x="3297775" y="1343645"/>
                  </a:lnTo>
                  <a:lnTo>
                    <a:pt x="3299782" y="1345347"/>
                  </a:lnTo>
                  <a:lnTo>
                    <a:pt x="3301083" y="1345784"/>
                  </a:lnTo>
                  <a:lnTo>
                    <a:pt x="3302008" y="1346479"/>
                  </a:lnTo>
                  <a:lnTo>
                    <a:pt x="3302760" y="1347259"/>
                  </a:lnTo>
                  <a:lnTo>
                    <a:pt x="3302861" y="1347731"/>
                  </a:lnTo>
                  <a:lnTo>
                    <a:pt x="3302421" y="1348226"/>
                  </a:lnTo>
                  <a:lnTo>
                    <a:pt x="3301628" y="1349807"/>
                  </a:lnTo>
                  <a:lnTo>
                    <a:pt x="3301083" y="1350347"/>
                  </a:lnTo>
                  <a:lnTo>
                    <a:pt x="3300241" y="1350505"/>
                  </a:lnTo>
                  <a:lnTo>
                    <a:pt x="3298219" y="1350310"/>
                  </a:lnTo>
                  <a:lnTo>
                    <a:pt x="3283117" y="1354733"/>
                  </a:lnTo>
                  <a:lnTo>
                    <a:pt x="3281432" y="1357158"/>
                  </a:lnTo>
                  <a:lnTo>
                    <a:pt x="3278619" y="1359410"/>
                  </a:lnTo>
                  <a:lnTo>
                    <a:pt x="3272011" y="1361609"/>
                  </a:lnTo>
                  <a:lnTo>
                    <a:pt x="3272182" y="1361795"/>
                  </a:lnTo>
                  <a:lnTo>
                    <a:pt x="3275773" y="1362286"/>
                  </a:lnTo>
                  <a:lnTo>
                    <a:pt x="3280619" y="1359961"/>
                  </a:lnTo>
                  <a:lnTo>
                    <a:pt x="3282506" y="1357871"/>
                  </a:lnTo>
                  <a:lnTo>
                    <a:pt x="3287642" y="1355712"/>
                  </a:lnTo>
                  <a:lnTo>
                    <a:pt x="3288965" y="1356230"/>
                  </a:lnTo>
                  <a:lnTo>
                    <a:pt x="3288376" y="1358055"/>
                  </a:lnTo>
                  <a:lnTo>
                    <a:pt x="3285630" y="1361992"/>
                  </a:lnTo>
                  <a:lnTo>
                    <a:pt x="3285282" y="1364826"/>
                  </a:lnTo>
                  <a:lnTo>
                    <a:pt x="3285042" y="1365594"/>
                  </a:lnTo>
                  <a:lnTo>
                    <a:pt x="3284369" y="1366272"/>
                  </a:lnTo>
                  <a:lnTo>
                    <a:pt x="3281623" y="1367225"/>
                  </a:lnTo>
                  <a:lnTo>
                    <a:pt x="3278410" y="1371131"/>
                  </a:lnTo>
                  <a:lnTo>
                    <a:pt x="3274344" y="1372811"/>
                  </a:lnTo>
                  <a:lnTo>
                    <a:pt x="3273535" y="1374198"/>
                  </a:lnTo>
                  <a:lnTo>
                    <a:pt x="3273654" y="1376790"/>
                  </a:lnTo>
                  <a:lnTo>
                    <a:pt x="3275230" y="1376049"/>
                  </a:lnTo>
                  <a:lnTo>
                    <a:pt x="3275355" y="1375734"/>
                  </a:lnTo>
                  <a:lnTo>
                    <a:pt x="3275267" y="1374630"/>
                  </a:lnTo>
                  <a:lnTo>
                    <a:pt x="3275419" y="1374302"/>
                  </a:lnTo>
                  <a:lnTo>
                    <a:pt x="3279002" y="1372609"/>
                  </a:lnTo>
                  <a:lnTo>
                    <a:pt x="3279320" y="1373565"/>
                  </a:lnTo>
                  <a:lnTo>
                    <a:pt x="3279515" y="1373976"/>
                  </a:lnTo>
                  <a:lnTo>
                    <a:pt x="3279694" y="1374207"/>
                  </a:lnTo>
                  <a:lnTo>
                    <a:pt x="3279980" y="1374635"/>
                  </a:lnTo>
                  <a:lnTo>
                    <a:pt x="3280169" y="1375952"/>
                  </a:lnTo>
                  <a:lnTo>
                    <a:pt x="3281225" y="1379822"/>
                  </a:lnTo>
                  <a:lnTo>
                    <a:pt x="3281283" y="1380723"/>
                  </a:lnTo>
                  <a:lnTo>
                    <a:pt x="3281643" y="1381214"/>
                  </a:lnTo>
                  <a:lnTo>
                    <a:pt x="3281961" y="1382585"/>
                  </a:lnTo>
                  <a:lnTo>
                    <a:pt x="3282159" y="1384160"/>
                  </a:lnTo>
                  <a:lnTo>
                    <a:pt x="3282245" y="1387711"/>
                  </a:lnTo>
                  <a:lnTo>
                    <a:pt x="3283318" y="1386489"/>
                  </a:lnTo>
                  <a:lnTo>
                    <a:pt x="3283938" y="1383545"/>
                  </a:lnTo>
                  <a:lnTo>
                    <a:pt x="3282666" y="1380814"/>
                  </a:lnTo>
                  <a:lnTo>
                    <a:pt x="3282679" y="1380448"/>
                  </a:lnTo>
                  <a:lnTo>
                    <a:pt x="3282785" y="1379914"/>
                  </a:lnTo>
                  <a:lnTo>
                    <a:pt x="3282697" y="1378044"/>
                  </a:lnTo>
                  <a:lnTo>
                    <a:pt x="3282614" y="1377604"/>
                  </a:lnTo>
                  <a:lnTo>
                    <a:pt x="3282447" y="1377095"/>
                  </a:lnTo>
                  <a:lnTo>
                    <a:pt x="3281956" y="1375861"/>
                  </a:lnTo>
                  <a:lnTo>
                    <a:pt x="3281796" y="1375355"/>
                  </a:lnTo>
                  <a:lnTo>
                    <a:pt x="3281616" y="1373903"/>
                  </a:lnTo>
                  <a:lnTo>
                    <a:pt x="3281788" y="1372977"/>
                  </a:lnTo>
                  <a:lnTo>
                    <a:pt x="3284232" y="1369412"/>
                  </a:lnTo>
                  <a:lnTo>
                    <a:pt x="3287226" y="1367612"/>
                  </a:lnTo>
                  <a:lnTo>
                    <a:pt x="3287555" y="1364371"/>
                  </a:lnTo>
                  <a:lnTo>
                    <a:pt x="3291804" y="1358156"/>
                  </a:lnTo>
                  <a:lnTo>
                    <a:pt x="3294646" y="1356106"/>
                  </a:lnTo>
                  <a:lnTo>
                    <a:pt x="3302086" y="1356117"/>
                  </a:lnTo>
                  <a:lnTo>
                    <a:pt x="3303724" y="1355650"/>
                  </a:lnTo>
                  <a:lnTo>
                    <a:pt x="3304128" y="1355671"/>
                  </a:lnTo>
                  <a:lnTo>
                    <a:pt x="3305857" y="1356356"/>
                  </a:lnTo>
                  <a:lnTo>
                    <a:pt x="3323635" y="1358925"/>
                  </a:lnTo>
                  <a:lnTo>
                    <a:pt x="3325529" y="1360003"/>
                  </a:lnTo>
                  <a:lnTo>
                    <a:pt x="3324798" y="1361739"/>
                  </a:lnTo>
                  <a:lnTo>
                    <a:pt x="3317817" y="1366021"/>
                  </a:lnTo>
                  <a:lnTo>
                    <a:pt x="3317358" y="1367471"/>
                  </a:lnTo>
                  <a:lnTo>
                    <a:pt x="3318506" y="1368579"/>
                  </a:lnTo>
                  <a:lnTo>
                    <a:pt x="3317755" y="1370172"/>
                  </a:lnTo>
                  <a:lnTo>
                    <a:pt x="3316268" y="1370873"/>
                  </a:lnTo>
                  <a:lnTo>
                    <a:pt x="3307754" y="1370962"/>
                  </a:lnTo>
                  <a:lnTo>
                    <a:pt x="3302286" y="1373442"/>
                  </a:lnTo>
                  <a:lnTo>
                    <a:pt x="3301399" y="1375017"/>
                  </a:lnTo>
                  <a:lnTo>
                    <a:pt x="3300302" y="1375804"/>
                  </a:lnTo>
                  <a:lnTo>
                    <a:pt x="3300278" y="1376212"/>
                  </a:lnTo>
                  <a:lnTo>
                    <a:pt x="3300237" y="1376351"/>
                  </a:lnTo>
                  <a:lnTo>
                    <a:pt x="3300261" y="1377276"/>
                  </a:lnTo>
                  <a:lnTo>
                    <a:pt x="3300318" y="1377442"/>
                  </a:lnTo>
                  <a:lnTo>
                    <a:pt x="3299851" y="1377767"/>
                  </a:lnTo>
                  <a:lnTo>
                    <a:pt x="3298289" y="1377587"/>
                  </a:lnTo>
                  <a:lnTo>
                    <a:pt x="3297907" y="1378350"/>
                  </a:lnTo>
                  <a:lnTo>
                    <a:pt x="3298346" y="1379452"/>
                  </a:lnTo>
                  <a:lnTo>
                    <a:pt x="3299008" y="1380213"/>
                  </a:lnTo>
                  <a:lnTo>
                    <a:pt x="3299306" y="1379966"/>
                  </a:lnTo>
                  <a:lnTo>
                    <a:pt x="3299635" y="1378930"/>
                  </a:lnTo>
                  <a:lnTo>
                    <a:pt x="3306540" y="1374034"/>
                  </a:lnTo>
                  <a:lnTo>
                    <a:pt x="3307366" y="1374864"/>
                  </a:lnTo>
                  <a:lnTo>
                    <a:pt x="3308750" y="1375487"/>
                  </a:lnTo>
                  <a:lnTo>
                    <a:pt x="3311225" y="1374936"/>
                  </a:lnTo>
                  <a:lnTo>
                    <a:pt x="3313271" y="1375339"/>
                  </a:lnTo>
                  <a:lnTo>
                    <a:pt x="3317558" y="1373214"/>
                  </a:lnTo>
                  <a:lnTo>
                    <a:pt x="3317991" y="1374877"/>
                  </a:lnTo>
                  <a:lnTo>
                    <a:pt x="3318061" y="1375474"/>
                  </a:lnTo>
                  <a:lnTo>
                    <a:pt x="3318641" y="1376199"/>
                  </a:lnTo>
                  <a:lnTo>
                    <a:pt x="3318677" y="1377062"/>
                  </a:lnTo>
                  <a:lnTo>
                    <a:pt x="3318354" y="1377768"/>
                  </a:lnTo>
                  <a:lnTo>
                    <a:pt x="3317870" y="1378069"/>
                  </a:lnTo>
                  <a:lnTo>
                    <a:pt x="3318796" y="1378476"/>
                  </a:lnTo>
                  <a:lnTo>
                    <a:pt x="3320289" y="1378032"/>
                  </a:lnTo>
                  <a:lnTo>
                    <a:pt x="3321172" y="1378120"/>
                  </a:lnTo>
                  <a:lnTo>
                    <a:pt x="3321911" y="1378533"/>
                  </a:lnTo>
                  <a:lnTo>
                    <a:pt x="3323951" y="1380097"/>
                  </a:lnTo>
                  <a:lnTo>
                    <a:pt x="3323517" y="1381535"/>
                  </a:lnTo>
                  <a:lnTo>
                    <a:pt x="3318287" y="1382493"/>
                  </a:lnTo>
                  <a:lnTo>
                    <a:pt x="3315699" y="1382088"/>
                  </a:lnTo>
                  <a:lnTo>
                    <a:pt x="3304043" y="1385697"/>
                  </a:lnTo>
                  <a:lnTo>
                    <a:pt x="3306042" y="1386487"/>
                  </a:lnTo>
                  <a:lnTo>
                    <a:pt x="3312864" y="1384358"/>
                  </a:lnTo>
                  <a:lnTo>
                    <a:pt x="3313742" y="1384561"/>
                  </a:lnTo>
                  <a:lnTo>
                    <a:pt x="3314768" y="1385045"/>
                  </a:lnTo>
                  <a:lnTo>
                    <a:pt x="3315677" y="1385278"/>
                  </a:lnTo>
                  <a:lnTo>
                    <a:pt x="3317149" y="1384848"/>
                  </a:lnTo>
                  <a:lnTo>
                    <a:pt x="3319718" y="1385680"/>
                  </a:lnTo>
                  <a:lnTo>
                    <a:pt x="3328219" y="1384680"/>
                  </a:lnTo>
                  <a:lnTo>
                    <a:pt x="3329461" y="1383837"/>
                  </a:lnTo>
                  <a:lnTo>
                    <a:pt x="3330222" y="1383696"/>
                  </a:lnTo>
                  <a:lnTo>
                    <a:pt x="3331100" y="1384158"/>
                  </a:lnTo>
                  <a:lnTo>
                    <a:pt x="3330980" y="1385055"/>
                  </a:lnTo>
                  <a:lnTo>
                    <a:pt x="3332144" y="1385346"/>
                  </a:lnTo>
                  <a:lnTo>
                    <a:pt x="3333869" y="1384427"/>
                  </a:lnTo>
                  <a:lnTo>
                    <a:pt x="3334984" y="1384671"/>
                  </a:lnTo>
                  <a:lnTo>
                    <a:pt x="3333935" y="1386597"/>
                  </a:lnTo>
                  <a:lnTo>
                    <a:pt x="3331945" y="1387745"/>
                  </a:lnTo>
                  <a:lnTo>
                    <a:pt x="3317143" y="1388408"/>
                  </a:lnTo>
                  <a:lnTo>
                    <a:pt x="3315429" y="1389510"/>
                  </a:lnTo>
                  <a:lnTo>
                    <a:pt x="3309903" y="1389451"/>
                  </a:lnTo>
                  <a:lnTo>
                    <a:pt x="3307443" y="1390966"/>
                  </a:lnTo>
                  <a:lnTo>
                    <a:pt x="3305222" y="1391213"/>
                  </a:lnTo>
                  <a:lnTo>
                    <a:pt x="3303272" y="1392101"/>
                  </a:lnTo>
                  <a:lnTo>
                    <a:pt x="3302537" y="1392998"/>
                  </a:lnTo>
                  <a:lnTo>
                    <a:pt x="3302866" y="1393672"/>
                  </a:lnTo>
                  <a:lnTo>
                    <a:pt x="3305774" y="1393722"/>
                  </a:lnTo>
                  <a:lnTo>
                    <a:pt x="3307478" y="1394199"/>
                  </a:lnTo>
                  <a:lnTo>
                    <a:pt x="3308989" y="1395786"/>
                  </a:lnTo>
                  <a:lnTo>
                    <a:pt x="3304777" y="1396978"/>
                  </a:lnTo>
                  <a:lnTo>
                    <a:pt x="3305106" y="1397652"/>
                  </a:lnTo>
                  <a:lnTo>
                    <a:pt x="3305615" y="1398492"/>
                  </a:lnTo>
                  <a:lnTo>
                    <a:pt x="3305028" y="1399012"/>
                  </a:lnTo>
                  <a:lnTo>
                    <a:pt x="3303974" y="1399204"/>
                  </a:lnTo>
                  <a:lnTo>
                    <a:pt x="3303071" y="1399043"/>
                  </a:lnTo>
                  <a:lnTo>
                    <a:pt x="3301797" y="1398469"/>
                  </a:lnTo>
                  <a:lnTo>
                    <a:pt x="3300450" y="1398173"/>
                  </a:lnTo>
                  <a:lnTo>
                    <a:pt x="3299340" y="1398391"/>
                  </a:lnTo>
                  <a:lnTo>
                    <a:pt x="3298189" y="1400303"/>
                  </a:lnTo>
                  <a:lnTo>
                    <a:pt x="3295888" y="1399722"/>
                  </a:lnTo>
                  <a:lnTo>
                    <a:pt x="3295052" y="1400159"/>
                  </a:lnTo>
                  <a:lnTo>
                    <a:pt x="3294364" y="1401048"/>
                  </a:lnTo>
                  <a:lnTo>
                    <a:pt x="3291267" y="1401753"/>
                  </a:lnTo>
                  <a:lnTo>
                    <a:pt x="3290066" y="1401441"/>
                  </a:lnTo>
                  <a:lnTo>
                    <a:pt x="3287280" y="1400012"/>
                  </a:lnTo>
                  <a:lnTo>
                    <a:pt x="3286231" y="1399914"/>
                  </a:lnTo>
                  <a:lnTo>
                    <a:pt x="3282620" y="1401422"/>
                  </a:lnTo>
                  <a:lnTo>
                    <a:pt x="3276264" y="1400889"/>
                  </a:lnTo>
                  <a:lnTo>
                    <a:pt x="3274166" y="1402067"/>
                  </a:lnTo>
                  <a:lnTo>
                    <a:pt x="3274010" y="1404875"/>
                  </a:lnTo>
                  <a:lnTo>
                    <a:pt x="3278507" y="1402556"/>
                  </a:lnTo>
                  <a:lnTo>
                    <a:pt x="3281163" y="1402212"/>
                  </a:lnTo>
                  <a:lnTo>
                    <a:pt x="3284061" y="1403486"/>
                  </a:lnTo>
                  <a:lnTo>
                    <a:pt x="3276789" y="1406429"/>
                  </a:lnTo>
                  <a:lnTo>
                    <a:pt x="3276435" y="1408698"/>
                  </a:lnTo>
                  <a:lnTo>
                    <a:pt x="3291122" y="1403534"/>
                  </a:lnTo>
                  <a:lnTo>
                    <a:pt x="3292461" y="1403672"/>
                  </a:lnTo>
                  <a:lnTo>
                    <a:pt x="3293412" y="1404422"/>
                  </a:lnTo>
                  <a:lnTo>
                    <a:pt x="3293599" y="1405242"/>
                  </a:lnTo>
                  <a:lnTo>
                    <a:pt x="3293628" y="1406126"/>
                  </a:lnTo>
                  <a:lnTo>
                    <a:pt x="3294085" y="1407051"/>
                  </a:lnTo>
                  <a:lnTo>
                    <a:pt x="3294011" y="1407693"/>
                  </a:lnTo>
                  <a:lnTo>
                    <a:pt x="3293770" y="1408089"/>
                  </a:lnTo>
                  <a:lnTo>
                    <a:pt x="3293415" y="1408315"/>
                  </a:lnTo>
                  <a:lnTo>
                    <a:pt x="3292977" y="1408403"/>
                  </a:lnTo>
                  <a:lnTo>
                    <a:pt x="3293330" y="1409140"/>
                  </a:lnTo>
                  <a:lnTo>
                    <a:pt x="3294559" y="1409300"/>
                  </a:lnTo>
                  <a:lnTo>
                    <a:pt x="3295250" y="1408603"/>
                  </a:lnTo>
                  <a:lnTo>
                    <a:pt x="3296048" y="1406122"/>
                  </a:lnTo>
                  <a:lnTo>
                    <a:pt x="3296794" y="1405102"/>
                  </a:lnTo>
                  <a:lnTo>
                    <a:pt x="3301522" y="1403823"/>
                  </a:lnTo>
                  <a:lnTo>
                    <a:pt x="3305552" y="1404086"/>
                  </a:lnTo>
                  <a:lnTo>
                    <a:pt x="3309185" y="1401047"/>
                  </a:lnTo>
                  <a:lnTo>
                    <a:pt x="3310902" y="1401519"/>
                  </a:lnTo>
                  <a:lnTo>
                    <a:pt x="3311919" y="1402100"/>
                  </a:lnTo>
                  <a:lnTo>
                    <a:pt x="3315124" y="1400315"/>
                  </a:lnTo>
                  <a:lnTo>
                    <a:pt x="3322870" y="1398947"/>
                  </a:lnTo>
                  <a:lnTo>
                    <a:pt x="3325994" y="1399202"/>
                  </a:lnTo>
                  <a:lnTo>
                    <a:pt x="3326528" y="1399453"/>
                  </a:lnTo>
                  <a:lnTo>
                    <a:pt x="3326948" y="1399814"/>
                  </a:lnTo>
                  <a:lnTo>
                    <a:pt x="3327370" y="1400080"/>
                  </a:lnTo>
                  <a:lnTo>
                    <a:pt x="3327895" y="1400007"/>
                  </a:lnTo>
                  <a:lnTo>
                    <a:pt x="3330070" y="1398941"/>
                  </a:lnTo>
                  <a:lnTo>
                    <a:pt x="3330375" y="1399553"/>
                  </a:lnTo>
                  <a:lnTo>
                    <a:pt x="3329381" y="1401785"/>
                  </a:lnTo>
                  <a:lnTo>
                    <a:pt x="3329017" y="1401054"/>
                  </a:lnTo>
                  <a:lnTo>
                    <a:pt x="3328627" y="1401643"/>
                  </a:lnTo>
                  <a:lnTo>
                    <a:pt x="3326355" y="1402355"/>
                  </a:lnTo>
                  <a:lnTo>
                    <a:pt x="3327598" y="1402791"/>
                  </a:lnTo>
                  <a:lnTo>
                    <a:pt x="3329739" y="1402445"/>
                  </a:lnTo>
                  <a:lnTo>
                    <a:pt x="3331109" y="1403445"/>
                  </a:lnTo>
                  <a:lnTo>
                    <a:pt x="3330805" y="1405547"/>
                  </a:lnTo>
                  <a:lnTo>
                    <a:pt x="3329031" y="1405565"/>
                  </a:lnTo>
                  <a:lnTo>
                    <a:pt x="3326790" y="1404825"/>
                  </a:lnTo>
                  <a:lnTo>
                    <a:pt x="3325073" y="1404649"/>
                  </a:lnTo>
                  <a:lnTo>
                    <a:pt x="3323545" y="1406424"/>
                  </a:lnTo>
                  <a:lnTo>
                    <a:pt x="3321760" y="1409980"/>
                  </a:lnTo>
                  <a:lnTo>
                    <a:pt x="3320674" y="1410406"/>
                  </a:lnTo>
                  <a:lnTo>
                    <a:pt x="3309967" y="1411347"/>
                  </a:lnTo>
                  <a:lnTo>
                    <a:pt x="3307640" y="1414012"/>
                  </a:lnTo>
                  <a:lnTo>
                    <a:pt x="3306833" y="1414248"/>
                  </a:lnTo>
                  <a:lnTo>
                    <a:pt x="3306182" y="1414711"/>
                  </a:lnTo>
                  <a:lnTo>
                    <a:pt x="3306077" y="1415982"/>
                  </a:lnTo>
                  <a:lnTo>
                    <a:pt x="3306083" y="1416345"/>
                  </a:lnTo>
                  <a:lnTo>
                    <a:pt x="3305932" y="1417258"/>
                  </a:lnTo>
                  <a:lnTo>
                    <a:pt x="3306026" y="1417499"/>
                  </a:lnTo>
                  <a:lnTo>
                    <a:pt x="3306459" y="1418302"/>
                  </a:lnTo>
                  <a:lnTo>
                    <a:pt x="3306554" y="1418543"/>
                  </a:lnTo>
                  <a:lnTo>
                    <a:pt x="3305997" y="1419599"/>
                  </a:lnTo>
                  <a:lnTo>
                    <a:pt x="3304058" y="1420553"/>
                  </a:lnTo>
                  <a:lnTo>
                    <a:pt x="3303552" y="1421707"/>
                  </a:lnTo>
                  <a:lnTo>
                    <a:pt x="3304404" y="1421560"/>
                  </a:lnTo>
                  <a:lnTo>
                    <a:pt x="3306183" y="1421853"/>
                  </a:lnTo>
                  <a:lnTo>
                    <a:pt x="3306912" y="1421774"/>
                  </a:lnTo>
                  <a:lnTo>
                    <a:pt x="3307963" y="1421116"/>
                  </a:lnTo>
                  <a:lnTo>
                    <a:pt x="3308811" y="1420109"/>
                  </a:lnTo>
                  <a:lnTo>
                    <a:pt x="3309249" y="1418387"/>
                  </a:lnTo>
                  <a:lnTo>
                    <a:pt x="3309744" y="1417548"/>
                  </a:lnTo>
                  <a:lnTo>
                    <a:pt x="3309843" y="1415784"/>
                  </a:lnTo>
                  <a:lnTo>
                    <a:pt x="3310083" y="1415279"/>
                  </a:lnTo>
                  <a:lnTo>
                    <a:pt x="3311744" y="1413732"/>
                  </a:lnTo>
                  <a:lnTo>
                    <a:pt x="3317617" y="1412888"/>
                  </a:lnTo>
                  <a:lnTo>
                    <a:pt x="3318043" y="1413044"/>
                  </a:lnTo>
                  <a:lnTo>
                    <a:pt x="3318461" y="1413636"/>
                  </a:lnTo>
                  <a:lnTo>
                    <a:pt x="3318780" y="1414349"/>
                  </a:lnTo>
                  <a:lnTo>
                    <a:pt x="3318903" y="1414989"/>
                  </a:lnTo>
                  <a:lnTo>
                    <a:pt x="3318739" y="1415355"/>
                  </a:lnTo>
                  <a:lnTo>
                    <a:pt x="3318137" y="1415893"/>
                  </a:lnTo>
                  <a:lnTo>
                    <a:pt x="3317173" y="1417456"/>
                  </a:lnTo>
                  <a:lnTo>
                    <a:pt x="3311352" y="1420698"/>
                  </a:lnTo>
                  <a:lnTo>
                    <a:pt x="3310329" y="1422630"/>
                  </a:lnTo>
                  <a:lnTo>
                    <a:pt x="3321441" y="1418137"/>
                  </a:lnTo>
                  <a:lnTo>
                    <a:pt x="3321807" y="1417440"/>
                  </a:lnTo>
                  <a:lnTo>
                    <a:pt x="3321729" y="1416560"/>
                  </a:lnTo>
                  <a:lnTo>
                    <a:pt x="3321478" y="1415571"/>
                  </a:lnTo>
                  <a:lnTo>
                    <a:pt x="3321301" y="1414502"/>
                  </a:lnTo>
                  <a:lnTo>
                    <a:pt x="3321648" y="1413684"/>
                  </a:lnTo>
                  <a:lnTo>
                    <a:pt x="3322523" y="1413142"/>
                  </a:lnTo>
                  <a:lnTo>
                    <a:pt x="3323553" y="1412906"/>
                  </a:lnTo>
                  <a:lnTo>
                    <a:pt x="3324363" y="1413020"/>
                  </a:lnTo>
                  <a:lnTo>
                    <a:pt x="3328916" y="1411587"/>
                  </a:lnTo>
                  <a:lnTo>
                    <a:pt x="3330223" y="1412589"/>
                  </a:lnTo>
                  <a:lnTo>
                    <a:pt x="3330675" y="1412826"/>
                  </a:lnTo>
                  <a:lnTo>
                    <a:pt x="3331988" y="1411277"/>
                  </a:lnTo>
                  <a:lnTo>
                    <a:pt x="3332816" y="1411712"/>
                  </a:lnTo>
                  <a:lnTo>
                    <a:pt x="3333205" y="1412366"/>
                  </a:lnTo>
                  <a:lnTo>
                    <a:pt x="3333447" y="1413103"/>
                  </a:lnTo>
                  <a:lnTo>
                    <a:pt x="3333834" y="1413778"/>
                  </a:lnTo>
                  <a:lnTo>
                    <a:pt x="3334668" y="1414554"/>
                  </a:lnTo>
                  <a:lnTo>
                    <a:pt x="3335029" y="1414536"/>
                  </a:lnTo>
                  <a:lnTo>
                    <a:pt x="3335277" y="1414137"/>
                  </a:lnTo>
                  <a:lnTo>
                    <a:pt x="3335739" y="1413692"/>
                  </a:lnTo>
                  <a:lnTo>
                    <a:pt x="3337951" y="1412608"/>
                  </a:lnTo>
                  <a:lnTo>
                    <a:pt x="3338156" y="1412726"/>
                  </a:lnTo>
                  <a:lnTo>
                    <a:pt x="3338656" y="1413545"/>
                  </a:lnTo>
                  <a:lnTo>
                    <a:pt x="3338974" y="1413777"/>
                  </a:lnTo>
                  <a:lnTo>
                    <a:pt x="3339418" y="1413693"/>
                  </a:lnTo>
                  <a:lnTo>
                    <a:pt x="3339717" y="1413382"/>
                  </a:lnTo>
                  <a:lnTo>
                    <a:pt x="3340094" y="1412380"/>
                  </a:lnTo>
                  <a:lnTo>
                    <a:pt x="3340055" y="1410185"/>
                  </a:lnTo>
                  <a:lnTo>
                    <a:pt x="3340360" y="1409433"/>
                  </a:lnTo>
                  <a:lnTo>
                    <a:pt x="3341388" y="1410071"/>
                  </a:lnTo>
                  <a:lnTo>
                    <a:pt x="3341710" y="1410778"/>
                  </a:lnTo>
                  <a:lnTo>
                    <a:pt x="3341723" y="1411544"/>
                  </a:lnTo>
                  <a:lnTo>
                    <a:pt x="3342000" y="1412517"/>
                  </a:lnTo>
                  <a:lnTo>
                    <a:pt x="3343717" y="1414609"/>
                  </a:lnTo>
                  <a:lnTo>
                    <a:pt x="3344985" y="1416781"/>
                  </a:lnTo>
                  <a:lnTo>
                    <a:pt x="3345639" y="1417624"/>
                  </a:lnTo>
                  <a:lnTo>
                    <a:pt x="3346385" y="1419179"/>
                  </a:lnTo>
                  <a:lnTo>
                    <a:pt x="3346963" y="1423803"/>
                  </a:lnTo>
                  <a:lnTo>
                    <a:pt x="3347331" y="1425602"/>
                  </a:lnTo>
                  <a:lnTo>
                    <a:pt x="3347713" y="1424752"/>
                  </a:lnTo>
                  <a:lnTo>
                    <a:pt x="3347959" y="1423740"/>
                  </a:lnTo>
                  <a:lnTo>
                    <a:pt x="3348030" y="1422550"/>
                  </a:lnTo>
                  <a:lnTo>
                    <a:pt x="3347879" y="1421161"/>
                  </a:lnTo>
                  <a:lnTo>
                    <a:pt x="3347534" y="1419986"/>
                  </a:lnTo>
                  <a:lnTo>
                    <a:pt x="3346486" y="1417067"/>
                  </a:lnTo>
                  <a:lnTo>
                    <a:pt x="3345862" y="1414342"/>
                  </a:lnTo>
                  <a:lnTo>
                    <a:pt x="3345230" y="1413250"/>
                  </a:lnTo>
                  <a:lnTo>
                    <a:pt x="3344480" y="1412101"/>
                  </a:lnTo>
                  <a:lnTo>
                    <a:pt x="3343784" y="1410561"/>
                  </a:lnTo>
                  <a:lnTo>
                    <a:pt x="3343489" y="1409089"/>
                  </a:lnTo>
                  <a:lnTo>
                    <a:pt x="3343985" y="1409023"/>
                  </a:lnTo>
                  <a:lnTo>
                    <a:pt x="3344864" y="1409489"/>
                  </a:lnTo>
                  <a:lnTo>
                    <a:pt x="3345716" y="1409606"/>
                  </a:lnTo>
                  <a:lnTo>
                    <a:pt x="3348955" y="1405965"/>
                  </a:lnTo>
                  <a:lnTo>
                    <a:pt x="3349694" y="1404241"/>
                  </a:lnTo>
                  <a:lnTo>
                    <a:pt x="3350461" y="1403908"/>
                  </a:lnTo>
                  <a:lnTo>
                    <a:pt x="3351516" y="1404101"/>
                  </a:lnTo>
                  <a:lnTo>
                    <a:pt x="3352031" y="1404402"/>
                  </a:lnTo>
                  <a:lnTo>
                    <a:pt x="3352640" y="1404917"/>
                  </a:lnTo>
                  <a:lnTo>
                    <a:pt x="3353255" y="1405135"/>
                  </a:lnTo>
                  <a:lnTo>
                    <a:pt x="3354414" y="1403601"/>
                  </a:lnTo>
                  <a:lnTo>
                    <a:pt x="3354986" y="1403310"/>
                  </a:lnTo>
                  <a:lnTo>
                    <a:pt x="3355610" y="1403203"/>
                  </a:lnTo>
                  <a:lnTo>
                    <a:pt x="3356403" y="1403529"/>
                  </a:lnTo>
                  <a:lnTo>
                    <a:pt x="3357508" y="1404579"/>
                  </a:lnTo>
                  <a:lnTo>
                    <a:pt x="3356830" y="1407217"/>
                  </a:lnTo>
                  <a:lnTo>
                    <a:pt x="3355044" y="1408829"/>
                  </a:lnTo>
                  <a:lnTo>
                    <a:pt x="3354453" y="1410647"/>
                  </a:lnTo>
                  <a:lnTo>
                    <a:pt x="3357364" y="1413941"/>
                  </a:lnTo>
                  <a:lnTo>
                    <a:pt x="3358133" y="1415549"/>
                  </a:lnTo>
                  <a:lnTo>
                    <a:pt x="3358550" y="1416933"/>
                  </a:lnTo>
                  <a:lnTo>
                    <a:pt x="3358809" y="1418281"/>
                  </a:lnTo>
                  <a:lnTo>
                    <a:pt x="3359343" y="1419652"/>
                  </a:lnTo>
                  <a:lnTo>
                    <a:pt x="3360197" y="1420808"/>
                  </a:lnTo>
                  <a:lnTo>
                    <a:pt x="3360703" y="1420900"/>
                  </a:lnTo>
                  <a:lnTo>
                    <a:pt x="3360910" y="1420288"/>
                  </a:lnTo>
                  <a:lnTo>
                    <a:pt x="3360737" y="1416929"/>
                  </a:lnTo>
                  <a:lnTo>
                    <a:pt x="3360511" y="1415624"/>
                  </a:lnTo>
                  <a:lnTo>
                    <a:pt x="3359841" y="1413961"/>
                  </a:lnTo>
                  <a:lnTo>
                    <a:pt x="3359094" y="1412822"/>
                  </a:lnTo>
                  <a:lnTo>
                    <a:pt x="3357456" y="1411199"/>
                  </a:lnTo>
                  <a:lnTo>
                    <a:pt x="3356641" y="1410108"/>
                  </a:lnTo>
                  <a:lnTo>
                    <a:pt x="3357390" y="1409284"/>
                  </a:lnTo>
                  <a:lnTo>
                    <a:pt x="3360767" y="1408041"/>
                  </a:lnTo>
                  <a:lnTo>
                    <a:pt x="3361312" y="1406887"/>
                  </a:lnTo>
                  <a:lnTo>
                    <a:pt x="3361744" y="1406485"/>
                  </a:lnTo>
                  <a:lnTo>
                    <a:pt x="3362442" y="1406790"/>
                  </a:lnTo>
                  <a:lnTo>
                    <a:pt x="3363476" y="1407759"/>
                  </a:lnTo>
                  <a:lnTo>
                    <a:pt x="3363925" y="1407983"/>
                  </a:lnTo>
                  <a:lnTo>
                    <a:pt x="3364381" y="1407904"/>
                  </a:lnTo>
                  <a:lnTo>
                    <a:pt x="3363561" y="1406171"/>
                  </a:lnTo>
                  <a:lnTo>
                    <a:pt x="3363841" y="1404994"/>
                  </a:lnTo>
                  <a:lnTo>
                    <a:pt x="3364740" y="1404461"/>
                  </a:lnTo>
                  <a:lnTo>
                    <a:pt x="3365780" y="1404676"/>
                  </a:lnTo>
                  <a:lnTo>
                    <a:pt x="3366427" y="1405440"/>
                  </a:lnTo>
                  <a:lnTo>
                    <a:pt x="3367400" y="1406730"/>
                  </a:lnTo>
                  <a:lnTo>
                    <a:pt x="3368383" y="1407845"/>
                  </a:lnTo>
                  <a:lnTo>
                    <a:pt x="3369067" y="1408060"/>
                  </a:lnTo>
                  <a:lnTo>
                    <a:pt x="3368951" y="1406876"/>
                  </a:lnTo>
                  <a:lnTo>
                    <a:pt x="3368414" y="1405066"/>
                  </a:lnTo>
                  <a:lnTo>
                    <a:pt x="3368354" y="1403934"/>
                  </a:lnTo>
                  <a:lnTo>
                    <a:pt x="3369673" y="1404779"/>
                  </a:lnTo>
                  <a:lnTo>
                    <a:pt x="3370741" y="1406081"/>
                  </a:lnTo>
                  <a:lnTo>
                    <a:pt x="3371319" y="1407115"/>
                  </a:lnTo>
                  <a:lnTo>
                    <a:pt x="3371909" y="1407927"/>
                  </a:lnTo>
                  <a:lnTo>
                    <a:pt x="3373030" y="1408575"/>
                  </a:lnTo>
                  <a:lnTo>
                    <a:pt x="3373341" y="1409179"/>
                  </a:lnTo>
                  <a:lnTo>
                    <a:pt x="3370192" y="1410149"/>
                  </a:lnTo>
                  <a:lnTo>
                    <a:pt x="3368856" y="1411244"/>
                  </a:lnTo>
                  <a:lnTo>
                    <a:pt x="3368687" y="1413286"/>
                  </a:lnTo>
                  <a:lnTo>
                    <a:pt x="3376406" y="1409396"/>
                  </a:lnTo>
                  <a:lnTo>
                    <a:pt x="3376628" y="1408430"/>
                  </a:lnTo>
                  <a:lnTo>
                    <a:pt x="3376397" y="1407586"/>
                  </a:lnTo>
                  <a:lnTo>
                    <a:pt x="3375604" y="1405653"/>
                  </a:lnTo>
                  <a:lnTo>
                    <a:pt x="3375413" y="1404838"/>
                  </a:lnTo>
                  <a:lnTo>
                    <a:pt x="3374087" y="1404024"/>
                  </a:lnTo>
                  <a:lnTo>
                    <a:pt x="3373434" y="1403515"/>
                  </a:lnTo>
                  <a:lnTo>
                    <a:pt x="3372773" y="1402738"/>
                  </a:lnTo>
                  <a:lnTo>
                    <a:pt x="3375456" y="1402289"/>
                  </a:lnTo>
                  <a:lnTo>
                    <a:pt x="3378254" y="1402966"/>
                  </a:lnTo>
                  <a:lnTo>
                    <a:pt x="3379708" y="1403989"/>
                  </a:lnTo>
                  <a:lnTo>
                    <a:pt x="3380493" y="1403768"/>
                  </a:lnTo>
                  <a:lnTo>
                    <a:pt x="3381220" y="1401869"/>
                  </a:lnTo>
                  <a:lnTo>
                    <a:pt x="3382984" y="1399472"/>
                  </a:lnTo>
                  <a:lnTo>
                    <a:pt x="3385439" y="1398303"/>
                  </a:lnTo>
                  <a:lnTo>
                    <a:pt x="3391357" y="1398321"/>
                  </a:lnTo>
                  <a:lnTo>
                    <a:pt x="3391710" y="1398994"/>
                  </a:lnTo>
                  <a:lnTo>
                    <a:pt x="3389712" y="1400738"/>
                  </a:lnTo>
                  <a:lnTo>
                    <a:pt x="3388216" y="1400968"/>
                  </a:lnTo>
                  <a:lnTo>
                    <a:pt x="3387426" y="1401501"/>
                  </a:lnTo>
                  <a:lnTo>
                    <a:pt x="3387275" y="1402569"/>
                  </a:lnTo>
                  <a:lnTo>
                    <a:pt x="3388297" y="1404210"/>
                  </a:lnTo>
                  <a:lnTo>
                    <a:pt x="3387065" y="1404487"/>
                  </a:lnTo>
                  <a:lnTo>
                    <a:pt x="3385502" y="1404206"/>
                  </a:lnTo>
                  <a:lnTo>
                    <a:pt x="3384147" y="1404315"/>
                  </a:lnTo>
                  <a:lnTo>
                    <a:pt x="3383513" y="1405744"/>
                  </a:lnTo>
                  <a:lnTo>
                    <a:pt x="3384681" y="1407596"/>
                  </a:lnTo>
                  <a:lnTo>
                    <a:pt x="3384704" y="1409351"/>
                  </a:lnTo>
                  <a:lnTo>
                    <a:pt x="3384145" y="1410792"/>
                  </a:lnTo>
                  <a:lnTo>
                    <a:pt x="3382652" y="1412590"/>
                  </a:lnTo>
                  <a:lnTo>
                    <a:pt x="3381530" y="1413107"/>
                  </a:lnTo>
                  <a:lnTo>
                    <a:pt x="3378789" y="1413211"/>
                  </a:lnTo>
                  <a:lnTo>
                    <a:pt x="3375304" y="1412456"/>
                  </a:lnTo>
                  <a:lnTo>
                    <a:pt x="3369509" y="1414303"/>
                  </a:lnTo>
                  <a:lnTo>
                    <a:pt x="3368635" y="1415919"/>
                  </a:lnTo>
                  <a:lnTo>
                    <a:pt x="3367314" y="1416009"/>
                  </a:lnTo>
                  <a:lnTo>
                    <a:pt x="3367013" y="1416645"/>
                  </a:lnTo>
                  <a:lnTo>
                    <a:pt x="3367244" y="1416799"/>
                  </a:lnTo>
                  <a:lnTo>
                    <a:pt x="3367285" y="1416793"/>
                  </a:lnTo>
                  <a:lnTo>
                    <a:pt x="3367347" y="1416867"/>
                  </a:lnTo>
                  <a:lnTo>
                    <a:pt x="3367628" y="1417251"/>
                  </a:lnTo>
                  <a:lnTo>
                    <a:pt x="3366902" y="1418711"/>
                  </a:lnTo>
                  <a:lnTo>
                    <a:pt x="3356278" y="1428786"/>
                  </a:lnTo>
                  <a:lnTo>
                    <a:pt x="3355435" y="1430847"/>
                  </a:lnTo>
                  <a:lnTo>
                    <a:pt x="3355178" y="1432120"/>
                  </a:lnTo>
                  <a:lnTo>
                    <a:pt x="3355232" y="1433409"/>
                  </a:lnTo>
                  <a:lnTo>
                    <a:pt x="3355995" y="1435577"/>
                  </a:lnTo>
                  <a:lnTo>
                    <a:pt x="3357028" y="1436984"/>
                  </a:lnTo>
                  <a:lnTo>
                    <a:pt x="3357956" y="1437273"/>
                  </a:lnTo>
                  <a:lnTo>
                    <a:pt x="3358412" y="1436086"/>
                  </a:lnTo>
                  <a:lnTo>
                    <a:pt x="3358248" y="1435480"/>
                  </a:lnTo>
                  <a:lnTo>
                    <a:pt x="3357525" y="1433651"/>
                  </a:lnTo>
                  <a:lnTo>
                    <a:pt x="3357424" y="1433231"/>
                  </a:lnTo>
                  <a:lnTo>
                    <a:pt x="3357757" y="1432898"/>
                  </a:lnTo>
                  <a:lnTo>
                    <a:pt x="3358864" y="1429957"/>
                  </a:lnTo>
                  <a:lnTo>
                    <a:pt x="3359539" y="1429323"/>
                  </a:lnTo>
                  <a:lnTo>
                    <a:pt x="3362472" y="1428033"/>
                  </a:lnTo>
                  <a:lnTo>
                    <a:pt x="3364375" y="1424758"/>
                  </a:lnTo>
                  <a:lnTo>
                    <a:pt x="3364802" y="1423841"/>
                  </a:lnTo>
                  <a:lnTo>
                    <a:pt x="3365113" y="1423530"/>
                  </a:lnTo>
                  <a:lnTo>
                    <a:pt x="3365501" y="1423356"/>
                  </a:lnTo>
                  <a:lnTo>
                    <a:pt x="3365784" y="1424653"/>
                  </a:lnTo>
                  <a:lnTo>
                    <a:pt x="3365541" y="1425303"/>
                  </a:lnTo>
                  <a:lnTo>
                    <a:pt x="3365181" y="1425853"/>
                  </a:lnTo>
                  <a:lnTo>
                    <a:pt x="3365115" y="1426825"/>
                  </a:lnTo>
                  <a:lnTo>
                    <a:pt x="3365547" y="1428382"/>
                  </a:lnTo>
                  <a:lnTo>
                    <a:pt x="3366100" y="1429214"/>
                  </a:lnTo>
                  <a:lnTo>
                    <a:pt x="3366674" y="1429860"/>
                  </a:lnTo>
                  <a:lnTo>
                    <a:pt x="3367145" y="1430834"/>
                  </a:lnTo>
                  <a:lnTo>
                    <a:pt x="3367058" y="1432445"/>
                  </a:lnTo>
                  <a:lnTo>
                    <a:pt x="3364081" y="1435714"/>
                  </a:lnTo>
                  <a:lnTo>
                    <a:pt x="3364140" y="1435700"/>
                  </a:lnTo>
                  <a:lnTo>
                    <a:pt x="3364254" y="1435708"/>
                  </a:lnTo>
                  <a:lnTo>
                    <a:pt x="3364376" y="1435907"/>
                  </a:lnTo>
                  <a:lnTo>
                    <a:pt x="3364449" y="1436444"/>
                  </a:lnTo>
                  <a:lnTo>
                    <a:pt x="3365035" y="1436227"/>
                  </a:lnTo>
                  <a:lnTo>
                    <a:pt x="3366271" y="1434625"/>
                  </a:lnTo>
                  <a:lnTo>
                    <a:pt x="3368230" y="1433337"/>
                  </a:lnTo>
                  <a:lnTo>
                    <a:pt x="3368682" y="1432657"/>
                  </a:lnTo>
                  <a:lnTo>
                    <a:pt x="3368794" y="1431827"/>
                  </a:lnTo>
                  <a:lnTo>
                    <a:pt x="3368648" y="1430937"/>
                  </a:lnTo>
                  <a:lnTo>
                    <a:pt x="3367959" y="1428749"/>
                  </a:lnTo>
                  <a:lnTo>
                    <a:pt x="3367904" y="1428907"/>
                  </a:lnTo>
                  <a:lnTo>
                    <a:pt x="3367639" y="1428769"/>
                  </a:lnTo>
                  <a:lnTo>
                    <a:pt x="3367298" y="1428320"/>
                  </a:lnTo>
                  <a:lnTo>
                    <a:pt x="3367017" y="1427552"/>
                  </a:lnTo>
                  <a:lnTo>
                    <a:pt x="3366972" y="1427085"/>
                  </a:lnTo>
                  <a:lnTo>
                    <a:pt x="3369261" y="1421259"/>
                  </a:lnTo>
                  <a:lnTo>
                    <a:pt x="3369388" y="1420106"/>
                  </a:lnTo>
                  <a:lnTo>
                    <a:pt x="3370954" y="1419042"/>
                  </a:lnTo>
                  <a:lnTo>
                    <a:pt x="3372239" y="1419350"/>
                  </a:lnTo>
                  <a:lnTo>
                    <a:pt x="3373381" y="1421915"/>
                  </a:lnTo>
                  <a:lnTo>
                    <a:pt x="3374040" y="1421433"/>
                  </a:lnTo>
                  <a:lnTo>
                    <a:pt x="3374226" y="1420509"/>
                  </a:lnTo>
                  <a:lnTo>
                    <a:pt x="3374229" y="1418124"/>
                  </a:lnTo>
                  <a:lnTo>
                    <a:pt x="3374480" y="1417296"/>
                  </a:lnTo>
                  <a:lnTo>
                    <a:pt x="3374973" y="1416681"/>
                  </a:lnTo>
                  <a:lnTo>
                    <a:pt x="3375667" y="1416254"/>
                  </a:lnTo>
                  <a:lnTo>
                    <a:pt x="3376537" y="1416039"/>
                  </a:lnTo>
                  <a:lnTo>
                    <a:pt x="3384055" y="1416178"/>
                  </a:lnTo>
                  <a:lnTo>
                    <a:pt x="3385215" y="1416669"/>
                  </a:lnTo>
                  <a:lnTo>
                    <a:pt x="3383893" y="1418728"/>
                  </a:lnTo>
                  <a:lnTo>
                    <a:pt x="3378187" y="1422840"/>
                  </a:lnTo>
                  <a:lnTo>
                    <a:pt x="3378424" y="1422910"/>
                  </a:lnTo>
                  <a:lnTo>
                    <a:pt x="3378984" y="1423197"/>
                  </a:lnTo>
                  <a:lnTo>
                    <a:pt x="3379253" y="1423662"/>
                  </a:lnTo>
                  <a:lnTo>
                    <a:pt x="3379277" y="1423831"/>
                  </a:lnTo>
                  <a:lnTo>
                    <a:pt x="3379189" y="1423895"/>
                  </a:lnTo>
                  <a:lnTo>
                    <a:pt x="3379113" y="1424049"/>
                  </a:lnTo>
                  <a:lnTo>
                    <a:pt x="3378870" y="1424172"/>
                  </a:lnTo>
                  <a:lnTo>
                    <a:pt x="3377884" y="1425782"/>
                  </a:lnTo>
                  <a:lnTo>
                    <a:pt x="3377466" y="1428301"/>
                  </a:lnTo>
                  <a:lnTo>
                    <a:pt x="3378161" y="1431513"/>
                  </a:lnTo>
                  <a:lnTo>
                    <a:pt x="3380501" y="1435185"/>
                  </a:lnTo>
                  <a:lnTo>
                    <a:pt x="3380636" y="1437934"/>
                  </a:lnTo>
                  <a:lnTo>
                    <a:pt x="3380070" y="1439424"/>
                  </a:lnTo>
                  <a:lnTo>
                    <a:pt x="3377746" y="1440767"/>
                  </a:lnTo>
                  <a:lnTo>
                    <a:pt x="3376126" y="1440890"/>
                  </a:lnTo>
                  <a:lnTo>
                    <a:pt x="3374233" y="1440524"/>
                  </a:lnTo>
                  <a:lnTo>
                    <a:pt x="3372559" y="1440612"/>
                  </a:lnTo>
                  <a:lnTo>
                    <a:pt x="3371606" y="1442086"/>
                  </a:lnTo>
                  <a:lnTo>
                    <a:pt x="3373681" y="1442653"/>
                  </a:lnTo>
                  <a:lnTo>
                    <a:pt x="3380868" y="1442293"/>
                  </a:lnTo>
                  <a:lnTo>
                    <a:pt x="3381530" y="1441810"/>
                  </a:lnTo>
                  <a:lnTo>
                    <a:pt x="3381692" y="1440848"/>
                  </a:lnTo>
                  <a:lnTo>
                    <a:pt x="3381740" y="1439613"/>
                  </a:lnTo>
                  <a:lnTo>
                    <a:pt x="3382490" y="1437974"/>
                  </a:lnTo>
                  <a:lnTo>
                    <a:pt x="3382477" y="1436630"/>
                  </a:lnTo>
                  <a:lnTo>
                    <a:pt x="3381898" y="1436157"/>
                  </a:lnTo>
                  <a:lnTo>
                    <a:pt x="3381884" y="1435298"/>
                  </a:lnTo>
                  <a:lnTo>
                    <a:pt x="3382021" y="1434353"/>
                  </a:lnTo>
                  <a:lnTo>
                    <a:pt x="3381989" y="1433408"/>
                  </a:lnTo>
                  <a:lnTo>
                    <a:pt x="3381458" y="1432530"/>
                  </a:lnTo>
                  <a:lnTo>
                    <a:pt x="3380864" y="1431909"/>
                  </a:lnTo>
                  <a:lnTo>
                    <a:pt x="3380258" y="1431145"/>
                  </a:lnTo>
                  <a:lnTo>
                    <a:pt x="3379632" y="1430240"/>
                  </a:lnTo>
                  <a:lnTo>
                    <a:pt x="3378965" y="1429170"/>
                  </a:lnTo>
                  <a:lnTo>
                    <a:pt x="3382555" y="1422302"/>
                  </a:lnTo>
                  <a:lnTo>
                    <a:pt x="3382802" y="1421360"/>
                  </a:lnTo>
                  <a:lnTo>
                    <a:pt x="3384426" y="1419751"/>
                  </a:lnTo>
                  <a:lnTo>
                    <a:pt x="3385764" y="1419017"/>
                  </a:lnTo>
                  <a:lnTo>
                    <a:pt x="3386749" y="1418870"/>
                  </a:lnTo>
                  <a:lnTo>
                    <a:pt x="3387324" y="1418953"/>
                  </a:lnTo>
                  <a:lnTo>
                    <a:pt x="3387660" y="1419162"/>
                  </a:lnTo>
                  <a:lnTo>
                    <a:pt x="3388069" y="1419525"/>
                  </a:lnTo>
                  <a:lnTo>
                    <a:pt x="3388486" y="1419818"/>
                  </a:lnTo>
                  <a:lnTo>
                    <a:pt x="3389886" y="1419734"/>
                  </a:lnTo>
                  <a:lnTo>
                    <a:pt x="3392314" y="1420281"/>
                  </a:lnTo>
                  <a:lnTo>
                    <a:pt x="3396684" y="1419229"/>
                  </a:lnTo>
                  <a:lnTo>
                    <a:pt x="3397846" y="1419530"/>
                  </a:lnTo>
                  <a:lnTo>
                    <a:pt x="3397935" y="1420384"/>
                  </a:lnTo>
                  <a:lnTo>
                    <a:pt x="3398247" y="1421098"/>
                  </a:lnTo>
                  <a:lnTo>
                    <a:pt x="3398592" y="1421770"/>
                  </a:lnTo>
                  <a:lnTo>
                    <a:pt x="3398797" y="1422483"/>
                  </a:lnTo>
                  <a:lnTo>
                    <a:pt x="3398772" y="1423271"/>
                  </a:lnTo>
                  <a:lnTo>
                    <a:pt x="3398396" y="1424439"/>
                  </a:lnTo>
                  <a:lnTo>
                    <a:pt x="3398321" y="1425192"/>
                  </a:lnTo>
                  <a:lnTo>
                    <a:pt x="3398549" y="1427009"/>
                  </a:lnTo>
                  <a:lnTo>
                    <a:pt x="3399120" y="1428830"/>
                  </a:lnTo>
                  <a:lnTo>
                    <a:pt x="3400021" y="1430382"/>
                  </a:lnTo>
                  <a:lnTo>
                    <a:pt x="3401227" y="1431360"/>
                  </a:lnTo>
                  <a:lnTo>
                    <a:pt x="3401131" y="1433037"/>
                  </a:lnTo>
                  <a:lnTo>
                    <a:pt x="3399448" y="1439339"/>
                  </a:lnTo>
                  <a:lnTo>
                    <a:pt x="3399729" y="1441047"/>
                  </a:lnTo>
                  <a:lnTo>
                    <a:pt x="3400882" y="1443333"/>
                  </a:lnTo>
                  <a:lnTo>
                    <a:pt x="3401825" y="1444161"/>
                  </a:lnTo>
                  <a:lnTo>
                    <a:pt x="3402497" y="1444660"/>
                  </a:lnTo>
                  <a:lnTo>
                    <a:pt x="3402902" y="1444829"/>
                  </a:lnTo>
                  <a:lnTo>
                    <a:pt x="3403169" y="1444240"/>
                  </a:lnTo>
                  <a:lnTo>
                    <a:pt x="3402835" y="1443312"/>
                  </a:lnTo>
                  <a:lnTo>
                    <a:pt x="3402285" y="1442223"/>
                  </a:lnTo>
                  <a:lnTo>
                    <a:pt x="3401891" y="1441130"/>
                  </a:lnTo>
                  <a:lnTo>
                    <a:pt x="3401805" y="1439407"/>
                  </a:lnTo>
                  <a:lnTo>
                    <a:pt x="3402954" y="1434089"/>
                  </a:lnTo>
                  <a:lnTo>
                    <a:pt x="3403621" y="1432811"/>
                  </a:lnTo>
                  <a:lnTo>
                    <a:pt x="3404115" y="1432401"/>
                  </a:lnTo>
                  <a:lnTo>
                    <a:pt x="3404346" y="1431894"/>
                  </a:lnTo>
                  <a:lnTo>
                    <a:pt x="3404057" y="1429962"/>
                  </a:lnTo>
                  <a:lnTo>
                    <a:pt x="3404031" y="1428994"/>
                  </a:lnTo>
                  <a:lnTo>
                    <a:pt x="3404509" y="1427782"/>
                  </a:lnTo>
                  <a:lnTo>
                    <a:pt x="3405371" y="1427592"/>
                  </a:lnTo>
                  <a:lnTo>
                    <a:pt x="3406533" y="1428456"/>
                  </a:lnTo>
                  <a:lnTo>
                    <a:pt x="3407925" y="1430432"/>
                  </a:lnTo>
                  <a:lnTo>
                    <a:pt x="3407802" y="1430410"/>
                  </a:lnTo>
                  <a:lnTo>
                    <a:pt x="3407749" y="1430734"/>
                  </a:lnTo>
                  <a:lnTo>
                    <a:pt x="3407779" y="1431212"/>
                  </a:lnTo>
                  <a:lnTo>
                    <a:pt x="3407935" y="1431695"/>
                  </a:lnTo>
                  <a:lnTo>
                    <a:pt x="3408117" y="1431953"/>
                  </a:lnTo>
                  <a:lnTo>
                    <a:pt x="3408298" y="1432090"/>
                  </a:lnTo>
                  <a:lnTo>
                    <a:pt x="3408524" y="1432316"/>
                  </a:lnTo>
                  <a:lnTo>
                    <a:pt x="3408861" y="1432866"/>
                  </a:lnTo>
                  <a:lnTo>
                    <a:pt x="3410789" y="1436548"/>
                  </a:lnTo>
                  <a:lnTo>
                    <a:pt x="3411327" y="1438533"/>
                  </a:lnTo>
                  <a:lnTo>
                    <a:pt x="3411636" y="1440532"/>
                  </a:lnTo>
                  <a:lnTo>
                    <a:pt x="3411748" y="1442319"/>
                  </a:lnTo>
                  <a:lnTo>
                    <a:pt x="3411698" y="1443668"/>
                  </a:lnTo>
                  <a:lnTo>
                    <a:pt x="3412828" y="1442512"/>
                  </a:lnTo>
                  <a:lnTo>
                    <a:pt x="3413282" y="1440495"/>
                  </a:lnTo>
                  <a:lnTo>
                    <a:pt x="3412882" y="1437688"/>
                  </a:lnTo>
                  <a:lnTo>
                    <a:pt x="3409584" y="1430091"/>
                  </a:lnTo>
                  <a:lnTo>
                    <a:pt x="3408887" y="1427190"/>
                  </a:lnTo>
                  <a:lnTo>
                    <a:pt x="3409224" y="1425232"/>
                  </a:lnTo>
                  <a:lnTo>
                    <a:pt x="3410477" y="1424037"/>
                  </a:lnTo>
                  <a:lnTo>
                    <a:pt x="3418267" y="1422020"/>
                  </a:lnTo>
                  <a:lnTo>
                    <a:pt x="3419791" y="1422097"/>
                  </a:lnTo>
                  <a:lnTo>
                    <a:pt x="3420767" y="1425704"/>
                  </a:lnTo>
                  <a:lnTo>
                    <a:pt x="3419505" y="1427465"/>
                  </a:lnTo>
                  <a:lnTo>
                    <a:pt x="3416167" y="1429452"/>
                  </a:lnTo>
                  <a:lnTo>
                    <a:pt x="3416551" y="1430180"/>
                  </a:lnTo>
                  <a:lnTo>
                    <a:pt x="3420082" y="1429171"/>
                  </a:lnTo>
                  <a:lnTo>
                    <a:pt x="3422231" y="1425511"/>
                  </a:lnTo>
                  <a:lnTo>
                    <a:pt x="3422740" y="1425284"/>
                  </a:lnTo>
                  <a:lnTo>
                    <a:pt x="3424393" y="1425141"/>
                  </a:lnTo>
                  <a:lnTo>
                    <a:pt x="3424849" y="1425305"/>
                  </a:lnTo>
                  <a:lnTo>
                    <a:pt x="3425302" y="1426022"/>
                  </a:lnTo>
                  <a:lnTo>
                    <a:pt x="3425752" y="1426936"/>
                  </a:lnTo>
                  <a:lnTo>
                    <a:pt x="3426191" y="1427660"/>
                  </a:lnTo>
                  <a:lnTo>
                    <a:pt x="3427414" y="1429036"/>
                  </a:lnTo>
                  <a:lnTo>
                    <a:pt x="3428119" y="1429574"/>
                  </a:lnTo>
                  <a:lnTo>
                    <a:pt x="3429937" y="1429930"/>
                  </a:lnTo>
                  <a:lnTo>
                    <a:pt x="3430290" y="1430592"/>
                  </a:lnTo>
                  <a:lnTo>
                    <a:pt x="3429755" y="1432254"/>
                  </a:lnTo>
                  <a:lnTo>
                    <a:pt x="3427500" y="1434778"/>
                  </a:lnTo>
                  <a:lnTo>
                    <a:pt x="3427204" y="1437292"/>
                  </a:lnTo>
                  <a:lnTo>
                    <a:pt x="3428042" y="1441258"/>
                  </a:lnTo>
                  <a:lnTo>
                    <a:pt x="3428095" y="1441911"/>
                  </a:lnTo>
                  <a:lnTo>
                    <a:pt x="3427852" y="1442523"/>
                  </a:lnTo>
                  <a:lnTo>
                    <a:pt x="3427842" y="1443694"/>
                  </a:lnTo>
                  <a:lnTo>
                    <a:pt x="3428143" y="1446189"/>
                  </a:lnTo>
                  <a:lnTo>
                    <a:pt x="3429082" y="1446949"/>
                  </a:lnTo>
                  <a:lnTo>
                    <a:pt x="3429546" y="1448088"/>
                  </a:lnTo>
                  <a:lnTo>
                    <a:pt x="3429564" y="1449219"/>
                  </a:lnTo>
                  <a:lnTo>
                    <a:pt x="3429142" y="1449898"/>
                  </a:lnTo>
                  <a:lnTo>
                    <a:pt x="3426707" y="1451456"/>
                  </a:lnTo>
                  <a:lnTo>
                    <a:pt x="3420612" y="1451782"/>
                  </a:lnTo>
                  <a:lnTo>
                    <a:pt x="3418286" y="1452523"/>
                  </a:lnTo>
                  <a:lnTo>
                    <a:pt x="3417033" y="1454492"/>
                  </a:lnTo>
                  <a:lnTo>
                    <a:pt x="3418270" y="1454850"/>
                  </a:lnTo>
                  <a:lnTo>
                    <a:pt x="3420231" y="1454168"/>
                  </a:lnTo>
                  <a:lnTo>
                    <a:pt x="3422554" y="1454510"/>
                  </a:lnTo>
                  <a:lnTo>
                    <a:pt x="3424708" y="1453866"/>
                  </a:lnTo>
                  <a:lnTo>
                    <a:pt x="3426040" y="1454478"/>
                  </a:lnTo>
                  <a:lnTo>
                    <a:pt x="3427993" y="1454917"/>
                  </a:lnTo>
                  <a:lnTo>
                    <a:pt x="3430929" y="1452630"/>
                  </a:lnTo>
                  <a:lnTo>
                    <a:pt x="3432853" y="1453965"/>
                  </a:lnTo>
                  <a:lnTo>
                    <a:pt x="3433638" y="1456056"/>
                  </a:lnTo>
                  <a:lnTo>
                    <a:pt x="3434966" y="1457258"/>
                  </a:lnTo>
                  <a:lnTo>
                    <a:pt x="3435701" y="1456772"/>
                  </a:lnTo>
                  <a:lnTo>
                    <a:pt x="3434735" y="1453827"/>
                  </a:lnTo>
                  <a:lnTo>
                    <a:pt x="3434323" y="1453055"/>
                  </a:lnTo>
                  <a:lnTo>
                    <a:pt x="3433963" y="1452526"/>
                  </a:lnTo>
                  <a:lnTo>
                    <a:pt x="3433580" y="1452112"/>
                  </a:lnTo>
                  <a:lnTo>
                    <a:pt x="3433081" y="1451651"/>
                  </a:lnTo>
                  <a:lnTo>
                    <a:pt x="3432574" y="1451013"/>
                  </a:lnTo>
                  <a:lnTo>
                    <a:pt x="3432415" y="1450421"/>
                  </a:lnTo>
                  <a:lnTo>
                    <a:pt x="3432378" y="1449809"/>
                  </a:lnTo>
                  <a:lnTo>
                    <a:pt x="3432246" y="1449126"/>
                  </a:lnTo>
                  <a:lnTo>
                    <a:pt x="3431890" y="1447729"/>
                  </a:lnTo>
                  <a:lnTo>
                    <a:pt x="3431699" y="1446623"/>
                  </a:lnTo>
                  <a:lnTo>
                    <a:pt x="3431284" y="1445554"/>
                  </a:lnTo>
                  <a:lnTo>
                    <a:pt x="3430260" y="1444244"/>
                  </a:lnTo>
                  <a:lnTo>
                    <a:pt x="3430517" y="1442928"/>
                  </a:lnTo>
                  <a:lnTo>
                    <a:pt x="3429812" y="1439497"/>
                  </a:lnTo>
                  <a:lnTo>
                    <a:pt x="3429681" y="1437763"/>
                  </a:lnTo>
                  <a:lnTo>
                    <a:pt x="3430000" y="1437080"/>
                  </a:lnTo>
                  <a:lnTo>
                    <a:pt x="3431164" y="1436725"/>
                  </a:lnTo>
                  <a:lnTo>
                    <a:pt x="3431457" y="1436374"/>
                  </a:lnTo>
                  <a:lnTo>
                    <a:pt x="3431654" y="1434835"/>
                  </a:lnTo>
                  <a:lnTo>
                    <a:pt x="3431856" y="1434254"/>
                  </a:lnTo>
                  <a:lnTo>
                    <a:pt x="3433688" y="1432559"/>
                  </a:lnTo>
                  <a:lnTo>
                    <a:pt x="3434106" y="1431533"/>
                  </a:lnTo>
                  <a:lnTo>
                    <a:pt x="3434678" y="1428848"/>
                  </a:lnTo>
                  <a:lnTo>
                    <a:pt x="3435633" y="1426398"/>
                  </a:lnTo>
                  <a:lnTo>
                    <a:pt x="3437113" y="1424867"/>
                  </a:lnTo>
                  <a:lnTo>
                    <a:pt x="3437074" y="1423738"/>
                  </a:lnTo>
                  <a:lnTo>
                    <a:pt x="3436510" y="1422297"/>
                  </a:lnTo>
                  <a:lnTo>
                    <a:pt x="3435144" y="1419595"/>
                  </a:lnTo>
                  <a:lnTo>
                    <a:pt x="3434262" y="1417558"/>
                  </a:lnTo>
                  <a:lnTo>
                    <a:pt x="3433870" y="1416805"/>
                  </a:lnTo>
                  <a:lnTo>
                    <a:pt x="3433272" y="1416095"/>
                  </a:lnTo>
                  <a:lnTo>
                    <a:pt x="3432595" y="1415483"/>
                  </a:lnTo>
                  <a:lnTo>
                    <a:pt x="3431943" y="1414802"/>
                  </a:lnTo>
                  <a:lnTo>
                    <a:pt x="3431406" y="1413867"/>
                  </a:lnTo>
                  <a:lnTo>
                    <a:pt x="3430935" y="1411753"/>
                  </a:lnTo>
                  <a:lnTo>
                    <a:pt x="3431679" y="1411377"/>
                  </a:lnTo>
                  <a:lnTo>
                    <a:pt x="3432956" y="1411982"/>
                  </a:lnTo>
                  <a:lnTo>
                    <a:pt x="3434098" y="1412823"/>
                  </a:lnTo>
                  <a:lnTo>
                    <a:pt x="3435954" y="1414436"/>
                  </a:lnTo>
                  <a:lnTo>
                    <a:pt x="3436680" y="1415457"/>
                  </a:lnTo>
                  <a:lnTo>
                    <a:pt x="3436769" y="1416596"/>
                  </a:lnTo>
                  <a:lnTo>
                    <a:pt x="3436743" y="1418595"/>
                  </a:lnTo>
                  <a:lnTo>
                    <a:pt x="3437193" y="1418518"/>
                  </a:lnTo>
                  <a:lnTo>
                    <a:pt x="3437516" y="1418285"/>
                  </a:lnTo>
                  <a:lnTo>
                    <a:pt x="3437669" y="1417883"/>
                  </a:lnTo>
                  <a:lnTo>
                    <a:pt x="3437638" y="1417348"/>
                  </a:lnTo>
                  <a:lnTo>
                    <a:pt x="3438665" y="1418081"/>
                  </a:lnTo>
                  <a:lnTo>
                    <a:pt x="3438908" y="1419168"/>
                  </a:lnTo>
                  <a:lnTo>
                    <a:pt x="3438744" y="1421429"/>
                  </a:lnTo>
                  <a:lnTo>
                    <a:pt x="3439245" y="1423909"/>
                  </a:lnTo>
                  <a:lnTo>
                    <a:pt x="3439401" y="1425173"/>
                  </a:lnTo>
                  <a:lnTo>
                    <a:pt x="3439238" y="1425847"/>
                  </a:lnTo>
                  <a:lnTo>
                    <a:pt x="3438562" y="1433072"/>
                  </a:lnTo>
                  <a:lnTo>
                    <a:pt x="3438885" y="1433675"/>
                  </a:lnTo>
                  <a:lnTo>
                    <a:pt x="3439106" y="1433558"/>
                  </a:lnTo>
                  <a:lnTo>
                    <a:pt x="3440052" y="1434437"/>
                  </a:lnTo>
                  <a:lnTo>
                    <a:pt x="3443503" y="1436137"/>
                  </a:lnTo>
                  <a:lnTo>
                    <a:pt x="3444924" y="1437334"/>
                  </a:lnTo>
                  <a:lnTo>
                    <a:pt x="3446209" y="1439866"/>
                  </a:lnTo>
                  <a:lnTo>
                    <a:pt x="3446523" y="1442145"/>
                  </a:lnTo>
                  <a:lnTo>
                    <a:pt x="3446559" y="1444298"/>
                  </a:lnTo>
                  <a:lnTo>
                    <a:pt x="3447024" y="1446496"/>
                  </a:lnTo>
                  <a:lnTo>
                    <a:pt x="3447542" y="1447512"/>
                  </a:lnTo>
                  <a:lnTo>
                    <a:pt x="3448722" y="1449158"/>
                  </a:lnTo>
                  <a:lnTo>
                    <a:pt x="3449375" y="1450339"/>
                  </a:lnTo>
                  <a:lnTo>
                    <a:pt x="3449834" y="1451685"/>
                  </a:lnTo>
                  <a:lnTo>
                    <a:pt x="3450249" y="1454278"/>
                  </a:lnTo>
                  <a:lnTo>
                    <a:pt x="3450643" y="1455613"/>
                  </a:lnTo>
                  <a:lnTo>
                    <a:pt x="3451745" y="1457422"/>
                  </a:lnTo>
                  <a:lnTo>
                    <a:pt x="3453106" y="1459028"/>
                  </a:lnTo>
                  <a:lnTo>
                    <a:pt x="3454266" y="1460720"/>
                  </a:lnTo>
                  <a:lnTo>
                    <a:pt x="3454760" y="1462766"/>
                  </a:lnTo>
                  <a:lnTo>
                    <a:pt x="3456141" y="1464087"/>
                  </a:lnTo>
                  <a:lnTo>
                    <a:pt x="3456754" y="1463742"/>
                  </a:lnTo>
                  <a:lnTo>
                    <a:pt x="3456437" y="1462437"/>
                  </a:lnTo>
                  <a:lnTo>
                    <a:pt x="3455049" y="1460922"/>
                  </a:lnTo>
                  <a:lnTo>
                    <a:pt x="3455082" y="1459026"/>
                  </a:lnTo>
                  <a:lnTo>
                    <a:pt x="3454586" y="1456723"/>
                  </a:lnTo>
                  <a:lnTo>
                    <a:pt x="3453657" y="1454103"/>
                  </a:lnTo>
                  <a:lnTo>
                    <a:pt x="3451347" y="1448936"/>
                  </a:lnTo>
                  <a:lnTo>
                    <a:pt x="3450783" y="1448162"/>
                  </a:lnTo>
                  <a:lnTo>
                    <a:pt x="3449744" y="1447131"/>
                  </a:lnTo>
                  <a:lnTo>
                    <a:pt x="3448657" y="1445582"/>
                  </a:lnTo>
                  <a:lnTo>
                    <a:pt x="3448541" y="1444216"/>
                  </a:lnTo>
                  <a:lnTo>
                    <a:pt x="3449524" y="1441382"/>
                  </a:lnTo>
                  <a:lnTo>
                    <a:pt x="3451577" y="1438050"/>
                  </a:lnTo>
                  <a:lnTo>
                    <a:pt x="3451708" y="1437544"/>
                  </a:lnTo>
                  <a:lnTo>
                    <a:pt x="3451582" y="1436876"/>
                  </a:lnTo>
                  <a:lnTo>
                    <a:pt x="3451239" y="1436060"/>
                  </a:lnTo>
                  <a:lnTo>
                    <a:pt x="3450979" y="1435328"/>
                  </a:lnTo>
                  <a:lnTo>
                    <a:pt x="3451263" y="1434181"/>
                  </a:lnTo>
                  <a:lnTo>
                    <a:pt x="3450746" y="1432987"/>
                  </a:lnTo>
                  <a:lnTo>
                    <a:pt x="3449887" y="1431728"/>
                  </a:lnTo>
                  <a:lnTo>
                    <a:pt x="3449043" y="1430811"/>
                  </a:lnTo>
                  <a:lnTo>
                    <a:pt x="3448141" y="1430183"/>
                  </a:lnTo>
                  <a:lnTo>
                    <a:pt x="3446570" y="1429351"/>
                  </a:lnTo>
                  <a:lnTo>
                    <a:pt x="3445520" y="1428442"/>
                  </a:lnTo>
                  <a:lnTo>
                    <a:pt x="3445823" y="1427469"/>
                  </a:lnTo>
                  <a:lnTo>
                    <a:pt x="3446497" y="1427281"/>
                  </a:lnTo>
                  <a:lnTo>
                    <a:pt x="3447300" y="1427337"/>
                  </a:lnTo>
                  <a:lnTo>
                    <a:pt x="3447990" y="1427119"/>
                  </a:lnTo>
                  <a:lnTo>
                    <a:pt x="3448419" y="1426463"/>
                  </a:lnTo>
                  <a:lnTo>
                    <a:pt x="3449113" y="1423954"/>
                  </a:lnTo>
                  <a:lnTo>
                    <a:pt x="3450148" y="1422254"/>
                  </a:lnTo>
                  <a:lnTo>
                    <a:pt x="3455151" y="1419928"/>
                  </a:lnTo>
                  <a:lnTo>
                    <a:pt x="3455596" y="1419626"/>
                  </a:lnTo>
                  <a:lnTo>
                    <a:pt x="3456158" y="1418538"/>
                  </a:lnTo>
                  <a:lnTo>
                    <a:pt x="3456482" y="1418271"/>
                  </a:lnTo>
                  <a:lnTo>
                    <a:pt x="3457361" y="1418292"/>
                  </a:lnTo>
                  <a:lnTo>
                    <a:pt x="3457791" y="1418649"/>
                  </a:lnTo>
                  <a:lnTo>
                    <a:pt x="3459854" y="1423095"/>
                  </a:lnTo>
                  <a:lnTo>
                    <a:pt x="3460628" y="1425382"/>
                  </a:lnTo>
                  <a:lnTo>
                    <a:pt x="3462350" y="1433093"/>
                  </a:lnTo>
                  <a:lnTo>
                    <a:pt x="3463008" y="1435188"/>
                  </a:lnTo>
                  <a:lnTo>
                    <a:pt x="3463239" y="1436329"/>
                  </a:lnTo>
                  <a:lnTo>
                    <a:pt x="3463054" y="1436978"/>
                  </a:lnTo>
                  <a:lnTo>
                    <a:pt x="3462785" y="1437520"/>
                  </a:lnTo>
                  <a:lnTo>
                    <a:pt x="3462594" y="1439387"/>
                  </a:lnTo>
                  <a:lnTo>
                    <a:pt x="3462053" y="1440623"/>
                  </a:lnTo>
                  <a:lnTo>
                    <a:pt x="3462554" y="1441612"/>
                  </a:lnTo>
                  <a:lnTo>
                    <a:pt x="3463373" y="1442624"/>
                  </a:lnTo>
                  <a:lnTo>
                    <a:pt x="3464079" y="1443315"/>
                  </a:lnTo>
                  <a:lnTo>
                    <a:pt x="3465562" y="1444207"/>
                  </a:lnTo>
                  <a:lnTo>
                    <a:pt x="3469116" y="1445213"/>
                  </a:lnTo>
                  <a:lnTo>
                    <a:pt x="3471425" y="1445111"/>
                  </a:lnTo>
                  <a:lnTo>
                    <a:pt x="3472952" y="1445942"/>
                  </a:lnTo>
                  <a:lnTo>
                    <a:pt x="3474567" y="1447263"/>
                  </a:lnTo>
                  <a:lnTo>
                    <a:pt x="3476067" y="1448779"/>
                  </a:lnTo>
                  <a:lnTo>
                    <a:pt x="3480874" y="1454446"/>
                  </a:lnTo>
                  <a:lnTo>
                    <a:pt x="3481805" y="1455126"/>
                  </a:lnTo>
                  <a:lnTo>
                    <a:pt x="3482715" y="1454254"/>
                  </a:lnTo>
                  <a:lnTo>
                    <a:pt x="3482505" y="1453298"/>
                  </a:lnTo>
                  <a:lnTo>
                    <a:pt x="3476795" y="1446306"/>
                  </a:lnTo>
                  <a:lnTo>
                    <a:pt x="3475959" y="1445030"/>
                  </a:lnTo>
                  <a:lnTo>
                    <a:pt x="3474723" y="1443865"/>
                  </a:lnTo>
                  <a:lnTo>
                    <a:pt x="3467261" y="1441966"/>
                  </a:lnTo>
                  <a:lnTo>
                    <a:pt x="3465593" y="1441217"/>
                  </a:lnTo>
                  <a:lnTo>
                    <a:pt x="3464705" y="1440004"/>
                  </a:lnTo>
                  <a:lnTo>
                    <a:pt x="3464673" y="1438934"/>
                  </a:lnTo>
                  <a:lnTo>
                    <a:pt x="3465194" y="1437620"/>
                  </a:lnTo>
                  <a:lnTo>
                    <a:pt x="3465299" y="1436694"/>
                  </a:lnTo>
                  <a:lnTo>
                    <a:pt x="3465191" y="1435878"/>
                  </a:lnTo>
                  <a:lnTo>
                    <a:pt x="3464561" y="1433600"/>
                  </a:lnTo>
                  <a:lnTo>
                    <a:pt x="3463362" y="1426868"/>
                  </a:lnTo>
                  <a:lnTo>
                    <a:pt x="3463006" y="1425836"/>
                  </a:lnTo>
                  <a:lnTo>
                    <a:pt x="3463288" y="1423621"/>
                  </a:lnTo>
                  <a:lnTo>
                    <a:pt x="3463506" y="1422998"/>
                  </a:lnTo>
                  <a:lnTo>
                    <a:pt x="3466102" y="1420803"/>
                  </a:lnTo>
                  <a:lnTo>
                    <a:pt x="3468661" y="1416053"/>
                  </a:lnTo>
                  <a:lnTo>
                    <a:pt x="3468593" y="1413300"/>
                  </a:lnTo>
                  <a:lnTo>
                    <a:pt x="3465990" y="1411382"/>
                  </a:lnTo>
                  <a:lnTo>
                    <a:pt x="3465728" y="1409648"/>
                  </a:lnTo>
                  <a:lnTo>
                    <a:pt x="3466454" y="1409363"/>
                  </a:lnTo>
                  <a:lnTo>
                    <a:pt x="3467532" y="1409545"/>
                  </a:lnTo>
                  <a:lnTo>
                    <a:pt x="3468338" y="1409235"/>
                  </a:lnTo>
                  <a:lnTo>
                    <a:pt x="3468463" y="1408661"/>
                  </a:lnTo>
                  <a:lnTo>
                    <a:pt x="3468380" y="1408058"/>
                  </a:lnTo>
                  <a:lnTo>
                    <a:pt x="3468247" y="1407432"/>
                  </a:lnTo>
                  <a:lnTo>
                    <a:pt x="3468221" y="1406803"/>
                  </a:lnTo>
                  <a:lnTo>
                    <a:pt x="3468654" y="1405369"/>
                  </a:lnTo>
                  <a:lnTo>
                    <a:pt x="3469416" y="1404351"/>
                  </a:lnTo>
                  <a:lnTo>
                    <a:pt x="3471804" y="1403630"/>
                  </a:lnTo>
                  <a:lnTo>
                    <a:pt x="3477723" y="1404704"/>
                  </a:lnTo>
                  <a:lnTo>
                    <a:pt x="3480726" y="1404226"/>
                  </a:lnTo>
                  <a:lnTo>
                    <a:pt x="3482202" y="1404356"/>
                  </a:lnTo>
                  <a:lnTo>
                    <a:pt x="3484109" y="1405248"/>
                  </a:lnTo>
                  <a:lnTo>
                    <a:pt x="3483782" y="1407920"/>
                  </a:lnTo>
                  <a:lnTo>
                    <a:pt x="3480514" y="1412885"/>
                  </a:lnTo>
                  <a:lnTo>
                    <a:pt x="3475612" y="1414571"/>
                  </a:lnTo>
                  <a:lnTo>
                    <a:pt x="3474512" y="1416970"/>
                  </a:lnTo>
                  <a:lnTo>
                    <a:pt x="3476048" y="1417231"/>
                  </a:lnTo>
                  <a:lnTo>
                    <a:pt x="3478376" y="1416027"/>
                  </a:lnTo>
                  <a:lnTo>
                    <a:pt x="3480010" y="1416508"/>
                  </a:lnTo>
                  <a:lnTo>
                    <a:pt x="3480075" y="1422109"/>
                  </a:lnTo>
                  <a:lnTo>
                    <a:pt x="3479669" y="1424483"/>
                  </a:lnTo>
                  <a:lnTo>
                    <a:pt x="3478674" y="1425889"/>
                  </a:lnTo>
                  <a:lnTo>
                    <a:pt x="3478505" y="1425692"/>
                  </a:lnTo>
                  <a:lnTo>
                    <a:pt x="3477278" y="1424519"/>
                  </a:lnTo>
                  <a:lnTo>
                    <a:pt x="3476618" y="1424295"/>
                  </a:lnTo>
                  <a:lnTo>
                    <a:pt x="3476977" y="1425291"/>
                  </a:lnTo>
                  <a:lnTo>
                    <a:pt x="3477627" y="1426358"/>
                  </a:lnTo>
                  <a:lnTo>
                    <a:pt x="3477842" y="1426347"/>
                  </a:lnTo>
                  <a:lnTo>
                    <a:pt x="3478468" y="1430417"/>
                  </a:lnTo>
                  <a:lnTo>
                    <a:pt x="3478914" y="1431836"/>
                  </a:lnTo>
                  <a:lnTo>
                    <a:pt x="3479352" y="1431610"/>
                  </a:lnTo>
                  <a:lnTo>
                    <a:pt x="3479550" y="1431077"/>
                  </a:lnTo>
                  <a:lnTo>
                    <a:pt x="3479981" y="1427595"/>
                  </a:lnTo>
                  <a:lnTo>
                    <a:pt x="3480314" y="1426885"/>
                  </a:lnTo>
                  <a:lnTo>
                    <a:pt x="3480983" y="1426333"/>
                  </a:lnTo>
                  <a:lnTo>
                    <a:pt x="3481605" y="1426465"/>
                  </a:lnTo>
                  <a:lnTo>
                    <a:pt x="3482417" y="1427197"/>
                  </a:lnTo>
                  <a:lnTo>
                    <a:pt x="3483273" y="1428288"/>
                  </a:lnTo>
                  <a:lnTo>
                    <a:pt x="3484013" y="1429457"/>
                  </a:lnTo>
                  <a:lnTo>
                    <a:pt x="3484251" y="1430537"/>
                  </a:lnTo>
                  <a:lnTo>
                    <a:pt x="3483843" y="1431083"/>
                  </a:lnTo>
                  <a:lnTo>
                    <a:pt x="3483685" y="1431691"/>
                  </a:lnTo>
                  <a:lnTo>
                    <a:pt x="3484674" y="1432944"/>
                  </a:lnTo>
                  <a:lnTo>
                    <a:pt x="3483821" y="1434833"/>
                  </a:lnTo>
                  <a:lnTo>
                    <a:pt x="3482524" y="1436174"/>
                  </a:lnTo>
                  <a:lnTo>
                    <a:pt x="3481620" y="1437987"/>
                  </a:lnTo>
                  <a:lnTo>
                    <a:pt x="3481940" y="1441300"/>
                  </a:lnTo>
                  <a:lnTo>
                    <a:pt x="3482350" y="1442422"/>
                  </a:lnTo>
                  <a:lnTo>
                    <a:pt x="3482970" y="1443709"/>
                  </a:lnTo>
                  <a:lnTo>
                    <a:pt x="3484432" y="1446391"/>
                  </a:lnTo>
                  <a:lnTo>
                    <a:pt x="3485393" y="1447424"/>
                  </a:lnTo>
                  <a:lnTo>
                    <a:pt x="3486221" y="1447506"/>
                  </a:lnTo>
                  <a:lnTo>
                    <a:pt x="3486422" y="1446799"/>
                  </a:lnTo>
                  <a:lnTo>
                    <a:pt x="3485472" y="1445423"/>
                  </a:lnTo>
                  <a:lnTo>
                    <a:pt x="3485268" y="1443637"/>
                  </a:lnTo>
                  <a:lnTo>
                    <a:pt x="3484595" y="1441930"/>
                  </a:lnTo>
                  <a:lnTo>
                    <a:pt x="3484028" y="1440201"/>
                  </a:lnTo>
                  <a:lnTo>
                    <a:pt x="3484129" y="1438308"/>
                  </a:lnTo>
                  <a:lnTo>
                    <a:pt x="3484544" y="1437610"/>
                  </a:lnTo>
                  <a:lnTo>
                    <a:pt x="3485725" y="1436910"/>
                  </a:lnTo>
                  <a:lnTo>
                    <a:pt x="3486230" y="1436371"/>
                  </a:lnTo>
                  <a:lnTo>
                    <a:pt x="3486412" y="1435929"/>
                  </a:lnTo>
                  <a:lnTo>
                    <a:pt x="3486503" y="1435439"/>
                  </a:lnTo>
                  <a:lnTo>
                    <a:pt x="3486528" y="1434950"/>
                  </a:lnTo>
                  <a:lnTo>
                    <a:pt x="3486502" y="1434505"/>
                  </a:lnTo>
                  <a:lnTo>
                    <a:pt x="3486288" y="1433821"/>
                  </a:lnTo>
                  <a:lnTo>
                    <a:pt x="3485922" y="1433318"/>
                  </a:lnTo>
                  <a:lnTo>
                    <a:pt x="3485578" y="1432926"/>
                  </a:lnTo>
                  <a:lnTo>
                    <a:pt x="3485408" y="1432539"/>
                  </a:lnTo>
                  <a:lnTo>
                    <a:pt x="3485596" y="1431546"/>
                  </a:lnTo>
                  <a:lnTo>
                    <a:pt x="3487147" y="1429861"/>
                  </a:lnTo>
                  <a:lnTo>
                    <a:pt x="3487295" y="1428947"/>
                  </a:lnTo>
                  <a:lnTo>
                    <a:pt x="3487324" y="1428102"/>
                  </a:lnTo>
                  <a:lnTo>
                    <a:pt x="3487484" y="1427384"/>
                  </a:lnTo>
                  <a:lnTo>
                    <a:pt x="3488008" y="1426818"/>
                  </a:lnTo>
                  <a:lnTo>
                    <a:pt x="3488814" y="1426617"/>
                  </a:lnTo>
                  <a:lnTo>
                    <a:pt x="3490806" y="1426708"/>
                  </a:lnTo>
                  <a:lnTo>
                    <a:pt x="3491570" y="1426549"/>
                  </a:lnTo>
                  <a:lnTo>
                    <a:pt x="3491903" y="1426988"/>
                  </a:lnTo>
                  <a:lnTo>
                    <a:pt x="3493316" y="1429069"/>
                  </a:lnTo>
                  <a:lnTo>
                    <a:pt x="3493752" y="1429635"/>
                  </a:lnTo>
                  <a:lnTo>
                    <a:pt x="3494365" y="1431649"/>
                  </a:lnTo>
                  <a:lnTo>
                    <a:pt x="3495026" y="1433348"/>
                  </a:lnTo>
                  <a:lnTo>
                    <a:pt x="3495220" y="1434632"/>
                  </a:lnTo>
                  <a:lnTo>
                    <a:pt x="3494415" y="1435355"/>
                  </a:lnTo>
                  <a:lnTo>
                    <a:pt x="3494749" y="1435953"/>
                  </a:lnTo>
                  <a:lnTo>
                    <a:pt x="3495970" y="1435259"/>
                  </a:lnTo>
                  <a:lnTo>
                    <a:pt x="3496863" y="1434271"/>
                  </a:lnTo>
                  <a:lnTo>
                    <a:pt x="3496965" y="1432587"/>
                  </a:lnTo>
                  <a:lnTo>
                    <a:pt x="3495790" y="1429785"/>
                  </a:lnTo>
                  <a:lnTo>
                    <a:pt x="3494681" y="1427515"/>
                  </a:lnTo>
                  <a:lnTo>
                    <a:pt x="3493826" y="1425457"/>
                  </a:lnTo>
                  <a:lnTo>
                    <a:pt x="3492846" y="1423464"/>
                  </a:lnTo>
                  <a:lnTo>
                    <a:pt x="3491385" y="1421426"/>
                  </a:lnTo>
                  <a:lnTo>
                    <a:pt x="3491724" y="1420534"/>
                  </a:lnTo>
                  <a:lnTo>
                    <a:pt x="3492513" y="1420566"/>
                  </a:lnTo>
                  <a:lnTo>
                    <a:pt x="3493450" y="1420857"/>
                  </a:lnTo>
                  <a:lnTo>
                    <a:pt x="3494246" y="1420766"/>
                  </a:lnTo>
                  <a:lnTo>
                    <a:pt x="3494424" y="1420390"/>
                  </a:lnTo>
                  <a:lnTo>
                    <a:pt x="3494512" y="1419223"/>
                  </a:lnTo>
                  <a:lnTo>
                    <a:pt x="3494691" y="1418718"/>
                  </a:lnTo>
                  <a:lnTo>
                    <a:pt x="3495710" y="1417886"/>
                  </a:lnTo>
                  <a:lnTo>
                    <a:pt x="3496397" y="1417697"/>
                  </a:lnTo>
                  <a:lnTo>
                    <a:pt x="3501453" y="1418037"/>
                  </a:lnTo>
                  <a:lnTo>
                    <a:pt x="3504024" y="1418771"/>
                  </a:lnTo>
                  <a:lnTo>
                    <a:pt x="3505507" y="1421330"/>
                  </a:lnTo>
                  <a:lnTo>
                    <a:pt x="3506894" y="1419401"/>
                  </a:lnTo>
                  <a:lnTo>
                    <a:pt x="3507760" y="1418794"/>
                  </a:lnTo>
                  <a:lnTo>
                    <a:pt x="3508884" y="1419854"/>
                  </a:lnTo>
                  <a:lnTo>
                    <a:pt x="3509191" y="1420719"/>
                  </a:lnTo>
                  <a:lnTo>
                    <a:pt x="3509579" y="1423342"/>
                  </a:lnTo>
                  <a:lnTo>
                    <a:pt x="3509745" y="1423725"/>
                  </a:lnTo>
                  <a:lnTo>
                    <a:pt x="3510037" y="1424131"/>
                  </a:lnTo>
                  <a:lnTo>
                    <a:pt x="3510251" y="1424488"/>
                  </a:lnTo>
                  <a:lnTo>
                    <a:pt x="3510189" y="1424723"/>
                  </a:lnTo>
                  <a:lnTo>
                    <a:pt x="3507099" y="1426831"/>
                  </a:lnTo>
                  <a:lnTo>
                    <a:pt x="3505599" y="1428783"/>
                  </a:lnTo>
                  <a:lnTo>
                    <a:pt x="3504570" y="1431243"/>
                  </a:lnTo>
                  <a:lnTo>
                    <a:pt x="3504088" y="1434184"/>
                  </a:lnTo>
                  <a:lnTo>
                    <a:pt x="3504809" y="1433728"/>
                  </a:lnTo>
                  <a:lnTo>
                    <a:pt x="3509498" y="1427533"/>
                  </a:lnTo>
                  <a:lnTo>
                    <a:pt x="3511222" y="1426406"/>
                  </a:lnTo>
                  <a:lnTo>
                    <a:pt x="3511833" y="1425598"/>
                  </a:lnTo>
                  <a:lnTo>
                    <a:pt x="3511989" y="1424481"/>
                  </a:lnTo>
                  <a:lnTo>
                    <a:pt x="3511834" y="1421865"/>
                  </a:lnTo>
                  <a:lnTo>
                    <a:pt x="3512154" y="1421021"/>
                  </a:lnTo>
                  <a:lnTo>
                    <a:pt x="3513270" y="1421097"/>
                  </a:lnTo>
                  <a:lnTo>
                    <a:pt x="3515123" y="1421960"/>
                  </a:lnTo>
                  <a:lnTo>
                    <a:pt x="3517086" y="1423165"/>
                  </a:lnTo>
                  <a:lnTo>
                    <a:pt x="3518550" y="1424299"/>
                  </a:lnTo>
                  <a:lnTo>
                    <a:pt x="3520321" y="1426601"/>
                  </a:lnTo>
                  <a:lnTo>
                    <a:pt x="3520780" y="1428626"/>
                  </a:lnTo>
                  <a:lnTo>
                    <a:pt x="3520262" y="1430140"/>
                  </a:lnTo>
                  <a:lnTo>
                    <a:pt x="3519122" y="1430956"/>
                  </a:lnTo>
                  <a:lnTo>
                    <a:pt x="3520663" y="1431281"/>
                  </a:lnTo>
                  <a:lnTo>
                    <a:pt x="3521775" y="1430834"/>
                  </a:lnTo>
                  <a:lnTo>
                    <a:pt x="3525693" y="1427715"/>
                  </a:lnTo>
                  <a:lnTo>
                    <a:pt x="3527003" y="1427400"/>
                  </a:lnTo>
                  <a:lnTo>
                    <a:pt x="3527848" y="1428582"/>
                  </a:lnTo>
                  <a:lnTo>
                    <a:pt x="3528545" y="1430147"/>
                  </a:lnTo>
                  <a:lnTo>
                    <a:pt x="3529016" y="1432460"/>
                  </a:lnTo>
                  <a:lnTo>
                    <a:pt x="3529719" y="1434331"/>
                  </a:lnTo>
                  <a:lnTo>
                    <a:pt x="3531105" y="1434497"/>
                  </a:lnTo>
                  <a:lnTo>
                    <a:pt x="3532055" y="1434202"/>
                  </a:lnTo>
                  <a:lnTo>
                    <a:pt x="3532693" y="1434444"/>
                  </a:lnTo>
                  <a:lnTo>
                    <a:pt x="3532906" y="1435158"/>
                  </a:lnTo>
                  <a:lnTo>
                    <a:pt x="3532584" y="1436249"/>
                  </a:lnTo>
                  <a:lnTo>
                    <a:pt x="3532350" y="1436507"/>
                  </a:lnTo>
                  <a:lnTo>
                    <a:pt x="3531358" y="1436950"/>
                  </a:lnTo>
                  <a:lnTo>
                    <a:pt x="3531309" y="1437380"/>
                  </a:lnTo>
                  <a:lnTo>
                    <a:pt x="3531977" y="1438791"/>
                  </a:lnTo>
                  <a:lnTo>
                    <a:pt x="3531857" y="1439262"/>
                  </a:lnTo>
                  <a:lnTo>
                    <a:pt x="3528964" y="1445109"/>
                  </a:lnTo>
                  <a:lnTo>
                    <a:pt x="3528346" y="1445661"/>
                  </a:lnTo>
                  <a:lnTo>
                    <a:pt x="3521263" y="1447939"/>
                  </a:lnTo>
                  <a:lnTo>
                    <a:pt x="3524259" y="1448525"/>
                  </a:lnTo>
                  <a:lnTo>
                    <a:pt x="3526972" y="1448193"/>
                  </a:lnTo>
                  <a:lnTo>
                    <a:pt x="3531420" y="1445639"/>
                  </a:lnTo>
                  <a:lnTo>
                    <a:pt x="3534509" y="1442220"/>
                  </a:lnTo>
                  <a:lnTo>
                    <a:pt x="3536412" y="1441142"/>
                  </a:lnTo>
                  <a:lnTo>
                    <a:pt x="3538845" y="1441400"/>
                  </a:lnTo>
                  <a:lnTo>
                    <a:pt x="3541908" y="1443811"/>
                  </a:lnTo>
                  <a:lnTo>
                    <a:pt x="3543504" y="1445355"/>
                  </a:lnTo>
                  <a:lnTo>
                    <a:pt x="3544298" y="1446927"/>
                  </a:lnTo>
                  <a:lnTo>
                    <a:pt x="3545949" y="1449091"/>
                  </a:lnTo>
                  <a:lnTo>
                    <a:pt x="3546470" y="1451052"/>
                  </a:lnTo>
                  <a:lnTo>
                    <a:pt x="3546155" y="1452528"/>
                  </a:lnTo>
                  <a:lnTo>
                    <a:pt x="3545321" y="1453258"/>
                  </a:lnTo>
                  <a:lnTo>
                    <a:pt x="3549047" y="1452730"/>
                  </a:lnTo>
                  <a:lnTo>
                    <a:pt x="3550130" y="1453563"/>
                  </a:lnTo>
                  <a:lnTo>
                    <a:pt x="3550191" y="1454922"/>
                  </a:lnTo>
                  <a:lnTo>
                    <a:pt x="3548812" y="1455388"/>
                  </a:lnTo>
                  <a:lnTo>
                    <a:pt x="3545951" y="1455496"/>
                  </a:lnTo>
                  <a:lnTo>
                    <a:pt x="3531032" y="1460674"/>
                  </a:lnTo>
                  <a:lnTo>
                    <a:pt x="3516094" y="1465755"/>
                  </a:lnTo>
                  <a:lnTo>
                    <a:pt x="3515336" y="1467593"/>
                  </a:lnTo>
                  <a:lnTo>
                    <a:pt x="3533946" y="1463266"/>
                  </a:lnTo>
                  <a:lnTo>
                    <a:pt x="3537555" y="1460915"/>
                  </a:lnTo>
                  <a:lnTo>
                    <a:pt x="3539031" y="1461249"/>
                  </a:lnTo>
                  <a:lnTo>
                    <a:pt x="3538289" y="1464716"/>
                  </a:lnTo>
                  <a:lnTo>
                    <a:pt x="3537014" y="1467565"/>
                  </a:lnTo>
                  <a:lnTo>
                    <a:pt x="3535658" y="1468974"/>
                  </a:lnTo>
                  <a:lnTo>
                    <a:pt x="3530151" y="1470569"/>
                  </a:lnTo>
                  <a:lnTo>
                    <a:pt x="3522709" y="1479826"/>
                  </a:lnTo>
                  <a:lnTo>
                    <a:pt x="3522366" y="1481874"/>
                  </a:lnTo>
                  <a:lnTo>
                    <a:pt x="3524541" y="1481740"/>
                  </a:lnTo>
                  <a:lnTo>
                    <a:pt x="3525929" y="1480337"/>
                  </a:lnTo>
                  <a:lnTo>
                    <a:pt x="3527981" y="1476088"/>
                  </a:lnTo>
                  <a:lnTo>
                    <a:pt x="3529731" y="1474047"/>
                  </a:lnTo>
                  <a:lnTo>
                    <a:pt x="3539756" y="1468214"/>
                  </a:lnTo>
                  <a:lnTo>
                    <a:pt x="3547726" y="1458033"/>
                  </a:lnTo>
                  <a:lnTo>
                    <a:pt x="3548711" y="1457442"/>
                  </a:lnTo>
                  <a:lnTo>
                    <a:pt x="3549865" y="1457663"/>
                  </a:lnTo>
                  <a:lnTo>
                    <a:pt x="3551100" y="1462881"/>
                  </a:lnTo>
                  <a:lnTo>
                    <a:pt x="3551184" y="1464859"/>
                  </a:lnTo>
                  <a:lnTo>
                    <a:pt x="3550381" y="1466092"/>
                  </a:lnTo>
                  <a:lnTo>
                    <a:pt x="3548852" y="1466687"/>
                  </a:lnTo>
                  <a:lnTo>
                    <a:pt x="3546132" y="1466589"/>
                  </a:lnTo>
                  <a:lnTo>
                    <a:pt x="3545605" y="1467286"/>
                  </a:lnTo>
                  <a:lnTo>
                    <a:pt x="3544899" y="1469216"/>
                  </a:lnTo>
                  <a:lnTo>
                    <a:pt x="3533661" y="1483956"/>
                  </a:lnTo>
                  <a:lnTo>
                    <a:pt x="3532877" y="1487316"/>
                  </a:lnTo>
                  <a:lnTo>
                    <a:pt x="3533477" y="1491156"/>
                  </a:lnTo>
                  <a:lnTo>
                    <a:pt x="3536983" y="1497299"/>
                  </a:lnTo>
                  <a:lnTo>
                    <a:pt x="3537372" y="1498434"/>
                  </a:lnTo>
                  <a:lnTo>
                    <a:pt x="3538537" y="1498199"/>
                  </a:lnTo>
                  <a:lnTo>
                    <a:pt x="3539072" y="1497839"/>
                  </a:lnTo>
                  <a:lnTo>
                    <a:pt x="3539250" y="1497002"/>
                  </a:lnTo>
                  <a:lnTo>
                    <a:pt x="3539159" y="1495880"/>
                  </a:lnTo>
                  <a:lnTo>
                    <a:pt x="3539041" y="1495228"/>
                  </a:lnTo>
                  <a:lnTo>
                    <a:pt x="3536974" y="1490002"/>
                  </a:lnTo>
                  <a:lnTo>
                    <a:pt x="3536767" y="1489319"/>
                  </a:lnTo>
                  <a:lnTo>
                    <a:pt x="3536605" y="1488133"/>
                  </a:lnTo>
                  <a:lnTo>
                    <a:pt x="3536791" y="1486470"/>
                  </a:lnTo>
                  <a:lnTo>
                    <a:pt x="3536724" y="1485436"/>
                  </a:lnTo>
                  <a:lnTo>
                    <a:pt x="3536909" y="1483455"/>
                  </a:lnTo>
                  <a:lnTo>
                    <a:pt x="3537881" y="1481801"/>
                  </a:lnTo>
                  <a:lnTo>
                    <a:pt x="3542981" y="1478069"/>
                  </a:lnTo>
                  <a:lnTo>
                    <a:pt x="3544321" y="1475759"/>
                  </a:lnTo>
                  <a:lnTo>
                    <a:pt x="3545873" y="1474159"/>
                  </a:lnTo>
                  <a:lnTo>
                    <a:pt x="3548226" y="1469841"/>
                  </a:lnTo>
                  <a:lnTo>
                    <a:pt x="3554722" y="1465999"/>
                  </a:lnTo>
                  <a:lnTo>
                    <a:pt x="3555143" y="1465376"/>
                  </a:lnTo>
                  <a:lnTo>
                    <a:pt x="3555408" y="1464558"/>
                  </a:lnTo>
                  <a:lnTo>
                    <a:pt x="3555430" y="1463590"/>
                  </a:lnTo>
                  <a:lnTo>
                    <a:pt x="3554485" y="1460165"/>
                  </a:lnTo>
                  <a:lnTo>
                    <a:pt x="3554440" y="1459359"/>
                  </a:lnTo>
                  <a:lnTo>
                    <a:pt x="3554745" y="1459236"/>
                  </a:lnTo>
                  <a:lnTo>
                    <a:pt x="3556326" y="1459141"/>
                  </a:lnTo>
                  <a:lnTo>
                    <a:pt x="3558189" y="1457199"/>
                  </a:lnTo>
                  <a:lnTo>
                    <a:pt x="3558637" y="1457307"/>
                  </a:lnTo>
                  <a:lnTo>
                    <a:pt x="3559876" y="1458467"/>
                  </a:lnTo>
                  <a:lnTo>
                    <a:pt x="3560496" y="1458900"/>
                  </a:lnTo>
                  <a:lnTo>
                    <a:pt x="3561052" y="1458656"/>
                  </a:lnTo>
                  <a:lnTo>
                    <a:pt x="3562040" y="1455839"/>
                  </a:lnTo>
                  <a:lnTo>
                    <a:pt x="3565932" y="1452394"/>
                  </a:lnTo>
                  <a:lnTo>
                    <a:pt x="3568386" y="1451398"/>
                  </a:lnTo>
                  <a:lnTo>
                    <a:pt x="3571110" y="1451425"/>
                  </a:lnTo>
                  <a:lnTo>
                    <a:pt x="3571634" y="1452721"/>
                  </a:lnTo>
                  <a:lnTo>
                    <a:pt x="3572351" y="1454105"/>
                  </a:lnTo>
                  <a:lnTo>
                    <a:pt x="3573719" y="1456432"/>
                  </a:lnTo>
                  <a:lnTo>
                    <a:pt x="3573934" y="1457400"/>
                  </a:lnTo>
                  <a:lnTo>
                    <a:pt x="3574345" y="1464416"/>
                  </a:lnTo>
                  <a:lnTo>
                    <a:pt x="3572335" y="1471795"/>
                  </a:lnTo>
                  <a:lnTo>
                    <a:pt x="3570633" y="1474658"/>
                  </a:lnTo>
                  <a:lnTo>
                    <a:pt x="3570708" y="1477359"/>
                  </a:lnTo>
                  <a:lnTo>
                    <a:pt x="3571341" y="1481179"/>
                  </a:lnTo>
                  <a:lnTo>
                    <a:pt x="3572173" y="1482233"/>
                  </a:lnTo>
                  <a:lnTo>
                    <a:pt x="3574207" y="1483663"/>
                  </a:lnTo>
                  <a:lnTo>
                    <a:pt x="3572842" y="1481274"/>
                  </a:lnTo>
                  <a:lnTo>
                    <a:pt x="3571977" y="1479494"/>
                  </a:lnTo>
                  <a:lnTo>
                    <a:pt x="3571594" y="1477979"/>
                  </a:lnTo>
                  <a:lnTo>
                    <a:pt x="3571660" y="1476386"/>
                  </a:lnTo>
                  <a:lnTo>
                    <a:pt x="3572652" y="1472842"/>
                  </a:lnTo>
                  <a:lnTo>
                    <a:pt x="3576137" y="1468457"/>
                  </a:lnTo>
                  <a:lnTo>
                    <a:pt x="3577117" y="1465286"/>
                  </a:lnTo>
                  <a:lnTo>
                    <a:pt x="3577400" y="1461341"/>
                  </a:lnTo>
                  <a:lnTo>
                    <a:pt x="3576950" y="1457151"/>
                  </a:lnTo>
                  <a:lnTo>
                    <a:pt x="3576266" y="1456015"/>
                  </a:lnTo>
                  <a:lnTo>
                    <a:pt x="3575078" y="1455077"/>
                  </a:lnTo>
                  <a:lnTo>
                    <a:pt x="3573848" y="1453801"/>
                  </a:lnTo>
                  <a:lnTo>
                    <a:pt x="3573018" y="1451615"/>
                  </a:lnTo>
                  <a:lnTo>
                    <a:pt x="3572277" y="1443784"/>
                  </a:lnTo>
                  <a:lnTo>
                    <a:pt x="3572277" y="1440835"/>
                  </a:lnTo>
                  <a:lnTo>
                    <a:pt x="3572411" y="1440138"/>
                  </a:lnTo>
                  <a:lnTo>
                    <a:pt x="3572978" y="1439539"/>
                  </a:lnTo>
                  <a:lnTo>
                    <a:pt x="3575429" y="1439310"/>
                  </a:lnTo>
                  <a:lnTo>
                    <a:pt x="3576007" y="1439515"/>
                  </a:lnTo>
                  <a:lnTo>
                    <a:pt x="3576342" y="1440518"/>
                  </a:lnTo>
                  <a:lnTo>
                    <a:pt x="3576420" y="1441673"/>
                  </a:lnTo>
                  <a:lnTo>
                    <a:pt x="3576226" y="1442333"/>
                  </a:lnTo>
                  <a:lnTo>
                    <a:pt x="3575858" y="1442892"/>
                  </a:lnTo>
                  <a:lnTo>
                    <a:pt x="3575279" y="1445498"/>
                  </a:lnTo>
                  <a:lnTo>
                    <a:pt x="3575700" y="1446211"/>
                  </a:lnTo>
                  <a:lnTo>
                    <a:pt x="3576851" y="1445455"/>
                  </a:lnTo>
                  <a:lnTo>
                    <a:pt x="3577726" y="1443818"/>
                  </a:lnTo>
                  <a:lnTo>
                    <a:pt x="3578019" y="1441576"/>
                  </a:lnTo>
                  <a:lnTo>
                    <a:pt x="3577429" y="1439003"/>
                  </a:lnTo>
                  <a:lnTo>
                    <a:pt x="3576170" y="1438608"/>
                  </a:lnTo>
                  <a:lnTo>
                    <a:pt x="3574785" y="1437944"/>
                  </a:lnTo>
                  <a:lnTo>
                    <a:pt x="3575261" y="1435001"/>
                  </a:lnTo>
                  <a:lnTo>
                    <a:pt x="3577342" y="1434701"/>
                  </a:lnTo>
                  <a:lnTo>
                    <a:pt x="3579966" y="1435378"/>
                  </a:lnTo>
                  <a:lnTo>
                    <a:pt x="3582084" y="1435370"/>
                  </a:lnTo>
                  <a:lnTo>
                    <a:pt x="3583850" y="1436247"/>
                  </a:lnTo>
                  <a:lnTo>
                    <a:pt x="3586459" y="1438925"/>
                  </a:lnTo>
                  <a:lnTo>
                    <a:pt x="3588483" y="1441956"/>
                  </a:lnTo>
                  <a:lnTo>
                    <a:pt x="3588425" y="1444642"/>
                  </a:lnTo>
                  <a:lnTo>
                    <a:pt x="3588770" y="1447863"/>
                  </a:lnTo>
                  <a:lnTo>
                    <a:pt x="3588693" y="1449002"/>
                  </a:lnTo>
                  <a:lnTo>
                    <a:pt x="3583639" y="1456274"/>
                  </a:lnTo>
                  <a:lnTo>
                    <a:pt x="3583530" y="1457491"/>
                  </a:lnTo>
                  <a:lnTo>
                    <a:pt x="3583739" y="1458957"/>
                  </a:lnTo>
                  <a:lnTo>
                    <a:pt x="3584287" y="1460167"/>
                  </a:lnTo>
                  <a:lnTo>
                    <a:pt x="3584972" y="1460793"/>
                  </a:lnTo>
                  <a:lnTo>
                    <a:pt x="3585456" y="1461037"/>
                  </a:lnTo>
                  <a:lnTo>
                    <a:pt x="3589729" y="1464880"/>
                  </a:lnTo>
                  <a:lnTo>
                    <a:pt x="3591078" y="1466626"/>
                  </a:lnTo>
                  <a:lnTo>
                    <a:pt x="3592034" y="1468193"/>
                  </a:lnTo>
                  <a:lnTo>
                    <a:pt x="3592659" y="1469637"/>
                  </a:lnTo>
                  <a:lnTo>
                    <a:pt x="3592990" y="1470969"/>
                  </a:lnTo>
                  <a:lnTo>
                    <a:pt x="3592717" y="1474527"/>
                  </a:lnTo>
                  <a:lnTo>
                    <a:pt x="3591112" y="1476969"/>
                  </a:lnTo>
                  <a:lnTo>
                    <a:pt x="3587112" y="1480425"/>
                  </a:lnTo>
                  <a:lnTo>
                    <a:pt x="3585671" y="1482545"/>
                  </a:lnTo>
                  <a:lnTo>
                    <a:pt x="3585258" y="1484071"/>
                  </a:lnTo>
                  <a:lnTo>
                    <a:pt x="3585539" y="1485771"/>
                  </a:lnTo>
                  <a:lnTo>
                    <a:pt x="3585908" y="1486302"/>
                  </a:lnTo>
                  <a:lnTo>
                    <a:pt x="3587014" y="1487399"/>
                  </a:lnTo>
                  <a:lnTo>
                    <a:pt x="3587356" y="1487790"/>
                  </a:lnTo>
                  <a:lnTo>
                    <a:pt x="3587873" y="1488960"/>
                  </a:lnTo>
                  <a:lnTo>
                    <a:pt x="3588008" y="1489917"/>
                  </a:lnTo>
                  <a:lnTo>
                    <a:pt x="3587765" y="1491425"/>
                  </a:lnTo>
                  <a:lnTo>
                    <a:pt x="3587173" y="1492753"/>
                  </a:lnTo>
                  <a:lnTo>
                    <a:pt x="3584032" y="1495410"/>
                  </a:lnTo>
                  <a:lnTo>
                    <a:pt x="3581214" y="1495912"/>
                  </a:lnTo>
                  <a:lnTo>
                    <a:pt x="3580025" y="1496670"/>
                  </a:lnTo>
                  <a:lnTo>
                    <a:pt x="3580315" y="1498336"/>
                  </a:lnTo>
                  <a:lnTo>
                    <a:pt x="3589853" y="1493773"/>
                  </a:lnTo>
                  <a:lnTo>
                    <a:pt x="3591003" y="1492006"/>
                  </a:lnTo>
                  <a:lnTo>
                    <a:pt x="3591490" y="1490696"/>
                  </a:lnTo>
                  <a:lnTo>
                    <a:pt x="3591630" y="1489610"/>
                  </a:lnTo>
                  <a:lnTo>
                    <a:pt x="3591527" y="1488888"/>
                  </a:lnTo>
                  <a:lnTo>
                    <a:pt x="3591326" y="1488274"/>
                  </a:lnTo>
                  <a:lnTo>
                    <a:pt x="3590902" y="1487682"/>
                  </a:lnTo>
                  <a:lnTo>
                    <a:pt x="3589266" y="1486293"/>
                  </a:lnTo>
                  <a:lnTo>
                    <a:pt x="3588837" y="1485591"/>
                  </a:lnTo>
                  <a:lnTo>
                    <a:pt x="3588540" y="1484816"/>
                  </a:lnTo>
                  <a:lnTo>
                    <a:pt x="3588063" y="1483824"/>
                  </a:lnTo>
                  <a:lnTo>
                    <a:pt x="3587681" y="1482845"/>
                  </a:lnTo>
                  <a:lnTo>
                    <a:pt x="3587737" y="1482160"/>
                  </a:lnTo>
                  <a:lnTo>
                    <a:pt x="3588042" y="1481717"/>
                  </a:lnTo>
                  <a:lnTo>
                    <a:pt x="3588411" y="1481497"/>
                  </a:lnTo>
                  <a:lnTo>
                    <a:pt x="3589000" y="1481375"/>
                  </a:lnTo>
                  <a:lnTo>
                    <a:pt x="3589435" y="1481588"/>
                  </a:lnTo>
                  <a:lnTo>
                    <a:pt x="3591374" y="1483861"/>
                  </a:lnTo>
                  <a:lnTo>
                    <a:pt x="3594064" y="1487752"/>
                  </a:lnTo>
                  <a:lnTo>
                    <a:pt x="3595981" y="1490951"/>
                  </a:lnTo>
                  <a:lnTo>
                    <a:pt x="3597389" y="1494114"/>
                  </a:lnTo>
                  <a:lnTo>
                    <a:pt x="3599820" y="1500994"/>
                  </a:lnTo>
                  <a:lnTo>
                    <a:pt x="3600799" y="1500344"/>
                  </a:lnTo>
                  <a:lnTo>
                    <a:pt x="3601157" y="1499653"/>
                  </a:lnTo>
                  <a:lnTo>
                    <a:pt x="3601073" y="1498504"/>
                  </a:lnTo>
                  <a:lnTo>
                    <a:pt x="3600726" y="1496478"/>
                  </a:lnTo>
                  <a:lnTo>
                    <a:pt x="3600327" y="1494813"/>
                  </a:lnTo>
                  <a:lnTo>
                    <a:pt x="3599114" y="1490812"/>
                  </a:lnTo>
                  <a:lnTo>
                    <a:pt x="3598730" y="1489025"/>
                  </a:lnTo>
                  <a:lnTo>
                    <a:pt x="3597239" y="1485841"/>
                  </a:lnTo>
                  <a:lnTo>
                    <a:pt x="3594915" y="1483354"/>
                  </a:lnTo>
                  <a:lnTo>
                    <a:pt x="3593542" y="1481284"/>
                  </a:lnTo>
                  <a:lnTo>
                    <a:pt x="3594895" y="1479353"/>
                  </a:lnTo>
                  <a:lnTo>
                    <a:pt x="3597067" y="1477640"/>
                  </a:lnTo>
                  <a:lnTo>
                    <a:pt x="3597847" y="1476405"/>
                  </a:lnTo>
                  <a:lnTo>
                    <a:pt x="3598915" y="1472084"/>
                  </a:lnTo>
                  <a:lnTo>
                    <a:pt x="3603068" y="1468238"/>
                  </a:lnTo>
                  <a:lnTo>
                    <a:pt x="3603008" y="1467481"/>
                  </a:lnTo>
                  <a:lnTo>
                    <a:pt x="3602814" y="1466670"/>
                  </a:lnTo>
                  <a:lnTo>
                    <a:pt x="3602834" y="1465940"/>
                  </a:lnTo>
                  <a:lnTo>
                    <a:pt x="3603666" y="1464851"/>
                  </a:lnTo>
                  <a:lnTo>
                    <a:pt x="3605123" y="1463909"/>
                  </a:lnTo>
                  <a:lnTo>
                    <a:pt x="3606786" y="1463417"/>
                  </a:lnTo>
                  <a:lnTo>
                    <a:pt x="3608239" y="1463671"/>
                  </a:lnTo>
                  <a:lnTo>
                    <a:pt x="3608937" y="1465303"/>
                  </a:lnTo>
                  <a:lnTo>
                    <a:pt x="3610551" y="1467865"/>
                  </a:lnTo>
                  <a:lnTo>
                    <a:pt x="3612488" y="1470525"/>
                  </a:lnTo>
                  <a:lnTo>
                    <a:pt x="3614151" y="1472468"/>
                  </a:lnTo>
                  <a:lnTo>
                    <a:pt x="3616380" y="1475877"/>
                  </a:lnTo>
                  <a:lnTo>
                    <a:pt x="3617813" y="1478322"/>
                  </a:lnTo>
                  <a:lnTo>
                    <a:pt x="3618234" y="1479573"/>
                  </a:lnTo>
                  <a:lnTo>
                    <a:pt x="3618278" y="1480110"/>
                  </a:lnTo>
                  <a:lnTo>
                    <a:pt x="3619108" y="1483588"/>
                  </a:lnTo>
                  <a:lnTo>
                    <a:pt x="3619737" y="1485199"/>
                  </a:lnTo>
                  <a:lnTo>
                    <a:pt x="3620273" y="1486130"/>
                  </a:lnTo>
                  <a:lnTo>
                    <a:pt x="3620836" y="1486941"/>
                  </a:lnTo>
                  <a:lnTo>
                    <a:pt x="3621542" y="1488173"/>
                  </a:lnTo>
                  <a:lnTo>
                    <a:pt x="3621767" y="1488038"/>
                  </a:lnTo>
                  <a:lnTo>
                    <a:pt x="3622129" y="1489918"/>
                  </a:lnTo>
                  <a:lnTo>
                    <a:pt x="3622320" y="1492119"/>
                  </a:lnTo>
                  <a:lnTo>
                    <a:pt x="3622821" y="1494129"/>
                  </a:lnTo>
                  <a:lnTo>
                    <a:pt x="3624128" y="1495466"/>
                  </a:lnTo>
                  <a:lnTo>
                    <a:pt x="3623893" y="1493918"/>
                  </a:lnTo>
                  <a:lnTo>
                    <a:pt x="3624541" y="1491227"/>
                  </a:lnTo>
                  <a:lnTo>
                    <a:pt x="3624485" y="1489481"/>
                  </a:lnTo>
                  <a:lnTo>
                    <a:pt x="3624093" y="1488746"/>
                  </a:lnTo>
                  <a:lnTo>
                    <a:pt x="3622556" y="1486957"/>
                  </a:lnTo>
                  <a:lnTo>
                    <a:pt x="3622001" y="1486151"/>
                  </a:lnTo>
                  <a:lnTo>
                    <a:pt x="3621836" y="1485416"/>
                  </a:lnTo>
                  <a:lnTo>
                    <a:pt x="3621925" y="1483798"/>
                  </a:lnTo>
                  <a:lnTo>
                    <a:pt x="3621735" y="1482816"/>
                  </a:lnTo>
                  <a:lnTo>
                    <a:pt x="3621463" y="1482979"/>
                  </a:lnTo>
                  <a:lnTo>
                    <a:pt x="3621019" y="1480724"/>
                  </a:lnTo>
                  <a:lnTo>
                    <a:pt x="3621250" y="1479412"/>
                  </a:lnTo>
                  <a:lnTo>
                    <a:pt x="3621225" y="1478001"/>
                  </a:lnTo>
                  <a:lnTo>
                    <a:pt x="3620040" y="1475460"/>
                  </a:lnTo>
                  <a:lnTo>
                    <a:pt x="3619619" y="1475065"/>
                  </a:lnTo>
                  <a:lnTo>
                    <a:pt x="3617328" y="1473509"/>
                  </a:lnTo>
                  <a:lnTo>
                    <a:pt x="3616733" y="1472645"/>
                  </a:lnTo>
                  <a:lnTo>
                    <a:pt x="3616484" y="1470637"/>
                  </a:lnTo>
                  <a:lnTo>
                    <a:pt x="3616080" y="1469481"/>
                  </a:lnTo>
                  <a:lnTo>
                    <a:pt x="3615517" y="1468774"/>
                  </a:lnTo>
                  <a:lnTo>
                    <a:pt x="3614115" y="1467590"/>
                  </a:lnTo>
                  <a:lnTo>
                    <a:pt x="3613403" y="1466712"/>
                  </a:lnTo>
                  <a:lnTo>
                    <a:pt x="3612993" y="1465871"/>
                  </a:lnTo>
                  <a:lnTo>
                    <a:pt x="3612764" y="1465017"/>
                  </a:lnTo>
                  <a:lnTo>
                    <a:pt x="3612558" y="1463308"/>
                  </a:lnTo>
                  <a:lnTo>
                    <a:pt x="3612763" y="1462261"/>
                  </a:lnTo>
                  <a:lnTo>
                    <a:pt x="3614176" y="1461773"/>
                  </a:lnTo>
                  <a:lnTo>
                    <a:pt x="3614547" y="1461236"/>
                  </a:lnTo>
                  <a:lnTo>
                    <a:pt x="3614855" y="1460424"/>
                  </a:lnTo>
                  <a:lnTo>
                    <a:pt x="3617052" y="1459258"/>
                  </a:lnTo>
                  <a:lnTo>
                    <a:pt x="3618306" y="1459161"/>
                  </a:lnTo>
                  <a:lnTo>
                    <a:pt x="3619781" y="1459552"/>
                  </a:lnTo>
                  <a:lnTo>
                    <a:pt x="3621359" y="1460325"/>
                  </a:lnTo>
                  <a:lnTo>
                    <a:pt x="3622947" y="1461405"/>
                  </a:lnTo>
                  <a:lnTo>
                    <a:pt x="3624221" y="1462748"/>
                  </a:lnTo>
                  <a:lnTo>
                    <a:pt x="3626425" y="1466057"/>
                  </a:lnTo>
                  <a:lnTo>
                    <a:pt x="3627227" y="1467074"/>
                  </a:lnTo>
                  <a:lnTo>
                    <a:pt x="3628991" y="1467770"/>
                  </a:lnTo>
                  <a:lnTo>
                    <a:pt x="3630356" y="1467414"/>
                  </a:lnTo>
                  <a:lnTo>
                    <a:pt x="3631874" y="1467745"/>
                  </a:lnTo>
                  <a:lnTo>
                    <a:pt x="3634094" y="1470494"/>
                  </a:lnTo>
                  <a:lnTo>
                    <a:pt x="3639576" y="1473587"/>
                  </a:lnTo>
                  <a:lnTo>
                    <a:pt x="3640689" y="1473999"/>
                  </a:lnTo>
                  <a:lnTo>
                    <a:pt x="3640626" y="1473293"/>
                  </a:lnTo>
                  <a:lnTo>
                    <a:pt x="3640212" y="1472024"/>
                  </a:lnTo>
                  <a:lnTo>
                    <a:pt x="3639631" y="1470674"/>
                  </a:lnTo>
                  <a:lnTo>
                    <a:pt x="3639069" y="1469711"/>
                  </a:lnTo>
                  <a:lnTo>
                    <a:pt x="3638342" y="1469126"/>
                  </a:lnTo>
                  <a:lnTo>
                    <a:pt x="3635730" y="1468142"/>
                  </a:lnTo>
                  <a:lnTo>
                    <a:pt x="3634801" y="1467512"/>
                  </a:lnTo>
                  <a:lnTo>
                    <a:pt x="3632874" y="1465838"/>
                  </a:lnTo>
                  <a:lnTo>
                    <a:pt x="3631894" y="1465197"/>
                  </a:lnTo>
                  <a:lnTo>
                    <a:pt x="3630316" y="1465391"/>
                  </a:lnTo>
                  <a:lnTo>
                    <a:pt x="3629507" y="1465075"/>
                  </a:lnTo>
                  <a:lnTo>
                    <a:pt x="3628881" y="1463595"/>
                  </a:lnTo>
                  <a:lnTo>
                    <a:pt x="3626114" y="1460717"/>
                  </a:lnTo>
                  <a:lnTo>
                    <a:pt x="3626215" y="1460368"/>
                  </a:lnTo>
                  <a:lnTo>
                    <a:pt x="3626110" y="1459493"/>
                  </a:lnTo>
                  <a:lnTo>
                    <a:pt x="3626117" y="1459045"/>
                  </a:lnTo>
                  <a:lnTo>
                    <a:pt x="3625085" y="1457659"/>
                  </a:lnTo>
                  <a:lnTo>
                    <a:pt x="3625375" y="1456750"/>
                  </a:lnTo>
                  <a:lnTo>
                    <a:pt x="3627047" y="1455839"/>
                  </a:lnTo>
                  <a:lnTo>
                    <a:pt x="3628248" y="1454520"/>
                  </a:lnTo>
                  <a:lnTo>
                    <a:pt x="3629163" y="1452871"/>
                  </a:lnTo>
                  <a:lnTo>
                    <a:pt x="3628750" y="1451224"/>
                  </a:lnTo>
                  <a:lnTo>
                    <a:pt x="3627469" y="1449425"/>
                  </a:lnTo>
                  <a:lnTo>
                    <a:pt x="3624263" y="1446009"/>
                  </a:lnTo>
                  <a:lnTo>
                    <a:pt x="3623858" y="1444761"/>
                  </a:lnTo>
                  <a:lnTo>
                    <a:pt x="3623714" y="1443810"/>
                  </a:lnTo>
                  <a:lnTo>
                    <a:pt x="3623824" y="1443097"/>
                  </a:lnTo>
                  <a:lnTo>
                    <a:pt x="3624174" y="1442548"/>
                  </a:lnTo>
                  <a:lnTo>
                    <a:pt x="3624502" y="1442421"/>
                  </a:lnTo>
                  <a:lnTo>
                    <a:pt x="3625427" y="1442496"/>
                  </a:lnTo>
                  <a:lnTo>
                    <a:pt x="3625816" y="1442427"/>
                  </a:lnTo>
                  <a:lnTo>
                    <a:pt x="3626154" y="1442125"/>
                  </a:lnTo>
                  <a:lnTo>
                    <a:pt x="3626407" y="1441697"/>
                  </a:lnTo>
                  <a:lnTo>
                    <a:pt x="3626715" y="1440589"/>
                  </a:lnTo>
                  <a:lnTo>
                    <a:pt x="3627692" y="1438882"/>
                  </a:lnTo>
                  <a:lnTo>
                    <a:pt x="3629612" y="1437929"/>
                  </a:lnTo>
                  <a:lnTo>
                    <a:pt x="3631907" y="1437701"/>
                  </a:lnTo>
                  <a:lnTo>
                    <a:pt x="3634023" y="1438180"/>
                  </a:lnTo>
                  <a:lnTo>
                    <a:pt x="3634310" y="1441002"/>
                  </a:lnTo>
                  <a:lnTo>
                    <a:pt x="3634682" y="1442746"/>
                  </a:lnTo>
                  <a:lnTo>
                    <a:pt x="3635277" y="1444557"/>
                  </a:lnTo>
                  <a:lnTo>
                    <a:pt x="3635665" y="1445343"/>
                  </a:lnTo>
                  <a:lnTo>
                    <a:pt x="3636754" y="1447308"/>
                  </a:lnTo>
                  <a:lnTo>
                    <a:pt x="3637075" y="1448025"/>
                  </a:lnTo>
                  <a:lnTo>
                    <a:pt x="3637196" y="1448897"/>
                  </a:lnTo>
                  <a:lnTo>
                    <a:pt x="3637066" y="1450538"/>
                  </a:lnTo>
                  <a:lnTo>
                    <a:pt x="3637134" y="1451438"/>
                  </a:lnTo>
                  <a:lnTo>
                    <a:pt x="3638353" y="1451613"/>
                  </a:lnTo>
                  <a:lnTo>
                    <a:pt x="3639486" y="1451401"/>
                  </a:lnTo>
                  <a:lnTo>
                    <a:pt x="3640340" y="1450865"/>
                  </a:lnTo>
                  <a:lnTo>
                    <a:pt x="3640732" y="1450108"/>
                  </a:lnTo>
                  <a:lnTo>
                    <a:pt x="3640019" y="1444022"/>
                  </a:lnTo>
                  <a:lnTo>
                    <a:pt x="3640070" y="1443164"/>
                  </a:lnTo>
                  <a:lnTo>
                    <a:pt x="3640399" y="1442361"/>
                  </a:lnTo>
                  <a:lnTo>
                    <a:pt x="3641048" y="1441691"/>
                  </a:lnTo>
                  <a:lnTo>
                    <a:pt x="3643590" y="1440385"/>
                  </a:lnTo>
                  <a:lnTo>
                    <a:pt x="3643854" y="1441238"/>
                  </a:lnTo>
                  <a:lnTo>
                    <a:pt x="3644230" y="1443609"/>
                  </a:lnTo>
                  <a:lnTo>
                    <a:pt x="3645481" y="1443983"/>
                  </a:lnTo>
                  <a:lnTo>
                    <a:pt x="3646038" y="1443141"/>
                  </a:lnTo>
                  <a:lnTo>
                    <a:pt x="3646391" y="1441868"/>
                  </a:lnTo>
                  <a:lnTo>
                    <a:pt x="3647011" y="1440919"/>
                  </a:lnTo>
                  <a:lnTo>
                    <a:pt x="3647984" y="1440614"/>
                  </a:lnTo>
                  <a:lnTo>
                    <a:pt x="3648889" y="1440917"/>
                  </a:lnTo>
                  <a:lnTo>
                    <a:pt x="3649675" y="1441925"/>
                  </a:lnTo>
                  <a:lnTo>
                    <a:pt x="3650284" y="1443742"/>
                  </a:lnTo>
                  <a:lnTo>
                    <a:pt x="3649761" y="1446962"/>
                  </a:lnTo>
                  <a:lnTo>
                    <a:pt x="3644248" y="1448875"/>
                  </a:lnTo>
                  <a:lnTo>
                    <a:pt x="3642695" y="1451055"/>
                  </a:lnTo>
                  <a:lnTo>
                    <a:pt x="3642931" y="1452956"/>
                  </a:lnTo>
                  <a:lnTo>
                    <a:pt x="3643707" y="1453515"/>
                  </a:lnTo>
                  <a:lnTo>
                    <a:pt x="3644443" y="1452987"/>
                  </a:lnTo>
                  <a:lnTo>
                    <a:pt x="3644890" y="1450259"/>
                  </a:lnTo>
                  <a:lnTo>
                    <a:pt x="3649814" y="1447535"/>
                  </a:lnTo>
                  <a:lnTo>
                    <a:pt x="3650993" y="1447510"/>
                  </a:lnTo>
                  <a:lnTo>
                    <a:pt x="3651947" y="1447170"/>
                  </a:lnTo>
                  <a:lnTo>
                    <a:pt x="3653229" y="1444789"/>
                  </a:lnTo>
                  <a:lnTo>
                    <a:pt x="3657947" y="1444728"/>
                  </a:lnTo>
                  <a:lnTo>
                    <a:pt x="3658655" y="1447613"/>
                  </a:lnTo>
                  <a:lnTo>
                    <a:pt x="3658222" y="1449425"/>
                  </a:lnTo>
                  <a:lnTo>
                    <a:pt x="3655856" y="1451344"/>
                  </a:lnTo>
                  <a:lnTo>
                    <a:pt x="3659408" y="1451663"/>
                  </a:lnTo>
                  <a:lnTo>
                    <a:pt x="3665431" y="1448698"/>
                  </a:lnTo>
                  <a:lnTo>
                    <a:pt x="3669653" y="1450777"/>
                  </a:lnTo>
                  <a:lnTo>
                    <a:pt x="3669290" y="1451893"/>
                  </a:lnTo>
                  <a:lnTo>
                    <a:pt x="3670516" y="1452330"/>
                  </a:lnTo>
                  <a:lnTo>
                    <a:pt x="3672353" y="1451825"/>
                  </a:lnTo>
                  <a:lnTo>
                    <a:pt x="3673514" y="1452264"/>
                  </a:lnTo>
                  <a:lnTo>
                    <a:pt x="3676146" y="1453995"/>
                  </a:lnTo>
                  <a:lnTo>
                    <a:pt x="3680290" y="1455903"/>
                  </a:lnTo>
                  <a:lnTo>
                    <a:pt x="3682564" y="1457525"/>
                  </a:lnTo>
                  <a:lnTo>
                    <a:pt x="3684219" y="1459431"/>
                  </a:lnTo>
                  <a:lnTo>
                    <a:pt x="3684170" y="1461180"/>
                  </a:lnTo>
                  <a:lnTo>
                    <a:pt x="3684530" y="1461355"/>
                  </a:lnTo>
                  <a:lnTo>
                    <a:pt x="3685328" y="1461857"/>
                  </a:lnTo>
                  <a:lnTo>
                    <a:pt x="3685687" y="1461991"/>
                  </a:lnTo>
                  <a:lnTo>
                    <a:pt x="3685615" y="1462720"/>
                  </a:lnTo>
                  <a:lnTo>
                    <a:pt x="3684757" y="1464359"/>
                  </a:lnTo>
                  <a:lnTo>
                    <a:pt x="3684406" y="1466170"/>
                  </a:lnTo>
                  <a:lnTo>
                    <a:pt x="3684106" y="1466629"/>
                  </a:lnTo>
                  <a:lnTo>
                    <a:pt x="3683495" y="1466902"/>
                  </a:lnTo>
                  <a:lnTo>
                    <a:pt x="3682914" y="1466940"/>
                  </a:lnTo>
                  <a:lnTo>
                    <a:pt x="3682434" y="1467126"/>
                  </a:lnTo>
                  <a:lnTo>
                    <a:pt x="3682121" y="1467879"/>
                  </a:lnTo>
                  <a:lnTo>
                    <a:pt x="3682172" y="1468323"/>
                  </a:lnTo>
                  <a:lnTo>
                    <a:pt x="3682509" y="1469767"/>
                  </a:lnTo>
                  <a:lnTo>
                    <a:pt x="3682575" y="1470261"/>
                  </a:lnTo>
                  <a:lnTo>
                    <a:pt x="3683006" y="1471264"/>
                  </a:lnTo>
                  <a:lnTo>
                    <a:pt x="3677744" y="1474051"/>
                  </a:lnTo>
                  <a:lnTo>
                    <a:pt x="3676580" y="1474018"/>
                  </a:lnTo>
                  <a:lnTo>
                    <a:pt x="3675421" y="1473511"/>
                  </a:lnTo>
                  <a:lnTo>
                    <a:pt x="3674631" y="1472795"/>
                  </a:lnTo>
                  <a:lnTo>
                    <a:pt x="3673896" y="1471918"/>
                  </a:lnTo>
                  <a:lnTo>
                    <a:pt x="3672891" y="1470919"/>
                  </a:lnTo>
                  <a:lnTo>
                    <a:pt x="3671860" y="1470263"/>
                  </a:lnTo>
                  <a:lnTo>
                    <a:pt x="3666381" y="1468652"/>
                  </a:lnTo>
                  <a:lnTo>
                    <a:pt x="3664382" y="1468855"/>
                  </a:lnTo>
                  <a:lnTo>
                    <a:pt x="3660883" y="1470503"/>
                  </a:lnTo>
                  <a:lnTo>
                    <a:pt x="3658893" y="1470454"/>
                  </a:lnTo>
                  <a:lnTo>
                    <a:pt x="3656054" y="1469775"/>
                  </a:lnTo>
                  <a:lnTo>
                    <a:pt x="3653721" y="1469734"/>
                  </a:lnTo>
                  <a:lnTo>
                    <a:pt x="3653254" y="1471595"/>
                  </a:lnTo>
                  <a:lnTo>
                    <a:pt x="3654609" y="1472628"/>
                  </a:lnTo>
                  <a:lnTo>
                    <a:pt x="3654994" y="1474095"/>
                  </a:lnTo>
                  <a:lnTo>
                    <a:pt x="3654729" y="1475499"/>
                  </a:lnTo>
                  <a:lnTo>
                    <a:pt x="3650664" y="1480241"/>
                  </a:lnTo>
                  <a:lnTo>
                    <a:pt x="3651056" y="1480883"/>
                  </a:lnTo>
                  <a:lnTo>
                    <a:pt x="3654289" y="1480830"/>
                  </a:lnTo>
                  <a:lnTo>
                    <a:pt x="3655621" y="1480176"/>
                  </a:lnTo>
                  <a:lnTo>
                    <a:pt x="3655894" y="1478358"/>
                  </a:lnTo>
                  <a:lnTo>
                    <a:pt x="3655813" y="1476063"/>
                  </a:lnTo>
                  <a:lnTo>
                    <a:pt x="3656433" y="1474608"/>
                  </a:lnTo>
                  <a:lnTo>
                    <a:pt x="3657533" y="1473789"/>
                  </a:lnTo>
                  <a:lnTo>
                    <a:pt x="3664259" y="1472311"/>
                  </a:lnTo>
                  <a:lnTo>
                    <a:pt x="3666070" y="1472995"/>
                  </a:lnTo>
                  <a:lnTo>
                    <a:pt x="3667634" y="1474044"/>
                  </a:lnTo>
                  <a:lnTo>
                    <a:pt x="3675845" y="1478442"/>
                  </a:lnTo>
                  <a:lnTo>
                    <a:pt x="3677449" y="1479037"/>
                  </a:lnTo>
                  <a:lnTo>
                    <a:pt x="3679310" y="1478904"/>
                  </a:lnTo>
                  <a:lnTo>
                    <a:pt x="3680266" y="1479294"/>
                  </a:lnTo>
                  <a:lnTo>
                    <a:pt x="3681211" y="1479999"/>
                  </a:lnTo>
                  <a:lnTo>
                    <a:pt x="3681768" y="1480966"/>
                  </a:lnTo>
                  <a:lnTo>
                    <a:pt x="3681751" y="1481970"/>
                  </a:lnTo>
                  <a:lnTo>
                    <a:pt x="3681383" y="1482876"/>
                  </a:lnTo>
                  <a:lnTo>
                    <a:pt x="3680413" y="1484110"/>
                  </a:lnTo>
                  <a:lnTo>
                    <a:pt x="3678176" y="1485213"/>
                  </a:lnTo>
                  <a:lnTo>
                    <a:pt x="3677639" y="1485837"/>
                  </a:lnTo>
                  <a:lnTo>
                    <a:pt x="3677513" y="1486733"/>
                  </a:lnTo>
                  <a:lnTo>
                    <a:pt x="3677519" y="1488981"/>
                  </a:lnTo>
                  <a:lnTo>
                    <a:pt x="3677220" y="1489641"/>
                  </a:lnTo>
                  <a:lnTo>
                    <a:pt x="3676461" y="1489832"/>
                  </a:lnTo>
                  <a:lnTo>
                    <a:pt x="3674834" y="1489618"/>
                  </a:lnTo>
                  <a:lnTo>
                    <a:pt x="3674185" y="1489752"/>
                  </a:lnTo>
                  <a:lnTo>
                    <a:pt x="3672782" y="1490620"/>
                  </a:lnTo>
                  <a:lnTo>
                    <a:pt x="3672651" y="1490948"/>
                  </a:lnTo>
                  <a:lnTo>
                    <a:pt x="3672739" y="1492037"/>
                  </a:lnTo>
                  <a:lnTo>
                    <a:pt x="3672703" y="1492438"/>
                  </a:lnTo>
                  <a:lnTo>
                    <a:pt x="3670201" y="1495744"/>
                  </a:lnTo>
                  <a:lnTo>
                    <a:pt x="3670595" y="1496386"/>
                  </a:lnTo>
                  <a:lnTo>
                    <a:pt x="3672172" y="1496429"/>
                  </a:lnTo>
                  <a:lnTo>
                    <a:pt x="3673235" y="1495536"/>
                  </a:lnTo>
                  <a:lnTo>
                    <a:pt x="3674748" y="1492938"/>
                  </a:lnTo>
                  <a:lnTo>
                    <a:pt x="3685824" y="1486049"/>
                  </a:lnTo>
                  <a:lnTo>
                    <a:pt x="3686541" y="1485954"/>
                  </a:lnTo>
                  <a:lnTo>
                    <a:pt x="3687237" y="1486411"/>
                  </a:lnTo>
                  <a:lnTo>
                    <a:pt x="3688006" y="1487094"/>
                  </a:lnTo>
                  <a:lnTo>
                    <a:pt x="3688921" y="1487662"/>
                  </a:lnTo>
                  <a:lnTo>
                    <a:pt x="3691341" y="1487763"/>
                  </a:lnTo>
                  <a:lnTo>
                    <a:pt x="3692368" y="1488155"/>
                  </a:lnTo>
                  <a:lnTo>
                    <a:pt x="3691497" y="1489220"/>
                  </a:lnTo>
                  <a:lnTo>
                    <a:pt x="3690741" y="1492051"/>
                  </a:lnTo>
                  <a:lnTo>
                    <a:pt x="3690201" y="1493065"/>
                  </a:lnTo>
                  <a:lnTo>
                    <a:pt x="3689645" y="1493275"/>
                  </a:lnTo>
                  <a:lnTo>
                    <a:pt x="3688315" y="1493372"/>
                  </a:lnTo>
                  <a:lnTo>
                    <a:pt x="3687807" y="1493752"/>
                  </a:lnTo>
                  <a:lnTo>
                    <a:pt x="3687632" y="1494352"/>
                  </a:lnTo>
                  <a:lnTo>
                    <a:pt x="3687597" y="1495879"/>
                  </a:lnTo>
                  <a:lnTo>
                    <a:pt x="3687456" y="1496553"/>
                  </a:lnTo>
                  <a:lnTo>
                    <a:pt x="3686424" y="1497301"/>
                  </a:lnTo>
                  <a:lnTo>
                    <a:pt x="3683369" y="1497623"/>
                  </a:lnTo>
                  <a:lnTo>
                    <a:pt x="3682507" y="1498744"/>
                  </a:lnTo>
                  <a:lnTo>
                    <a:pt x="3682447" y="1500499"/>
                  </a:lnTo>
                  <a:lnTo>
                    <a:pt x="3682590" y="1502455"/>
                  </a:lnTo>
                  <a:lnTo>
                    <a:pt x="3682527" y="1504201"/>
                  </a:lnTo>
                  <a:lnTo>
                    <a:pt x="3681857" y="1505331"/>
                  </a:lnTo>
                  <a:lnTo>
                    <a:pt x="3679721" y="1506650"/>
                  </a:lnTo>
                  <a:lnTo>
                    <a:pt x="3679021" y="1506797"/>
                  </a:lnTo>
                  <a:lnTo>
                    <a:pt x="3677428" y="1506574"/>
                  </a:lnTo>
                  <a:lnTo>
                    <a:pt x="3675674" y="1506829"/>
                  </a:lnTo>
                  <a:lnTo>
                    <a:pt x="3673025" y="1506028"/>
                  </a:lnTo>
                  <a:lnTo>
                    <a:pt x="3671899" y="1506172"/>
                  </a:lnTo>
                  <a:lnTo>
                    <a:pt x="3671505" y="1506682"/>
                  </a:lnTo>
                  <a:lnTo>
                    <a:pt x="3671426" y="1507944"/>
                  </a:lnTo>
                  <a:lnTo>
                    <a:pt x="3671046" y="1508450"/>
                  </a:lnTo>
                  <a:lnTo>
                    <a:pt x="3668495" y="1510010"/>
                  </a:lnTo>
                  <a:lnTo>
                    <a:pt x="3667491" y="1509732"/>
                  </a:lnTo>
                  <a:lnTo>
                    <a:pt x="3666251" y="1508400"/>
                  </a:lnTo>
                  <a:lnTo>
                    <a:pt x="3664972" y="1506836"/>
                  </a:lnTo>
                  <a:lnTo>
                    <a:pt x="3663826" y="1505819"/>
                  </a:lnTo>
                  <a:lnTo>
                    <a:pt x="3662992" y="1503007"/>
                  </a:lnTo>
                  <a:lnTo>
                    <a:pt x="3661216" y="1502774"/>
                  </a:lnTo>
                  <a:lnTo>
                    <a:pt x="3658524" y="1504214"/>
                  </a:lnTo>
                  <a:lnTo>
                    <a:pt x="3657636" y="1503911"/>
                  </a:lnTo>
                  <a:lnTo>
                    <a:pt x="3656005" y="1504525"/>
                  </a:lnTo>
                  <a:lnTo>
                    <a:pt x="3654092" y="1504716"/>
                  </a:lnTo>
                  <a:lnTo>
                    <a:pt x="3651340" y="1506372"/>
                  </a:lnTo>
                  <a:lnTo>
                    <a:pt x="3646079" y="1507465"/>
                  </a:lnTo>
                  <a:lnTo>
                    <a:pt x="3645475" y="1508079"/>
                  </a:lnTo>
                  <a:lnTo>
                    <a:pt x="3646374" y="1509215"/>
                  </a:lnTo>
                  <a:lnTo>
                    <a:pt x="3647456" y="1509991"/>
                  </a:lnTo>
                  <a:lnTo>
                    <a:pt x="3648036" y="1510630"/>
                  </a:lnTo>
                  <a:lnTo>
                    <a:pt x="3647434" y="1511363"/>
                  </a:lnTo>
                  <a:lnTo>
                    <a:pt x="3646438" y="1511528"/>
                  </a:lnTo>
                  <a:lnTo>
                    <a:pt x="3645246" y="1511461"/>
                  </a:lnTo>
                  <a:lnTo>
                    <a:pt x="3644226" y="1511681"/>
                  </a:lnTo>
                  <a:lnTo>
                    <a:pt x="3643742" y="1512703"/>
                  </a:lnTo>
                  <a:lnTo>
                    <a:pt x="3645275" y="1513234"/>
                  </a:lnTo>
                  <a:lnTo>
                    <a:pt x="3647269" y="1513332"/>
                  </a:lnTo>
                  <a:lnTo>
                    <a:pt x="3648914" y="1512798"/>
                  </a:lnTo>
                  <a:lnTo>
                    <a:pt x="3649401" y="1511454"/>
                  </a:lnTo>
                  <a:lnTo>
                    <a:pt x="3649606" y="1509867"/>
                  </a:lnTo>
                  <a:lnTo>
                    <a:pt x="3650623" y="1508741"/>
                  </a:lnTo>
                  <a:lnTo>
                    <a:pt x="3652030" y="1508257"/>
                  </a:lnTo>
                  <a:lnTo>
                    <a:pt x="3653387" y="1508566"/>
                  </a:lnTo>
                  <a:lnTo>
                    <a:pt x="3655249" y="1511208"/>
                  </a:lnTo>
                  <a:lnTo>
                    <a:pt x="3658716" y="1512512"/>
                  </a:lnTo>
                  <a:lnTo>
                    <a:pt x="3662346" y="1513217"/>
                  </a:lnTo>
                  <a:lnTo>
                    <a:pt x="3664695" y="1514089"/>
                  </a:lnTo>
                  <a:lnTo>
                    <a:pt x="3664078" y="1514894"/>
                  </a:lnTo>
                  <a:lnTo>
                    <a:pt x="3663243" y="1518565"/>
                  </a:lnTo>
                  <a:lnTo>
                    <a:pt x="3660794" y="1521179"/>
                  </a:lnTo>
                  <a:lnTo>
                    <a:pt x="3658978" y="1526087"/>
                  </a:lnTo>
                  <a:lnTo>
                    <a:pt x="3657793" y="1527648"/>
                  </a:lnTo>
                  <a:lnTo>
                    <a:pt x="3657298" y="1528870"/>
                  </a:lnTo>
                  <a:lnTo>
                    <a:pt x="3656569" y="1529736"/>
                  </a:lnTo>
                  <a:lnTo>
                    <a:pt x="3655241" y="1529541"/>
                  </a:lnTo>
                  <a:lnTo>
                    <a:pt x="3654613" y="1528759"/>
                  </a:lnTo>
                  <a:lnTo>
                    <a:pt x="3652112" y="1528963"/>
                  </a:lnTo>
                  <a:lnTo>
                    <a:pt x="3650845" y="1528667"/>
                  </a:lnTo>
                  <a:lnTo>
                    <a:pt x="3650736" y="1528247"/>
                  </a:lnTo>
                  <a:lnTo>
                    <a:pt x="3650348" y="1527211"/>
                  </a:lnTo>
                  <a:lnTo>
                    <a:pt x="3649844" y="1527220"/>
                  </a:lnTo>
                  <a:lnTo>
                    <a:pt x="3649324" y="1526947"/>
                  </a:lnTo>
                  <a:lnTo>
                    <a:pt x="3648764" y="1526458"/>
                  </a:lnTo>
                  <a:lnTo>
                    <a:pt x="3648141" y="1525829"/>
                  </a:lnTo>
                  <a:lnTo>
                    <a:pt x="3647805" y="1525273"/>
                  </a:lnTo>
                  <a:lnTo>
                    <a:pt x="3647774" y="1524838"/>
                  </a:lnTo>
                  <a:lnTo>
                    <a:pt x="3647475" y="1524297"/>
                  </a:lnTo>
                  <a:lnTo>
                    <a:pt x="3646321" y="1523411"/>
                  </a:lnTo>
                  <a:lnTo>
                    <a:pt x="3644859" y="1522825"/>
                  </a:lnTo>
                  <a:lnTo>
                    <a:pt x="3643518" y="1522828"/>
                  </a:lnTo>
                  <a:lnTo>
                    <a:pt x="3641351" y="1523760"/>
                  </a:lnTo>
                  <a:lnTo>
                    <a:pt x="3641735" y="1524406"/>
                  </a:lnTo>
                  <a:lnTo>
                    <a:pt x="3643289" y="1524898"/>
                  </a:lnTo>
                  <a:lnTo>
                    <a:pt x="3644746" y="1525624"/>
                  </a:lnTo>
                  <a:lnTo>
                    <a:pt x="3647902" y="1527797"/>
                  </a:lnTo>
                  <a:lnTo>
                    <a:pt x="3648009" y="1528610"/>
                  </a:lnTo>
                  <a:lnTo>
                    <a:pt x="3649990" y="1530430"/>
                  </a:lnTo>
                  <a:lnTo>
                    <a:pt x="3651563" y="1530914"/>
                  </a:lnTo>
                  <a:lnTo>
                    <a:pt x="3653051" y="1531093"/>
                  </a:lnTo>
                  <a:lnTo>
                    <a:pt x="3654786" y="1531995"/>
                  </a:lnTo>
                  <a:lnTo>
                    <a:pt x="3656482" y="1532545"/>
                  </a:lnTo>
                  <a:lnTo>
                    <a:pt x="3657801" y="1531608"/>
                  </a:lnTo>
                  <a:lnTo>
                    <a:pt x="3660828" y="1526180"/>
                  </a:lnTo>
                  <a:lnTo>
                    <a:pt x="3661509" y="1526166"/>
                  </a:lnTo>
                  <a:lnTo>
                    <a:pt x="3663210" y="1526960"/>
                  </a:lnTo>
                  <a:lnTo>
                    <a:pt x="3663670" y="1527090"/>
                  </a:lnTo>
                  <a:lnTo>
                    <a:pt x="3665889" y="1527235"/>
                  </a:lnTo>
                  <a:lnTo>
                    <a:pt x="3669186" y="1526525"/>
                  </a:lnTo>
                  <a:lnTo>
                    <a:pt x="3669867" y="1526059"/>
                  </a:lnTo>
                  <a:lnTo>
                    <a:pt x="3670951" y="1527602"/>
                  </a:lnTo>
                  <a:lnTo>
                    <a:pt x="3672538" y="1527664"/>
                  </a:lnTo>
                  <a:lnTo>
                    <a:pt x="3679946" y="1523944"/>
                  </a:lnTo>
                  <a:lnTo>
                    <a:pt x="3681677" y="1524133"/>
                  </a:lnTo>
                  <a:lnTo>
                    <a:pt x="3680628" y="1526497"/>
                  </a:lnTo>
                  <a:lnTo>
                    <a:pt x="3680650" y="1527864"/>
                  </a:lnTo>
                  <a:lnTo>
                    <a:pt x="3682218" y="1529084"/>
                  </a:lnTo>
                  <a:lnTo>
                    <a:pt x="3683495" y="1528991"/>
                  </a:lnTo>
                  <a:lnTo>
                    <a:pt x="3685431" y="1526875"/>
                  </a:lnTo>
                  <a:lnTo>
                    <a:pt x="3686576" y="1526413"/>
                  </a:lnTo>
                  <a:lnTo>
                    <a:pt x="3686936" y="1527002"/>
                  </a:lnTo>
                  <a:lnTo>
                    <a:pt x="3686571" y="1527357"/>
                  </a:lnTo>
                  <a:lnTo>
                    <a:pt x="3686326" y="1527860"/>
                  </a:lnTo>
                  <a:lnTo>
                    <a:pt x="3686206" y="1528501"/>
                  </a:lnTo>
                  <a:lnTo>
                    <a:pt x="3686221" y="1529275"/>
                  </a:lnTo>
                  <a:lnTo>
                    <a:pt x="3687511" y="1528352"/>
                  </a:lnTo>
                  <a:lnTo>
                    <a:pt x="3688273" y="1528136"/>
                  </a:lnTo>
                  <a:lnTo>
                    <a:pt x="3689203" y="1528416"/>
                  </a:lnTo>
                  <a:lnTo>
                    <a:pt x="3688534" y="1529589"/>
                  </a:lnTo>
                  <a:lnTo>
                    <a:pt x="3686722" y="1531206"/>
                  </a:lnTo>
                  <a:lnTo>
                    <a:pt x="3686489" y="1532640"/>
                  </a:lnTo>
                  <a:lnTo>
                    <a:pt x="3687347" y="1532887"/>
                  </a:lnTo>
                  <a:lnTo>
                    <a:pt x="3688050" y="1532692"/>
                  </a:lnTo>
                  <a:lnTo>
                    <a:pt x="3691339" y="1530425"/>
                  </a:lnTo>
                  <a:lnTo>
                    <a:pt x="3692094" y="1530524"/>
                  </a:lnTo>
                  <a:lnTo>
                    <a:pt x="3693717" y="1531571"/>
                  </a:lnTo>
                  <a:lnTo>
                    <a:pt x="3694531" y="1532395"/>
                  </a:lnTo>
                  <a:lnTo>
                    <a:pt x="3694373" y="1533097"/>
                  </a:lnTo>
                  <a:lnTo>
                    <a:pt x="3691795" y="1533799"/>
                  </a:lnTo>
                  <a:lnTo>
                    <a:pt x="3690824" y="1534853"/>
                  </a:lnTo>
                  <a:lnTo>
                    <a:pt x="3689752" y="1537826"/>
                  </a:lnTo>
                  <a:lnTo>
                    <a:pt x="3688431" y="1538099"/>
                  </a:lnTo>
                  <a:lnTo>
                    <a:pt x="3686866" y="1538080"/>
                  </a:lnTo>
                  <a:lnTo>
                    <a:pt x="3685853" y="1538903"/>
                  </a:lnTo>
                  <a:lnTo>
                    <a:pt x="3683700" y="1544038"/>
                  </a:lnTo>
                  <a:lnTo>
                    <a:pt x="3683078" y="1544411"/>
                  </a:lnTo>
                  <a:lnTo>
                    <a:pt x="3682364" y="1544331"/>
                  </a:lnTo>
                  <a:lnTo>
                    <a:pt x="3680596" y="1543660"/>
                  </a:lnTo>
                  <a:lnTo>
                    <a:pt x="3679973" y="1543656"/>
                  </a:lnTo>
                  <a:lnTo>
                    <a:pt x="3679199" y="1543470"/>
                  </a:lnTo>
                  <a:lnTo>
                    <a:pt x="3678130" y="1542862"/>
                  </a:lnTo>
                  <a:lnTo>
                    <a:pt x="3677220" y="1542549"/>
                  </a:lnTo>
                  <a:lnTo>
                    <a:pt x="3676673" y="1544215"/>
                  </a:lnTo>
                  <a:lnTo>
                    <a:pt x="3675750" y="1544370"/>
                  </a:lnTo>
                  <a:lnTo>
                    <a:pt x="3673619" y="1543899"/>
                  </a:lnTo>
                  <a:lnTo>
                    <a:pt x="3672083" y="1544037"/>
                  </a:lnTo>
                  <a:lnTo>
                    <a:pt x="3668855" y="1546769"/>
                  </a:lnTo>
                  <a:lnTo>
                    <a:pt x="3668218" y="1546975"/>
                  </a:lnTo>
                  <a:lnTo>
                    <a:pt x="3666374" y="1546933"/>
                  </a:lnTo>
                  <a:lnTo>
                    <a:pt x="3665474" y="1546695"/>
                  </a:lnTo>
                  <a:lnTo>
                    <a:pt x="3664485" y="1546740"/>
                  </a:lnTo>
                  <a:lnTo>
                    <a:pt x="3664002" y="1547541"/>
                  </a:lnTo>
                  <a:lnTo>
                    <a:pt x="3663686" y="1548584"/>
                  </a:lnTo>
                  <a:lnTo>
                    <a:pt x="3663200" y="1549371"/>
                  </a:lnTo>
                  <a:lnTo>
                    <a:pt x="3662298" y="1549644"/>
                  </a:lnTo>
                  <a:lnTo>
                    <a:pt x="3661105" y="1549496"/>
                  </a:lnTo>
                  <a:lnTo>
                    <a:pt x="3659785" y="1548997"/>
                  </a:lnTo>
                  <a:lnTo>
                    <a:pt x="3658503" y="1548197"/>
                  </a:lnTo>
                  <a:lnTo>
                    <a:pt x="3657215" y="1546964"/>
                  </a:lnTo>
                  <a:lnTo>
                    <a:pt x="3654792" y="1544081"/>
                  </a:lnTo>
                  <a:lnTo>
                    <a:pt x="3653473" y="1542929"/>
                  </a:lnTo>
                  <a:lnTo>
                    <a:pt x="3650702" y="1542014"/>
                  </a:lnTo>
                  <a:lnTo>
                    <a:pt x="3648897" y="1543129"/>
                  </a:lnTo>
                  <a:lnTo>
                    <a:pt x="3646869" y="1547723"/>
                  </a:lnTo>
                  <a:lnTo>
                    <a:pt x="3647936" y="1547985"/>
                  </a:lnTo>
                  <a:lnTo>
                    <a:pt x="3648804" y="1547451"/>
                  </a:lnTo>
                  <a:lnTo>
                    <a:pt x="3650937" y="1544854"/>
                  </a:lnTo>
                  <a:lnTo>
                    <a:pt x="3651366" y="1544599"/>
                  </a:lnTo>
                  <a:lnTo>
                    <a:pt x="3652035" y="1544659"/>
                  </a:lnTo>
                  <a:lnTo>
                    <a:pt x="3652655" y="1545025"/>
                  </a:lnTo>
                  <a:lnTo>
                    <a:pt x="3654678" y="1546505"/>
                  </a:lnTo>
                  <a:lnTo>
                    <a:pt x="3656648" y="1548870"/>
                  </a:lnTo>
                  <a:lnTo>
                    <a:pt x="3658196" y="1550382"/>
                  </a:lnTo>
                  <a:lnTo>
                    <a:pt x="3659810" y="1550926"/>
                  </a:lnTo>
                  <a:lnTo>
                    <a:pt x="3661213" y="1551903"/>
                  </a:lnTo>
                  <a:lnTo>
                    <a:pt x="3661766" y="1551980"/>
                  </a:lnTo>
                  <a:lnTo>
                    <a:pt x="3673549" y="1546745"/>
                  </a:lnTo>
                  <a:lnTo>
                    <a:pt x="3674751" y="1547035"/>
                  </a:lnTo>
                  <a:lnTo>
                    <a:pt x="3676235" y="1548148"/>
                  </a:lnTo>
                  <a:lnTo>
                    <a:pt x="3677583" y="1548798"/>
                  </a:lnTo>
                  <a:lnTo>
                    <a:pt x="3678373" y="1547692"/>
                  </a:lnTo>
                  <a:lnTo>
                    <a:pt x="3679061" y="1547135"/>
                  </a:lnTo>
                  <a:lnTo>
                    <a:pt x="3680408" y="1547701"/>
                  </a:lnTo>
                  <a:lnTo>
                    <a:pt x="3681967" y="1548983"/>
                  </a:lnTo>
                  <a:lnTo>
                    <a:pt x="3683262" y="1550527"/>
                  </a:lnTo>
                  <a:lnTo>
                    <a:pt x="3681049" y="1552746"/>
                  </a:lnTo>
                  <a:lnTo>
                    <a:pt x="3681897" y="1553081"/>
                  </a:lnTo>
                  <a:lnTo>
                    <a:pt x="3682681" y="1553502"/>
                  </a:lnTo>
                  <a:lnTo>
                    <a:pt x="3683464" y="1553708"/>
                  </a:lnTo>
                  <a:lnTo>
                    <a:pt x="3684303" y="1553415"/>
                  </a:lnTo>
                  <a:lnTo>
                    <a:pt x="3684643" y="1552325"/>
                  </a:lnTo>
                  <a:lnTo>
                    <a:pt x="3684970" y="1551780"/>
                  </a:lnTo>
                  <a:lnTo>
                    <a:pt x="3685458" y="1551830"/>
                  </a:lnTo>
                  <a:lnTo>
                    <a:pt x="3685988" y="1552582"/>
                  </a:lnTo>
                  <a:lnTo>
                    <a:pt x="3686201" y="1553380"/>
                  </a:lnTo>
                  <a:lnTo>
                    <a:pt x="3686196" y="1553965"/>
                  </a:lnTo>
                  <a:lnTo>
                    <a:pt x="3686086" y="1554089"/>
                  </a:lnTo>
                  <a:lnTo>
                    <a:pt x="3687042" y="1555494"/>
                  </a:lnTo>
                  <a:lnTo>
                    <a:pt x="3687589" y="1556199"/>
                  </a:lnTo>
                  <a:lnTo>
                    <a:pt x="3688235" y="1556651"/>
                  </a:lnTo>
                  <a:lnTo>
                    <a:pt x="3692210" y="1558439"/>
                  </a:lnTo>
                  <a:lnTo>
                    <a:pt x="3693128" y="1558682"/>
                  </a:lnTo>
                  <a:lnTo>
                    <a:pt x="3693352" y="1559961"/>
                  </a:lnTo>
                  <a:lnTo>
                    <a:pt x="3692830" y="1560435"/>
                  </a:lnTo>
                  <a:lnTo>
                    <a:pt x="3691193" y="1560738"/>
                  </a:lnTo>
                  <a:lnTo>
                    <a:pt x="3690692" y="1561309"/>
                  </a:lnTo>
                  <a:lnTo>
                    <a:pt x="3690066" y="1562898"/>
                  </a:lnTo>
                  <a:lnTo>
                    <a:pt x="3686505" y="1566478"/>
                  </a:lnTo>
                  <a:lnTo>
                    <a:pt x="3684928" y="1566279"/>
                  </a:lnTo>
                  <a:lnTo>
                    <a:pt x="3684675" y="1564680"/>
                  </a:lnTo>
                  <a:lnTo>
                    <a:pt x="3684031" y="1564723"/>
                  </a:lnTo>
                  <a:lnTo>
                    <a:pt x="3683783" y="1565118"/>
                  </a:lnTo>
                  <a:lnTo>
                    <a:pt x="3683679" y="1565672"/>
                  </a:lnTo>
                  <a:lnTo>
                    <a:pt x="3683469" y="1566196"/>
                  </a:lnTo>
                  <a:lnTo>
                    <a:pt x="3682943" y="1566758"/>
                  </a:lnTo>
                  <a:lnTo>
                    <a:pt x="3680416" y="1567895"/>
                  </a:lnTo>
                  <a:lnTo>
                    <a:pt x="3676970" y="1567810"/>
                  </a:lnTo>
                  <a:lnTo>
                    <a:pt x="3676414" y="1567574"/>
                  </a:lnTo>
                  <a:lnTo>
                    <a:pt x="3675031" y="1566492"/>
                  </a:lnTo>
                  <a:lnTo>
                    <a:pt x="3674265" y="1566058"/>
                  </a:lnTo>
                  <a:lnTo>
                    <a:pt x="3673467" y="1565831"/>
                  </a:lnTo>
                  <a:lnTo>
                    <a:pt x="3672743" y="1565794"/>
                  </a:lnTo>
                  <a:lnTo>
                    <a:pt x="3672222" y="1565934"/>
                  </a:lnTo>
                  <a:lnTo>
                    <a:pt x="3671630" y="1565943"/>
                  </a:lnTo>
                  <a:lnTo>
                    <a:pt x="3671084" y="1565382"/>
                  </a:lnTo>
                  <a:lnTo>
                    <a:pt x="3670498" y="1564596"/>
                  </a:lnTo>
                  <a:lnTo>
                    <a:pt x="3669757" y="1563912"/>
                  </a:lnTo>
                  <a:lnTo>
                    <a:pt x="3668475" y="1563493"/>
                  </a:lnTo>
                  <a:lnTo>
                    <a:pt x="3667076" y="1563451"/>
                  </a:lnTo>
                  <a:lnTo>
                    <a:pt x="3666345" y="1563824"/>
                  </a:lnTo>
                  <a:lnTo>
                    <a:pt x="3667068" y="1564644"/>
                  </a:lnTo>
                  <a:lnTo>
                    <a:pt x="3667202" y="1565346"/>
                  </a:lnTo>
                  <a:lnTo>
                    <a:pt x="3667322" y="1565650"/>
                  </a:lnTo>
                  <a:lnTo>
                    <a:pt x="3667551" y="1566102"/>
                  </a:lnTo>
                  <a:lnTo>
                    <a:pt x="3670221" y="1566689"/>
                  </a:lnTo>
                  <a:lnTo>
                    <a:pt x="3671031" y="1566644"/>
                  </a:lnTo>
                  <a:lnTo>
                    <a:pt x="3671143" y="1567099"/>
                  </a:lnTo>
                  <a:lnTo>
                    <a:pt x="3671276" y="1567478"/>
                  </a:lnTo>
                  <a:lnTo>
                    <a:pt x="3671346" y="1567832"/>
                  </a:lnTo>
                  <a:lnTo>
                    <a:pt x="3671279" y="1568248"/>
                  </a:lnTo>
                  <a:lnTo>
                    <a:pt x="3671698" y="1568952"/>
                  </a:lnTo>
                  <a:lnTo>
                    <a:pt x="3672664" y="1568876"/>
                  </a:lnTo>
                  <a:lnTo>
                    <a:pt x="3676561" y="1569839"/>
                  </a:lnTo>
                  <a:lnTo>
                    <a:pt x="3677100" y="1569601"/>
                  </a:lnTo>
                  <a:lnTo>
                    <a:pt x="3678063" y="1568654"/>
                  </a:lnTo>
                  <a:lnTo>
                    <a:pt x="3679393" y="1568800"/>
                  </a:lnTo>
                  <a:lnTo>
                    <a:pt x="3683627" y="1570422"/>
                  </a:lnTo>
                  <a:lnTo>
                    <a:pt x="3685162" y="1570444"/>
                  </a:lnTo>
                  <a:lnTo>
                    <a:pt x="3685907" y="1570780"/>
                  </a:lnTo>
                  <a:lnTo>
                    <a:pt x="3686608" y="1572141"/>
                  </a:lnTo>
                  <a:lnTo>
                    <a:pt x="3687152" y="1573752"/>
                  </a:lnTo>
                  <a:lnTo>
                    <a:pt x="3687428" y="1574819"/>
                  </a:lnTo>
                  <a:lnTo>
                    <a:pt x="3686966" y="1575185"/>
                  </a:lnTo>
                  <a:lnTo>
                    <a:pt x="3684508" y="1575455"/>
                  </a:lnTo>
                  <a:lnTo>
                    <a:pt x="3682446" y="1575177"/>
                  </a:lnTo>
                  <a:lnTo>
                    <a:pt x="3675895" y="1576083"/>
                  </a:lnTo>
                  <a:lnTo>
                    <a:pt x="3675103" y="1576466"/>
                  </a:lnTo>
                  <a:lnTo>
                    <a:pt x="3678180" y="1579334"/>
                  </a:lnTo>
                  <a:lnTo>
                    <a:pt x="3680317" y="1579669"/>
                  </a:lnTo>
                  <a:lnTo>
                    <a:pt x="3684250" y="1578084"/>
                  </a:lnTo>
                  <a:lnTo>
                    <a:pt x="3685384" y="1578396"/>
                  </a:lnTo>
                  <a:lnTo>
                    <a:pt x="3687731" y="1579803"/>
                  </a:lnTo>
                  <a:lnTo>
                    <a:pt x="3689865" y="1579665"/>
                  </a:lnTo>
                  <a:lnTo>
                    <a:pt x="3690625" y="1580603"/>
                  </a:lnTo>
                  <a:lnTo>
                    <a:pt x="3691107" y="1582037"/>
                  </a:lnTo>
                  <a:lnTo>
                    <a:pt x="3691354" y="1583456"/>
                  </a:lnTo>
                  <a:lnTo>
                    <a:pt x="3692120" y="1585194"/>
                  </a:lnTo>
                  <a:lnTo>
                    <a:pt x="3692678" y="1587643"/>
                  </a:lnTo>
                  <a:lnTo>
                    <a:pt x="3692460" y="1589157"/>
                  </a:lnTo>
                  <a:lnTo>
                    <a:pt x="3690907" y="1588110"/>
                  </a:lnTo>
                  <a:lnTo>
                    <a:pt x="3690242" y="1585099"/>
                  </a:lnTo>
                  <a:lnTo>
                    <a:pt x="3688936" y="1584817"/>
                  </a:lnTo>
                  <a:lnTo>
                    <a:pt x="3687861" y="1586098"/>
                  </a:lnTo>
                  <a:lnTo>
                    <a:pt x="3687889" y="1587761"/>
                  </a:lnTo>
                  <a:lnTo>
                    <a:pt x="3689148" y="1589602"/>
                  </a:lnTo>
                  <a:lnTo>
                    <a:pt x="3689399" y="1590437"/>
                  </a:lnTo>
                  <a:lnTo>
                    <a:pt x="3688944" y="1591105"/>
                  </a:lnTo>
                  <a:lnTo>
                    <a:pt x="3688110" y="1591442"/>
                  </a:lnTo>
                  <a:lnTo>
                    <a:pt x="3687192" y="1591485"/>
                  </a:lnTo>
                  <a:lnTo>
                    <a:pt x="3686168" y="1591271"/>
                  </a:lnTo>
                  <a:lnTo>
                    <a:pt x="3685012" y="1590835"/>
                  </a:lnTo>
                  <a:lnTo>
                    <a:pt x="3684466" y="1590368"/>
                  </a:lnTo>
                  <a:lnTo>
                    <a:pt x="3683702" y="1589218"/>
                  </a:lnTo>
                  <a:lnTo>
                    <a:pt x="3683338" y="1589128"/>
                  </a:lnTo>
                  <a:lnTo>
                    <a:pt x="3682881" y="1589369"/>
                  </a:lnTo>
                  <a:lnTo>
                    <a:pt x="3682544" y="1589377"/>
                  </a:lnTo>
                  <a:lnTo>
                    <a:pt x="3682141" y="1589085"/>
                  </a:lnTo>
                  <a:lnTo>
                    <a:pt x="3681510" y="1588465"/>
                  </a:lnTo>
                  <a:lnTo>
                    <a:pt x="3680879" y="1587617"/>
                  </a:lnTo>
                  <a:lnTo>
                    <a:pt x="3678401" y="1583756"/>
                  </a:lnTo>
                  <a:lnTo>
                    <a:pt x="3676481" y="1581377"/>
                  </a:lnTo>
                  <a:lnTo>
                    <a:pt x="3674210" y="1579680"/>
                  </a:lnTo>
                  <a:lnTo>
                    <a:pt x="3672288" y="1579182"/>
                  </a:lnTo>
                  <a:lnTo>
                    <a:pt x="3671413" y="1580404"/>
                  </a:lnTo>
                  <a:lnTo>
                    <a:pt x="3673231" y="1581011"/>
                  </a:lnTo>
                  <a:lnTo>
                    <a:pt x="3674248" y="1581501"/>
                  </a:lnTo>
                  <a:lnTo>
                    <a:pt x="3675002" y="1582246"/>
                  </a:lnTo>
                  <a:lnTo>
                    <a:pt x="3676562" y="1584751"/>
                  </a:lnTo>
                  <a:lnTo>
                    <a:pt x="3678151" y="1586968"/>
                  </a:lnTo>
                  <a:lnTo>
                    <a:pt x="3679829" y="1588856"/>
                  </a:lnTo>
                  <a:lnTo>
                    <a:pt x="3680357" y="1589714"/>
                  </a:lnTo>
                  <a:lnTo>
                    <a:pt x="3680770" y="1591129"/>
                  </a:lnTo>
                  <a:lnTo>
                    <a:pt x="3680778" y="1595966"/>
                  </a:lnTo>
                  <a:lnTo>
                    <a:pt x="3679611" y="1596855"/>
                  </a:lnTo>
                  <a:lnTo>
                    <a:pt x="3678948" y="1596530"/>
                  </a:lnTo>
                  <a:lnTo>
                    <a:pt x="3677669" y="1595196"/>
                  </a:lnTo>
                  <a:lnTo>
                    <a:pt x="3677230" y="1594415"/>
                  </a:lnTo>
                  <a:lnTo>
                    <a:pt x="3676790" y="1593500"/>
                  </a:lnTo>
                  <a:lnTo>
                    <a:pt x="3676172" y="1592909"/>
                  </a:lnTo>
                  <a:lnTo>
                    <a:pt x="3669768" y="1594900"/>
                  </a:lnTo>
                  <a:lnTo>
                    <a:pt x="3669696" y="1595488"/>
                  </a:lnTo>
                  <a:lnTo>
                    <a:pt x="3670691" y="1596616"/>
                  </a:lnTo>
                  <a:lnTo>
                    <a:pt x="3669244" y="1597187"/>
                  </a:lnTo>
                  <a:lnTo>
                    <a:pt x="3667592" y="1596133"/>
                  </a:lnTo>
                  <a:lnTo>
                    <a:pt x="3665782" y="1594361"/>
                  </a:lnTo>
                  <a:lnTo>
                    <a:pt x="3663864" y="1592782"/>
                  </a:lnTo>
                  <a:lnTo>
                    <a:pt x="3660118" y="1591175"/>
                  </a:lnTo>
                  <a:lnTo>
                    <a:pt x="3658145" y="1589965"/>
                  </a:lnTo>
                  <a:lnTo>
                    <a:pt x="3656445" y="1587957"/>
                  </a:lnTo>
                  <a:lnTo>
                    <a:pt x="3655017" y="1586583"/>
                  </a:lnTo>
                  <a:lnTo>
                    <a:pt x="3648371" y="1582238"/>
                  </a:lnTo>
                  <a:lnTo>
                    <a:pt x="3646307" y="1580021"/>
                  </a:lnTo>
                  <a:lnTo>
                    <a:pt x="3643984" y="1577117"/>
                  </a:lnTo>
                  <a:lnTo>
                    <a:pt x="3641895" y="1574972"/>
                  </a:lnTo>
                  <a:lnTo>
                    <a:pt x="3640663" y="1575031"/>
                  </a:lnTo>
                  <a:lnTo>
                    <a:pt x="3640563" y="1575162"/>
                  </a:lnTo>
                  <a:lnTo>
                    <a:pt x="3640450" y="1575440"/>
                  </a:lnTo>
                  <a:lnTo>
                    <a:pt x="3640487" y="1575873"/>
                  </a:lnTo>
                  <a:lnTo>
                    <a:pt x="3640745" y="1576640"/>
                  </a:lnTo>
                  <a:lnTo>
                    <a:pt x="3641030" y="1576474"/>
                  </a:lnTo>
                  <a:lnTo>
                    <a:pt x="3641084" y="1577224"/>
                  </a:lnTo>
                  <a:lnTo>
                    <a:pt x="3641982" y="1578214"/>
                  </a:lnTo>
                  <a:lnTo>
                    <a:pt x="3642420" y="1579223"/>
                  </a:lnTo>
                  <a:lnTo>
                    <a:pt x="3642861" y="1581493"/>
                  </a:lnTo>
                  <a:lnTo>
                    <a:pt x="3646294" y="1583152"/>
                  </a:lnTo>
                  <a:lnTo>
                    <a:pt x="3653806" y="1589789"/>
                  </a:lnTo>
                  <a:lnTo>
                    <a:pt x="3657114" y="1591517"/>
                  </a:lnTo>
                  <a:lnTo>
                    <a:pt x="3657101" y="1592130"/>
                  </a:lnTo>
                  <a:lnTo>
                    <a:pt x="3657461" y="1593926"/>
                  </a:lnTo>
                  <a:lnTo>
                    <a:pt x="3658285" y="1594316"/>
                  </a:lnTo>
                  <a:lnTo>
                    <a:pt x="3659267" y="1595002"/>
                  </a:lnTo>
                  <a:lnTo>
                    <a:pt x="3660309" y="1595902"/>
                  </a:lnTo>
                  <a:lnTo>
                    <a:pt x="3661302" y="1596898"/>
                  </a:lnTo>
                  <a:lnTo>
                    <a:pt x="3660195" y="1597570"/>
                  </a:lnTo>
                  <a:lnTo>
                    <a:pt x="3656056" y="1598216"/>
                  </a:lnTo>
                  <a:lnTo>
                    <a:pt x="3651960" y="1601464"/>
                  </a:lnTo>
                  <a:lnTo>
                    <a:pt x="3651992" y="1602683"/>
                  </a:lnTo>
                  <a:lnTo>
                    <a:pt x="3651849" y="1603277"/>
                  </a:lnTo>
                  <a:lnTo>
                    <a:pt x="3650583" y="1602997"/>
                  </a:lnTo>
                  <a:lnTo>
                    <a:pt x="3646718" y="1604092"/>
                  </a:lnTo>
                  <a:lnTo>
                    <a:pt x="3646486" y="1604639"/>
                  </a:lnTo>
                  <a:lnTo>
                    <a:pt x="3647274" y="1605373"/>
                  </a:lnTo>
                  <a:lnTo>
                    <a:pt x="3649042" y="1606234"/>
                  </a:lnTo>
                  <a:lnTo>
                    <a:pt x="3650359" y="1606259"/>
                  </a:lnTo>
                  <a:lnTo>
                    <a:pt x="3652825" y="1603571"/>
                  </a:lnTo>
                  <a:lnTo>
                    <a:pt x="3654014" y="1603431"/>
                  </a:lnTo>
                  <a:lnTo>
                    <a:pt x="3656664" y="1604272"/>
                  </a:lnTo>
                  <a:lnTo>
                    <a:pt x="3657753" y="1604184"/>
                  </a:lnTo>
                  <a:lnTo>
                    <a:pt x="3661744" y="1600988"/>
                  </a:lnTo>
                  <a:lnTo>
                    <a:pt x="3662695" y="1601055"/>
                  </a:lnTo>
                  <a:lnTo>
                    <a:pt x="3664033" y="1601762"/>
                  </a:lnTo>
                  <a:lnTo>
                    <a:pt x="3666574" y="1603470"/>
                  </a:lnTo>
                  <a:lnTo>
                    <a:pt x="3666448" y="1603772"/>
                  </a:lnTo>
                  <a:lnTo>
                    <a:pt x="3666437" y="1604048"/>
                  </a:lnTo>
                  <a:lnTo>
                    <a:pt x="3666382" y="1604318"/>
                  </a:lnTo>
                  <a:lnTo>
                    <a:pt x="3666132" y="1604588"/>
                  </a:lnTo>
                  <a:lnTo>
                    <a:pt x="3666836" y="1605370"/>
                  </a:lnTo>
                  <a:lnTo>
                    <a:pt x="3667146" y="1605666"/>
                  </a:lnTo>
                  <a:lnTo>
                    <a:pt x="3667999" y="1608998"/>
                  </a:lnTo>
                  <a:lnTo>
                    <a:pt x="3667955" y="1610108"/>
                  </a:lnTo>
                  <a:lnTo>
                    <a:pt x="3664104" y="1613600"/>
                  </a:lnTo>
                  <a:lnTo>
                    <a:pt x="3663196" y="1613502"/>
                  </a:lnTo>
                  <a:lnTo>
                    <a:pt x="3661924" y="1612755"/>
                  </a:lnTo>
                  <a:lnTo>
                    <a:pt x="3658207" y="1610073"/>
                  </a:lnTo>
                  <a:lnTo>
                    <a:pt x="3657239" y="1609574"/>
                  </a:lnTo>
                  <a:lnTo>
                    <a:pt x="3656402" y="1609532"/>
                  </a:lnTo>
                  <a:lnTo>
                    <a:pt x="3655421" y="1609959"/>
                  </a:lnTo>
                  <a:lnTo>
                    <a:pt x="3655793" y="1610603"/>
                  </a:lnTo>
                  <a:lnTo>
                    <a:pt x="3656088" y="1610613"/>
                  </a:lnTo>
                  <a:lnTo>
                    <a:pt x="3656962" y="1610794"/>
                  </a:lnTo>
                  <a:lnTo>
                    <a:pt x="3657307" y="1611392"/>
                  </a:lnTo>
                  <a:lnTo>
                    <a:pt x="3657538" y="1612070"/>
                  </a:lnTo>
                  <a:lnTo>
                    <a:pt x="3658038" y="1612649"/>
                  </a:lnTo>
                  <a:lnTo>
                    <a:pt x="3659394" y="1613731"/>
                  </a:lnTo>
                  <a:lnTo>
                    <a:pt x="3658246" y="1613910"/>
                  </a:lnTo>
                  <a:lnTo>
                    <a:pt x="3657814" y="1614242"/>
                  </a:lnTo>
                  <a:lnTo>
                    <a:pt x="3657543" y="1614802"/>
                  </a:lnTo>
                  <a:lnTo>
                    <a:pt x="3659169" y="1615961"/>
                  </a:lnTo>
                  <a:lnTo>
                    <a:pt x="3662071" y="1615645"/>
                  </a:lnTo>
                  <a:lnTo>
                    <a:pt x="3663901" y="1617196"/>
                  </a:lnTo>
                  <a:lnTo>
                    <a:pt x="3664514" y="1618823"/>
                  </a:lnTo>
                  <a:lnTo>
                    <a:pt x="3665144" y="1618861"/>
                  </a:lnTo>
                  <a:lnTo>
                    <a:pt x="3666099" y="1617659"/>
                  </a:lnTo>
                  <a:lnTo>
                    <a:pt x="3667418" y="1616876"/>
                  </a:lnTo>
                  <a:lnTo>
                    <a:pt x="3668053" y="1616766"/>
                  </a:lnTo>
                  <a:lnTo>
                    <a:pt x="3676324" y="1617773"/>
                  </a:lnTo>
                  <a:lnTo>
                    <a:pt x="3676736" y="1618480"/>
                  </a:lnTo>
                  <a:lnTo>
                    <a:pt x="3675855" y="1618965"/>
                  </a:lnTo>
                  <a:lnTo>
                    <a:pt x="3673973" y="1619168"/>
                  </a:lnTo>
                  <a:lnTo>
                    <a:pt x="3673141" y="1619633"/>
                  </a:lnTo>
                  <a:lnTo>
                    <a:pt x="3672528" y="1620830"/>
                  </a:lnTo>
                  <a:lnTo>
                    <a:pt x="3672180" y="1621142"/>
                  </a:lnTo>
                  <a:lnTo>
                    <a:pt x="3671500" y="1621356"/>
                  </a:lnTo>
                  <a:lnTo>
                    <a:pt x="3663549" y="1620846"/>
                  </a:lnTo>
                  <a:lnTo>
                    <a:pt x="3661039" y="1621508"/>
                  </a:lnTo>
                  <a:lnTo>
                    <a:pt x="3660689" y="1623395"/>
                  </a:lnTo>
                  <a:lnTo>
                    <a:pt x="3671528" y="1624924"/>
                  </a:lnTo>
                  <a:lnTo>
                    <a:pt x="3673891" y="1623874"/>
                  </a:lnTo>
                  <a:lnTo>
                    <a:pt x="3674884" y="1623917"/>
                  </a:lnTo>
                  <a:lnTo>
                    <a:pt x="3669912" y="1627602"/>
                  </a:lnTo>
                  <a:lnTo>
                    <a:pt x="3670288" y="1628253"/>
                  </a:lnTo>
                  <a:lnTo>
                    <a:pt x="3672658" y="1626876"/>
                  </a:lnTo>
                  <a:lnTo>
                    <a:pt x="3673068" y="1627585"/>
                  </a:lnTo>
                  <a:lnTo>
                    <a:pt x="3672671" y="1627759"/>
                  </a:lnTo>
                  <a:lnTo>
                    <a:pt x="3672433" y="1628074"/>
                  </a:lnTo>
                  <a:lnTo>
                    <a:pt x="3672110" y="1629007"/>
                  </a:lnTo>
                  <a:lnTo>
                    <a:pt x="3673713" y="1629370"/>
                  </a:lnTo>
                  <a:lnTo>
                    <a:pt x="3673953" y="1629675"/>
                  </a:lnTo>
                  <a:lnTo>
                    <a:pt x="3675127" y="1629520"/>
                  </a:lnTo>
                  <a:lnTo>
                    <a:pt x="3679212" y="1630093"/>
                  </a:lnTo>
                  <a:lnTo>
                    <a:pt x="3679748" y="1631822"/>
                  </a:lnTo>
                  <a:lnTo>
                    <a:pt x="3679816" y="1632420"/>
                  </a:lnTo>
                  <a:lnTo>
                    <a:pt x="3680770" y="1631847"/>
                  </a:lnTo>
                  <a:lnTo>
                    <a:pt x="3681351" y="1631778"/>
                  </a:lnTo>
                  <a:lnTo>
                    <a:pt x="3682026" y="1631923"/>
                  </a:lnTo>
                  <a:lnTo>
                    <a:pt x="3681338" y="1633153"/>
                  </a:lnTo>
                  <a:lnTo>
                    <a:pt x="3679084" y="1633908"/>
                  </a:lnTo>
                  <a:lnTo>
                    <a:pt x="3678403" y="1634905"/>
                  </a:lnTo>
                  <a:lnTo>
                    <a:pt x="3678438" y="1636263"/>
                  </a:lnTo>
                  <a:lnTo>
                    <a:pt x="3679149" y="1636599"/>
                  </a:lnTo>
                  <a:lnTo>
                    <a:pt x="3680203" y="1636572"/>
                  </a:lnTo>
                  <a:lnTo>
                    <a:pt x="3681256" y="1636802"/>
                  </a:lnTo>
                  <a:lnTo>
                    <a:pt x="3681359" y="1636043"/>
                  </a:lnTo>
                  <a:lnTo>
                    <a:pt x="3681656" y="1635605"/>
                  </a:lnTo>
                  <a:lnTo>
                    <a:pt x="3682603" y="1635069"/>
                  </a:lnTo>
                  <a:lnTo>
                    <a:pt x="3683227" y="1635124"/>
                  </a:lnTo>
                  <a:lnTo>
                    <a:pt x="3683989" y="1635597"/>
                  </a:lnTo>
                  <a:lnTo>
                    <a:pt x="3684484" y="1636230"/>
                  </a:lnTo>
                  <a:lnTo>
                    <a:pt x="3684290" y="1636769"/>
                  </a:lnTo>
                  <a:lnTo>
                    <a:pt x="3682149" y="1638054"/>
                  </a:lnTo>
                  <a:lnTo>
                    <a:pt x="3681259" y="1639043"/>
                  </a:lnTo>
                  <a:lnTo>
                    <a:pt x="3680875" y="1640411"/>
                  </a:lnTo>
                  <a:lnTo>
                    <a:pt x="3682188" y="1640708"/>
                  </a:lnTo>
                  <a:lnTo>
                    <a:pt x="3685929" y="1639284"/>
                  </a:lnTo>
                  <a:lnTo>
                    <a:pt x="3687130" y="1639267"/>
                  </a:lnTo>
                  <a:lnTo>
                    <a:pt x="3688189" y="1640141"/>
                  </a:lnTo>
                  <a:lnTo>
                    <a:pt x="3688663" y="1641357"/>
                  </a:lnTo>
                  <a:lnTo>
                    <a:pt x="3688105" y="1642368"/>
                  </a:lnTo>
                  <a:lnTo>
                    <a:pt x="3687652" y="1642394"/>
                  </a:lnTo>
                  <a:lnTo>
                    <a:pt x="3686617" y="1641868"/>
                  </a:lnTo>
                  <a:lnTo>
                    <a:pt x="3686025" y="1641840"/>
                  </a:lnTo>
                  <a:lnTo>
                    <a:pt x="3685793" y="1642048"/>
                  </a:lnTo>
                  <a:lnTo>
                    <a:pt x="3684984" y="1643240"/>
                  </a:lnTo>
                  <a:lnTo>
                    <a:pt x="3681540" y="1645072"/>
                  </a:lnTo>
                  <a:lnTo>
                    <a:pt x="3681106" y="1646441"/>
                  </a:lnTo>
                  <a:lnTo>
                    <a:pt x="3685450" y="1646526"/>
                  </a:lnTo>
                  <a:lnTo>
                    <a:pt x="3685272" y="1647178"/>
                  </a:lnTo>
                  <a:lnTo>
                    <a:pt x="3684954" y="1647684"/>
                  </a:lnTo>
                  <a:lnTo>
                    <a:pt x="3684512" y="1648046"/>
                  </a:lnTo>
                  <a:lnTo>
                    <a:pt x="3683972" y="1648255"/>
                  </a:lnTo>
                  <a:lnTo>
                    <a:pt x="3685732" y="1648144"/>
                  </a:lnTo>
                  <a:lnTo>
                    <a:pt x="3688920" y="1646847"/>
                  </a:lnTo>
                  <a:lnTo>
                    <a:pt x="3690731" y="1646919"/>
                  </a:lnTo>
                  <a:lnTo>
                    <a:pt x="3691119" y="1648984"/>
                  </a:lnTo>
                  <a:lnTo>
                    <a:pt x="3690643" y="1650354"/>
                  </a:lnTo>
                  <a:lnTo>
                    <a:pt x="3689835" y="1651535"/>
                  </a:lnTo>
                  <a:lnTo>
                    <a:pt x="3689207" y="1653024"/>
                  </a:lnTo>
                  <a:lnTo>
                    <a:pt x="3689902" y="1653060"/>
                  </a:lnTo>
                  <a:lnTo>
                    <a:pt x="3690514" y="1653631"/>
                  </a:lnTo>
                  <a:lnTo>
                    <a:pt x="3691063" y="1654212"/>
                  </a:lnTo>
                  <a:lnTo>
                    <a:pt x="3691592" y="1654324"/>
                  </a:lnTo>
                  <a:lnTo>
                    <a:pt x="3692093" y="1654260"/>
                  </a:lnTo>
                  <a:lnTo>
                    <a:pt x="3693286" y="1654673"/>
                  </a:lnTo>
                  <a:lnTo>
                    <a:pt x="3693836" y="1654756"/>
                  </a:lnTo>
                  <a:lnTo>
                    <a:pt x="3693385" y="1655937"/>
                  </a:lnTo>
                  <a:lnTo>
                    <a:pt x="3692484" y="1656678"/>
                  </a:lnTo>
                  <a:lnTo>
                    <a:pt x="3690420" y="1657615"/>
                  </a:lnTo>
                  <a:lnTo>
                    <a:pt x="3690796" y="1658266"/>
                  </a:lnTo>
                  <a:lnTo>
                    <a:pt x="3694122" y="1657118"/>
                  </a:lnTo>
                  <a:lnTo>
                    <a:pt x="3694530" y="1657823"/>
                  </a:lnTo>
                  <a:lnTo>
                    <a:pt x="3694338" y="1659095"/>
                  </a:lnTo>
                  <a:lnTo>
                    <a:pt x="3693644" y="1659489"/>
                  </a:lnTo>
                  <a:lnTo>
                    <a:pt x="3692679" y="1659688"/>
                  </a:lnTo>
                  <a:lnTo>
                    <a:pt x="3691674" y="1660355"/>
                  </a:lnTo>
                  <a:lnTo>
                    <a:pt x="3693092" y="1662025"/>
                  </a:lnTo>
                  <a:lnTo>
                    <a:pt x="3693716" y="1662646"/>
                  </a:lnTo>
                  <a:lnTo>
                    <a:pt x="3693664" y="1664074"/>
                  </a:lnTo>
                  <a:lnTo>
                    <a:pt x="3692629" y="1667696"/>
                  </a:lnTo>
                  <a:lnTo>
                    <a:pt x="3693035" y="1667772"/>
                  </a:lnTo>
                  <a:lnTo>
                    <a:pt x="3694030" y="1668203"/>
                  </a:lnTo>
                  <a:lnTo>
                    <a:pt x="3694423" y="1668312"/>
                  </a:lnTo>
                  <a:lnTo>
                    <a:pt x="3694254" y="1669967"/>
                  </a:lnTo>
                  <a:lnTo>
                    <a:pt x="3694325" y="1670842"/>
                  </a:lnTo>
                  <a:lnTo>
                    <a:pt x="3694572" y="1671702"/>
                  </a:lnTo>
                  <a:lnTo>
                    <a:pt x="3695141" y="1672344"/>
                  </a:lnTo>
                  <a:lnTo>
                    <a:pt x="3696076" y="1673262"/>
                  </a:lnTo>
                  <a:lnTo>
                    <a:pt x="3696762" y="1674193"/>
                  </a:lnTo>
                  <a:lnTo>
                    <a:pt x="3696577" y="1674875"/>
                  </a:lnTo>
                  <a:lnTo>
                    <a:pt x="3694108" y="1675714"/>
                  </a:lnTo>
                  <a:lnTo>
                    <a:pt x="3690720" y="1675737"/>
                  </a:lnTo>
                  <a:lnTo>
                    <a:pt x="3691047" y="1674799"/>
                  </a:lnTo>
                  <a:lnTo>
                    <a:pt x="3690836" y="1674048"/>
                  </a:lnTo>
                  <a:lnTo>
                    <a:pt x="3690121" y="1673520"/>
                  </a:lnTo>
                  <a:lnTo>
                    <a:pt x="3688959" y="1673292"/>
                  </a:lnTo>
                  <a:lnTo>
                    <a:pt x="3690002" y="1671326"/>
                  </a:lnTo>
                  <a:lnTo>
                    <a:pt x="3690124" y="1670097"/>
                  </a:lnTo>
                  <a:lnTo>
                    <a:pt x="3689220" y="1668723"/>
                  </a:lnTo>
                  <a:lnTo>
                    <a:pt x="3688648" y="1667270"/>
                  </a:lnTo>
                  <a:lnTo>
                    <a:pt x="3687778" y="1666703"/>
                  </a:lnTo>
                  <a:lnTo>
                    <a:pt x="3687026" y="1666956"/>
                  </a:lnTo>
                  <a:lnTo>
                    <a:pt x="3686799" y="1667951"/>
                  </a:lnTo>
                  <a:lnTo>
                    <a:pt x="3686748" y="1669008"/>
                  </a:lnTo>
                  <a:lnTo>
                    <a:pt x="3685455" y="1670895"/>
                  </a:lnTo>
                  <a:lnTo>
                    <a:pt x="3684781" y="1672867"/>
                  </a:lnTo>
                  <a:lnTo>
                    <a:pt x="3684107" y="1673513"/>
                  </a:lnTo>
                  <a:lnTo>
                    <a:pt x="3683172" y="1672677"/>
                  </a:lnTo>
                  <a:lnTo>
                    <a:pt x="3682685" y="1672611"/>
                  </a:lnTo>
                  <a:lnTo>
                    <a:pt x="3680218" y="1673114"/>
                  </a:lnTo>
                  <a:lnTo>
                    <a:pt x="3679812" y="1672402"/>
                  </a:lnTo>
                  <a:lnTo>
                    <a:pt x="3679861" y="1671977"/>
                  </a:lnTo>
                  <a:lnTo>
                    <a:pt x="3679799" y="1671600"/>
                  </a:lnTo>
                  <a:lnTo>
                    <a:pt x="3679698" y="1671230"/>
                  </a:lnTo>
                  <a:lnTo>
                    <a:pt x="3679610" y="1670790"/>
                  </a:lnTo>
                  <a:lnTo>
                    <a:pt x="3679461" y="1670835"/>
                  </a:lnTo>
                  <a:lnTo>
                    <a:pt x="3679070" y="1671099"/>
                  </a:lnTo>
                  <a:lnTo>
                    <a:pt x="3678696" y="1670442"/>
                  </a:lnTo>
                  <a:lnTo>
                    <a:pt x="3681108" y="1669058"/>
                  </a:lnTo>
                  <a:lnTo>
                    <a:pt x="3680773" y="1668720"/>
                  </a:lnTo>
                  <a:lnTo>
                    <a:pt x="3680707" y="1668685"/>
                  </a:lnTo>
                  <a:lnTo>
                    <a:pt x="3680489" y="1668547"/>
                  </a:lnTo>
                  <a:lnTo>
                    <a:pt x="3681082" y="1667034"/>
                  </a:lnTo>
                  <a:lnTo>
                    <a:pt x="3683966" y="1663947"/>
                  </a:lnTo>
                  <a:lnTo>
                    <a:pt x="3682347" y="1663756"/>
                  </a:lnTo>
                  <a:lnTo>
                    <a:pt x="3680655" y="1664111"/>
                  </a:lnTo>
                  <a:lnTo>
                    <a:pt x="3679411" y="1665187"/>
                  </a:lnTo>
                  <a:lnTo>
                    <a:pt x="3679142" y="1667158"/>
                  </a:lnTo>
                  <a:lnTo>
                    <a:pt x="3678617" y="1668600"/>
                  </a:lnTo>
                  <a:lnTo>
                    <a:pt x="3677054" y="1669248"/>
                  </a:lnTo>
                  <a:lnTo>
                    <a:pt x="3675279" y="1668609"/>
                  </a:lnTo>
                  <a:lnTo>
                    <a:pt x="3674105" y="1666157"/>
                  </a:lnTo>
                  <a:lnTo>
                    <a:pt x="3672456" y="1664950"/>
                  </a:lnTo>
                  <a:lnTo>
                    <a:pt x="3671666" y="1663129"/>
                  </a:lnTo>
                  <a:lnTo>
                    <a:pt x="3671429" y="1661037"/>
                  </a:lnTo>
                  <a:lnTo>
                    <a:pt x="3671472" y="1655585"/>
                  </a:lnTo>
                  <a:lnTo>
                    <a:pt x="3671074" y="1653925"/>
                  </a:lnTo>
                  <a:lnTo>
                    <a:pt x="3670031" y="1653699"/>
                  </a:lnTo>
                  <a:lnTo>
                    <a:pt x="3669189" y="1654167"/>
                  </a:lnTo>
                  <a:lnTo>
                    <a:pt x="3668390" y="1654929"/>
                  </a:lnTo>
                  <a:lnTo>
                    <a:pt x="3668109" y="1656204"/>
                  </a:lnTo>
                  <a:lnTo>
                    <a:pt x="3669372" y="1659492"/>
                  </a:lnTo>
                  <a:lnTo>
                    <a:pt x="3669229" y="1659960"/>
                  </a:lnTo>
                  <a:lnTo>
                    <a:pt x="3668832" y="1659924"/>
                  </a:lnTo>
                  <a:lnTo>
                    <a:pt x="3668611" y="1659700"/>
                  </a:lnTo>
                  <a:lnTo>
                    <a:pt x="3668654" y="1664123"/>
                  </a:lnTo>
                  <a:lnTo>
                    <a:pt x="3668314" y="1665383"/>
                  </a:lnTo>
                  <a:lnTo>
                    <a:pt x="3667541" y="1666091"/>
                  </a:lnTo>
                  <a:lnTo>
                    <a:pt x="3666244" y="1666238"/>
                  </a:lnTo>
                  <a:lnTo>
                    <a:pt x="3663685" y="1665496"/>
                  </a:lnTo>
                  <a:lnTo>
                    <a:pt x="3663164" y="1665936"/>
                  </a:lnTo>
                  <a:lnTo>
                    <a:pt x="3664012" y="1667975"/>
                  </a:lnTo>
                  <a:lnTo>
                    <a:pt x="3665137" y="1670233"/>
                  </a:lnTo>
                  <a:lnTo>
                    <a:pt x="3665607" y="1671969"/>
                  </a:lnTo>
                  <a:lnTo>
                    <a:pt x="3665385" y="1673257"/>
                  </a:lnTo>
                  <a:lnTo>
                    <a:pt x="3664424" y="1674182"/>
                  </a:lnTo>
                  <a:lnTo>
                    <a:pt x="3663494" y="1673943"/>
                  </a:lnTo>
                  <a:lnTo>
                    <a:pt x="3658996" y="1671290"/>
                  </a:lnTo>
                  <a:lnTo>
                    <a:pt x="3659081" y="1670502"/>
                  </a:lnTo>
                  <a:lnTo>
                    <a:pt x="3659162" y="1670256"/>
                  </a:lnTo>
                  <a:lnTo>
                    <a:pt x="3658831" y="1669667"/>
                  </a:lnTo>
                  <a:lnTo>
                    <a:pt x="3658034" y="1670307"/>
                  </a:lnTo>
                  <a:lnTo>
                    <a:pt x="3657559" y="1671423"/>
                  </a:lnTo>
                  <a:lnTo>
                    <a:pt x="3656997" y="1672275"/>
                  </a:lnTo>
                  <a:lnTo>
                    <a:pt x="3655912" y="1672090"/>
                  </a:lnTo>
                  <a:lnTo>
                    <a:pt x="3656061" y="1670173"/>
                  </a:lnTo>
                  <a:lnTo>
                    <a:pt x="3655600" y="1664899"/>
                  </a:lnTo>
                  <a:lnTo>
                    <a:pt x="3655949" y="1662882"/>
                  </a:lnTo>
                  <a:lnTo>
                    <a:pt x="3657966" y="1660104"/>
                  </a:lnTo>
                  <a:lnTo>
                    <a:pt x="3658610" y="1658411"/>
                  </a:lnTo>
                  <a:lnTo>
                    <a:pt x="3658273" y="1657814"/>
                  </a:lnTo>
                  <a:lnTo>
                    <a:pt x="3656761" y="1658426"/>
                  </a:lnTo>
                  <a:lnTo>
                    <a:pt x="3652750" y="1661730"/>
                  </a:lnTo>
                  <a:lnTo>
                    <a:pt x="3652550" y="1662275"/>
                  </a:lnTo>
                  <a:lnTo>
                    <a:pt x="3652826" y="1663999"/>
                  </a:lnTo>
                  <a:lnTo>
                    <a:pt x="3652582" y="1664568"/>
                  </a:lnTo>
                  <a:lnTo>
                    <a:pt x="3652054" y="1665117"/>
                  </a:lnTo>
                  <a:lnTo>
                    <a:pt x="3651678" y="1665956"/>
                  </a:lnTo>
                  <a:lnTo>
                    <a:pt x="3651318" y="1667710"/>
                  </a:lnTo>
                  <a:lnTo>
                    <a:pt x="3651592" y="1668361"/>
                  </a:lnTo>
                  <a:lnTo>
                    <a:pt x="3651391" y="1668674"/>
                  </a:lnTo>
                  <a:lnTo>
                    <a:pt x="3650911" y="1668544"/>
                  </a:lnTo>
                  <a:lnTo>
                    <a:pt x="3649367" y="1666723"/>
                  </a:lnTo>
                  <a:lnTo>
                    <a:pt x="3648058" y="1667007"/>
                  </a:lnTo>
                  <a:lnTo>
                    <a:pt x="3647270" y="1666187"/>
                  </a:lnTo>
                  <a:lnTo>
                    <a:pt x="3646769" y="1665484"/>
                  </a:lnTo>
                  <a:lnTo>
                    <a:pt x="3645359" y="1663828"/>
                  </a:lnTo>
                  <a:lnTo>
                    <a:pt x="3644686" y="1662897"/>
                  </a:lnTo>
                  <a:lnTo>
                    <a:pt x="3644087" y="1661868"/>
                  </a:lnTo>
                  <a:lnTo>
                    <a:pt x="3643632" y="1660964"/>
                  </a:lnTo>
                  <a:lnTo>
                    <a:pt x="3643320" y="1660175"/>
                  </a:lnTo>
                  <a:lnTo>
                    <a:pt x="3643130" y="1659471"/>
                  </a:lnTo>
                  <a:lnTo>
                    <a:pt x="3643303" y="1658789"/>
                  </a:lnTo>
                  <a:lnTo>
                    <a:pt x="3643448" y="1656870"/>
                  </a:lnTo>
                  <a:lnTo>
                    <a:pt x="3643247" y="1655053"/>
                  </a:lnTo>
                  <a:lnTo>
                    <a:pt x="3642379" y="1654648"/>
                  </a:lnTo>
                  <a:lnTo>
                    <a:pt x="3642072" y="1655580"/>
                  </a:lnTo>
                  <a:lnTo>
                    <a:pt x="3641937" y="1657093"/>
                  </a:lnTo>
                  <a:lnTo>
                    <a:pt x="3641696" y="1658004"/>
                  </a:lnTo>
                  <a:lnTo>
                    <a:pt x="3641100" y="1657168"/>
                  </a:lnTo>
                  <a:lnTo>
                    <a:pt x="3640856" y="1657305"/>
                  </a:lnTo>
                  <a:lnTo>
                    <a:pt x="3640655" y="1655417"/>
                  </a:lnTo>
                  <a:lnTo>
                    <a:pt x="3641238" y="1651425"/>
                  </a:lnTo>
                  <a:lnTo>
                    <a:pt x="3640941" y="1649820"/>
                  </a:lnTo>
                  <a:lnTo>
                    <a:pt x="3641462" y="1643887"/>
                  </a:lnTo>
                  <a:lnTo>
                    <a:pt x="3641127" y="1643291"/>
                  </a:lnTo>
                  <a:lnTo>
                    <a:pt x="3640216" y="1642864"/>
                  </a:lnTo>
                  <a:lnTo>
                    <a:pt x="3640327" y="1642227"/>
                  </a:lnTo>
                  <a:lnTo>
                    <a:pt x="3640312" y="1641495"/>
                  </a:lnTo>
                  <a:lnTo>
                    <a:pt x="3640159" y="1640661"/>
                  </a:lnTo>
                  <a:lnTo>
                    <a:pt x="3639844" y="1639698"/>
                  </a:lnTo>
                  <a:lnTo>
                    <a:pt x="3638174" y="1640852"/>
                  </a:lnTo>
                  <a:lnTo>
                    <a:pt x="3637968" y="1641933"/>
                  </a:lnTo>
                  <a:lnTo>
                    <a:pt x="3639119" y="1643483"/>
                  </a:lnTo>
                  <a:lnTo>
                    <a:pt x="3638839" y="1644339"/>
                  </a:lnTo>
                  <a:lnTo>
                    <a:pt x="3638085" y="1645652"/>
                  </a:lnTo>
                  <a:lnTo>
                    <a:pt x="3638077" y="1646658"/>
                  </a:lnTo>
                  <a:lnTo>
                    <a:pt x="3638567" y="1648168"/>
                  </a:lnTo>
                  <a:lnTo>
                    <a:pt x="3639117" y="1649122"/>
                  </a:lnTo>
                  <a:lnTo>
                    <a:pt x="3639431" y="1649977"/>
                  </a:lnTo>
                  <a:lnTo>
                    <a:pt x="3639239" y="1651250"/>
                  </a:lnTo>
                  <a:lnTo>
                    <a:pt x="3637749" y="1652969"/>
                  </a:lnTo>
                  <a:lnTo>
                    <a:pt x="3637551" y="1653922"/>
                  </a:lnTo>
                  <a:lnTo>
                    <a:pt x="3637703" y="1655134"/>
                  </a:lnTo>
                  <a:lnTo>
                    <a:pt x="3638339" y="1658280"/>
                  </a:lnTo>
                  <a:lnTo>
                    <a:pt x="3638469" y="1659427"/>
                  </a:lnTo>
                  <a:lnTo>
                    <a:pt x="3638835" y="1660083"/>
                  </a:lnTo>
                  <a:lnTo>
                    <a:pt x="3641499" y="1662837"/>
                  </a:lnTo>
                  <a:lnTo>
                    <a:pt x="3643133" y="1666372"/>
                  </a:lnTo>
                  <a:lnTo>
                    <a:pt x="3644721" y="1673205"/>
                  </a:lnTo>
                  <a:lnTo>
                    <a:pt x="3645367" y="1677359"/>
                  </a:lnTo>
                  <a:lnTo>
                    <a:pt x="3645402" y="1679337"/>
                  </a:lnTo>
                  <a:lnTo>
                    <a:pt x="3644659" y="1678865"/>
                  </a:lnTo>
                  <a:lnTo>
                    <a:pt x="3642989" y="1676507"/>
                  </a:lnTo>
                  <a:lnTo>
                    <a:pt x="3642052" y="1676502"/>
                  </a:lnTo>
                  <a:lnTo>
                    <a:pt x="3641362" y="1677527"/>
                  </a:lnTo>
                  <a:lnTo>
                    <a:pt x="3640418" y="1678267"/>
                  </a:lnTo>
                  <a:lnTo>
                    <a:pt x="3640017" y="1677542"/>
                  </a:lnTo>
                  <a:lnTo>
                    <a:pt x="3640236" y="1677272"/>
                  </a:lnTo>
                  <a:lnTo>
                    <a:pt x="3640551" y="1676600"/>
                  </a:lnTo>
                  <a:lnTo>
                    <a:pt x="3640803" y="1676333"/>
                  </a:lnTo>
                  <a:lnTo>
                    <a:pt x="3639814" y="1675510"/>
                  </a:lnTo>
                  <a:lnTo>
                    <a:pt x="3639121" y="1675307"/>
                  </a:lnTo>
                  <a:lnTo>
                    <a:pt x="3638662" y="1674948"/>
                  </a:lnTo>
                  <a:lnTo>
                    <a:pt x="3638146" y="1672006"/>
                  </a:lnTo>
                  <a:lnTo>
                    <a:pt x="3637735" y="1671118"/>
                  </a:lnTo>
                  <a:lnTo>
                    <a:pt x="3637246" y="1671011"/>
                  </a:lnTo>
                  <a:lnTo>
                    <a:pt x="3636749" y="1671636"/>
                  </a:lnTo>
                  <a:lnTo>
                    <a:pt x="3636746" y="1672241"/>
                  </a:lnTo>
                  <a:lnTo>
                    <a:pt x="3636981" y="1672981"/>
                  </a:lnTo>
                  <a:lnTo>
                    <a:pt x="3637063" y="1673703"/>
                  </a:lnTo>
                  <a:lnTo>
                    <a:pt x="3636106" y="1674833"/>
                  </a:lnTo>
                  <a:lnTo>
                    <a:pt x="3635624" y="1676251"/>
                  </a:lnTo>
                  <a:lnTo>
                    <a:pt x="3634980" y="1676834"/>
                  </a:lnTo>
                  <a:lnTo>
                    <a:pt x="3634553" y="1675015"/>
                  </a:lnTo>
                  <a:lnTo>
                    <a:pt x="3634095" y="1673519"/>
                  </a:lnTo>
                  <a:lnTo>
                    <a:pt x="3633937" y="1672277"/>
                  </a:lnTo>
                  <a:lnTo>
                    <a:pt x="3634397" y="1671223"/>
                  </a:lnTo>
                  <a:lnTo>
                    <a:pt x="3632508" y="1670583"/>
                  </a:lnTo>
                  <a:lnTo>
                    <a:pt x="3631967" y="1669952"/>
                  </a:lnTo>
                  <a:lnTo>
                    <a:pt x="3631913" y="1668703"/>
                  </a:lnTo>
                  <a:lnTo>
                    <a:pt x="3632135" y="1667966"/>
                  </a:lnTo>
                  <a:lnTo>
                    <a:pt x="3633048" y="1666891"/>
                  </a:lnTo>
                  <a:lnTo>
                    <a:pt x="3633547" y="1666547"/>
                  </a:lnTo>
                  <a:lnTo>
                    <a:pt x="3633183" y="1665890"/>
                  </a:lnTo>
                  <a:lnTo>
                    <a:pt x="3631706" y="1666991"/>
                  </a:lnTo>
                  <a:lnTo>
                    <a:pt x="3630860" y="1666878"/>
                  </a:lnTo>
                  <a:lnTo>
                    <a:pt x="3629823" y="1665566"/>
                  </a:lnTo>
                  <a:lnTo>
                    <a:pt x="3629502" y="1665395"/>
                  </a:lnTo>
                  <a:lnTo>
                    <a:pt x="3629007" y="1665466"/>
                  </a:lnTo>
                  <a:lnTo>
                    <a:pt x="3628530" y="1665689"/>
                  </a:lnTo>
                  <a:lnTo>
                    <a:pt x="3628253" y="1665976"/>
                  </a:lnTo>
                  <a:lnTo>
                    <a:pt x="3628228" y="1666439"/>
                  </a:lnTo>
                  <a:lnTo>
                    <a:pt x="3628583" y="1668442"/>
                  </a:lnTo>
                  <a:lnTo>
                    <a:pt x="3628067" y="1670547"/>
                  </a:lnTo>
                  <a:lnTo>
                    <a:pt x="3626503" y="1670950"/>
                  </a:lnTo>
                  <a:lnTo>
                    <a:pt x="3624258" y="1670176"/>
                  </a:lnTo>
                  <a:lnTo>
                    <a:pt x="3621667" y="1668754"/>
                  </a:lnTo>
                  <a:lnTo>
                    <a:pt x="3623561" y="1667710"/>
                  </a:lnTo>
                  <a:lnTo>
                    <a:pt x="3622637" y="1666831"/>
                  </a:lnTo>
                  <a:lnTo>
                    <a:pt x="3621860" y="1666763"/>
                  </a:lnTo>
                  <a:lnTo>
                    <a:pt x="3621120" y="1666972"/>
                  </a:lnTo>
                  <a:lnTo>
                    <a:pt x="3620312" y="1666927"/>
                  </a:lnTo>
                  <a:lnTo>
                    <a:pt x="3619983" y="1666327"/>
                  </a:lnTo>
                  <a:lnTo>
                    <a:pt x="3620525" y="1666029"/>
                  </a:lnTo>
                  <a:lnTo>
                    <a:pt x="3620789" y="1664938"/>
                  </a:lnTo>
                  <a:lnTo>
                    <a:pt x="3622157" y="1663447"/>
                  </a:lnTo>
                  <a:lnTo>
                    <a:pt x="3622409" y="1662349"/>
                  </a:lnTo>
                  <a:lnTo>
                    <a:pt x="3622939" y="1662423"/>
                  </a:lnTo>
                  <a:lnTo>
                    <a:pt x="3624751" y="1662714"/>
                  </a:lnTo>
                  <a:lnTo>
                    <a:pt x="3625534" y="1662327"/>
                  </a:lnTo>
                  <a:lnTo>
                    <a:pt x="3626527" y="1660324"/>
                  </a:lnTo>
                  <a:lnTo>
                    <a:pt x="3627102" y="1658030"/>
                  </a:lnTo>
                  <a:lnTo>
                    <a:pt x="3622363" y="1659710"/>
                  </a:lnTo>
                  <a:lnTo>
                    <a:pt x="3619190" y="1663271"/>
                  </a:lnTo>
                  <a:lnTo>
                    <a:pt x="3617904" y="1663116"/>
                  </a:lnTo>
                  <a:lnTo>
                    <a:pt x="3618332" y="1661369"/>
                  </a:lnTo>
                  <a:lnTo>
                    <a:pt x="3620362" y="1658486"/>
                  </a:lnTo>
                  <a:lnTo>
                    <a:pt x="3621782" y="1654786"/>
                  </a:lnTo>
                  <a:lnTo>
                    <a:pt x="3624318" y="1652397"/>
                  </a:lnTo>
                  <a:lnTo>
                    <a:pt x="3625077" y="1650563"/>
                  </a:lnTo>
                  <a:lnTo>
                    <a:pt x="3625190" y="1648718"/>
                  </a:lnTo>
                  <a:lnTo>
                    <a:pt x="3625402" y="1648021"/>
                  </a:lnTo>
                  <a:lnTo>
                    <a:pt x="3629204" y="1645679"/>
                  </a:lnTo>
                  <a:lnTo>
                    <a:pt x="3630120" y="1645540"/>
                  </a:lnTo>
                  <a:lnTo>
                    <a:pt x="3631045" y="1645710"/>
                  </a:lnTo>
                  <a:lnTo>
                    <a:pt x="3631774" y="1645655"/>
                  </a:lnTo>
                  <a:lnTo>
                    <a:pt x="3632097" y="1644844"/>
                  </a:lnTo>
                  <a:lnTo>
                    <a:pt x="3631931" y="1643475"/>
                  </a:lnTo>
                  <a:lnTo>
                    <a:pt x="3630532" y="1638838"/>
                  </a:lnTo>
                  <a:lnTo>
                    <a:pt x="3629701" y="1638575"/>
                  </a:lnTo>
                  <a:lnTo>
                    <a:pt x="3629090" y="1638959"/>
                  </a:lnTo>
                  <a:lnTo>
                    <a:pt x="3628950" y="1639945"/>
                  </a:lnTo>
                  <a:lnTo>
                    <a:pt x="3629565" y="1641570"/>
                  </a:lnTo>
                  <a:lnTo>
                    <a:pt x="3629988" y="1643072"/>
                  </a:lnTo>
                  <a:lnTo>
                    <a:pt x="3629635" y="1644212"/>
                  </a:lnTo>
                  <a:lnTo>
                    <a:pt x="3628807" y="1644820"/>
                  </a:lnTo>
                  <a:lnTo>
                    <a:pt x="3627787" y="1644682"/>
                  </a:lnTo>
                  <a:lnTo>
                    <a:pt x="3628015" y="1644391"/>
                  </a:lnTo>
                  <a:lnTo>
                    <a:pt x="3628495" y="1643426"/>
                  </a:lnTo>
                  <a:lnTo>
                    <a:pt x="3628159" y="1642823"/>
                  </a:lnTo>
                  <a:lnTo>
                    <a:pt x="3623804" y="1646013"/>
                  </a:lnTo>
                  <a:lnTo>
                    <a:pt x="3622575" y="1645473"/>
                  </a:lnTo>
                  <a:lnTo>
                    <a:pt x="3621915" y="1644919"/>
                  </a:lnTo>
                  <a:lnTo>
                    <a:pt x="3621725" y="1645947"/>
                  </a:lnTo>
                  <a:lnTo>
                    <a:pt x="3621777" y="1647361"/>
                  </a:lnTo>
                  <a:lnTo>
                    <a:pt x="3621862" y="1647984"/>
                  </a:lnTo>
                  <a:lnTo>
                    <a:pt x="3621594" y="1649116"/>
                  </a:lnTo>
                  <a:lnTo>
                    <a:pt x="3621175" y="1649767"/>
                  </a:lnTo>
                  <a:lnTo>
                    <a:pt x="3619906" y="1650855"/>
                  </a:lnTo>
                  <a:lnTo>
                    <a:pt x="3618561" y="1653103"/>
                  </a:lnTo>
                  <a:lnTo>
                    <a:pt x="3617957" y="1653652"/>
                  </a:lnTo>
                  <a:lnTo>
                    <a:pt x="3615181" y="1653988"/>
                  </a:lnTo>
                  <a:lnTo>
                    <a:pt x="3614922" y="1654862"/>
                  </a:lnTo>
                  <a:lnTo>
                    <a:pt x="3612940" y="1657811"/>
                  </a:lnTo>
                  <a:lnTo>
                    <a:pt x="3612231" y="1659824"/>
                  </a:lnTo>
                  <a:lnTo>
                    <a:pt x="3613376" y="1661323"/>
                  </a:lnTo>
                  <a:lnTo>
                    <a:pt x="3612776" y="1662689"/>
                  </a:lnTo>
                  <a:lnTo>
                    <a:pt x="3611236" y="1662879"/>
                  </a:lnTo>
                  <a:lnTo>
                    <a:pt x="3609318" y="1662216"/>
                  </a:lnTo>
                  <a:lnTo>
                    <a:pt x="3608221" y="1661577"/>
                  </a:lnTo>
                  <a:lnTo>
                    <a:pt x="3605038" y="1659953"/>
                  </a:lnTo>
                  <a:lnTo>
                    <a:pt x="3603925" y="1659184"/>
                  </a:lnTo>
                  <a:lnTo>
                    <a:pt x="3603096" y="1658012"/>
                  </a:lnTo>
                  <a:lnTo>
                    <a:pt x="3602635" y="1656683"/>
                  </a:lnTo>
                  <a:lnTo>
                    <a:pt x="3601910" y="1655500"/>
                  </a:lnTo>
                  <a:lnTo>
                    <a:pt x="3600262" y="1654732"/>
                  </a:lnTo>
                  <a:lnTo>
                    <a:pt x="3600670" y="1653181"/>
                  </a:lnTo>
                  <a:lnTo>
                    <a:pt x="3601540" y="1651925"/>
                  </a:lnTo>
                  <a:lnTo>
                    <a:pt x="3604714" y="1649336"/>
                  </a:lnTo>
                  <a:lnTo>
                    <a:pt x="3607557" y="1645595"/>
                  </a:lnTo>
                  <a:lnTo>
                    <a:pt x="3606882" y="1644803"/>
                  </a:lnTo>
                  <a:lnTo>
                    <a:pt x="3606578" y="1644506"/>
                  </a:lnTo>
                  <a:lnTo>
                    <a:pt x="3606600" y="1644023"/>
                  </a:lnTo>
                  <a:lnTo>
                    <a:pt x="3606950" y="1642586"/>
                  </a:lnTo>
                  <a:lnTo>
                    <a:pt x="3607124" y="1642387"/>
                  </a:lnTo>
                  <a:lnTo>
                    <a:pt x="3607444" y="1642333"/>
                  </a:lnTo>
                  <a:lnTo>
                    <a:pt x="3607669" y="1642209"/>
                  </a:lnTo>
                  <a:lnTo>
                    <a:pt x="3607556" y="1641781"/>
                  </a:lnTo>
                  <a:lnTo>
                    <a:pt x="3607247" y="1641216"/>
                  </a:lnTo>
                  <a:lnTo>
                    <a:pt x="3607162" y="1640997"/>
                  </a:lnTo>
                  <a:lnTo>
                    <a:pt x="3607268" y="1640622"/>
                  </a:lnTo>
                  <a:lnTo>
                    <a:pt x="3607313" y="1638931"/>
                  </a:lnTo>
                  <a:lnTo>
                    <a:pt x="3607419" y="1638286"/>
                  </a:lnTo>
                  <a:lnTo>
                    <a:pt x="3607780" y="1637754"/>
                  </a:lnTo>
                  <a:lnTo>
                    <a:pt x="3608253" y="1637605"/>
                  </a:lnTo>
                  <a:lnTo>
                    <a:pt x="3609522" y="1637599"/>
                  </a:lnTo>
                  <a:lnTo>
                    <a:pt x="3610039" y="1637364"/>
                  </a:lnTo>
                  <a:lnTo>
                    <a:pt x="3609243" y="1636679"/>
                  </a:lnTo>
                  <a:lnTo>
                    <a:pt x="3607152" y="1635924"/>
                  </a:lnTo>
                  <a:lnTo>
                    <a:pt x="3606848" y="1635520"/>
                  </a:lnTo>
                  <a:lnTo>
                    <a:pt x="3606182" y="1634538"/>
                  </a:lnTo>
                  <a:lnTo>
                    <a:pt x="3605622" y="1633488"/>
                  </a:lnTo>
                  <a:lnTo>
                    <a:pt x="3605626" y="1632867"/>
                  </a:lnTo>
                  <a:lnTo>
                    <a:pt x="3608980" y="1630136"/>
                  </a:lnTo>
                  <a:lnTo>
                    <a:pt x="3609613" y="1629029"/>
                  </a:lnTo>
                  <a:lnTo>
                    <a:pt x="3609213" y="1628308"/>
                  </a:lnTo>
                  <a:lnTo>
                    <a:pt x="3604211" y="1630302"/>
                  </a:lnTo>
                  <a:lnTo>
                    <a:pt x="3603552" y="1631193"/>
                  </a:lnTo>
                  <a:lnTo>
                    <a:pt x="3603436" y="1632574"/>
                  </a:lnTo>
                  <a:lnTo>
                    <a:pt x="3604473" y="1643478"/>
                  </a:lnTo>
                  <a:lnTo>
                    <a:pt x="3604095" y="1645053"/>
                  </a:lnTo>
                  <a:lnTo>
                    <a:pt x="3602815" y="1646057"/>
                  </a:lnTo>
                  <a:lnTo>
                    <a:pt x="3600012" y="1647169"/>
                  </a:lnTo>
                  <a:lnTo>
                    <a:pt x="3597937" y="1648822"/>
                  </a:lnTo>
                  <a:lnTo>
                    <a:pt x="3596754" y="1649325"/>
                  </a:lnTo>
                  <a:lnTo>
                    <a:pt x="3595123" y="1649063"/>
                  </a:lnTo>
                  <a:lnTo>
                    <a:pt x="3594071" y="1648271"/>
                  </a:lnTo>
                  <a:lnTo>
                    <a:pt x="3594101" y="1647297"/>
                  </a:lnTo>
                  <a:lnTo>
                    <a:pt x="3594309" y="1645967"/>
                  </a:lnTo>
                  <a:lnTo>
                    <a:pt x="3593789" y="1644116"/>
                  </a:lnTo>
                  <a:lnTo>
                    <a:pt x="3593169" y="1644158"/>
                  </a:lnTo>
                  <a:lnTo>
                    <a:pt x="3591552" y="1650337"/>
                  </a:lnTo>
                  <a:lnTo>
                    <a:pt x="3591038" y="1651201"/>
                  </a:lnTo>
                  <a:lnTo>
                    <a:pt x="3590114" y="1651011"/>
                  </a:lnTo>
                  <a:lnTo>
                    <a:pt x="3588502" y="1649157"/>
                  </a:lnTo>
                  <a:lnTo>
                    <a:pt x="3588934" y="1648567"/>
                  </a:lnTo>
                  <a:lnTo>
                    <a:pt x="3589251" y="1647643"/>
                  </a:lnTo>
                  <a:lnTo>
                    <a:pt x="3589179" y="1646633"/>
                  </a:lnTo>
                  <a:lnTo>
                    <a:pt x="3588442" y="1645781"/>
                  </a:lnTo>
                  <a:lnTo>
                    <a:pt x="3587629" y="1643821"/>
                  </a:lnTo>
                  <a:lnTo>
                    <a:pt x="3588488" y="1642260"/>
                  </a:lnTo>
                  <a:lnTo>
                    <a:pt x="3590139" y="1641245"/>
                  </a:lnTo>
                  <a:lnTo>
                    <a:pt x="3592451" y="1641137"/>
                  </a:lnTo>
                  <a:lnTo>
                    <a:pt x="3594368" y="1639055"/>
                  </a:lnTo>
                  <a:lnTo>
                    <a:pt x="3594415" y="1638235"/>
                  </a:lnTo>
                  <a:lnTo>
                    <a:pt x="3593102" y="1635420"/>
                  </a:lnTo>
                  <a:lnTo>
                    <a:pt x="3593279" y="1634517"/>
                  </a:lnTo>
                  <a:lnTo>
                    <a:pt x="3594580" y="1633188"/>
                  </a:lnTo>
                  <a:lnTo>
                    <a:pt x="3596231" y="1629420"/>
                  </a:lnTo>
                  <a:lnTo>
                    <a:pt x="3597478" y="1627937"/>
                  </a:lnTo>
                  <a:lnTo>
                    <a:pt x="3600581" y="1626400"/>
                  </a:lnTo>
                  <a:lnTo>
                    <a:pt x="3601835" y="1625304"/>
                  </a:lnTo>
                  <a:lnTo>
                    <a:pt x="3602355" y="1623451"/>
                  </a:lnTo>
                  <a:lnTo>
                    <a:pt x="3600617" y="1623304"/>
                  </a:lnTo>
                  <a:lnTo>
                    <a:pt x="3594343" y="1628206"/>
                  </a:lnTo>
                  <a:lnTo>
                    <a:pt x="3592413" y="1630719"/>
                  </a:lnTo>
                  <a:lnTo>
                    <a:pt x="3591935" y="1632071"/>
                  </a:lnTo>
                  <a:lnTo>
                    <a:pt x="3591475" y="1635759"/>
                  </a:lnTo>
                  <a:lnTo>
                    <a:pt x="3591522" y="1637659"/>
                  </a:lnTo>
                  <a:lnTo>
                    <a:pt x="3590806" y="1638702"/>
                  </a:lnTo>
                  <a:lnTo>
                    <a:pt x="3579040" y="1642255"/>
                  </a:lnTo>
                  <a:lnTo>
                    <a:pt x="3578710" y="1641179"/>
                  </a:lnTo>
                  <a:lnTo>
                    <a:pt x="3577487" y="1634489"/>
                  </a:lnTo>
                  <a:lnTo>
                    <a:pt x="3577303" y="1632591"/>
                  </a:lnTo>
                  <a:lnTo>
                    <a:pt x="3577098" y="1631435"/>
                  </a:lnTo>
                  <a:lnTo>
                    <a:pt x="3576745" y="1630624"/>
                  </a:lnTo>
                  <a:lnTo>
                    <a:pt x="3576076" y="1630315"/>
                  </a:lnTo>
                  <a:lnTo>
                    <a:pt x="3575603" y="1630841"/>
                  </a:lnTo>
                  <a:lnTo>
                    <a:pt x="3575340" y="1631781"/>
                  </a:lnTo>
                  <a:lnTo>
                    <a:pt x="3575352" y="1634271"/>
                  </a:lnTo>
                  <a:lnTo>
                    <a:pt x="3575139" y="1636185"/>
                  </a:lnTo>
                  <a:lnTo>
                    <a:pt x="3574450" y="1637196"/>
                  </a:lnTo>
                  <a:lnTo>
                    <a:pt x="3573075" y="1636017"/>
                  </a:lnTo>
                  <a:lnTo>
                    <a:pt x="3572554" y="1634839"/>
                  </a:lnTo>
                  <a:lnTo>
                    <a:pt x="3572281" y="1633519"/>
                  </a:lnTo>
                  <a:lnTo>
                    <a:pt x="3572030" y="1631464"/>
                  </a:lnTo>
                  <a:lnTo>
                    <a:pt x="3570862" y="1627552"/>
                  </a:lnTo>
                  <a:lnTo>
                    <a:pt x="3570613" y="1626340"/>
                  </a:lnTo>
                  <a:lnTo>
                    <a:pt x="3571187" y="1620173"/>
                  </a:lnTo>
                  <a:lnTo>
                    <a:pt x="3571051" y="1618776"/>
                  </a:lnTo>
                  <a:lnTo>
                    <a:pt x="3570696" y="1617432"/>
                  </a:lnTo>
                  <a:lnTo>
                    <a:pt x="3571000" y="1616367"/>
                  </a:lnTo>
                  <a:lnTo>
                    <a:pt x="3572701" y="1614624"/>
                  </a:lnTo>
                  <a:lnTo>
                    <a:pt x="3573270" y="1613144"/>
                  </a:lnTo>
                  <a:lnTo>
                    <a:pt x="3574664" y="1611625"/>
                  </a:lnTo>
                  <a:lnTo>
                    <a:pt x="3575860" y="1608711"/>
                  </a:lnTo>
                  <a:lnTo>
                    <a:pt x="3576644" y="1607614"/>
                  </a:lnTo>
                  <a:lnTo>
                    <a:pt x="3576405" y="1607745"/>
                  </a:lnTo>
                  <a:lnTo>
                    <a:pt x="3577317" y="1607023"/>
                  </a:lnTo>
                  <a:lnTo>
                    <a:pt x="3578372" y="1604506"/>
                  </a:lnTo>
                  <a:lnTo>
                    <a:pt x="3581343" y="1600746"/>
                  </a:lnTo>
                  <a:lnTo>
                    <a:pt x="3581860" y="1599664"/>
                  </a:lnTo>
                  <a:lnTo>
                    <a:pt x="3583058" y="1599249"/>
                  </a:lnTo>
                  <a:lnTo>
                    <a:pt x="3588690" y="1600047"/>
                  </a:lnTo>
                  <a:lnTo>
                    <a:pt x="3588452" y="1600179"/>
                  </a:lnTo>
                  <a:lnTo>
                    <a:pt x="3589240" y="1599793"/>
                  </a:lnTo>
                  <a:lnTo>
                    <a:pt x="3590130" y="1599755"/>
                  </a:lnTo>
                  <a:lnTo>
                    <a:pt x="3590911" y="1599537"/>
                  </a:lnTo>
                  <a:lnTo>
                    <a:pt x="3591346" y="1598575"/>
                  </a:lnTo>
                  <a:lnTo>
                    <a:pt x="3590452" y="1597889"/>
                  </a:lnTo>
                  <a:lnTo>
                    <a:pt x="3589368" y="1597385"/>
                  </a:lnTo>
                  <a:lnTo>
                    <a:pt x="3588344" y="1597124"/>
                  </a:lnTo>
                  <a:lnTo>
                    <a:pt x="3586820" y="1597186"/>
                  </a:lnTo>
                  <a:lnTo>
                    <a:pt x="3584799" y="1596045"/>
                  </a:lnTo>
                  <a:lnTo>
                    <a:pt x="3583908" y="1595750"/>
                  </a:lnTo>
                  <a:lnTo>
                    <a:pt x="3583582" y="1595159"/>
                  </a:lnTo>
                  <a:lnTo>
                    <a:pt x="3583867" y="1593161"/>
                  </a:lnTo>
                  <a:lnTo>
                    <a:pt x="3583609" y="1590282"/>
                  </a:lnTo>
                  <a:lnTo>
                    <a:pt x="3582921" y="1587062"/>
                  </a:lnTo>
                  <a:lnTo>
                    <a:pt x="3581922" y="1584066"/>
                  </a:lnTo>
                  <a:lnTo>
                    <a:pt x="3580426" y="1580456"/>
                  </a:lnTo>
                  <a:lnTo>
                    <a:pt x="3579194" y="1576965"/>
                  </a:lnTo>
                  <a:lnTo>
                    <a:pt x="3578761" y="1574079"/>
                  </a:lnTo>
                  <a:lnTo>
                    <a:pt x="3580718" y="1570562"/>
                  </a:lnTo>
                  <a:lnTo>
                    <a:pt x="3581447" y="1564841"/>
                  </a:lnTo>
                  <a:lnTo>
                    <a:pt x="3582501" y="1563042"/>
                  </a:lnTo>
                  <a:lnTo>
                    <a:pt x="3583923" y="1561761"/>
                  </a:lnTo>
                  <a:lnTo>
                    <a:pt x="3585087" y="1559748"/>
                  </a:lnTo>
                  <a:lnTo>
                    <a:pt x="3585778" y="1557188"/>
                  </a:lnTo>
                  <a:lnTo>
                    <a:pt x="3585800" y="1554295"/>
                  </a:lnTo>
                  <a:lnTo>
                    <a:pt x="3585009" y="1554273"/>
                  </a:lnTo>
                  <a:lnTo>
                    <a:pt x="3584832" y="1554856"/>
                  </a:lnTo>
                  <a:lnTo>
                    <a:pt x="3584930" y="1555694"/>
                  </a:lnTo>
                  <a:lnTo>
                    <a:pt x="3584953" y="1556420"/>
                  </a:lnTo>
                  <a:lnTo>
                    <a:pt x="3584783" y="1557055"/>
                  </a:lnTo>
                  <a:lnTo>
                    <a:pt x="3584603" y="1557387"/>
                  </a:lnTo>
                  <a:lnTo>
                    <a:pt x="3584288" y="1557657"/>
                  </a:lnTo>
                  <a:lnTo>
                    <a:pt x="3583952" y="1557579"/>
                  </a:lnTo>
                  <a:lnTo>
                    <a:pt x="3583173" y="1556825"/>
                  </a:lnTo>
                  <a:lnTo>
                    <a:pt x="3582893" y="1556716"/>
                  </a:lnTo>
                  <a:lnTo>
                    <a:pt x="3582401" y="1557074"/>
                  </a:lnTo>
                  <a:lnTo>
                    <a:pt x="3582026" y="1557573"/>
                  </a:lnTo>
                  <a:lnTo>
                    <a:pt x="3580785" y="1560967"/>
                  </a:lnTo>
                  <a:lnTo>
                    <a:pt x="3580339" y="1561504"/>
                  </a:lnTo>
                  <a:lnTo>
                    <a:pt x="3579688" y="1561949"/>
                  </a:lnTo>
                  <a:lnTo>
                    <a:pt x="3579182" y="1562653"/>
                  </a:lnTo>
                  <a:lnTo>
                    <a:pt x="3578632" y="1564784"/>
                  </a:lnTo>
                  <a:lnTo>
                    <a:pt x="3575920" y="1568354"/>
                  </a:lnTo>
                  <a:lnTo>
                    <a:pt x="3575253" y="1572112"/>
                  </a:lnTo>
                  <a:lnTo>
                    <a:pt x="3575238" y="1574761"/>
                  </a:lnTo>
                  <a:lnTo>
                    <a:pt x="3575692" y="1577137"/>
                  </a:lnTo>
                  <a:lnTo>
                    <a:pt x="3575928" y="1577006"/>
                  </a:lnTo>
                  <a:lnTo>
                    <a:pt x="3576019" y="1577764"/>
                  </a:lnTo>
                  <a:lnTo>
                    <a:pt x="3575886" y="1578216"/>
                  </a:lnTo>
                  <a:lnTo>
                    <a:pt x="3575715" y="1578556"/>
                  </a:lnTo>
                  <a:lnTo>
                    <a:pt x="3575672" y="1578948"/>
                  </a:lnTo>
                  <a:lnTo>
                    <a:pt x="3575754" y="1579261"/>
                  </a:lnTo>
                  <a:lnTo>
                    <a:pt x="3576026" y="1580061"/>
                  </a:lnTo>
                  <a:lnTo>
                    <a:pt x="3576727" y="1582771"/>
                  </a:lnTo>
                  <a:lnTo>
                    <a:pt x="3577246" y="1584140"/>
                  </a:lnTo>
                  <a:lnTo>
                    <a:pt x="3577817" y="1585010"/>
                  </a:lnTo>
                  <a:lnTo>
                    <a:pt x="3579241" y="1586952"/>
                  </a:lnTo>
                  <a:lnTo>
                    <a:pt x="3579100" y="1588604"/>
                  </a:lnTo>
                  <a:lnTo>
                    <a:pt x="3577661" y="1590635"/>
                  </a:lnTo>
                  <a:lnTo>
                    <a:pt x="3577468" y="1592907"/>
                  </a:lnTo>
                  <a:lnTo>
                    <a:pt x="3577238" y="1593596"/>
                  </a:lnTo>
                  <a:lnTo>
                    <a:pt x="3574910" y="1594590"/>
                  </a:lnTo>
                  <a:lnTo>
                    <a:pt x="3574602" y="1595386"/>
                  </a:lnTo>
                  <a:lnTo>
                    <a:pt x="3574391" y="1597063"/>
                  </a:lnTo>
                  <a:lnTo>
                    <a:pt x="3570579" y="1603212"/>
                  </a:lnTo>
                  <a:lnTo>
                    <a:pt x="3569441" y="1604310"/>
                  </a:lnTo>
                  <a:lnTo>
                    <a:pt x="3568428" y="1603854"/>
                  </a:lnTo>
                  <a:lnTo>
                    <a:pt x="3567950" y="1603396"/>
                  </a:lnTo>
                  <a:lnTo>
                    <a:pt x="3567379" y="1603340"/>
                  </a:lnTo>
                  <a:lnTo>
                    <a:pt x="3566447" y="1603694"/>
                  </a:lnTo>
                  <a:lnTo>
                    <a:pt x="3566645" y="1604182"/>
                  </a:lnTo>
                  <a:lnTo>
                    <a:pt x="3567444" y="1606573"/>
                  </a:lnTo>
                  <a:lnTo>
                    <a:pt x="3567625" y="1607406"/>
                  </a:lnTo>
                  <a:lnTo>
                    <a:pt x="3567435" y="1608048"/>
                  </a:lnTo>
                  <a:lnTo>
                    <a:pt x="3566222" y="1609866"/>
                  </a:lnTo>
                  <a:lnTo>
                    <a:pt x="3565889" y="1611115"/>
                  </a:lnTo>
                  <a:lnTo>
                    <a:pt x="3565587" y="1611686"/>
                  </a:lnTo>
                  <a:lnTo>
                    <a:pt x="3552255" y="1620269"/>
                  </a:lnTo>
                  <a:lnTo>
                    <a:pt x="3550185" y="1623181"/>
                  </a:lnTo>
                  <a:lnTo>
                    <a:pt x="3548907" y="1624277"/>
                  </a:lnTo>
                  <a:lnTo>
                    <a:pt x="3547392" y="1625001"/>
                  </a:lnTo>
                  <a:lnTo>
                    <a:pt x="3546083" y="1624955"/>
                  </a:lnTo>
                  <a:lnTo>
                    <a:pt x="3544634" y="1623594"/>
                  </a:lnTo>
                  <a:lnTo>
                    <a:pt x="3542675" y="1620325"/>
                  </a:lnTo>
                  <a:lnTo>
                    <a:pt x="3541943" y="1619388"/>
                  </a:lnTo>
                  <a:lnTo>
                    <a:pt x="3541097" y="1618652"/>
                  </a:lnTo>
                  <a:lnTo>
                    <a:pt x="3540358" y="1617844"/>
                  </a:lnTo>
                  <a:lnTo>
                    <a:pt x="3539919" y="1616649"/>
                  </a:lnTo>
                  <a:lnTo>
                    <a:pt x="3540088" y="1615736"/>
                  </a:lnTo>
                  <a:lnTo>
                    <a:pt x="3540456" y="1614812"/>
                  </a:lnTo>
                  <a:lnTo>
                    <a:pt x="3540435" y="1613700"/>
                  </a:lnTo>
                  <a:lnTo>
                    <a:pt x="3539433" y="1612237"/>
                  </a:lnTo>
                  <a:lnTo>
                    <a:pt x="3539844" y="1611219"/>
                  </a:lnTo>
                  <a:lnTo>
                    <a:pt x="3541354" y="1610042"/>
                  </a:lnTo>
                  <a:lnTo>
                    <a:pt x="3541925" y="1609211"/>
                  </a:lnTo>
                  <a:lnTo>
                    <a:pt x="3545072" y="1599497"/>
                  </a:lnTo>
                  <a:lnTo>
                    <a:pt x="3546139" y="1598382"/>
                  </a:lnTo>
                  <a:lnTo>
                    <a:pt x="3545613" y="1596533"/>
                  </a:lnTo>
                  <a:lnTo>
                    <a:pt x="3545401" y="1595185"/>
                  </a:lnTo>
                  <a:lnTo>
                    <a:pt x="3545932" y="1593672"/>
                  </a:lnTo>
                  <a:lnTo>
                    <a:pt x="3545963" y="1590751"/>
                  </a:lnTo>
                  <a:lnTo>
                    <a:pt x="3545837" y="1589559"/>
                  </a:lnTo>
                  <a:lnTo>
                    <a:pt x="3545539" y="1588450"/>
                  </a:lnTo>
                  <a:lnTo>
                    <a:pt x="3544705" y="1586217"/>
                  </a:lnTo>
                  <a:lnTo>
                    <a:pt x="3544459" y="1585150"/>
                  </a:lnTo>
                  <a:lnTo>
                    <a:pt x="3544428" y="1583695"/>
                  </a:lnTo>
                  <a:lnTo>
                    <a:pt x="3545098" y="1580964"/>
                  </a:lnTo>
                  <a:lnTo>
                    <a:pt x="3544216" y="1580856"/>
                  </a:lnTo>
                  <a:lnTo>
                    <a:pt x="3543125" y="1582009"/>
                  </a:lnTo>
                  <a:lnTo>
                    <a:pt x="3542128" y="1581712"/>
                  </a:lnTo>
                  <a:lnTo>
                    <a:pt x="3543229" y="1579077"/>
                  </a:lnTo>
                  <a:lnTo>
                    <a:pt x="3543231" y="1577450"/>
                  </a:lnTo>
                  <a:lnTo>
                    <a:pt x="3541980" y="1575828"/>
                  </a:lnTo>
                  <a:lnTo>
                    <a:pt x="3541654" y="1575226"/>
                  </a:lnTo>
                  <a:lnTo>
                    <a:pt x="3541652" y="1574678"/>
                  </a:lnTo>
                  <a:lnTo>
                    <a:pt x="3541459" y="1574371"/>
                  </a:lnTo>
                  <a:lnTo>
                    <a:pt x="3540911" y="1573854"/>
                  </a:lnTo>
                  <a:lnTo>
                    <a:pt x="3540555" y="1574524"/>
                  </a:lnTo>
                  <a:lnTo>
                    <a:pt x="3540644" y="1575909"/>
                  </a:lnTo>
                  <a:lnTo>
                    <a:pt x="3541054" y="1577562"/>
                  </a:lnTo>
                  <a:lnTo>
                    <a:pt x="3541660" y="1579029"/>
                  </a:lnTo>
                  <a:lnTo>
                    <a:pt x="3541741" y="1579432"/>
                  </a:lnTo>
                  <a:lnTo>
                    <a:pt x="3541651" y="1579867"/>
                  </a:lnTo>
                  <a:lnTo>
                    <a:pt x="3541475" y="1580257"/>
                  </a:lnTo>
                  <a:lnTo>
                    <a:pt x="3541029" y="1580852"/>
                  </a:lnTo>
                  <a:lnTo>
                    <a:pt x="3541136" y="1581419"/>
                  </a:lnTo>
                  <a:lnTo>
                    <a:pt x="3543065" y="1586384"/>
                  </a:lnTo>
                  <a:lnTo>
                    <a:pt x="3543357" y="1587521"/>
                  </a:lnTo>
                  <a:lnTo>
                    <a:pt x="3543540" y="1589205"/>
                  </a:lnTo>
                  <a:lnTo>
                    <a:pt x="3543525" y="1597465"/>
                  </a:lnTo>
                  <a:lnTo>
                    <a:pt x="3543368" y="1598244"/>
                  </a:lnTo>
                  <a:lnTo>
                    <a:pt x="3541924" y="1599482"/>
                  </a:lnTo>
                  <a:lnTo>
                    <a:pt x="3540739" y="1601271"/>
                  </a:lnTo>
                  <a:lnTo>
                    <a:pt x="3539904" y="1604564"/>
                  </a:lnTo>
                  <a:lnTo>
                    <a:pt x="3539825" y="1605618"/>
                  </a:lnTo>
                  <a:lnTo>
                    <a:pt x="3539591" y="1606635"/>
                  </a:lnTo>
                  <a:lnTo>
                    <a:pt x="3538202" y="1608649"/>
                  </a:lnTo>
                  <a:lnTo>
                    <a:pt x="3537578" y="1609830"/>
                  </a:lnTo>
                  <a:lnTo>
                    <a:pt x="3536779" y="1610603"/>
                  </a:lnTo>
                  <a:lnTo>
                    <a:pt x="3534586" y="1611414"/>
                  </a:lnTo>
                  <a:lnTo>
                    <a:pt x="3528128" y="1611938"/>
                  </a:lnTo>
                  <a:lnTo>
                    <a:pt x="3527752" y="1611499"/>
                  </a:lnTo>
                  <a:lnTo>
                    <a:pt x="3527400" y="1610882"/>
                  </a:lnTo>
                  <a:lnTo>
                    <a:pt x="3526901" y="1610371"/>
                  </a:lnTo>
                  <a:lnTo>
                    <a:pt x="3524601" y="1609655"/>
                  </a:lnTo>
                  <a:lnTo>
                    <a:pt x="3523945" y="1609303"/>
                  </a:lnTo>
                  <a:lnTo>
                    <a:pt x="3523912" y="1609153"/>
                  </a:lnTo>
                  <a:lnTo>
                    <a:pt x="3523562" y="1608610"/>
                  </a:lnTo>
                  <a:lnTo>
                    <a:pt x="3522999" y="1607876"/>
                  </a:lnTo>
                  <a:lnTo>
                    <a:pt x="3522356" y="1607214"/>
                  </a:lnTo>
                  <a:lnTo>
                    <a:pt x="3519646" y="1606105"/>
                  </a:lnTo>
                  <a:lnTo>
                    <a:pt x="3519410" y="1605815"/>
                  </a:lnTo>
                  <a:lnTo>
                    <a:pt x="3519460" y="1605733"/>
                  </a:lnTo>
                  <a:lnTo>
                    <a:pt x="3519545" y="1605775"/>
                  </a:lnTo>
                  <a:lnTo>
                    <a:pt x="3519670" y="1606002"/>
                  </a:lnTo>
                  <a:lnTo>
                    <a:pt x="3519953" y="1606161"/>
                  </a:lnTo>
                  <a:lnTo>
                    <a:pt x="3519685" y="1605177"/>
                  </a:lnTo>
                  <a:lnTo>
                    <a:pt x="3519626" y="1603602"/>
                  </a:lnTo>
                  <a:lnTo>
                    <a:pt x="3520017" y="1602579"/>
                  </a:lnTo>
                  <a:lnTo>
                    <a:pt x="3521092" y="1603181"/>
                  </a:lnTo>
                  <a:lnTo>
                    <a:pt x="3521331" y="1603056"/>
                  </a:lnTo>
                  <a:lnTo>
                    <a:pt x="3520748" y="1600378"/>
                  </a:lnTo>
                  <a:lnTo>
                    <a:pt x="3520434" y="1597517"/>
                  </a:lnTo>
                  <a:lnTo>
                    <a:pt x="3518967" y="1602812"/>
                  </a:lnTo>
                  <a:lnTo>
                    <a:pt x="3517793" y="1604759"/>
                  </a:lnTo>
                  <a:lnTo>
                    <a:pt x="3515504" y="1603489"/>
                  </a:lnTo>
                  <a:lnTo>
                    <a:pt x="3515059" y="1602365"/>
                  </a:lnTo>
                  <a:lnTo>
                    <a:pt x="3514684" y="1603070"/>
                  </a:lnTo>
                  <a:lnTo>
                    <a:pt x="3514010" y="1605192"/>
                  </a:lnTo>
                  <a:lnTo>
                    <a:pt x="3512849" y="1604860"/>
                  </a:lnTo>
                  <a:lnTo>
                    <a:pt x="3511447" y="1604038"/>
                  </a:lnTo>
                  <a:lnTo>
                    <a:pt x="3510361" y="1603873"/>
                  </a:lnTo>
                  <a:lnTo>
                    <a:pt x="3510150" y="1605509"/>
                  </a:lnTo>
                  <a:lnTo>
                    <a:pt x="3511736" y="1606004"/>
                  </a:lnTo>
                  <a:lnTo>
                    <a:pt x="3513669" y="1606943"/>
                  </a:lnTo>
                  <a:lnTo>
                    <a:pt x="3515154" y="1608392"/>
                  </a:lnTo>
                  <a:lnTo>
                    <a:pt x="3515387" y="1610393"/>
                  </a:lnTo>
                  <a:lnTo>
                    <a:pt x="3514252" y="1611678"/>
                  </a:lnTo>
                  <a:lnTo>
                    <a:pt x="3512121" y="1612358"/>
                  </a:lnTo>
                  <a:lnTo>
                    <a:pt x="3509688" y="1611898"/>
                  </a:lnTo>
                  <a:lnTo>
                    <a:pt x="3507619" y="1609743"/>
                  </a:lnTo>
                  <a:lnTo>
                    <a:pt x="3506208" y="1607661"/>
                  </a:lnTo>
                  <a:lnTo>
                    <a:pt x="3505448" y="1606186"/>
                  </a:lnTo>
                  <a:lnTo>
                    <a:pt x="3505489" y="1605319"/>
                  </a:lnTo>
                  <a:lnTo>
                    <a:pt x="3508081" y="1605455"/>
                  </a:lnTo>
                  <a:lnTo>
                    <a:pt x="3508294" y="1605173"/>
                  </a:lnTo>
                  <a:lnTo>
                    <a:pt x="3507699" y="1604203"/>
                  </a:lnTo>
                  <a:lnTo>
                    <a:pt x="3506872" y="1603086"/>
                  </a:lnTo>
                  <a:lnTo>
                    <a:pt x="3506041" y="1602203"/>
                  </a:lnTo>
                  <a:lnTo>
                    <a:pt x="3505448" y="1601957"/>
                  </a:lnTo>
                  <a:lnTo>
                    <a:pt x="3504732" y="1601886"/>
                  </a:lnTo>
                  <a:lnTo>
                    <a:pt x="3504690" y="1600891"/>
                  </a:lnTo>
                  <a:lnTo>
                    <a:pt x="3505227" y="1598698"/>
                  </a:lnTo>
                  <a:lnTo>
                    <a:pt x="3504911" y="1598091"/>
                  </a:lnTo>
                  <a:lnTo>
                    <a:pt x="3502437" y="1599843"/>
                  </a:lnTo>
                  <a:lnTo>
                    <a:pt x="3500993" y="1599911"/>
                  </a:lnTo>
                  <a:lnTo>
                    <a:pt x="3499890" y="1598081"/>
                  </a:lnTo>
                  <a:lnTo>
                    <a:pt x="3500099" y="1596720"/>
                  </a:lnTo>
                  <a:lnTo>
                    <a:pt x="3503349" y="1592525"/>
                  </a:lnTo>
                  <a:lnTo>
                    <a:pt x="3503281" y="1591850"/>
                  </a:lnTo>
                  <a:lnTo>
                    <a:pt x="3502761" y="1591289"/>
                  </a:lnTo>
                  <a:lnTo>
                    <a:pt x="3501962" y="1591095"/>
                  </a:lnTo>
                  <a:lnTo>
                    <a:pt x="3501350" y="1591463"/>
                  </a:lnTo>
                  <a:lnTo>
                    <a:pt x="3500813" y="1593042"/>
                  </a:lnTo>
                  <a:lnTo>
                    <a:pt x="3500422" y="1593587"/>
                  </a:lnTo>
                  <a:lnTo>
                    <a:pt x="3499834" y="1594033"/>
                  </a:lnTo>
                  <a:lnTo>
                    <a:pt x="3498921" y="1595432"/>
                  </a:lnTo>
                  <a:lnTo>
                    <a:pt x="3498395" y="1596932"/>
                  </a:lnTo>
                  <a:lnTo>
                    <a:pt x="3498023" y="1599046"/>
                  </a:lnTo>
                  <a:lnTo>
                    <a:pt x="3498310" y="1598898"/>
                  </a:lnTo>
                  <a:lnTo>
                    <a:pt x="3495402" y="1600579"/>
                  </a:lnTo>
                  <a:lnTo>
                    <a:pt x="3493742" y="1600981"/>
                  </a:lnTo>
                  <a:lnTo>
                    <a:pt x="3491800" y="1600561"/>
                  </a:lnTo>
                  <a:lnTo>
                    <a:pt x="3492930" y="1599418"/>
                  </a:lnTo>
                  <a:lnTo>
                    <a:pt x="3493092" y="1597625"/>
                  </a:lnTo>
                  <a:lnTo>
                    <a:pt x="3492522" y="1595034"/>
                  </a:lnTo>
                  <a:lnTo>
                    <a:pt x="3491437" y="1591475"/>
                  </a:lnTo>
                  <a:lnTo>
                    <a:pt x="3490479" y="1592184"/>
                  </a:lnTo>
                  <a:lnTo>
                    <a:pt x="3490654" y="1593281"/>
                  </a:lnTo>
                  <a:lnTo>
                    <a:pt x="3490974" y="1594458"/>
                  </a:lnTo>
                  <a:lnTo>
                    <a:pt x="3490438" y="1595367"/>
                  </a:lnTo>
                  <a:lnTo>
                    <a:pt x="3489520" y="1595538"/>
                  </a:lnTo>
                  <a:lnTo>
                    <a:pt x="3488187" y="1595383"/>
                  </a:lnTo>
                  <a:lnTo>
                    <a:pt x="3486761" y="1594783"/>
                  </a:lnTo>
                  <a:lnTo>
                    <a:pt x="3485573" y="1593645"/>
                  </a:lnTo>
                  <a:lnTo>
                    <a:pt x="3486227" y="1592435"/>
                  </a:lnTo>
                  <a:lnTo>
                    <a:pt x="3485116" y="1590022"/>
                  </a:lnTo>
                  <a:lnTo>
                    <a:pt x="3483214" y="1587596"/>
                  </a:lnTo>
                  <a:lnTo>
                    <a:pt x="3481506" y="1586384"/>
                  </a:lnTo>
                  <a:lnTo>
                    <a:pt x="3481808" y="1586971"/>
                  </a:lnTo>
                  <a:lnTo>
                    <a:pt x="3481524" y="1587318"/>
                  </a:lnTo>
                  <a:lnTo>
                    <a:pt x="3480907" y="1587373"/>
                  </a:lnTo>
                  <a:lnTo>
                    <a:pt x="3480197" y="1587054"/>
                  </a:lnTo>
                  <a:lnTo>
                    <a:pt x="3483143" y="1581845"/>
                  </a:lnTo>
                  <a:lnTo>
                    <a:pt x="3482992" y="1579641"/>
                  </a:lnTo>
                  <a:lnTo>
                    <a:pt x="3481083" y="1579613"/>
                  </a:lnTo>
                  <a:lnTo>
                    <a:pt x="3478303" y="1582154"/>
                  </a:lnTo>
                  <a:lnTo>
                    <a:pt x="3476373" y="1582192"/>
                  </a:lnTo>
                  <a:lnTo>
                    <a:pt x="3471685" y="1580537"/>
                  </a:lnTo>
                  <a:lnTo>
                    <a:pt x="3469470" y="1580336"/>
                  </a:lnTo>
                  <a:lnTo>
                    <a:pt x="3467418" y="1580868"/>
                  </a:lnTo>
                  <a:lnTo>
                    <a:pt x="3467792" y="1581600"/>
                  </a:lnTo>
                  <a:lnTo>
                    <a:pt x="3478015" y="1584801"/>
                  </a:lnTo>
                  <a:lnTo>
                    <a:pt x="3477477" y="1586973"/>
                  </a:lnTo>
                  <a:lnTo>
                    <a:pt x="3476459" y="1589193"/>
                  </a:lnTo>
                  <a:lnTo>
                    <a:pt x="3475101" y="1590627"/>
                  </a:lnTo>
                  <a:lnTo>
                    <a:pt x="3473564" y="1590437"/>
                  </a:lnTo>
                  <a:lnTo>
                    <a:pt x="3473815" y="1591201"/>
                  </a:lnTo>
                  <a:lnTo>
                    <a:pt x="3473915" y="1591711"/>
                  </a:lnTo>
                  <a:lnTo>
                    <a:pt x="3473972" y="1592159"/>
                  </a:lnTo>
                  <a:lnTo>
                    <a:pt x="3474088" y="1592697"/>
                  </a:lnTo>
                  <a:lnTo>
                    <a:pt x="3472518" y="1592020"/>
                  </a:lnTo>
                  <a:lnTo>
                    <a:pt x="3471053" y="1592197"/>
                  </a:lnTo>
                  <a:lnTo>
                    <a:pt x="3469911" y="1593030"/>
                  </a:lnTo>
                  <a:lnTo>
                    <a:pt x="3469305" y="1594349"/>
                  </a:lnTo>
                  <a:lnTo>
                    <a:pt x="3469617" y="1594962"/>
                  </a:lnTo>
                  <a:lnTo>
                    <a:pt x="3472589" y="1593928"/>
                  </a:lnTo>
                  <a:lnTo>
                    <a:pt x="3473310" y="1594355"/>
                  </a:lnTo>
                  <a:lnTo>
                    <a:pt x="3473638" y="1596413"/>
                  </a:lnTo>
                  <a:lnTo>
                    <a:pt x="3472665" y="1597727"/>
                  </a:lnTo>
                  <a:lnTo>
                    <a:pt x="3471167" y="1598304"/>
                  </a:lnTo>
                  <a:lnTo>
                    <a:pt x="3469921" y="1598163"/>
                  </a:lnTo>
                  <a:lnTo>
                    <a:pt x="3468889" y="1596898"/>
                  </a:lnTo>
                  <a:lnTo>
                    <a:pt x="3468305" y="1595265"/>
                  </a:lnTo>
                  <a:lnTo>
                    <a:pt x="3467638" y="1594070"/>
                  </a:lnTo>
                  <a:lnTo>
                    <a:pt x="3463554" y="1594317"/>
                  </a:lnTo>
                  <a:lnTo>
                    <a:pt x="3461858" y="1593840"/>
                  </a:lnTo>
                  <a:lnTo>
                    <a:pt x="3460285" y="1592945"/>
                  </a:lnTo>
                  <a:lnTo>
                    <a:pt x="3459665" y="1591217"/>
                  </a:lnTo>
                  <a:lnTo>
                    <a:pt x="3458606" y="1591213"/>
                  </a:lnTo>
                  <a:lnTo>
                    <a:pt x="3456688" y="1592994"/>
                  </a:lnTo>
                  <a:lnTo>
                    <a:pt x="3456429" y="1594783"/>
                  </a:lnTo>
                  <a:lnTo>
                    <a:pt x="3456075" y="1595444"/>
                  </a:lnTo>
                  <a:lnTo>
                    <a:pt x="3455226" y="1595025"/>
                  </a:lnTo>
                  <a:lnTo>
                    <a:pt x="3451584" y="1592308"/>
                  </a:lnTo>
                  <a:lnTo>
                    <a:pt x="3451048" y="1592036"/>
                  </a:lnTo>
                  <a:lnTo>
                    <a:pt x="3450521" y="1591985"/>
                  </a:lnTo>
                  <a:lnTo>
                    <a:pt x="3449869" y="1592215"/>
                  </a:lnTo>
                  <a:lnTo>
                    <a:pt x="3449576" y="1592789"/>
                  </a:lnTo>
                  <a:lnTo>
                    <a:pt x="3450225" y="1593465"/>
                  </a:lnTo>
                  <a:lnTo>
                    <a:pt x="3451857" y="1594569"/>
                  </a:lnTo>
                  <a:lnTo>
                    <a:pt x="3453205" y="1596633"/>
                  </a:lnTo>
                  <a:lnTo>
                    <a:pt x="3452757" y="1597515"/>
                  </a:lnTo>
                  <a:lnTo>
                    <a:pt x="3451364" y="1597584"/>
                  </a:lnTo>
                  <a:lnTo>
                    <a:pt x="3450182" y="1597079"/>
                  </a:lnTo>
                  <a:lnTo>
                    <a:pt x="3449404" y="1596677"/>
                  </a:lnTo>
                  <a:lnTo>
                    <a:pt x="3448585" y="1596481"/>
                  </a:lnTo>
                  <a:lnTo>
                    <a:pt x="3447801" y="1596545"/>
                  </a:lnTo>
                  <a:lnTo>
                    <a:pt x="3447118" y="1596924"/>
                  </a:lnTo>
                  <a:lnTo>
                    <a:pt x="3447465" y="1597321"/>
                  </a:lnTo>
                  <a:lnTo>
                    <a:pt x="3448183" y="1598266"/>
                  </a:lnTo>
                  <a:lnTo>
                    <a:pt x="3448657" y="1598749"/>
                  </a:lnTo>
                  <a:lnTo>
                    <a:pt x="3446092" y="1599208"/>
                  </a:lnTo>
                  <a:lnTo>
                    <a:pt x="3445029" y="1599863"/>
                  </a:lnTo>
                  <a:lnTo>
                    <a:pt x="3444772" y="1601510"/>
                  </a:lnTo>
                  <a:lnTo>
                    <a:pt x="3446955" y="1601687"/>
                  </a:lnTo>
                  <a:lnTo>
                    <a:pt x="3459978" y="1596493"/>
                  </a:lnTo>
                  <a:lnTo>
                    <a:pt x="3460945" y="1596808"/>
                  </a:lnTo>
                  <a:lnTo>
                    <a:pt x="3463678" y="1596671"/>
                  </a:lnTo>
                  <a:lnTo>
                    <a:pt x="3464679" y="1596962"/>
                  </a:lnTo>
                  <a:lnTo>
                    <a:pt x="3465759" y="1597785"/>
                  </a:lnTo>
                  <a:lnTo>
                    <a:pt x="3466821" y="1599351"/>
                  </a:lnTo>
                  <a:lnTo>
                    <a:pt x="3468439" y="1601143"/>
                  </a:lnTo>
                  <a:lnTo>
                    <a:pt x="3472482" y="1601856"/>
                  </a:lnTo>
                  <a:lnTo>
                    <a:pt x="3474485" y="1602586"/>
                  </a:lnTo>
                  <a:lnTo>
                    <a:pt x="3474229" y="1603636"/>
                  </a:lnTo>
                  <a:lnTo>
                    <a:pt x="3474568" y="1604482"/>
                  </a:lnTo>
                  <a:lnTo>
                    <a:pt x="3475947" y="1606123"/>
                  </a:lnTo>
                  <a:lnTo>
                    <a:pt x="3476780" y="1607389"/>
                  </a:lnTo>
                  <a:lnTo>
                    <a:pt x="3477409" y="1608698"/>
                  </a:lnTo>
                  <a:lnTo>
                    <a:pt x="3477556" y="1609866"/>
                  </a:lnTo>
                  <a:lnTo>
                    <a:pt x="3476913" y="1610672"/>
                  </a:lnTo>
                  <a:lnTo>
                    <a:pt x="3475746" y="1610470"/>
                  </a:lnTo>
                  <a:lnTo>
                    <a:pt x="3473061" y="1608366"/>
                  </a:lnTo>
                  <a:lnTo>
                    <a:pt x="3471972" y="1608129"/>
                  </a:lnTo>
                  <a:lnTo>
                    <a:pt x="3467388" y="1609593"/>
                  </a:lnTo>
                  <a:lnTo>
                    <a:pt x="3467050" y="1608923"/>
                  </a:lnTo>
                  <a:lnTo>
                    <a:pt x="3467438" y="1608728"/>
                  </a:lnTo>
                  <a:lnTo>
                    <a:pt x="3467593" y="1608460"/>
                  </a:lnTo>
                  <a:lnTo>
                    <a:pt x="3467746" y="1607734"/>
                  </a:lnTo>
                  <a:lnTo>
                    <a:pt x="3466791" y="1607362"/>
                  </a:lnTo>
                  <a:lnTo>
                    <a:pt x="3465949" y="1607575"/>
                  </a:lnTo>
                  <a:lnTo>
                    <a:pt x="3464502" y="1608525"/>
                  </a:lnTo>
                  <a:lnTo>
                    <a:pt x="3466137" y="1610194"/>
                  </a:lnTo>
                  <a:lnTo>
                    <a:pt x="3468332" y="1611339"/>
                  </a:lnTo>
                  <a:lnTo>
                    <a:pt x="3470420" y="1611856"/>
                  </a:lnTo>
                  <a:lnTo>
                    <a:pt x="3471488" y="1611799"/>
                  </a:lnTo>
                  <a:lnTo>
                    <a:pt x="3472573" y="1612239"/>
                  </a:lnTo>
                  <a:lnTo>
                    <a:pt x="3475240" y="1612237"/>
                  </a:lnTo>
                  <a:lnTo>
                    <a:pt x="3476213" y="1611941"/>
                  </a:lnTo>
                  <a:lnTo>
                    <a:pt x="3477124" y="1612097"/>
                  </a:lnTo>
                  <a:lnTo>
                    <a:pt x="3480100" y="1613677"/>
                  </a:lnTo>
                  <a:lnTo>
                    <a:pt x="3481155" y="1614405"/>
                  </a:lnTo>
                  <a:lnTo>
                    <a:pt x="3481195" y="1616108"/>
                  </a:lnTo>
                  <a:lnTo>
                    <a:pt x="3480092" y="1616801"/>
                  </a:lnTo>
                  <a:lnTo>
                    <a:pt x="3477522" y="1617161"/>
                  </a:lnTo>
                  <a:lnTo>
                    <a:pt x="3476823" y="1618384"/>
                  </a:lnTo>
                  <a:lnTo>
                    <a:pt x="3476659" y="1620107"/>
                  </a:lnTo>
                  <a:lnTo>
                    <a:pt x="3476173" y="1621352"/>
                  </a:lnTo>
                  <a:lnTo>
                    <a:pt x="3474495" y="1621124"/>
                  </a:lnTo>
                  <a:lnTo>
                    <a:pt x="3472006" y="1619368"/>
                  </a:lnTo>
                  <a:lnTo>
                    <a:pt x="3471233" y="1619311"/>
                  </a:lnTo>
                  <a:lnTo>
                    <a:pt x="3471876" y="1621217"/>
                  </a:lnTo>
                  <a:lnTo>
                    <a:pt x="3471668" y="1621682"/>
                  </a:lnTo>
                  <a:lnTo>
                    <a:pt x="3470430" y="1621192"/>
                  </a:lnTo>
                  <a:lnTo>
                    <a:pt x="3468934" y="1620251"/>
                  </a:lnTo>
                  <a:lnTo>
                    <a:pt x="3467958" y="1619370"/>
                  </a:lnTo>
                  <a:lnTo>
                    <a:pt x="3468039" y="1618956"/>
                  </a:lnTo>
                  <a:lnTo>
                    <a:pt x="3467989" y="1618561"/>
                  </a:lnTo>
                  <a:lnTo>
                    <a:pt x="3467893" y="1618164"/>
                  </a:lnTo>
                  <a:lnTo>
                    <a:pt x="3467840" y="1617751"/>
                  </a:lnTo>
                  <a:lnTo>
                    <a:pt x="3465671" y="1617770"/>
                  </a:lnTo>
                  <a:lnTo>
                    <a:pt x="3465047" y="1617543"/>
                  </a:lnTo>
                  <a:lnTo>
                    <a:pt x="3464432" y="1616741"/>
                  </a:lnTo>
                  <a:lnTo>
                    <a:pt x="3463969" y="1615699"/>
                  </a:lnTo>
                  <a:lnTo>
                    <a:pt x="3463415" y="1614822"/>
                  </a:lnTo>
                  <a:lnTo>
                    <a:pt x="3462519" y="1614545"/>
                  </a:lnTo>
                  <a:lnTo>
                    <a:pt x="3462220" y="1615383"/>
                  </a:lnTo>
                  <a:lnTo>
                    <a:pt x="3461060" y="1614852"/>
                  </a:lnTo>
                  <a:lnTo>
                    <a:pt x="3458792" y="1613046"/>
                  </a:lnTo>
                  <a:lnTo>
                    <a:pt x="3458862" y="1613850"/>
                  </a:lnTo>
                  <a:lnTo>
                    <a:pt x="3458049" y="1613445"/>
                  </a:lnTo>
                  <a:lnTo>
                    <a:pt x="3456245" y="1613263"/>
                  </a:lnTo>
                  <a:lnTo>
                    <a:pt x="3455473" y="1613023"/>
                  </a:lnTo>
                  <a:lnTo>
                    <a:pt x="3455344" y="1611800"/>
                  </a:lnTo>
                  <a:lnTo>
                    <a:pt x="3455334" y="1611416"/>
                  </a:lnTo>
                  <a:lnTo>
                    <a:pt x="3454449" y="1611940"/>
                  </a:lnTo>
                  <a:lnTo>
                    <a:pt x="3452947" y="1613581"/>
                  </a:lnTo>
                  <a:lnTo>
                    <a:pt x="3448105" y="1613510"/>
                  </a:lnTo>
                  <a:lnTo>
                    <a:pt x="3446862" y="1613091"/>
                  </a:lnTo>
                  <a:lnTo>
                    <a:pt x="3445739" y="1611886"/>
                  </a:lnTo>
                  <a:lnTo>
                    <a:pt x="3443596" y="1608768"/>
                  </a:lnTo>
                  <a:lnTo>
                    <a:pt x="3442719" y="1608374"/>
                  </a:lnTo>
                  <a:lnTo>
                    <a:pt x="3442709" y="1608896"/>
                  </a:lnTo>
                  <a:lnTo>
                    <a:pt x="3442982" y="1609917"/>
                  </a:lnTo>
                  <a:lnTo>
                    <a:pt x="3443157" y="1610975"/>
                  </a:lnTo>
                  <a:lnTo>
                    <a:pt x="3442866" y="1611636"/>
                  </a:lnTo>
                  <a:lnTo>
                    <a:pt x="3442162" y="1611564"/>
                  </a:lnTo>
                  <a:lnTo>
                    <a:pt x="3440554" y="1610248"/>
                  </a:lnTo>
                  <a:lnTo>
                    <a:pt x="3439676" y="1609867"/>
                  </a:lnTo>
                  <a:lnTo>
                    <a:pt x="3438306" y="1611652"/>
                  </a:lnTo>
                  <a:lnTo>
                    <a:pt x="3438219" y="1612252"/>
                  </a:lnTo>
                  <a:lnTo>
                    <a:pt x="3438939" y="1612904"/>
                  </a:lnTo>
                  <a:lnTo>
                    <a:pt x="3439555" y="1612553"/>
                  </a:lnTo>
                  <a:lnTo>
                    <a:pt x="3440259" y="1612422"/>
                  </a:lnTo>
                  <a:lnTo>
                    <a:pt x="3441247" y="1613724"/>
                  </a:lnTo>
                  <a:lnTo>
                    <a:pt x="3441766" y="1614097"/>
                  </a:lnTo>
                  <a:lnTo>
                    <a:pt x="3443562" y="1614474"/>
                  </a:lnTo>
                  <a:lnTo>
                    <a:pt x="3444891" y="1614449"/>
                  </a:lnTo>
                  <a:lnTo>
                    <a:pt x="3445529" y="1615121"/>
                  </a:lnTo>
                  <a:lnTo>
                    <a:pt x="3446157" y="1616151"/>
                  </a:lnTo>
                  <a:lnTo>
                    <a:pt x="3446934" y="1617238"/>
                  </a:lnTo>
                  <a:lnTo>
                    <a:pt x="3447614" y="1618084"/>
                  </a:lnTo>
                  <a:lnTo>
                    <a:pt x="3447929" y="1618566"/>
                  </a:lnTo>
                  <a:lnTo>
                    <a:pt x="3448281" y="1618950"/>
                  </a:lnTo>
                  <a:lnTo>
                    <a:pt x="3449084" y="1619521"/>
                  </a:lnTo>
                  <a:lnTo>
                    <a:pt x="3451397" y="1620304"/>
                  </a:lnTo>
                  <a:lnTo>
                    <a:pt x="3452736" y="1621228"/>
                  </a:lnTo>
                  <a:lnTo>
                    <a:pt x="3454079" y="1621951"/>
                  </a:lnTo>
                  <a:lnTo>
                    <a:pt x="3454476" y="1622333"/>
                  </a:lnTo>
                  <a:lnTo>
                    <a:pt x="3455114" y="1623603"/>
                  </a:lnTo>
                  <a:lnTo>
                    <a:pt x="3455745" y="1624671"/>
                  </a:lnTo>
                  <a:lnTo>
                    <a:pt x="3456391" y="1625383"/>
                  </a:lnTo>
                  <a:lnTo>
                    <a:pt x="3457087" y="1625597"/>
                  </a:lnTo>
                  <a:lnTo>
                    <a:pt x="3457451" y="1626414"/>
                  </a:lnTo>
                  <a:lnTo>
                    <a:pt x="3459082" y="1626999"/>
                  </a:lnTo>
                  <a:lnTo>
                    <a:pt x="3459935" y="1627987"/>
                  </a:lnTo>
                  <a:lnTo>
                    <a:pt x="3460483" y="1629601"/>
                  </a:lnTo>
                  <a:lnTo>
                    <a:pt x="3460475" y="1630811"/>
                  </a:lnTo>
                  <a:lnTo>
                    <a:pt x="3459890" y="1632654"/>
                  </a:lnTo>
                  <a:lnTo>
                    <a:pt x="3461164" y="1633231"/>
                  </a:lnTo>
                  <a:lnTo>
                    <a:pt x="3463122" y="1632761"/>
                  </a:lnTo>
                  <a:lnTo>
                    <a:pt x="3464041" y="1633159"/>
                  </a:lnTo>
                  <a:lnTo>
                    <a:pt x="3464154" y="1633328"/>
                  </a:lnTo>
                  <a:lnTo>
                    <a:pt x="3464165" y="1633890"/>
                  </a:lnTo>
                  <a:lnTo>
                    <a:pt x="3465719" y="1633709"/>
                  </a:lnTo>
                  <a:lnTo>
                    <a:pt x="3470770" y="1635711"/>
                  </a:lnTo>
                  <a:lnTo>
                    <a:pt x="3474582" y="1635330"/>
                  </a:lnTo>
                  <a:lnTo>
                    <a:pt x="3474686" y="1636192"/>
                  </a:lnTo>
                  <a:lnTo>
                    <a:pt x="3475052" y="1636923"/>
                  </a:lnTo>
                  <a:lnTo>
                    <a:pt x="3475373" y="1637122"/>
                  </a:lnTo>
                  <a:lnTo>
                    <a:pt x="3475635" y="1637216"/>
                  </a:lnTo>
                  <a:lnTo>
                    <a:pt x="3475889" y="1637209"/>
                  </a:lnTo>
                  <a:lnTo>
                    <a:pt x="3475918" y="1637255"/>
                  </a:lnTo>
                  <a:lnTo>
                    <a:pt x="3478032" y="1637908"/>
                  </a:lnTo>
                  <a:lnTo>
                    <a:pt x="3483754" y="1637380"/>
                  </a:lnTo>
                  <a:lnTo>
                    <a:pt x="3484921" y="1637780"/>
                  </a:lnTo>
                  <a:lnTo>
                    <a:pt x="3485894" y="1638871"/>
                  </a:lnTo>
                  <a:lnTo>
                    <a:pt x="3487094" y="1640548"/>
                  </a:lnTo>
                  <a:lnTo>
                    <a:pt x="3488255" y="1642005"/>
                  </a:lnTo>
                  <a:lnTo>
                    <a:pt x="3489126" y="1642452"/>
                  </a:lnTo>
                  <a:lnTo>
                    <a:pt x="3489593" y="1642483"/>
                  </a:lnTo>
                  <a:lnTo>
                    <a:pt x="3490799" y="1643025"/>
                  </a:lnTo>
                  <a:lnTo>
                    <a:pt x="3491278" y="1643049"/>
                  </a:lnTo>
                  <a:lnTo>
                    <a:pt x="3493448" y="1641955"/>
                  </a:lnTo>
                  <a:lnTo>
                    <a:pt x="3493787" y="1642625"/>
                  </a:lnTo>
                  <a:lnTo>
                    <a:pt x="3492183" y="1646376"/>
                  </a:lnTo>
                  <a:lnTo>
                    <a:pt x="3491130" y="1647822"/>
                  </a:lnTo>
                  <a:lnTo>
                    <a:pt x="3489541" y="1648960"/>
                  </a:lnTo>
                  <a:lnTo>
                    <a:pt x="3490316" y="1649221"/>
                  </a:lnTo>
                  <a:lnTo>
                    <a:pt x="3491655" y="1649043"/>
                  </a:lnTo>
                  <a:lnTo>
                    <a:pt x="3492370" y="1649219"/>
                  </a:lnTo>
                  <a:lnTo>
                    <a:pt x="3492986" y="1649699"/>
                  </a:lnTo>
                  <a:lnTo>
                    <a:pt x="3493979" y="1650940"/>
                  </a:lnTo>
                  <a:lnTo>
                    <a:pt x="3494526" y="1651485"/>
                  </a:lnTo>
                  <a:lnTo>
                    <a:pt x="3495499" y="1652121"/>
                  </a:lnTo>
                  <a:lnTo>
                    <a:pt x="3496614" y="1652636"/>
                  </a:lnTo>
                  <a:lnTo>
                    <a:pt x="3497709" y="1652914"/>
                  </a:lnTo>
                  <a:lnTo>
                    <a:pt x="3498626" y="1652857"/>
                  </a:lnTo>
                  <a:lnTo>
                    <a:pt x="3498766" y="1654803"/>
                  </a:lnTo>
                  <a:lnTo>
                    <a:pt x="3498091" y="1655484"/>
                  </a:lnTo>
                  <a:lnTo>
                    <a:pt x="3494913" y="1655212"/>
                  </a:lnTo>
                  <a:lnTo>
                    <a:pt x="3493277" y="1656389"/>
                  </a:lnTo>
                  <a:lnTo>
                    <a:pt x="3492753" y="1657287"/>
                  </a:lnTo>
                  <a:lnTo>
                    <a:pt x="3492433" y="1657623"/>
                  </a:lnTo>
                  <a:lnTo>
                    <a:pt x="3491935" y="1657437"/>
                  </a:lnTo>
                  <a:lnTo>
                    <a:pt x="3491206" y="1656947"/>
                  </a:lnTo>
                  <a:lnTo>
                    <a:pt x="3490451" y="1656681"/>
                  </a:lnTo>
                  <a:lnTo>
                    <a:pt x="3489759" y="1656622"/>
                  </a:lnTo>
                  <a:lnTo>
                    <a:pt x="3489222" y="1656741"/>
                  </a:lnTo>
                  <a:lnTo>
                    <a:pt x="3489010" y="1656668"/>
                  </a:lnTo>
                  <a:lnTo>
                    <a:pt x="3488830" y="1656368"/>
                  </a:lnTo>
                  <a:lnTo>
                    <a:pt x="3488652" y="1656127"/>
                  </a:lnTo>
                  <a:lnTo>
                    <a:pt x="3488439" y="1656218"/>
                  </a:lnTo>
                  <a:lnTo>
                    <a:pt x="3488329" y="1656589"/>
                  </a:lnTo>
                  <a:lnTo>
                    <a:pt x="3488489" y="1656903"/>
                  </a:lnTo>
                  <a:lnTo>
                    <a:pt x="3488730" y="1657257"/>
                  </a:lnTo>
                  <a:lnTo>
                    <a:pt x="3488871" y="1657756"/>
                  </a:lnTo>
                  <a:lnTo>
                    <a:pt x="3489028" y="1661338"/>
                  </a:lnTo>
                  <a:lnTo>
                    <a:pt x="3488577" y="1662692"/>
                  </a:lnTo>
                  <a:lnTo>
                    <a:pt x="3485940" y="1661839"/>
                  </a:lnTo>
                  <a:lnTo>
                    <a:pt x="3484822" y="1662375"/>
                  </a:lnTo>
                  <a:lnTo>
                    <a:pt x="3482887" y="1664089"/>
                  </a:lnTo>
                  <a:lnTo>
                    <a:pt x="3482303" y="1664259"/>
                  </a:lnTo>
                  <a:lnTo>
                    <a:pt x="3481727" y="1664185"/>
                  </a:lnTo>
                  <a:lnTo>
                    <a:pt x="3481077" y="1663854"/>
                  </a:lnTo>
                  <a:lnTo>
                    <a:pt x="3480279" y="1663242"/>
                  </a:lnTo>
                  <a:lnTo>
                    <a:pt x="3479571" y="1662994"/>
                  </a:lnTo>
                  <a:lnTo>
                    <a:pt x="3478212" y="1663472"/>
                  </a:lnTo>
                  <a:lnTo>
                    <a:pt x="3477497" y="1663407"/>
                  </a:lnTo>
                  <a:lnTo>
                    <a:pt x="3475188" y="1661318"/>
                  </a:lnTo>
                  <a:lnTo>
                    <a:pt x="3474202" y="1660878"/>
                  </a:lnTo>
                  <a:lnTo>
                    <a:pt x="3474733" y="1662649"/>
                  </a:lnTo>
                  <a:lnTo>
                    <a:pt x="3475584" y="1663758"/>
                  </a:lnTo>
                  <a:lnTo>
                    <a:pt x="3476802" y="1664801"/>
                  </a:lnTo>
                  <a:lnTo>
                    <a:pt x="3478829" y="1666098"/>
                  </a:lnTo>
                  <a:lnTo>
                    <a:pt x="3479162" y="1666770"/>
                  </a:lnTo>
                  <a:lnTo>
                    <a:pt x="3477427" y="1667821"/>
                  </a:lnTo>
                  <a:lnTo>
                    <a:pt x="3476766" y="1668759"/>
                  </a:lnTo>
                  <a:lnTo>
                    <a:pt x="3476576" y="1670133"/>
                  </a:lnTo>
                  <a:lnTo>
                    <a:pt x="3475942" y="1670803"/>
                  </a:lnTo>
                  <a:lnTo>
                    <a:pt x="3470256" y="1670557"/>
                  </a:lnTo>
                  <a:lnTo>
                    <a:pt x="3469243" y="1669586"/>
                  </a:lnTo>
                  <a:lnTo>
                    <a:pt x="3468312" y="1668127"/>
                  </a:lnTo>
                  <a:lnTo>
                    <a:pt x="3467276" y="1666684"/>
                  </a:lnTo>
                  <a:lnTo>
                    <a:pt x="3466233" y="1665971"/>
                  </a:lnTo>
                  <a:lnTo>
                    <a:pt x="3465167" y="1665578"/>
                  </a:lnTo>
                  <a:lnTo>
                    <a:pt x="3464251" y="1664921"/>
                  </a:lnTo>
                  <a:lnTo>
                    <a:pt x="3463674" y="1663443"/>
                  </a:lnTo>
                  <a:lnTo>
                    <a:pt x="3461743" y="1663520"/>
                  </a:lnTo>
                  <a:lnTo>
                    <a:pt x="3461121" y="1663019"/>
                  </a:lnTo>
                  <a:lnTo>
                    <a:pt x="3460748" y="1662087"/>
                  </a:lnTo>
                  <a:lnTo>
                    <a:pt x="3460212" y="1659530"/>
                  </a:lnTo>
                  <a:lnTo>
                    <a:pt x="3459763" y="1658258"/>
                  </a:lnTo>
                  <a:lnTo>
                    <a:pt x="3459526" y="1657986"/>
                  </a:lnTo>
                  <a:lnTo>
                    <a:pt x="3459244" y="1657881"/>
                  </a:lnTo>
                  <a:lnTo>
                    <a:pt x="3458922" y="1657689"/>
                  </a:lnTo>
                  <a:lnTo>
                    <a:pt x="3458563" y="1657174"/>
                  </a:lnTo>
                  <a:lnTo>
                    <a:pt x="3458318" y="1656552"/>
                  </a:lnTo>
                  <a:lnTo>
                    <a:pt x="3458263" y="1656187"/>
                  </a:lnTo>
                  <a:lnTo>
                    <a:pt x="3458268" y="1655941"/>
                  </a:lnTo>
                  <a:lnTo>
                    <a:pt x="3458197" y="1655682"/>
                  </a:lnTo>
                  <a:lnTo>
                    <a:pt x="3459566" y="1653761"/>
                  </a:lnTo>
                  <a:lnTo>
                    <a:pt x="3458274" y="1653045"/>
                  </a:lnTo>
                  <a:lnTo>
                    <a:pt x="3453637" y="1652244"/>
                  </a:lnTo>
                  <a:lnTo>
                    <a:pt x="3450901" y="1652631"/>
                  </a:lnTo>
                  <a:lnTo>
                    <a:pt x="3446943" y="1652271"/>
                  </a:lnTo>
                  <a:lnTo>
                    <a:pt x="3445444" y="1651463"/>
                  </a:lnTo>
                  <a:lnTo>
                    <a:pt x="3444378" y="1649940"/>
                  </a:lnTo>
                  <a:lnTo>
                    <a:pt x="3443080" y="1647764"/>
                  </a:lnTo>
                  <a:lnTo>
                    <a:pt x="3441795" y="1645904"/>
                  </a:lnTo>
                  <a:lnTo>
                    <a:pt x="3440774" y="1645327"/>
                  </a:lnTo>
                  <a:lnTo>
                    <a:pt x="3439516" y="1645993"/>
                  </a:lnTo>
                  <a:lnTo>
                    <a:pt x="3438711" y="1646907"/>
                  </a:lnTo>
                  <a:lnTo>
                    <a:pt x="3438891" y="1648327"/>
                  </a:lnTo>
                  <a:lnTo>
                    <a:pt x="3440588" y="1650485"/>
                  </a:lnTo>
                  <a:lnTo>
                    <a:pt x="3440094" y="1651109"/>
                  </a:lnTo>
                  <a:lnTo>
                    <a:pt x="3438999" y="1651636"/>
                  </a:lnTo>
                  <a:lnTo>
                    <a:pt x="3437763" y="1651715"/>
                  </a:lnTo>
                  <a:lnTo>
                    <a:pt x="3436852" y="1650993"/>
                  </a:lnTo>
                  <a:lnTo>
                    <a:pt x="3435940" y="1649489"/>
                  </a:lnTo>
                  <a:lnTo>
                    <a:pt x="3433135" y="1645717"/>
                  </a:lnTo>
                  <a:lnTo>
                    <a:pt x="3432096" y="1644507"/>
                  </a:lnTo>
                  <a:lnTo>
                    <a:pt x="3431120" y="1643712"/>
                  </a:lnTo>
                  <a:lnTo>
                    <a:pt x="3429841" y="1642943"/>
                  </a:lnTo>
                  <a:lnTo>
                    <a:pt x="3428598" y="1642420"/>
                  </a:lnTo>
                  <a:lnTo>
                    <a:pt x="3427723" y="1642372"/>
                  </a:lnTo>
                  <a:lnTo>
                    <a:pt x="3427518" y="1643243"/>
                  </a:lnTo>
                  <a:lnTo>
                    <a:pt x="3428507" y="1644552"/>
                  </a:lnTo>
                  <a:lnTo>
                    <a:pt x="3430842" y="1646772"/>
                  </a:lnTo>
                  <a:lnTo>
                    <a:pt x="3431934" y="1647596"/>
                  </a:lnTo>
                  <a:lnTo>
                    <a:pt x="3432501" y="1648166"/>
                  </a:lnTo>
                  <a:lnTo>
                    <a:pt x="3432951" y="1649089"/>
                  </a:lnTo>
                  <a:lnTo>
                    <a:pt x="3432984" y="1650039"/>
                  </a:lnTo>
                  <a:lnTo>
                    <a:pt x="3432683" y="1650981"/>
                  </a:lnTo>
                  <a:lnTo>
                    <a:pt x="3432246" y="1651724"/>
                  </a:lnTo>
                  <a:lnTo>
                    <a:pt x="3431891" y="1652082"/>
                  </a:lnTo>
                  <a:lnTo>
                    <a:pt x="3420201" y="1658357"/>
                  </a:lnTo>
                  <a:lnTo>
                    <a:pt x="3419654" y="1659548"/>
                  </a:lnTo>
                  <a:lnTo>
                    <a:pt x="3425124" y="1658508"/>
                  </a:lnTo>
                  <a:lnTo>
                    <a:pt x="3426053" y="1659017"/>
                  </a:lnTo>
                  <a:lnTo>
                    <a:pt x="3426909" y="1658393"/>
                  </a:lnTo>
                  <a:lnTo>
                    <a:pt x="3427223" y="1657868"/>
                  </a:lnTo>
                  <a:lnTo>
                    <a:pt x="3427350" y="1657195"/>
                  </a:lnTo>
                  <a:lnTo>
                    <a:pt x="3427759" y="1656328"/>
                  </a:lnTo>
                  <a:lnTo>
                    <a:pt x="3428717" y="1656387"/>
                  </a:lnTo>
                  <a:lnTo>
                    <a:pt x="3429830" y="1656757"/>
                  </a:lnTo>
                  <a:lnTo>
                    <a:pt x="3430694" y="1656810"/>
                  </a:lnTo>
                  <a:lnTo>
                    <a:pt x="3431125" y="1656511"/>
                  </a:lnTo>
                  <a:lnTo>
                    <a:pt x="3431349" y="1656092"/>
                  </a:lnTo>
                  <a:lnTo>
                    <a:pt x="3431412" y="1655439"/>
                  </a:lnTo>
                  <a:lnTo>
                    <a:pt x="3431370" y="1654449"/>
                  </a:lnTo>
                  <a:lnTo>
                    <a:pt x="3431659" y="1653643"/>
                  </a:lnTo>
                  <a:lnTo>
                    <a:pt x="3434059" y="1652704"/>
                  </a:lnTo>
                  <a:lnTo>
                    <a:pt x="3433763" y="1652845"/>
                  </a:lnTo>
                  <a:lnTo>
                    <a:pt x="3435348" y="1652666"/>
                  </a:lnTo>
                  <a:lnTo>
                    <a:pt x="3436277" y="1652804"/>
                  </a:lnTo>
                  <a:lnTo>
                    <a:pt x="3437128" y="1653317"/>
                  </a:lnTo>
                  <a:lnTo>
                    <a:pt x="3439421" y="1655630"/>
                  </a:lnTo>
                  <a:lnTo>
                    <a:pt x="3440572" y="1656539"/>
                  </a:lnTo>
                  <a:lnTo>
                    <a:pt x="3443436" y="1656975"/>
                  </a:lnTo>
                  <a:lnTo>
                    <a:pt x="3448298" y="1659579"/>
                  </a:lnTo>
                  <a:lnTo>
                    <a:pt x="3450188" y="1659241"/>
                  </a:lnTo>
                  <a:lnTo>
                    <a:pt x="3449970" y="1659079"/>
                  </a:lnTo>
                  <a:lnTo>
                    <a:pt x="3449827" y="1658497"/>
                  </a:lnTo>
                  <a:lnTo>
                    <a:pt x="3448263" y="1657344"/>
                  </a:lnTo>
                  <a:lnTo>
                    <a:pt x="3446873" y="1656528"/>
                  </a:lnTo>
                  <a:lnTo>
                    <a:pt x="3447040" y="1655886"/>
                  </a:lnTo>
                  <a:lnTo>
                    <a:pt x="3447412" y="1655622"/>
                  </a:lnTo>
                  <a:lnTo>
                    <a:pt x="3447914" y="1655613"/>
                  </a:lnTo>
                  <a:lnTo>
                    <a:pt x="3448491" y="1655746"/>
                  </a:lnTo>
                  <a:lnTo>
                    <a:pt x="3448194" y="1655135"/>
                  </a:lnTo>
                  <a:lnTo>
                    <a:pt x="3447565" y="1654139"/>
                  </a:lnTo>
                  <a:lnTo>
                    <a:pt x="3448441" y="1653724"/>
                  </a:lnTo>
                  <a:lnTo>
                    <a:pt x="3450916" y="1653815"/>
                  </a:lnTo>
                  <a:lnTo>
                    <a:pt x="3452082" y="1654422"/>
                  </a:lnTo>
                  <a:lnTo>
                    <a:pt x="3454253" y="1656048"/>
                  </a:lnTo>
                  <a:lnTo>
                    <a:pt x="3454712" y="1656128"/>
                  </a:lnTo>
                  <a:lnTo>
                    <a:pt x="3455549" y="1656436"/>
                  </a:lnTo>
                  <a:lnTo>
                    <a:pt x="3456720" y="1655195"/>
                  </a:lnTo>
                  <a:lnTo>
                    <a:pt x="3457772" y="1655557"/>
                  </a:lnTo>
                  <a:lnTo>
                    <a:pt x="3457418" y="1656047"/>
                  </a:lnTo>
                  <a:lnTo>
                    <a:pt x="3457308" y="1656936"/>
                  </a:lnTo>
                  <a:lnTo>
                    <a:pt x="3457438" y="1658974"/>
                  </a:lnTo>
                  <a:lnTo>
                    <a:pt x="3459244" y="1661165"/>
                  </a:lnTo>
                  <a:lnTo>
                    <a:pt x="3460040" y="1662770"/>
                  </a:lnTo>
                  <a:lnTo>
                    <a:pt x="3460217" y="1664235"/>
                  </a:lnTo>
                  <a:lnTo>
                    <a:pt x="3460162" y="1665990"/>
                  </a:lnTo>
                  <a:lnTo>
                    <a:pt x="3459467" y="1665841"/>
                  </a:lnTo>
                  <a:lnTo>
                    <a:pt x="3458884" y="1665279"/>
                  </a:lnTo>
                  <a:lnTo>
                    <a:pt x="3458487" y="1664470"/>
                  </a:lnTo>
                  <a:lnTo>
                    <a:pt x="3458361" y="1663607"/>
                  </a:lnTo>
                  <a:lnTo>
                    <a:pt x="3456298" y="1662235"/>
                  </a:lnTo>
                  <a:lnTo>
                    <a:pt x="3454601" y="1662230"/>
                  </a:lnTo>
                  <a:lnTo>
                    <a:pt x="3453636" y="1663472"/>
                  </a:lnTo>
                  <a:lnTo>
                    <a:pt x="3453757" y="1665840"/>
                  </a:lnTo>
                  <a:lnTo>
                    <a:pt x="3456458" y="1665812"/>
                  </a:lnTo>
                  <a:lnTo>
                    <a:pt x="3458014" y="1666383"/>
                  </a:lnTo>
                  <a:lnTo>
                    <a:pt x="3459517" y="1668041"/>
                  </a:lnTo>
                  <a:lnTo>
                    <a:pt x="3458323" y="1668631"/>
                  </a:lnTo>
                  <a:lnTo>
                    <a:pt x="3456834" y="1668599"/>
                  </a:lnTo>
                  <a:lnTo>
                    <a:pt x="3450525" y="1666252"/>
                  </a:lnTo>
                  <a:lnTo>
                    <a:pt x="3448941" y="1665354"/>
                  </a:lnTo>
                  <a:lnTo>
                    <a:pt x="3447423" y="1664241"/>
                  </a:lnTo>
                  <a:lnTo>
                    <a:pt x="3446895" y="1664075"/>
                  </a:lnTo>
                  <a:lnTo>
                    <a:pt x="3446690" y="1664535"/>
                  </a:lnTo>
                  <a:lnTo>
                    <a:pt x="3446812" y="1665274"/>
                  </a:lnTo>
                  <a:lnTo>
                    <a:pt x="3447260" y="1665941"/>
                  </a:lnTo>
                  <a:lnTo>
                    <a:pt x="3450548" y="1668596"/>
                  </a:lnTo>
                  <a:lnTo>
                    <a:pt x="3452241" y="1669649"/>
                  </a:lnTo>
                  <a:lnTo>
                    <a:pt x="3455485" y="1670046"/>
                  </a:lnTo>
                  <a:lnTo>
                    <a:pt x="3457190" y="1670838"/>
                  </a:lnTo>
                  <a:lnTo>
                    <a:pt x="3456529" y="1671863"/>
                  </a:lnTo>
                  <a:lnTo>
                    <a:pt x="3455585" y="1671878"/>
                  </a:lnTo>
                  <a:lnTo>
                    <a:pt x="3453228" y="1671086"/>
                  </a:lnTo>
                  <a:lnTo>
                    <a:pt x="3452416" y="1671399"/>
                  </a:lnTo>
                  <a:lnTo>
                    <a:pt x="3451854" y="1672399"/>
                  </a:lnTo>
                  <a:lnTo>
                    <a:pt x="3451787" y="1673884"/>
                  </a:lnTo>
                  <a:lnTo>
                    <a:pt x="3452437" y="1675628"/>
                  </a:lnTo>
                  <a:lnTo>
                    <a:pt x="3454286" y="1677147"/>
                  </a:lnTo>
                  <a:lnTo>
                    <a:pt x="3455972" y="1676364"/>
                  </a:lnTo>
                  <a:lnTo>
                    <a:pt x="3458500" y="1673534"/>
                  </a:lnTo>
                  <a:lnTo>
                    <a:pt x="3458641" y="1674046"/>
                  </a:lnTo>
                  <a:lnTo>
                    <a:pt x="3458965" y="1674534"/>
                  </a:lnTo>
                  <a:lnTo>
                    <a:pt x="3459438" y="1674960"/>
                  </a:lnTo>
                  <a:lnTo>
                    <a:pt x="3460028" y="1675296"/>
                  </a:lnTo>
                  <a:lnTo>
                    <a:pt x="3459987" y="1674585"/>
                  </a:lnTo>
                  <a:lnTo>
                    <a:pt x="3459620" y="1672608"/>
                  </a:lnTo>
                  <a:lnTo>
                    <a:pt x="3459938" y="1672003"/>
                  </a:lnTo>
                  <a:lnTo>
                    <a:pt x="3460621" y="1672402"/>
                  </a:lnTo>
                  <a:lnTo>
                    <a:pt x="3461234" y="1673742"/>
                  </a:lnTo>
                  <a:lnTo>
                    <a:pt x="3461584" y="1675271"/>
                  </a:lnTo>
                  <a:lnTo>
                    <a:pt x="3461497" y="1676247"/>
                  </a:lnTo>
                  <a:lnTo>
                    <a:pt x="3462243" y="1677324"/>
                  </a:lnTo>
                  <a:lnTo>
                    <a:pt x="3462304" y="1678247"/>
                  </a:lnTo>
                  <a:lnTo>
                    <a:pt x="3461947" y="1679011"/>
                  </a:lnTo>
                  <a:lnTo>
                    <a:pt x="3461444" y="1679598"/>
                  </a:lnTo>
                  <a:lnTo>
                    <a:pt x="3465209" y="1681108"/>
                  </a:lnTo>
                  <a:lnTo>
                    <a:pt x="3466619" y="1680438"/>
                  </a:lnTo>
                  <a:lnTo>
                    <a:pt x="3467300" y="1680599"/>
                  </a:lnTo>
                  <a:lnTo>
                    <a:pt x="3467257" y="1681856"/>
                  </a:lnTo>
                  <a:lnTo>
                    <a:pt x="3466879" y="1682432"/>
                  </a:lnTo>
                  <a:lnTo>
                    <a:pt x="3465131" y="1683723"/>
                  </a:lnTo>
                  <a:lnTo>
                    <a:pt x="3463849" y="1686007"/>
                  </a:lnTo>
                  <a:lnTo>
                    <a:pt x="3464145" y="1686617"/>
                  </a:lnTo>
                  <a:lnTo>
                    <a:pt x="3467278" y="1684811"/>
                  </a:lnTo>
                  <a:lnTo>
                    <a:pt x="3468538" y="1684486"/>
                  </a:lnTo>
                  <a:lnTo>
                    <a:pt x="3471505" y="1684763"/>
                  </a:lnTo>
                  <a:lnTo>
                    <a:pt x="3472793" y="1684288"/>
                  </a:lnTo>
                  <a:lnTo>
                    <a:pt x="3473234" y="1682627"/>
                  </a:lnTo>
                  <a:lnTo>
                    <a:pt x="3473833" y="1681693"/>
                  </a:lnTo>
                  <a:lnTo>
                    <a:pt x="3476462" y="1681078"/>
                  </a:lnTo>
                  <a:lnTo>
                    <a:pt x="3476619" y="1680165"/>
                  </a:lnTo>
                  <a:lnTo>
                    <a:pt x="3475960" y="1677981"/>
                  </a:lnTo>
                  <a:lnTo>
                    <a:pt x="3476410" y="1676864"/>
                  </a:lnTo>
                  <a:lnTo>
                    <a:pt x="3477514" y="1676621"/>
                  </a:lnTo>
                  <a:lnTo>
                    <a:pt x="3478805" y="1677047"/>
                  </a:lnTo>
                  <a:lnTo>
                    <a:pt x="3478496" y="1677960"/>
                  </a:lnTo>
                  <a:lnTo>
                    <a:pt x="3478798" y="1679066"/>
                  </a:lnTo>
                  <a:lnTo>
                    <a:pt x="3479511" y="1679986"/>
                  </a:lnTo>
                  <a:lnTo>
                    <a:pt x="3480429" y="1680345"/>
                  </a:lnTo>
                  <a:lnTo>
                    <a:pt x="3480179" y="1682897"/>
                  </a:lnTo>
                  <a:lnTo>
                    <a:pt x="3477253" y="1685033"/>
                  </a:lnTo>
                  <a:lnTo>
                    <a:pt x="3476686" y="1687265"/>
                  </a:lnTo>
                  <a:lnTo>
                    <a:pt x="3477627" y="1688704"/>
                  </a:lnTo>
                  <a:lnTo>
                    <a:pt x="3477549" y="1690651"/>
                  </a:lnTo>
                  <a:lnTo>
                    <a:pt x="3478387" y="1691435"/>
                  </a:lnTo>
                  <a:lnTo>
                    <a:pt x="3479213" y="1691449"/>
                  </a:lnTo>
                  <a:lnTo>
                    <a:pt x="3480078" y="1690932"/>
                  </a:lnTo>
                  <a:lnTo>
                    <a:pt x="3480781" y="1690140"/>
                  </a:lnTo>
                  <a:lnTo>
                    <a:pt x="3481125" y="1689345"/>
                  </a:lnTo>
                  <a:lnTo>
                    <a:pt x="3481548" y="1689615"/>
                  </a:lnTo>
                  <a:lnTo>
                    <a:pt x="3481991" y="1689965"/>
                  </a:lnTo>
                  <a:lnTo>
                    <a:pt x="3482446" y="1690398"/>
                  </a:lnTo>
                  <a:lnTo>
                    <a:pt x="3482905" y="1690895"/>
                  </a:lnTo>
                  <a:lnTo>
                    <a:pt x="3482613" y="1691839"/>
                  </a:lnTo>
                  <a:lnTo>
                    <a:pt x="3483068" y="1693113"/>
                  </a:lnTo>
                  <a:lnTo>
                    <a:pt x="3483941" y="1694293"/>
                  </a:lnTo>
                  <a:lnTo>
                    <a:pt x="3484888" y="1694933"/>
                  </a:lnTo>
                  <a:lnTo>
                    <a:pt x="3485125" y="1696037"/>
                  </a:lnTo>
                  <a:lnTo>
                    <a:pt x="3485121" y="1697058"/>
                  </a:lnTo>
                  <a:lnTo>
                    <a:pt x="3484922" y="1697897"/>
                  </a:lnTo>
                  <a:lnTo>
                    <a:pt x="3484560" y="1698432"/>
                  </a:lnTo>
                  <a:lnTo>
                    <a:pt x="3483770" y="1698550"/>
                  </a:lnTo>
                  <a:lnTo>
                    <a:pt x="3481353" y="1697498"/>
                  </a:lnTo>
                  <a:lnTo>
                    <a:pt x="3480523" y="1698486"/>
                  </a:lnTo>
                  <a:lnTo>
                    <a:pt x="3481877" y="1699237"/>
                  </a:lnTo>
                  <a:lnTo>
                    <a:pt x="3484923" y="1699930"/>
                  </a:lnTo>
                  <a:lnTo>
                    <a:pt x="3484436" y="1701720"/>
                  </a:lnTo>
                  <a:lnTo>
                    <a:pt x="3484111" y="1702063"/>
                  </a:lnTo>
                  <a:lnTo>
                    <a:pt x="3483571" y="1702048"/>
                  </a:lnTo>
                  <a:lnTo>
                    <a:pt x="3483114" y="1701655"/>
                  </a:lnTo>
                  <a:lnTo>
                    <a:pt x="3482739" y="1701237"/>
                  </a:lnTo>
                  <a:lnTo>
                    <a:pt x="3482453" y="1701137"/>
                  </a:lnTo>
                  <a:lnTo>
                    <a:pt x="3482002" y="1701894"/>
                  </a:lnTo>
                  <a:lnTo>
                    <a:pt x="3480829" y="1706178"/>
                  </a:lnTo>
                  <a:lnTo>
                    <a:pt x="3481811" y="1706345"/>
                  </a:lnTo>
                  <a:lnTo>
                    <a:pt x="3482625" y="1706183"/>
                  </a:lnTo>
                  <a:lnTo>
                    <a:pt x="3483144" y="1705606"/>
                  </a:lnTo>
                  <a:lnTo>
                    <a:pt x="3483259" y="1704532"/>
                  </a:lnTo>
                  <a:lnTo>
                    <a:pt x="3483453" y="1703781"/>
                  </a:lnTo>
                  <a:lnTo>
                    <a:pt x="3484065" y="1703527"/>
                  </a:lnTo>
                  <a:lnTo>
                    <a:pt x="3484856" y="1703817"/>
                  </a:lnTo>
                  <a:lnTo>
                    <a:pt x="3485580" y="1704686"/>
                  </a:lnTo>
                  <a:lnTo>
                    <a:pt x="3485823" y="1706268"/>
                  </a:lnTo>
                  <a:lnTo>
                    <a:pt x="3485737" y="1711498"/>
                  </a:lnTo>
                  <a:lnTo>
                    <a:pt x="3485510" y="1712991"/>
                  </a:lnTo>
                  <a:lnTo>
                    <a:pt x="3485868" y="1713726"/>
                  </a:lnTo>
                  <a:lnTo>
                    <a:pt x="3486569" y="1713384"/>
                  </a:lnTo>
                  <a:lnTo>
                    <a:pt x="3486879" y="1712513"/>
                  </a:lnTo>
                  <a:lnTo>
                    <a:pt x="3486896" y="1711202"/>
                  </a:lnTo>
                  <a:lnTo>
                    <a:pt x="3486735" y="1709591"/>
                  </a:lnTo>
                  <a:lnTo>
                    <a:pt x="3487814" y="1704688"/>
                  </a:lnTo>
                  <a:lnTo>
                    <a:pt x="3487774" y="1701971"/>
                  </a:lnTo>
                  <a:lnTo>
                    <a:pt x="3487889" y="1701049"/>
                  </a:lnTo>
                  <a:lnTo>
                    <a:pt x="3488512" y="1700381"/>
                  </a:lnTo>
                  <a:lnTo>
                    <a:pt x="3490166" y="1699598"/>
                  </a:lnTo>
                  <a:lnTo>
                    <a:pt x="3490577" y="1698893"/>
                  </a:lnTo>
                  <a:lnTo>
                    <a:pt x="3490119" y="1697844"/>
                  </a:lnTo>
                  <a:lnTo>
                    <a:pt x="3489959" y="1695931"/>
                  </a:lnTo>
                  <a:lnTo>
                    <a:pt x="3490104" y="1694013"/>
                  </a:lnTo>
                  <a:lnTo>
                    <a:pt x="3490571" y="1692975"/>
                  </a:lnTo>
                  <a:lnTo>
                    <a:pt x="3497077" y="1686820"/>
                  </a:lnTo>
                  <a:lnTo>
                    <a:pt x="3498274" y="1686618"/>
                  </a:lnTo>
                  <a:lnTo>
                    <a:pt x="3499685" y="1687249"/>
                  </a:lnTo>
                  <a:lnTo>
                    <a:pt x="3500184" y="1687280"/>
                  </a:lnTo>
                  <a:lnTo>
                    <a:pt x="3500039" y="1686364"/>
                  </a:lnTo>
                  <a:lnTo>
                    <a:pt x="3499658" y="1685166"/>
                  </a:lnTo>
                  <a:lnTo>
                    <a:pt x="3499465" y="1684383"/>
                  </a:lnTo>
                  <a:lnTo>
                    <a:pt x="3499827" y="1683424"/>
                  </a:lnTo>
                  <a:lnTo>
                    <a:pt x="3500512" y="1682868"/>
                  </a:lnTo>
                  <a:lnTo>
                    <a:pt x="3502156" y="1682201"/>
                  </a:lnTo>
                  <a:lnTo>
                    <a:pt x="3501855" y="1682352"/>
                  </a:lnTo>
                  <a:lnTo>
                    <a:pt x="3503455" y="1682151"/>
                  </a:lnTo>
                  <a:lnTo>
                    <a:pt x="3508741" y="1683095"/>
                  </a:lnTo>
                  <a:lnTo>
                    <a:pt x="3509389" y="1684376"/>
                  </a:lnTo>
                  <a:lnTo>
                    <a:pt x="3511314" y="1686329"/>
                  </a:lnTo>
                  <a:lnTo>
                    <a:pt x="3511162" y="1686920"/>
                  </a:lnTo>
                  <a:lnTo>
                    <a:pt x="3510553" y="1687496"/>
                  </a:lnTo>
                  <a:lnTo>
                    <a:pt x="3509066" y="1690555"/>
                  </a:lnTo>
                  <a:lnTo>
                    <a:pt x="3509375" y="1691171"/>
                  </a:lnTo>
                  <a:lnTo>
                    <a:pt x="3510148" y="1691444"/>
                  </a:lnTo>
                  <a:lnTo>
                    <a:pt x="3511777" y="1691576"/>
                  </a:lnTo>
                  <a:lnTo>
                    <a:pt x="3512389" y="1691409"/>
                  </a:lnTo>
                  <a:lnTo>
                    <a:pt x="3512878" y="1691578"/>
                  </a:lnTo>
                  <a:lnTo>
                    <a:pt x="3513467" y="1692238"/>
                  </a:lnTo>
                  <a:lnTo>
                    <a:pt x="3514097" y="1693037"/>
                  </a:lnTo>
                  <a:lnTo>
                    <a:pt x="3514706" y="1693601"/>
                  </a:lnTo>
                  <a:lnTo>
                    <a:pt x="3510998" y="1694321"/>
                  </a:lnTo>
                  <a:lnTo>
                    <a:pt x="3509539" y="1695186"/>
                  </a:lnTo>
                  <a:lnTo>
                    <a:pt x="3508715" y="1697441"/>
                  </a:lnTo>
                  <a:lnTo>
                    <a:pt x="3509558" y="1697724"/>
                  </a:lnTo>
                  <a:lnTo>
                    <a:pt x="3510097" y="1697680"/>
                  </a:lnTo>
                  <a:lnTo>
                    <a:pt x="3512085" y="1696565"/>
                  </a:lnTo>
                  <a:lnTo>
                    <a:pt x="3512687" y="1696739"/>
                  </a:lnTo>
                  <a:lnTo>
                    <a:pt x="3513312" y="1697660"/>
                  </a:lnTo>
                  <a:lnTo>
                    <a:pt x="3512856" y="1698693"/>
                  </a:lnTo>
                  <a:lnTo>
                    <a:pt x="3509294" y="1700203"/>
                  </a:lnTo>
                  <a:lnTo>
                    <a:pt x="3508049" y="1700289"/>
                  </a:lnTo>
                  <a:lnTo>
                    <a:pt x="3508384" y="1700961"/>
                  </a:lnTo>
                  <a:lnTo>
                    <a:pt x="3512634" y="1701641"/>
                  </a:lnTo>
                  <a:lnTo>
                    <a:pt x="3514229" y="1702233"/>
                  </a:lnTo>
                  <a:lnTo>
                    <a:pt x="3515059" y="1702842"/>
                  </a:lnTo>
                  <a:lnTo>
                    <a:pt x="3515507" y="1703352"/>
                  </a:lnTo>
                  <a:lnTo>
                    <a:pt x="3515826" y="1703462"/>
                  </a:lnTo>
                  <a:lnTo>
                    <a:pt x="3516274" y="1702888"/>
                  </a:lnTo>
                  <a:lnTo>
                    <a:pt x="3516463" y="1702094"/>
                  </a:lnTo>
                  <a:lnTo>
                    <a:pt x="3516469" y="1701205"/>
                  </a:lnTo>
                  <a:lnTo>
                    <a:pt x="3516606" y="1700412"/>
                  </a:lnTo>
                  <a:lnTo>
                    <a:pt x="3517186" y="1699911"/>
                  </a:lnTo>
                  <a:lnTo>
                    <a:pt x="3517791" y="1699908"/>
                  </a:lnTo>
                  <a:lnTo>
                    <a:pt x="3519160" y="1700309"/>
                  </a:lnTo>
                  <a:lnTo>
                    <a:pt x="3519810" y="1700342"/>
                  </a:lnTo>
                  <a:lnTo>
                    <a:pt x="3520497" y="1700052"/>
                  </a:lnTo>
                  <a:lnTo>
                    <a:pt x="3522761" y="1697624"/>
                  </a:lnTo>
                  <a:lnTo>
                    <a:pt x="3523829" y="1696986"/>
                  </a:lnTo>
                  <a:lnTo>
                    <a:pt x="3525077" y="1696690"/>
                  </a:lnTo>
                  <a:lnTo>
                    <a:pt x="3526443" y="1696995"/>
                  </a:lnTo>
                  <a:lnTo>
                    <a:pt x="3526755" y="1697609"/>
                  </a:lnTo>
                  <a:lnTo>
                    <a:pt x="3525396" y="1699368"/>
                  </a:lnTo>
                  <a:lnTo>
                    <a:pt x="3525209" y="1700063"/>
                  </a:lnTo>
                  <a:lnTo>
                    <a:pt x="3525842" y="1700179"/>
                  </a:lnTo>
                  <a:lnTo>
                    <a:pt x="3527210" y="1699532"/>
                  </a:lnTo>
                  <a:lnTo>
                    <a:pt x="3527797" y="1699671"/>
                  </a:lnTo>
                  <a:lnTo>
                    <a:pt x="3528222" y="1700473"/>
                  </a:lnTo>
                  <a:lnTo>
                    <a:pt x="3528490" y="1702651"/>
                  </a:lnTo>
                  <a:lnTo>
                    <a:pt x="3528821" y="1703736"/>
                  </a:lnTo>
                  <a:lnTo>
                    <a:pt x="3529113" y="1705371"/>
                  </a:lnTo>
                  <a:lnTo>
                    <a:pt x="3528579" y="1706822"/>
                  </a:lnTo>
                  <a:lnTo>
                    <a:pt x="3527650" y="1707947"/>
                  </a:lnTo>
                  <a:lnTo>
                    <a:pt x="3520773" y="1711190"/>
                  </a:lnTo>
                  <a:lnTo>
                    <a:pt x="3520845" y="1712632"/>
                  </a:lnTo>
                  <a:lnTo>
                    <a:pt x="3517417" y="1714881"/>
                  </a:lnTo>
                  <a:lnTo>
                    <a:pt x="3518521" y="1716003"/>
                  </a:lnTo>
                  <a:lnTo>
                    <a:pt x="3519756" y="1716465"/>
                  </a:lnTo>
                  <a:lnTo>
                    <a:pt x="3520896" y="1716474"/>
                  </a:lnTo>
                  <a:lnTo>
                    <a:pt x="3521728" y="1716233"/>
                  </a:lnTo>
                  <a:lnTo>
                    <a:pt x="3522149" y="1715962"/>
                  </a:lnTo>
                  <a:lnTo>
                    <a:pt x="3522401" y="1715656"/>
                  </a:lnTo>
                  <a:lnTo>
                    <a:pt x="3522541" y="1715302"/>
                  </a:lnTo>
                  <a:lnTo>
                    <a:pt x="3522621" y="1714882"/>
                  </a:lnTo>
                  <a:lnTo>
                    <a:pt x="3522556" y="1714024"/>
                  </a:lnTo>
                  <a:lnTo>
                    <a:pt x="3522332" y="1713027"/>
                  </a:lnTo>
                  <a:lnTo>
                    <a:pt x="3522216" y="1712125"/>
                  </a:lnTo>
                  <a:lnTo>
                    <a:pt x="3522507" y="1711580"/>
                  </a:lnTo>
                  <a:lnTo>
                    <a:pt x="3524542" y="1711478"/>
                  </a:lnTo>
                  <a:lnTo>
                    <a:pt x="3529196" y="1712868"/>
                  </a:lnTo>
                  <a:lnTo>
                    <a:pt x="3531045" y="1712315"/>
                  </a:lnTo>
                  <a:lnTo>
                    <a:pt x="3531242" y="1715970"/>
                  </a:lnTo>
                  <a:lnTo>
                    <a:pt x="3531521" y="1717942"/>
                  </a:lnTo>
                  <a:lnTo>
                    <a:pt x="3532245" y="1718507"/>
                  </a:lnTo>
                  <a:lnTo>
                    <a:pt x="3532587" y="1718054"/>
                  </a:lnTo>
                  <a:lnTo>
                    <a:pt x="3532935" y="1716407"/>
                  </a:lnTo>
                  <a:lnTo>
                    <a:pt x="3533307" y="1716490"/>
                  </a:lnTo>
                  <a:lnTo>
                    <a:pt x="3533985" y="1717348"/>
                  </a:lnTo>
                  <a:lnTo>
                    <a:pt x="3534330" y="1717455"/>
                  </a:lnTo>
                  <a:lnTo>
                    <a:pt x="3534683" y="1717342"/>
                  </a:lnTo>
                  <a:lnTo>
                    <a:pt x="3535800" y="1717553"/>
                  </a:lnTo>
                  <a:lnTo>
                    <a:pt x="3536138" y="1718224"/>
                  </a:lnTo>
                  <a:lnTo>
                    <a:pt x="3533980" y="1719363"/>
                  </a:lnTo>
                  <a:lnTo>
                    <a:pt x="3533324" y="1720405"/>
                  </a:lnTo>
                  <a:lnTo>
                    <a:pt x="3533524" y="1722055"/>
                  </a:lnTo>
                  <a:lnTo>
                    <a:pt x="3534054" y="1721308"/>
                  </a:lnTo>
                  <a:lnTo>
                    <a:pt x="3534584" y="1720931"/>
                  </a:lnTo>
                  <a:lnTo>
                    <a:pt x="3535223" y="1721004"/>
                  </a:lnTo>
                  <a:lnTo>
                    <a:pt x="3536081" y="1721617"/>
                  </a:lnTo>
                  <a:lnTo>
                    <a:pt x="3536415" y="1722730"/>
                  </a:lnTo>
                  <a:lnTo>
                    <a:pt x="3537046" y="1723173"/>
                  </a:lnTo>
                  <a:lnTo>
                    <a:pt x="3537626" y="1722914"/>
                  </a:lnTo>
                  <a:lnTo>
                    <a:pt x="3538003" y="1720736"/>
                  </a:lnTo>
                  <a:lnTo>
                    <a:pt x="3538586" y="1719845"/>
                  </a:lnTo>
                  <a:lnTo>
                    <a:pt x="3539405" y="1719400"/>
                  </a:lnTo>
                  <a:lnTo>
                    <a:pt x="3540257" y="1719504"/>
                  </a:lnTo>
                  <a:lnTo>
                    <a:pt x="3540551" y="1720578"/>
                  </a:lnTo>
                  <a:lnTo>
                    <a:pt x="3540629" y="1720989"/>
                  </a:lnTo>
                  <a:lnTo>
                    <a:pt x="3541908" y="1720961"/>
                  </a:lnTo>
                  <a:lnTo>
                    <a:pt x="3542284" y="1719699"/>
                  </a:lnTo>
                  <a:lnTo>
                    <a:pt x="3542245" y="1715884"/>
                  </a:lnTo>
                  <a:lnTo>
                    <a:pt x="3543556" y="1718320"/>
                  </a:lnTo>
                  <a:lnTo>
                    <a:pt x="3547233" y="1727159"/>
                  </a:lnTo>
                  <a:lnTo>
                    <a:pt x="3547773" y="1729221"/>
                  </a:lnTo>
                  <a:lnTo>
                    <a:pt x="3544740" y="1730348"/>
                  </a:lnTo>
                  <a:lnTo>
                    <a:pt x="3544036" y="1731116"/>
                  </a:lnTo>
                  <a:lnTo>
                    <a:pt x="3543861" y="1732351"/>
                  </a:lnTo>
                  <a:lnTo>
                    <a:pt x="3544210" y="1735269"/>
                  </a:lnTo>
                  <a:lnTo>
                    <a:pt x="3543811" y="1736267"/>
                  </a:lnTo>
                  <a:lnTo>
                    <a:pt x="3544148" y="1736937"/>
                  </a:lnTo>
                  <a:lnTo>
                    <a:pt x="3545077" y="1736238"/>
                  </a:lnTo>
                  <a:lnTo>
                    <a:pt x="3546751" y="1733097"/>
                  </a:lnTo>
                  <a:lnTo>
                    <a:pt x="3547532" y="1732220"/>
                  </a:lnTo>
                  <a:lnTo>
                    <a:pt x="3548697" y="1731644"/>
                  </a:lnTo>
                  <a:lnTo>
                    <a:pt x="3549699" y="1732012"/>
                  </a:lnTo>
                  <a:lnTo>
                    <a:pt x="3549992" y="1733979"/>
                  </a:lnTo>
                  <a:lnTo>
                    <a:pt x="3550295" y="1733825"/>
                  </a:lnTo>
                  <a:lnTo>
                    <a:pt x="3551953" y="1731884"/>
                  </a:lnTo>
                  <a:lnTo>
                    <a:pt x="3552204" y="1730477"/>
                  </a:lnTo>
                  <a:lnTo>
                    <a:pt x="3550729" y="1728475"/>
                  </a:lnTo>
                  <a:lnTo>
                    <a:pt x="3551048" y="1723140"/>
                  </a:lnTo>
                  <a:lnTo>
                    <a:pt x="3551283" y="1722297"/>
                  </a:lnTo>
                  <a:lnTo>
                    <a:pt x="3551986" y="1721241"/>
                  </a:lnTo>
                  <a:lnTo>
                    <a:pt x="3552727" y="1717880"/>
                  </a:lnTo>
                  <a:lnTo>
                    <a:pt x="3553590" y="1716910"/>
                  </a:lnTo>
                  <a:lnTo>
                    <a:pt x="3553963" y="1717638"/>
                  </a:lnTo>
                  <a:lnTo>
                    <a:pt x="3553924" y="1718788"/>
                  </a:lnTo>
                  <a:lnTo>
                    <a:pt x="3554252" y="1720267"/>
                  </a:lnTo>
                  <a:lnTo>
                    <a:pt x="3554680" y="1721765"/>
                  </a:lnTo>
                  <a:lnTo>
                    <a:pt x="3554933" y="1722956"/>
                  </a:lnTo>
                  <a:lnTo>
                    <a:pt x="3555730" y="1724472"/>
                  </a:lnTo>
                  <a:lnTo>
                    <a:pt x="3554343" y="1726812"/>
                  </a:lnTo>
                  <a:lnTo>
                    <a:pt x="3554209" y="1728386"/>
                  </a:lnTo>
                  <a:lnTo>
                    <a:pt x="3555621" y="1727665"/>
                  </a:lnTo>
                  <a:lnTo>
                    <a:pt x="3556246" y="1730763"/>
                  </a:lnTo>
                  <a:lnTo>
                    <a:pt x="3552843" y="1732093"/>
                  </a:lnTo>
                  <a:lnTo>
                    <a:pt x="3552613" y="1734252"/>
                  </a:lnTo>
                  <a:lnTo>
                    <a:pt x="3555127" y="1734014"/>
                  </a:lnTo>
                  <a:lnTo>
                    <a:pt x="3555939" y="1734182"/>
                  </a:lnTo>
                  <a:lnTo>
                    <a:pt x="3556521" y="1733197"/>
                  </a:lnTo>
                  <a:lnTo>
                    <a:pt x="3558037" y="1729034"/>
                  </a:lnTo>
                  <a:lnTo>
                    <a:pt x="3558459" y="1731032"/>
                  </a:lnTo>
                  <a:lnTo>
                    <a:pt x="3558588" y="1732006"/>
                  </a:lnTo>
                  <a:lnTo>
                    <a:pt x="3558629" y="1732938"/>
                  </a:lnTo>
                  <a:lnTo>
                    <a:pt x="3559030" y="1732909"/>
                  </a:lnTo>
                  <a:lnTo>
                    <a:pt x="3559284" y="1733025"/>
                  </a:lnTo>
                  <a:lnTo>
                    <a:pt x="3559511" y="1733175"/>
                  </a:lnTo>
                  <a:lnTo>
                    <a:pt x="3559838" y="1733244"/>
                  </a:lnTo>
                  <a:lnTo>
                    <a:pt x="3559701" y="1733806"/>
                  </a:lnTo>
                  <a:lnTo>
                    <a:pt x="3559875" y="1734590"/>
                  </a:lnTo>
                  <a:lnTo>
                    <a:pt x="3560295" y="1735395"/>
                  </a:lnTo>
                  <a:lnTo>
                    <a:pt x="3560890" y="1735994"/>
                  </a:lnTo>
                  <a:lnTo>
                    <a:pt x="3561421" y="1735938"/>
                  </a:lnTo>
                  <a:lnTo>
                    <a:pt x="3561483" y="1735209"/>
                  </a:lnTo>
                  <a:lnTo>
                    <a:pt x="3561678" y="1734867"/>
                  </a:lnTo>
                  <a:lnTo>
                    <a:pt x="3562621" y="1735952"/>
                  </a:lnTo>
                  <a:lnTo>
                    <a:pt x="3563722" y="1738581"/>
                  </a:lnTo>
                  <a:lnTo>
                    <a:pt x="3563155" y="1740313"/>
                  </a:lnTo>
                  <a:lnTo>
                    <a:pt x="3561137" y="1742689"/>
                  </a:lnTo>
                  <a:lnTo>
                    <a:pt x="3565227" y="1742315"/>
                  </a:lnTo>
                  <a:lnTo>
                    <a:pt x="3566961" y="1743073"/>
                  </a:lnTo>
                  <a:lnTo>
                    <a:pt x="3567492" y="1744730"/>
                  </a:lnTo>
                  <a:lnTo>
                    <a:pt x="3567717" y="1745936"/>
                  </a:lnTo>
                  <a:lnTo>
                    <a:pt x="3567651" y="1746918"/>
                  </a:lnTo>
                  <a:lnTo>
                    <a:pt x="3567331" y="1747940"/>
                  </a:lnTo>
                  <a:lnTo>
                    <a:pt x="3567672" y="1748609"/>
                  </a:lnTo>
                  <a:lnTo>
                    <a:pt x="3568652" y="1748646"/>
                  </a:lnTo>
                  <a:lnTo>
                    <a:pt x="3569743" y="1749714"/>
                  </a:lnTo>
                  <a:lnTo>
                    <a:pt x="3570674" y="1751256"/>
                  </a:lnTo>
                  <a:lnTo>
                    <a:pt x="3571175" y="1752716"/>
                  </a:lnTo>
                  <a:lnTo>
                    <a:pt x="3571800" y="1752757"/>
                  </a:lnTo>
                  <a:lnTo>
                    <a:pt x="3572382" y="1753188"/>
                  </a:lnTo>
                  <a:lnTo>
                    <a:pt x="3572848" y="1753988"/>
                  </a:lnTo>
                  <a:lnTo>
                    <a:pt x="3573127" y="1755156"/>
                  </a:lnTo>
                  <a:lnTo>
                    <a:pt x="3574209" y="1755280"/>
                  </a:lnTo>
                  <a:lnTo>
                    <a:pt x="3574559" y="1755191"/>
                  </a:lnTo>
                  <a:lnTo>
                    <a:pt x="3574613" y="1755755"/>
                  </a:lnTo>
                  <a:lnTo>
                    <a:pt x="3574752" y="1756493"/>
                  </a:lnTo>
                  <a:lnTo>
                    <a:pt x="3574738" y="1756862"/>
                  </a:lnTo>
                  <a:lnTo>
                    <a:pt x="3575033" y="1757167"/>
                  </a:lnTo>
                  <a:lnTo>
                    <a:pt x="3575245" y="1757290"/>
                  </a:lnTo>
                  <a:lnTo>
                    <a:pt x="3575614" y="1757256"/>
                  </a:lnTo>
                  <a:lnTo>
                    <a:pt x="3576312" y="1756883"/>
                  </a:lnTo>
                  <a:lnTo>
                    <a:pt x="3577479" y="1754610"/>
                  </a:lnTo>
                  <a:lnTo>
                    <a:pt x="3576340" y="1753774"/>
                  </a:lnTo>
                  <a:lnTo>
                    <a:pt x="3575198" y="1753416"/>
                  </a:lnTo>
                  <a:lnTo>
                    <a:pt x="3574073" y="1752848"/>
                  </a:lnTo>
                  <a:lnTo>
                    <a:pt x="3572965" y="1751377"/>
                  </a:lnTo>
                  <a:lnTo>
                    <a:pt x="3572001" y="1749329"/>
                  </a:lnTo>
                  <a:lnTo>
                    <a:pt x="3571296" y="1747506"/>
                  </a:lnTo>
                  <a:lnTo>
                    <a:pt x="3569110" y="1740097"/>
                  </a:lnTo>
                  <a:lnTo>
                    <a:pt x="3568458" y="1738473"/>
                  </a:lnTo>
                  <a:lnTo>
                    <a:pt x="3567473" y="1736446"/>
                  </a:lnTo>
                  <a:lnTo>
                    <a:pt x="3566271" y="1734983"/>
                  </a:lnTo>
                  <a:lnTo>
                    <a:pt x="3563259" y="1732706"/>
                  </a:lnTo>
                  <a:lnTo>
                    <a:pt x="3562241" y="1731088"/>
                  </a:lnTo>
                  <a:lnTo>
                    <a:pt x="3562418" y="1729873"/>
                  </a:lnTo>
                  <a:lnTo>
                    <a:pt x="3566943" y="1729842"/>
                  </a:lnTo>
                  <a:lnTo>
                    <a:pt x="3568222" y="1730294"/>
                  </a:lnTo>
                  <a:lnTo>
                    <a:pt x="3568721" y="1730283"/>
                  </a:lnTo>
                  <a:lnTo>
                    <a:pt x="3569360" y="1729938"/>
                  </a:lnTo>
                  <a:lnTo>
                    <a:pt x="3569770" y="1729893"/>
                  </a:lnTo>
                  <a:lnTo>
                    <a:pt x="3570224" y="1730383"/>
                  </a:lnTo>
                  <a:lnTo>
                    <a:pt x="3570988" y="1731648"/>
                  </a:lnTo>
                  <a:lnTo>
                    <a:pt x="3572098" y="1734576"/>
                  </a:lnTo>
                  <a:lnTo>
                    <a:pt x="3572625" y="1735214"/>
                  </a:lnTo>
                  <a:lnTo>
                    <a:pt x="3572631" y="1732072"/>
                  </a:lnTo>
                  <a:lnTo>
                    <a:pt x="3572946" y="1731446"/>
                  </a:lnTo>
                  <a:lnTo>
                    <a:pt x="3573459" y="1731372"/>
                  </a:lnTo>
                  <a:lnTo>
                    <a:pt x="3574110" y="1732182"/>
                  </a:lnTo>
                  <a:lnTo>
                    <a:pt x="3574414" y="1732987"/>
                  </a:lnTo>
                  <a:lnTo>
                    <a:pt x="3574842" y="1735649"/>
                  </a:lnTo>
                  <a:lnTo>
                    <a:pt x="3576107" y="1736202"/>
                  </a:lnTo>
                  <a:lnTo>
                    <a:pt x="3577474" y="1736269"/>
                  </a:lnTo>
                  <a:lnTo>
                    <a:pt x="3581262" y="1735554"/>
                  </a:lnTo>
                  <a:lnTo>
                    <a:pt x="3581483" y="1734804"/>
                  </a:lnTo>
                  <a:lnTo>
                    <a:pt x="3580125" y="1732911"/>
                  </a:lnTo>
                  <a:lnTo>
                    <a:pt x="3581034" y="1732483"/>
                  </a:lnTo>
                  <a:lnTo>
                    <a:pt x="3582070" y="1733244"/>
                  </a:lnTo>
                  <a:lnTo>
                    <a:pt x="3583186" y="1734321"/>
                  </a:lnTo>
                  <a:lnTo>
                    <a:pt x="3584342" y="1734858"/>
                  </a:lnTo>
                  <a:lnTo>
                    <a:pt x="3584440" y="1735729"/>
                  </a:lnTo>
                  <a:lnTo>
                    <a:pt x="3584719" y="1735584"/>
                  </a:lnTo>
                  <a:lnTo>
                    <a:pt x="3584820" y="1736767"/>
                  </a:lnTo>
                  <a:lnTo>
                    <a:pt x="3585198" y="1737951"/>
                  </a:lnTo>
                  <a:lnTo>
                    <a:pt x="3585769" y="1738792"/>
                  </a:lnTo>
                  <a:lnTo>
                    <a:pt x="3586448" y="1738917"/>
                  </a:lnTo>
                  <a:lnTo>
                    <a:pt x="3586810" y="1738189"/>
                  </a:lnTo>
                  <a:lnTo>
                    <a:pt x="3586565" y="1737072"/>
                  </a:lnTo>
                  <a:lnTo>
                    <a:pt x="3586178" y="1735857"/>
                  </a:lnTo>
                  <a:lnTo>
                    <a:pt x="3586109" y="1734859"/>
                  </a:lnTo>
                  <a:lnTo>
                    <a:pt x="3587179" y="1734115"/>
                  </a:lnTo>
                  <a:lnTo>
                    <a:pt x="3589107" y="1734247"/>
                  </a:lnTo>
                  <a:lnTo>
                    <a:pt x="3592851" y="1735572"/>
                  </a:lnTo>
                  <a:lnTo>
                    <a:pt x="3592640" y="1736656"/>
                  </a:lnTo>
                  <a:lnTo>
                    <a:pt x="3592850" y="1738120"/>
                  </a:lnTo>
                  <a:lnTo>
                    <a:pt x="3593180" y="1739714"/>
                  </a:lnTo>
                  <a:lnTo>
                    <a:pt x="3593354" y="1741238"/>
                  </a:lnTo>
                  <a:lnTo>
                    <a:pt x="3594452" y="1741925"/>
                  </a:lnTo>
                  <a:lnTo>
                    <a:pt x="3595343" y="1743497"/>
                  </a:lnTo>
                  <a:lnTo>
                    <a:pt x="3595741" y="1745165"/>
                  </a:lnTo>
                  <a:lnTo>
                    <a:pt x="3595377" y="1746178"/>
                  </a:lnTo>
                  <a:lnTo>
                    <a:pt x="3589887" y="1749041"/>
                  </a:lnTo>
                  <a:lnTo>
                    <a:pt x="3591381" y="1749896"/>
                  </a:lnTo>
                  <a:lnTo>
                    <a:pt x="3593105" y="1749406"/>
                  </a:lnTo>
                  <a:lnTo>
                    <a:pt x="3595911" y="1747518"/>
                  </a:lnTo>
                  <a:lnTo>
                    <a:pt x="3596145" y="1748939"/>
                  </a:lnTo>
                  <a:lnTo>
                    <a:pt x="3596634" y="1749753"/>
                  </a:lnTo>
                  <a:lnTo>
                    <a:pt x="3597208" y="1750305"/>
                  </a:lnTo>
                  <a:lnTo>
                    <a:pt x="3597705" y="1750968"/>
                  </a:lnTo>
                  <a:lnTo>
                    <a:pt x="3598349" y="1752247"/>
                  </a:lnTo>
                  <a:lnTo>
                    <a:pt x="3598701" y="1753122"/>
                  </a:lnTo>
                  <a:lnTo>
                    <a:pt x="3599095" y="1754388"/>
                  </a:lnTo>
                  <a:lnTo>
                    <a:pt x="3601484" y="1754259"/>
                  </a:lnTo>
                  <a:lnTo>
                    <a:pt x="3600812" y="1751401"/>
                  </a:lnTo>
                  <a:lnTo>
                    <a:pt x="3599287" y="1747901"/>
                  </a:lnTo>
                  <a:lnTo>
                    <a:pt x="3598983" y="1744850"/>
                  </a:lnTo>
                  <a:lnTo>
                    <a:pt x="3598047" y="1740676"/>
                  </a:lnTo>
                  <a:lnTo>
                    <a:pt x="3598009" y="1739645"/>
                  </a:lnTo>
                  <a:lnTo>
                    <a:pt x="3598414" y="1738756"/>
                  </a:lnTo>
                  <a:lnTo>
                    <a:pt x="3598847" y="1734032"/>
                  </a:lnTo>
                  <a:lnTo>
                    <a:pt x="3600524" y="1736282"/>
                  </a:lnTo>
                  <a:lnTo>
                    <a:pt x="3601784" y="1738832"/>
                  </a:lnTo>
                  <a:lnTo>
                    <a:pt x="3602589" y="1741348"/>
                  </a:lnTo>
                  <a:lnTo>
                    <a:pt x="3602888" y="1743475"/>
                  </a:lnTo>
                  <a:lnTo>
                    <a:pt x="3603545" y="1745958"/>
                  </a:lnTo>
                  <a:lnTo>
                    <a:pt x="3604963" y="1747966"/>
                  </a:lnTo>
                  <a:lnTo>
                    <a:pt x="3606372" y="1748770"/>
                  </a:lnTo>
                  <a:lnTo>
                    <a:pt x="3607037" y="1747687"/>
                  </a:lnTo>
                  <a:lnTo>
                    <a:pt x="3606281" y="1746882"/>
                  </a:lnTo>
                  <a:lnTo>
                    <a:pt x="3605178" y="1745427"/>
                  </a:lnTo>
                  <a:lnTo>
                    <a:pt x="3604352" y="1743937"/>
                  </a:lnTo>
                  <a:lnTo>
                    <a:pt x="3604440" y="1743041"/>
                  </a:lnTo>
                  <a:lnTo>
                    <a:pt x="3604747" y="1742626"/>
                  </a:lnTo>
                  <a:lnTo>
                    <a:pt x="3605036" y="1742000"/>
                  </a:lnTo>
                  <a:lnTo>
                    <a:pt x="3605404" y="1741492"/>
                  </a:lnTo>
                  <a:lnTo>
                    <a:pt x="3605947" y="1741473"/>
                  </a:lnTo>
                  <a:lnTo>
                    <a:pt x="3606631" y="1742108"/>
                  </a:lnTo>
                  <a:lnTo>
                    <a:pt x="3607025" y="1742967"/>
                  </a:lnTo>
                  <a:lnTo>
                    <a:pt x="3607307" y="1743814"/>
                  </a:lnTo>
                  <a:lnTo>
                    <a:pt x="3607657" y="1744388"/>
                  </a:lnTo>
                  <a:lnTo>
                    <a:pt x="3612503" y="1749053"/>
                  </a:lnTo>
                  <a:lnTo>
                    <a:pt x="3615063" y="1749696"/>
                  </a:lnTo>
                  <a:lnTo>
                    <a:pt x="3616051" y="1750134"/>
                  </a:lnTo>
                  <a:lnTo>
                    <a:pt x="3616972" y="1750754"/>
                  </a:lnTo>
                  <a:lnTo>
                    <a:pt x="3618074" y="1751172"/>
                  </a:lnTo>
                  <a:lnTo>
                    <a:pt x="3618737" y="1750875"/>
                  </a:lnTo>
                  <a:lnTo>
                    <a:pt x="3618336" y="1749347"/>
                  </a:lnTo>
                  <a:lnTo>
                    <a:pt x="3617740" y="1748934"/>
                  </a:lnTo>
                  <a:lnTo>
                    <a:pt x="3614348" y="1747211"/>
                  </a:lnTo>
                  <a:lnTo>
                    <a:pt x="3612252" y="1745528"/>
                  </a:lnTo>
                  <a:lnTo>
                    <a:pt x="3610259" y="1743548"/>
                  </a:lnTo>
                  <a:lnTo>
                    <a:pt x="3609439" y="1741736"/>
                  </a:lnTo>
                  <a:lnTo>
                    <a:pt x="3610853" y="1740578"/>
                  </a:lnTo>
                  <a:lnTo>
                    <a:pt x="3610471" y="1739854"/>
                  </a:lnTo>
                  <a:lnTo>
                    <a:pt x="3609263" y="1739659"/>
                  </a:lnTo>
                  <a:lnTo>
                    <a:pt x="3607595" y="1739085"/>
                  </a:lnTo>
                  <a:lnTo>
                    <a:pt x="3605908" y="1738172"/>
                  </a:lnTo>
                  <a:lnTo>
                    <a:pt x="3604657" y="1736982"/>
                  </a:lnTo>
                  <a:lnTo>
                    <a:pt x="3605273" y="1736758"/>
                  </a:lnTo>
                  <a:lnTo>
                    <a:pt x="3605859" y="1736241"/>
                  </a:lnTo>
                  <a:lnTo>
                    <a:pt x="3606076" y="1735341"/>
                  </a:lnTo>
                  <a:lnTo>
                    <a:pt x="3605557" y="1733967"/>
                  </a:lnTo>
                  <a:lnTo>
                    <a:pt x="3602158" y="1731901"/>
                  </a:lnTo>
                  <a:lnTo>
                    <a:pt x="3600178" y="1729984"/>
                  </a:lnTo>
                  <a:lnTo>
                    <a:pt x="3600201" y="1729071"/>
                  </a:lnTo>
                  <a:lnTo>
                    <a:pt x="3601441" y="1728927"/>
                  </a:lnTo>
                  <a:lnTo>
                    <a:pt x="3603109" y="1729319"/>
                  </a:lnTo>
                  <a:lnTo>
                    <a:pt x="3604134" y="1729722"/>
                  </a:lnTo>
                  <a:lnTo>
                    <a:pt x="3604429" y="1729637"/>
                  </a:lnTo>
                  <a:lnTo>
                    <a:pt x="3604871" y="1729235"/>
                  </a:lnTo>
                  <a:lnTo>
                    <a:pt x="3604776" y="1729043"/>
                  </a:lnTo>
                  <a:lnTo>
                    <a:pt x="3604632" y="1728578"/>
                  </a:lnTo>
                  <a:lnTo>
                    <a:pt x="3604571" y="1728043"/>
                  </a:lnTo>
                  <a:lnTo>
                    <a:pt x="3604725" y="1727612"/>
                  </a:lnTo>
                  <a:lnTo>
                    <a:pt x="3605058" y="1727421"/>
                  </a:lnTo>
                  <a:lnTo>
                    <a:pt x="3605471" y="1727399"/>
                  </a:lnTo>
                  <a:lnTo>
                    <a:pt x="3605954" y="1727572"/>
                  </a:lnTo>
                  <a:lnTo>
                    <a:pt x="3606486" y="1727953"/>
                  </a:lnTo>
                  <a:lnTo>
                    <a:pt x="3607428" y="1728486"/>
                  </a:lnTo>
                  <a:lnTo>
                    <a:pt x="3607864" y="1728350"/>
                  </a:lnTo>
                  <a:lnTo>
                    <a:pt x="3608281" y="1728514"/>
                  </a:lnTo>
                  <a:lnTo>
                    <a:pt x="3609150" y="1729935"/>
                  </a:lnTo>
                  <a:lnTo>
                    <a:pt x="3610496" y="1733888"/>
                  </a:lnTo>
                  <a:lnTo>
                    <a:pt x="3611444" y="1733976"/>
                  </a:lnTo>
                  <a:lnTo>
                    <a:pt x="3611387" y="1732544"/>
                  </a:lnTo>
                  <a:lnTo>
                    <a:pt x="3610961" y="1730562"/>
                  </a:lnTo>
                  <a:lnTo>
                    <a:pt x="3610827" y="1729043"/>
                  </a:lnTo>
                  <a:lnTo>
                    <a:pt x="3611808" y="1728824"/>
                  </a:lnTo>
                  <a:lnTo>
                    <a:pt x="3613660" y="1729604"/>
                  </a:lnTo>
                  <a:lnTo>
                    <a:pt x="3615420" y="1730915"/>
                  </a:lnTo>
                  <a:lnTo>
                    <a:pt x="3616092" y="1732225"/>
                  </a:lnTo>
                  <a:lnTo>
                    <a:pt x="3615447" y="1734930"/>
                  </a:lnTo>
                  <a:lnTo>
                    <a:pt x="3615402" y="1736525"/>
                  </a:lnTo>
                  <a:lnTo>
                    <a:pt x="3615904" y="1738658"/>
                  </a:lnTo>
                  <a:lnTo>
                    <a:pt x="3616577" y="1739997"/>
                  </a:lnTo>
                  <a:lnTo>
                    <a:pt x="3617490" y="1741046"/>
                  </a:lnTo>
                  <a:lnTo>
                    <a:pt x="3619884" y="1743418"/>
                  </a:lnTo>
                  <a:lnTo>
                    <a:pt x="3620167" y="1743268"/>
                  </a:lnTo>
                  <a:lnTo>
                    <a:pt x="3616986" y="1737226"/>
                  </a:lnTo>
                  <a:lnTo>
                    <a:pt x="3618312" y="1734176"/>
                  </a:lnTo>
                  <a:lnTo>
                    <a:pt x="3621763" y="1734394"/>
                  </a:lnTo>
                  <a:lnTo>
                    <a:pt x="3624964" y="1738158"/>
                  </a:lnTo>
                  <a:lnTo>
                    <a:pt x="3624907" y="1738483"/>
                  </a:lnTo>
                  <a:lnTo>
                    <a:pt x="3624492" y="1739451"/>
                  </a:lnTo>
                  <a:lnTo>
                    <a:pt x="3624550" y="1740074"/>
                  </a:lnTo>
                  <a:lnTo>
                    <a:pt x="3625007" y="1740864"/>
                  </a:lnTo>
                  <a:lnTo>
                    <a:pt x="3625551" y="1741435"/>
                  </a:lnTo>
                  <a:lnTo>
                    <a:pt x="3625994" y="1741751"/>
                  </a:lnTo>
                  <a:lnTo>
                    <a:pt x="3626143" y="1741778"/>
                  </a:lnTo>
                  <a:lnTo>
                    <a:pt x="3626939" y="1743694"/>
                  </a:lnTo>
                  <a:lnTo>
                    <a:pt x="3627176" y="1744922"/>
                  </a:lnTo>
                  <a:lnTo>
                    <a:pt x="3626783" y="1746962"/>
                  </a:lnTo>
                  <a:lnTo>
                    <a:pt x="3626635" y="1750489"/>
                  </a:lnTo>
                  <a:lnTo>
                    <a:pt x="3626165" y="1751207"/>
                  </a:lnTo>
                  <a:lnTo>
                    <a:pt x="3624325" y="1752117"/>
                  </a:lnTo>
                  <a:lnTo>
                    <a:pt x="3623657" y="1752929"/>
                  </a:lnTo>
                  <a:lnTo>
                    <a:pt x="3623421" y="1754285"/>
                  </a:lnTo>
                  <a:lnTo>
                    <a:pt x="3624464" y="1754444"/>
                  </a:lnTo>
                  <a:lnTo>
                    <a:pt x="3625389" y="1755031"/>
                  </a:lnTo>
                  <a:lnTo>
                    <a:pt x="3626305" y="1756229"/>
                  </a:lnTo>
                  <a:lnTo>
                    <a:pt x="3627336" y="1758233"/>
                  </a:lnTo>
                  <a:lnTo>
                    <a:pt x="3628026" y="1760004"/>
                  </a:lnTo>
                  <a:lnTo>
                    <a:pt x="3628348" y="1760978"/>
                  </a:lnTo>
                  <a:lnTo>
                    <a:pt x="3628938" y="1761777"/>
                  </a:lnTo>
                  <a:lnTo>
                    <a:pt x="3630430" y="1762999"/>
                  </a:lnTo>
                  <a:lnTo>
                    <a:pt x="3631185" y="1762855"/>
                  </a:lnTo>
                  <a:lnTo>
                    <a:pt x="3633680" y="1759946"/>
                  </a:lnTo>
                  <a:lnTo>
                    <a:pt x="3638170" y="1757541"/>
                  </a:lnTo>
                  <a:lnTo>
                    <a:pt x="3638271" y="1758137"/>
                  </a:lnTo>
                  <a:lnTo>
                    <a:pt x="3638572" y="1759234"/>
                  </a:lnTo>
                  <a:lnTo>
                    <a:pt x="3638666" y="1759828"/>
                  </a:lnTo>
                  <a:lnTo>
                    <a:pt x="3639981" y="1759685"/>
                  </a:lnTo>
                  <a:lnTo>
                    <a:pt x="3640853" y="1757673"/>
                  </a:lnTo>
                  <a:lnTo>
                    <a:pt x="3641292" y="1754999"/>
                  </a:lnTo>
                  <a:lnTo>
                    <a:pt x="3641311" y="1752865"/>
                  </a:lnTo>
                  <a:lnTo>
                    <a:pt x="3641577" y="1752351"/>
                  </a:lnTo>
                  <a:lnTo>
                    <a:pt x="3643001" y="1751293"/>
                  </a:lnTo>
                  <a:lnTo>
                    <a:pt x="3643500" y="1751257"/>
                  </a:lnTo>
                  <a:lnTo>
                    <a:pt x="3644425" y="1752673"/>
                  </a:lnTo>
                  <a:lnTo>
                    <a:pt x="3644594" y="1754031"/>
                  </a:lnTo>
                  <a:lnTo>
                    <a:pt x="3643936" y="1757999"/>
                  </a:lnTo>
                  <a:lnTo>
                    <a:pt x="3644004" y="1759181"/>
                  </a:lnTo>
                  <a:lnTo>
                    <a:pt x="3644508" y="1760560"/>
                  </a:lnTo>
                  <a:lnTo>
                    <a:pt x="3645039" y="1760741"/>
                  </a:lnTo>
                  <a:lnTo>
                    <a:pt x="3645320" y="1759478"/>
                  </a:lnTo>
                  <a:lnTo>
                    <a:pt x="3645413" y="1757125"/>
                  </a:lnTo>
                  <a:lnTo>
                    <a:pt x="3645625" y="1756737"/>
                  </a:lnTo>
                  <a:lnTo>
                    <a:pt x="3645758" y="1755434"/>
                  </a:lnTo>
                  <a:lnTo>
                    <a:pt x="3645907" y="1755074"/>
                  </a:lnTo>
                  <a:lnTo>
                    <a:pt x="3646415" y="1755045"/>
                  </a:lnTo>
                  <a:lnTo>
                    <a:pt x="3647578" y="1755574"/>
                  </a:lnTo>
                  <a:lnTo>
                    <a:pt x="3648049" y="1755701"/>
                  </a:lnTo>
                  <a:lnTo>
                    <a:pt x="3648674" y="1755576"/>
                  </a:lnTo>
                  <a:lnTo>
                    <a:pt x="3649160" y="1755252"/>
                  </a:lnTo>
                  <a:lnTo>
                    <a:pt x="3649119" y="1754684"/>
                  </a:lnTo>
                  <a:lnTo>
                    <a:pt x="3648173" y="1753849"/>
                  </a:lnTo>
                  <a:lnTo>
                    <a:pt x="3647449" y="1752166"/>
                  </a:lnTo>
                  <a:lnTo>
                    <a:pt x="3647135" y="1751222"/>
                  </a:lnTo>
                  <a:lnTo>
                    <a:pt x="3646956" y="1750241"/>
                  </a:lnTo>
                  <a:lnTo>
                    <a:pt x="3647055" y="1749363"/>
                  </a:lnTo>
                  <a:lnTo>
                    <a:pt x="3647765" y="1748332"/>
                  </a:lnTo>
                  <a:lnTo>
                    <a:pt x="3647898" y="1747603"/>
                  </a:lnTo>
                  <a:lnTo>
                    <a:pt x="3648103" y="1747085"/>
                  </a:lnTo>
                  <a:lnTo>
                    <a:pt x="3648652" y="1747469"/>
                  </a:lnTo>
                  <a:lnTo>
                    <a:pt x="3649229" y="1748315"/>
                  </a:lnTo>
                  <a:lnTo>
                    <a:pt x="3649521" y="1749241"/>
                  </a:lnTo>
                  <a:lnTo>
                    <a:pt x="3649625" y="1751963"/>
                  </a:lnTo>
                  <a:lnTo>
                    <a:pt x="3649852" y="1752938"/>
                  </a:lnTo>
                  <a:lnTo>
                    <a:pt x="3650930" y="1751778"/>
                  </a:lnTo>
                  <a:lnTo>
                    <a:pt x="3652133" y="1748070"/>
                  </a:lnTo>
                  <a:lnTo>
                    <a:pt x="3653452" y="1747484"/>
                  </a:lnTo>
                  <a:lnTo>
                    <a:pt x="3653528" y="1748767"/>
                  </a:lnTo>
                  <a:lnTo>
                    <a:pt x="3652708" y="1751321"/>
                  </a:lnTo>
                  <a:lnTo>
                    <a:pt x="3652756" y="1752217"/>
                  </a:lnTo>
                  <a:lnTo>
                    <a:pt x="3653585" y="1752514"/>
                  </a:lnTo>
                  <a:lnTo>
                    <a:pt x="3655831" y="1750542"/>
                  </a:lnTo>
                  <a:lnTo>
                    <a:pt x="3655953" y="1749686"/>
                  </a:lnTo>
                  <a:lnTo>
                    <a:pt x="3656687" y="1750197"/>
                  </a:lnTo>
                  <a:lnTo>
                    <a:pt x="3657679" y="1751475"/>
                  </a:lnTo>
                  <a:lnTo>
                    <a:pt x="3658573" y="1752933"/>
                  </a:lnTo>
                  <a:lnTo>
                    <a:pt x="3659370" y="1754984"/>
                  </a:lnTo>
                  <a:lnTo>
                    <a:pt x="3659262" y="1756246"/>
                  </a:lnTo>
                  <a:lnTo>
                    <a:pt x="3657460" y="1758852"/>
                  </a:lnTo>
                  <a:lnTo>
                    <a:pt x="3654065" y="1760833"/>
                  </a:lnTo>
                  <a:lnTo>
                    <a:pt x="3653973" y="1761626"/>
                  </a:lnTo>
                  <a:lnTo>
                    <a:pt x="3654095" y="1763518"/>
                  </a:lnTo>
                  <a:lnTo>
                    <a:pt x="3657758" y="1763775"/>
                  </a:lnTo>
                  <a:lnTo>
                    <a:pt x="3659570" y="1765111"/>
                  </a:lnTo>
                  <a:lnTo>
                    <a:pt x="3660526" y="1768653"/>
                  </a:lnTo>
                  <a:lnTo>
                    <a:pt x="3660011" y="1770744"/>
                  </a:lnTo>
                  <a:lnTo>
                    <a:pt x="3658537" y="1772154"/>
                  </a:lnTo>
                  <a:lnTo>
                    <a:pt x="3646174" y="1774610"/>
                  </a:lnTo>
                  <a:lnTo>
                    <a:pt x="3645378" y="1775077"/>
                  </a:lnTo>
                  <a:lnTo>
                    <a:pt x="3644869" y="1775787"/>
                  </a:lnTo>
                  <a:lnTo>
                    <a:pt x="3644086" y="1777514"/>
                  </a:lnTo>
                  <a:lnTo>
                    <a:pt x="3641743" y="1779486"/>
                  </a:lnTo>
                  <a:lnTo>
                    <a:pt x="3641874" y="1779623"/>
                  </a:lnTo>
                  <a:lnTo>
                    <a:pt x="3642006" y="1779892"/>
                  </a:lnTo>
                  <a:lnTo>
                    <a:pt x="3642217" y="1780205"/>
                  </a:lnTo>
                  <a:lnTo>
                    <a:pt x="3649515" y="1775425"/>
                  </a:lnTo>
                  <a:lnTo>
                    <a:pt x="3651164" y="1774955"/>
                  </a:lnTo>
                  <a:lnTo>
                    <a:pt x="3652833" y="1776139"/>
                  </a:lnTo>
                  <a:lnTo>
                    <a:pt x="3651554" y="1776076"/>
                  </a:lnTo>
                  <a:lnTo>
                    <a:pt x="3650968" y="1776208"/>
                  </a:lnTo>
                  <a:lnTo>
                    <a:pt x="3650476" y="1776553"/>
                  </a:lnTo>
                  <a:lnTo>
                    <a:pt x="3651012" y="1777027"/>
                  </a:lnTo>
                  <a:lnTo>
                    <a:pt x="3651584" y="1777435"/>
                  </a:lnTo>
                  <a:lnTo>
                    <a:pt x="3652161" y="1777750"/>
                  </a:lnTo>
                  <a:lnTo>
                    <a:pt x="3652724" y="1777980"/>
                  </a:lnTo>
                  <a:lnTo>
                    <a:pt x="3651817" y="1779411"/>
                  </a:lnTo>
                  <a:lnTo>
                    <a:pt x="3649252" y="1781341"/>
                  </a:lnTo>
                  <a:lnTo>
                    <a:pt x="3648351" y="1782808"/>
                  </a:lnTo>
                  <a:lnTo>
                    <a:pt x="3649485" y="1783144"/>
                  </a:lnTo>
                  <a:lnTo>
                    <a:pt x="3650615" y="1782828"/>
                  </a:lnTo>
                  <a:lnTo>
                    <a:pt x="3657031" y="1778163"/>
                  </a:lnTo>
                  <a:lnTo>
                    <a:pt x="3657642" y="1777924"/>
                  </a:lnTo>
                  <a:lnTo>
                    <a:pt x="3658172" y="1778452"/>
                  </a:lnTo>
                  <a:lnTo>
                    <a:pt x="3658324" y="1779355"/>
                  </a:lnTo>
                  <a:lnTo>
                    <a:pt x="3657947" y="1780199"/>
                  </a:lnTo>
                  <a:lnTo>
                    <a:pt x="3658306" y="1780869"/>
                  </a:lnTo>
                  <a:lnTo>
                    <a:pt x="3661082" y="1779385"/>
                  </a:lnTo>
                  <a:lnTo>
                    <a:pt x="3662797" y="1779433"/>
                  </a:lnTo>
                  <a:lnTo>
                    <a:pt x="3664566" y="1780972"/>
                  </a:lnTo>
                  <a:lnTo>
                    <a:pt x="3662831" y="1782099"/>
                  </a:lnTo>
                  <a:lnTo>
                    <a:pt x="3662256" y="1782914"/>
                  </a:lnTo>
                  <a:lnTo>
                    <a:pt x="3660968" y="1787461"/>
                  </a:lnTo>
                  <a:lnTo>
                    <a:pt x="3660432" y="1788319"/>
                  </a:lnTo>
                  <a:lnTo>
                    <a:pt x="3660785" y="1788982"/>
                  </a:lnTo>
                  <a:lnTo>
                    <a:pt x="3662787" y="1787983"/>
                  </a:lnTo>
                  <a:lnTo>
                    <a:pt x="3663160" y="1787274"/>
                  </a:lnTo>
                  <a:lnTo>
                    <a:pt x="3663463" y="1784498"/>
                  </a:lnTo>
                  <a:lnTo>
                    <a:pt x="3663631" y="1784031"/>
                  </a:lnTo>
                  <a:lnTo>
                    <a:pt x="3664716" y="1783154"/>
                  </a:lnTo>
                  <a:lnTo>
                    <a:pt x="3665345" y="1783103"/>
                  </a:lnTo>
                  <a:lnTo>
                    <a:pt x="3669059" y="1784507"/>
                  </a:lnTo>
                  <a:lnTo>
                    <a:pt x="3669586" y="1785549"/>
                  </a:lnTo>
                  <a:lnTo>
                    <a:pt x="3670024" y="1785591"/>
                  </a:lnTo>
                  <a:lnTo>
                    <a:pt x="3670830" y="1784400"/>
                  </a:lnTo>
                  <a:lnTo>
                    <a:pt x="3671218" y="1785121"/>
                  </a:lnTo>
                  <a:lnTo>
                    <a:pt x="3671087" y="1785498"/>
                  </a:lnTo>
                  <a:lnTo>
                    <a:pt x="3671017" y="1786853"/>
                  </a:lnTo>
                  <a:lnTo>
                    <a:pt x="3671949" y="1786958"/>
                  </a:lnTo>
                  <a:lnTo>
                    <a:pt x="3673656" y="1786605"/>
                  </a:lnTo>
                  <a:lnTo>
                    <a:pt x="3674628" y="1786687"/>
                  </a:lnTo>
                  <a:lnTo>
                    <a:pt x="3672966" y="1791774"/>
                  </a:lnTo>
                  <a:lnTo>
                    <a:pt x="3675793" y="1789184"/>
                  </a:lnTo>
                  <a:lnTo>
                    <a:pt x="3677555" y="1788361"/>
                  </a:lnTo>
                  <a:lnTo>
                    <a:pt x="3679316" y="1789250"/>
                  </a:lnTo>
                  <a:lnTo>
                    <a:pt x="3678587" y="1789847"/>
                  </a:lnTo>
                  <a:lnTo>
                    <a:pt x="3677236" y="1792950"/>
                  </a:lnTo>
                  <a:lnTo>
                    <a:pt x="3675564" y="1794562"/>
                  </a:lnTo>
                  <a:lnTo>
                    <a:pt x="3673580" y="1795715"/>
                  </a:lnTo>
                  <a:lnTo>
                    <a:pt x="3674763" y="1796828"/>
                  </a:lnTo>
                  <a:lnTo>
                    <a:pt x="3675918" y="1796949"/>
                  </a:lnTo>
                  <a:lnTo>
                    <a:pt x="3681030" y="1795151"/>
                  </a:lnTo>
                  <a:lnTo>
                    <a:pt x="3681402" y="1794878"/>
                  </a:lnTo>
                  <a:lnTo>
                    <a:pt x="3682385" y="1793567"/>
                  </a:lnTo>
                  <a:lnTo>
                    <a:pt x="3687595" y="1791562"/>
                  </a:lnTo>
                  <a:lnTo>
                    <a:pt x="3688098" y="1793072"/>
                  </a:lnTo>
                  <a:lnTo>
                    <a:pt x="3688221" y="1794320"/>
                  </a:lnTo>
                  <a:lnTo>
                    <a:pt x="3688036" y="1796461"/>
                  </a:lnTo>
                  <a:lnTo>
                    <a:pt x="3689524" y="1794891"/>
                  </a:lnTo>
                  <a:lnTo>
                    <a:pt x="3690088" y="1793888"/>
                  </a:lnTo>
                  <a:lnTo>
                    <a:pt x="3690379" y="1792615"/>
                  </a:lnTo>
                  <a:lnTo>
                    <a:pt x="3690455" y="1789803"/>
                  </a:lnTo>
                  <a:lnTo>
                    <a:pt x="3690718" y="1788693"/>
                  </a:lnTo>
                  <a:lnTo>
                    <a:pt x="3692068" y="1786985"/>
                  </a:lnTo>
                  <a:lnTo>
                    <a:pt x="3692440" y="1786780"/>
                  </a:lnTo>
                  <a:lnTo>
                    <a:pt x="3693149" y="1786803"/>
                  </a:lnTo>
                  <a:lnTo>
                    <a:pt x="3693758" y="1787218"/>
                  </a:lnTo>
                  <a:lnTo>
                    <a:pt x="3694154" y="1787883"/>
                  </a:lnTo>
                  <a:lnTo>
                    <a:pt x="3694528" y="1788386"/>
                  </a:lnTo>
                  <a:lnTo>
                    <a:pt x="3695073" y="1788305"/>
                  </a:lnTo>
                  <a:lnTo>
                    <a:pt x="3695320" y="1786973"/>
                  </a:lnTo>
                  <a:lnTo>
                    <a:pt x="3695167" y="1784861"/>
                  </a:lnTo>
                  <a:lnTo>
                    <a:pt x="3695369" y="1783261"/>
                  </a:lnTo>
                  <a:lnTo>
                    <a:pt x="3696695" y="1783478"/>
                  </a:lnTo>
                  <a:lnTo>
                    <a:pt x="3697268" y="1783902"/>
                  </a:lnTo>
                  <a:lnTo>
                    <a:pt x="3697650" y="1784294"/>
                  </a:lnTo>
                  <a:lnTo>
                    <a:pt x="3698031" y="1784886"/>
                  </a:lnTo>
                  <a:lnTo>
                    <a:pt x="3698606" y="1785922"/>
                  </a:lnTo>
                  <a:lnTo>
                    <a:pt x="3699274" y="1786739"/>
                  </a:lnTo>
                  <a:lnTo>
                    <a:pt x="3700577" y="1787295"/>
                  </a:lnTo>
                  <a:lnTo>
                    <a:pt x="3701175" y="1787976"/>
                  </a:lnTo>
                  <a:lnTo>
                    <a:pt x="3701094" y="1788962"/>
                  </a:lnTo>
                  <a:lnTo>
                    <a:pt x="3696764" y="1796199"/>
                  </a:lnTo>
                  <a:lnTo>
                    <a:pt x="3696526" y="1797402"/>
                  </a:lnTo>
                  <a:lnTo>
                    <a:pt x="3696426" y="1798979"/>
                  </a:lnTo>
                  <a:lnTo>
                    <a:pt x="3694852" y="1802211"/>
                  </a:lnTo>
                  <a:lnTo>
                    <a:pt x="3696159" y="1803606"/>
                  </a:lnTo>
                  <a:lnTo>
                    <a:pt x="3696475" y="1804953"/>
                  </a:lnTo>
                  <a:lnTo>
                    <a:pt x="3696162" y="1806109"/>
                  </a:lnTo>
                  <a:lnTo>
                    <a:pt x="3695572" y="1806952"/>
                  </a:lnTo>
                  <a:lnTo>
                    <a:pt x="3694173" y="1808177"/>
                  </a:lnTo>
                  <a:lnTo>
                    <a:pt x="3694072" y="1809064"/>
                  </a:lnTo>
                  <a:lnTo>
                    <a:pt x="3694436" y="1811076"/>
                  </a:lnTo>
                  <a:lnTo>
                    <a:pt x="3696418" y="1813000"/>
                  </a:lnTo>
                  <a:lnTo>
                    <a:pt x="3698111" y="1814174"/>
                  </a:lnTo>
                  <a:lnTo>
                    <a:pt x="3699690" y="1814564"/>
                  </a:lnTo>
                  <a:lnTo>
                    <a:pt x="3708123" y="1813491"/>
                  </a:lnTo>
                  <a:lnTo>
                    <a:pt x="3709836" y="1810911"/>
                  </a:lnTo>
                  <a:lnTo>
                    <a:pt x="3710495" y="1811078"/>
                  </a:lnTo>
                  <a:lnTo>
                    <a:pt x="3711322" y="1811729"/>
                  </a:lnTo>
                  <a:lnTo>
                    <a:pt x="3712278" y="1812320"/>
                  </a:lnTo>
                  <a:lnTo>
                    <a:pt x="3720697" y="1814423"/>
                  </a:lnTo>
                  <a:lnTo>
                    <a:pt x="3722490" y="1815606"/>
                  </a:lnTo>
                  <a:lnTo>
                    <a:pt x="3724547" y="1817604"/>
                  </a:lnTo>
                  <a:lnTo>
                    <a:pt x="3725099" y="1819856"/>
                  </a:lnTo>
                  <a:lnTo>
                    <a:pt x="3725244" y="1820994"/>
                  </a:lnTo>
                  <a:lnTo>
                    <a:pt x="3725078" y="1821608"/>
                  </a:lnTo>
                  <a:lnTo>
                    <a:pt x="3723436" y="1821753"/>
                  </a:lnTo>
                  <a:lnTo>
                    <a:pt x="3722956" y="1822189"/>
                  </a:lnTo>
                  <a:lnTo>
                    <a:pt x="3723303" y="1823531"/>
                  </a:lnTo>
                  <a:lnTo>
                    <a:pt x="3724570" y="1823686"/>
                  </a:lnTo>
                  <a:lnTo>
                    <a:pt x="3726117" y="1824429"/>
                  </a:lnTo>
                  <a:lnTo>
                    <a:pt x="3727073" y="1825535"/>
                  </a:lnTo>
                  <a:lnTo>
                    <a:pt x="3726582" y="1826774"/>
                  </a:lnTo>
                  <a:lnTo>
                    <a:pt x="3727571" y="1827182"/>
                  </a:lnTo>
                  <a:lnTo>
                    <a:pt x="3728503" y="1827800"/>
                  </a:lnTo>
                  <a:lnTo>
                    <a:pt x="3729423" y="1828783"/>
                  </a:lnTo>
                  <a:lnTo>
                    <a:pt x="3730384" y="1830285"/>
                  </a:lnTo>
                  <a:lnTo>
                    <a:pt x="3731294" y="1831924"/>
                  </a:lnTo>
                  <a:lnTo>
                    <a:pt x="3731740" y="1832934"/>
                  </a:lnTo>
                  <a:lnTo>
                    <a:pt x="3731802" y="1833852"/>
                  </a:lnTo>
                  <a:lnTo>
                    <a:pt x="3731594" y="1835232"/>
                  </a:lnTo>
                  <a:lnTo>
                    <a:pt x="3733519" y="1835533"/>
                  </a:lnTo>
                  <a:lnTo>
                    <a:pt x="3735179" y="1836964"/>
                  </a:lnTo>
                  <a:lnTo>
                    <a:pt x="3736180" y="1839063"/>
                  </a:lnTo>
                  <a:lnTo>
                    <a:pt x="3736125" y="1841381"/>
                  </a:lnTo>
                  <a:lnTo>
                    <a:pt x="3734969" y="1842423"/>
                  </a:lnTo>
                  <a:lnTo>
                    <a:pt x="3731835" y="1841414"/>
                  </a:lnTo>
                  <a:lnTo>
                    <a:pt x="3730980" y="1842440"/>
                  </a:lnTo>
                  <a:lnTo>
                    <a:pt x="3733946" y="1844912"/>
                  </a:lnTo>
                  <a:lnTo>
                    <a:pt x="3737956" y="1843786"/>
                  </a:lnTo>
                  <a:lnTo>
                    <a:pt x="3740325" y="1846344"/>
                  </a:lnTo>
                  <a:lnTo>
                    <a:pt x="3740865" y="1847292"/>
                  </a:lnTo>
                  <a:lnTo>
                    <a:pt x="3741420" y="1848416"/>
                  </a:lnTo>
                  <a:lnTo>
                    <a:pt x="3741705" y="1849527"/>
                  </a:lnTo>
                  <a:lnTo>
                    <a:pt x="3741438" y="1850448"/>
                  </a:lnTo>
                  <a:lnTo>
                    <a:pt x="3740152" y="1850799"/>
                  </a:lnTo>
                  <a:lnTo>
                    <a:pt x="3738519" y="1850345"/>
                  </a:lnTo>
                  <a:lnTo>
                    <a:pt x="3737087" y="1850223"/>
                  </a:lnTo>
                  <a:lnTo>
                    <a:pt x="3736394" y="1851604"/>
                  </a:lnTo>
                  <a:lnTo>
                    <a:pt x="3738633" y="1852173"/>
                  </a:lnTo>
                  <a:lnTo>
                    <a:pt x="3742257" y="1851190"/>
                  </a:lnTo>
                  <a:lnTo>
                    <a:pt x="3744263" y="1851456"/>
                  </a:lnTo>
                  <a:lnTo>
                    <a:pt x="3744070" y="1852111"/>
                  </a:lnTo>
                  <a:lnTo>
                    <a:pt x="3743415" y="1853069"/>
                  </a:lnTo>
                  <a:lnTo>
                    <a:pt x="3743206" y="1853677"/>
                  </a:lnTo>
                  <a:lnTo>
                    <a:pt x="3743324" y="1854511"/>
                  </a:lnTo>
                  <a:lnTo>
                    <a:pt x="3743651" y="1855219"/>
                  </a:lnTo>
                  <a:lnTo>
                    <a:pt x="3743753" y="1855838"/>
                  </a:lnTo>
                  <a:lnTo>
                    <a:pt x="3743192" y="1856416"/>
                  </a:lnTo>
                  <a:lnTo>
                    <a:pt x="3742484" y="1856523"/>
                  </a:lnTo>
                  <a:lnTo>
                    <a:pt x="3741741" y="1856362"/>
                  </a:lnTo>
                  <a:lnTo>
                    <a:pt x="3741043" y="1856375"/>
                  </a:lnTo>
                  <a:lnTo>
                    <a:pt x="3740473" y="1856993"/>
                  </a:lnTo>
                  <a:lnTo>
                    <a:pt x="3740365" y="1857718"/>
                  </a:lnTo>
                  <a:lnTo>
                    <a:pt x="3740433" y="1858559"/>
                  </a:lnTo>
                  <a:lnTo>
                    <a:pt x="3740434" y="1859335"/>
                  </a:lnTo>
                  <a:lnTo>
                    <a:pt x="3740099" y="1859848"/>
                  </a:lnTo>
                  <a:lnTo>
                    <a:pt x="3739574" y="1859730"/>
                  </a:lnTo>
                  <a:lnTo>
                    <a:pt x="3738804" y="1859205"/>
                  </a:lnTo>
                  <a:lnTo>
                    <a:pt x="3738078" y="1858568"/>
                  </a:lnTo>
                  <a:lnTo>
                    <a:pt x="3737674" y="1858113"/>
                  </a:lnTo>
                  <a:lnTo>
                    <a:pt x="3737019" y="1857565"/>
                  </a:lnTo>
                  <a:lnTo>
                    <a:pt x="3735368" y="1857689"/>
                  </a:lnTo>
                  <a:lnTo>
                    <a:pt x="3734712" y="1857602"/>
                  </a:lnTo>
                  <a:lnTo>
                    <a:pt x="3734140" y="1856978"/>
                  </a:lnTo>
                  <a:lnTo>
                    <a:pt x="3733777" y="1856218"/>
                  </a:lnTo>
                  <a:lnTo>
                    <a:pt x="3733338" y="1855479"/>
                  </a:lnTo>
                  <a:lnTo>
                    <a:pt x="3732530" y="1854950"/>
                  </a:lnTo>
                  <a:lnTo>
                    <a:pt x="3729877" y="1854267"/>
                  </a:lnTo>
                  <a:lnTo>
                    <a:pt x="3729307" y="1852666"/>
                  </a:lnTo>
                  <a:lnTo>
                    <a:pt x="3728408" y="1851645"/>
                  </a:lnTo>
                  <a:lnTo>
                    <a:pt x="3727665" y="1850538"/>
                  </a:lnTo>
                  <a:lnTo>
                    <a:pt x="3727566" y="1848693"/>
                  </a:lnTo>
                  <a:lnTo>
                    <a:pt x="3725675" y="1848540"/>
                  </a:lnTo>
                  <a:lnTo>
                    <a:pt x="3725078" y="1848271"/>
                  </a:lnTo>
                  <a:lnTo>
                    <a:pt x="3724710" y="1847830"/>
                  </a:lnTo>
                  <a:lnTo>
                    <a:pt x="3723539" y="1846254"/>
                  </a:lnTo>
                  <a:lnTo>
                    <a:pt x="3718719" y="1840708"/>
                  </a:lnTo>
                  <a:lnTo>
                    <a:pt x="3718567" y="1840322"/>
                  </a:lnTo>
                  <a:lnTo>
                    <a:pt x="3718551" y="1839903"/>
                  </a:lnTo>
                  <a:lnTo>
                    <a:pt x="3718418" y="1839424"/>
                  </a:lnTo>
                  <a:lnTo>
                    <a:pt x="3717933" y="1838879"/>
                  </a:lnTo>
                  <a:lnTo>
                    <a:pt x="3717578" y="1838641"/>
                  </a:lnTo>
                  <a:lnTo>
                    <a:pt x="3717410" y="1838559"/>
                  </a:lnTo>
                  <a:lnTo>
                    <a:pt x="3717265" y="1838465"/>
                  </a:lnTo>
                  <a:lnTo>
                    <a:pt x="3716564" y="1837810"/>
                  </a:lnTo>
                  <a:lnTo>
                    <a:pt x="3714719" y="1836415"/>
                  </a:lnTo>
                  <a:lnTo>
                    <a:pt x="3713116" y="1835478"/>
                  </a:lnTo>
                  <a:lnTo>
                    <a:pt x="3710389" y="1834555"/>
                  </a:lnTo>
                  <a:lnTo>
                    <a:pt x="3708965" y="1833071"/>
                  </a:lnTo>
                  <a:lnTo>
                    <a:pt x="3708481" y="1832143"/>
                  </a:lnTo>
                  <a:lnTo>
                    <a:pt x="3708104" y="1830688"/>
                  </a:lnTo>
                  <a:lnTo>
                    <a:pt x="3707473" y="1829682"/>
                  </a:lnTo>
                  <a:lnTo>
                    <a:pt x="3706717" y="1828877"/>
                  </a:lnTo>
                  <a:lnTo>
                    <a:pt x="3706088" y="1828483"/>
                  </a:lnTo>
                  <a:lnTo>
                    <a:pt x="3703045" y="1827807"/>
                  </a:lnTo>
                  <a:lnTo>
                    <a:pt x="3700000" y="1827808"/>
                  </a:lnTo>
                  <a:lnTo>
                    <a:pt x="3698185" y="1826984"/>
                  </a:lnTo>
                  <a:lnTo>
                    <a:pt x="3697145" y="1826119"/>
                  </a:lnTo>
                  <a:lnTo>
                    <a:pt x="3693924" y="1822857"/>
                  </a:lnTo>
                  <a:lnTo>
                    <a:pt x="3692439" y="1822112"/>
                  </a:lnTo>
                  <a:lnTo>
                    <a:pt x="3689531" y="1821794"/>
                  </a:lnTo>
                  <a:lnTo>
                    <a:pt x="3687724" y="1820637"/>
                  </a:lnTo>
                  <a:lnTo>
                    <a:pt x="3688392" y="1820244"/>
                  </a:lnTo>
                  <a:lnTo>
                    <a:pt x="3690636" y="1819912"/>
                  </a:lnTo>
                  <a:lnTo>
                    <a:pt x="3688648" y="1818630"/>
                  </a:lnTo>
                  <a:lnTo>
                    <a:pt x="3686971" y="1818238"/>
                  </a:lnTo>
                  <a:lnTo>
                    <a:pt x="3685525" y="1818462"/>
                  </a:lnTo>
                  <a:lnTo>
                    <a:pt x="3684238" y="1819036"/>
                  </a:lnTo>
                  <a:lnTo>
                    <a:pt x="3682786" y="1819303"/>
                  </a:lnTo>
                  <a:lnTo>
                    <a:pt x="3682199" y="1819691"/>
                  </a:lnTo>
                  <a:lnTo>
                    <a:pt x="3682548" y="1820407"/>
                  </a:lnTo>
                  <a:lnTo>
                    <a:pt x="3683381" y="1820979"/>
                  </a:lnTo>
                  <a:lnTo>
                    <a:pt x="3689139" y="1823278"/>
                  </a:lnTo>
                  <a:lnTo>
                    <a:pt x="3690907" y="1824532"/>
                  </a:lnTo>
                  <a:lnTo>
                    <a:pt x="3691775" y="1824976"/>
                  </a:lnTo>
                  <a:lnTo>
                    <a:pt x="3692589" y="1824901"/>
                  </a:lnTo>
                  <a:lnTo>
                    <a:pt x="3694063" y="1825123"/>
                  </a:lnTo>
                  <a:lnTo>
                    <a:pt x="3695737" y="1826625"/>
                  </a:lnTo>
                  <a:lnTo>
                    <a:pt x="3697450" y="1828525"/>
                  </a:lnTo>
                  <a:lnTo>
                    <a:pt x="3699035" y="1829943"/>
                  </a:lnTo>
                  <a:lnTo>
                    <a:pt x="3702322" y="1831182"/>
                  </a:lnTo>
                  <a:lnTo>
                    <a:pt x="3705060" y="1831781"/>
                  </a:lnTo>
                  <a:lnTo>
                    <a:pt x="3705592" y="1832026"/>
                  </a:lnTo>
                  <a:lnTo>
                    <a:pt x="3706373" y="1832776"/>
                  </a:lnTo>
                  <a:lnTo>
                    <a:pt x="3707001" y="1833605"/>
                  </a:lnTo>
                  <a:lnTo>
                    <a:pt x="3707077" y="1834104"/>
                  </a:lnTo>
                  <a:lnTo>
                    <a:pt x="3705063" y="1836986"/>
                  </a:lnTo>
                  <a:lnTo>
                    <a:pt x="3704435" y="1840540"/>
                  </a:lnTo>
                  <a:lnTo>
                    <a:pt x="3706690" y="1843392"/>
                  </a:lnTo>
                  <a:lnTo>
                    <a:pt x="3709664" y="1846060"/>
                  </a:lnTo>
                  <a:lnTo>
                    <a:pt x="3711169" y="1849033"/>
                  </a:lnTo>
                  <a:lnTo>
                    <a:pt x="3710620" y="1850162"/>
                  </a:lnTo>
                  <a:lnTo>
                    <a:pt x="3708471" y="1851478"/>
                  </a:lnTo>
                  <a:lnTo>
                    <a:pt x="3708466" y="1853144"/>
                  </a:lnTo>
                  <a:lnTo>
                    <a:pt x="3710448" y="1852053"/>
                  </a:lnTo>
                  <a:lnTo>
                    <a:pt x="3712436" y="1850053"/>
                  </a:lnTo>
                  <a:lnTo>
                    <a:pt x="3712643" y="1851586"/>
                  </a:lnTo>
                  <a:lnTo>
                    <a:pt x="3712230" y="1852930"/>
                  </a:lnTo>
                  <a:lnTo>
                    <a:pt x="3711076" y="1855146"/>
                  </a:lnTo>
                  <a:lnTo>
                    <a:pt x="3712890" y="1854700"/>
                  </a:lnTo>
                  <a:lnTo>
                    <a:pt x="3714259" y="1853496"/>
                  </a:lnTo>
                  <a:lnTo>
                    <a:pt x="3715841" y="1852898"/>
                  </a:lnTo>
                  <a:lnTo>
                    <a:pt x="3718983" y="1854678"/>
                  </a:lnTo>
                  <a:lnTo>
                    <a:pt x="3720218" y="1855052"/>
                  </a:lnTo>
                  <a:lnTo>
                    <a:pt x="3720812" y="1855355"/>
                  </a:lnTo>
                  <a:lnTo>
                    <a:pt x="3721289" y="1855894"/>
                  </a:lnTo>
                  <a:lnTo>
                    <a:pt x="3722077" y="1857349"/>
                  </a:lnTo>
                  <a:lnTo>
                    <a:pt x="3722545" y="1857898"/>
                  </a:lnTo>
                  <a:lnTo>
                    <a:pt x="3723556" y="1858803"/>
                  </a:lnTo>
                  <a:lnTo>
                    <a:pt x="3725417" y="1860751"/>
                  </a:lnTo>
                  <a:lnTo>
                    <a:pt x="3726173" y="1861443"/>
                  </a:lnTo>
                  <a:lnTo>
                    <a:pt x="3726183" y="1861820"/>
                  </a:lnTo>
                  <a:lnTo>
                    <a:pt x="3726280" y="1862654"/>
                  </a:lnTo>
                  <a:lnTo>
                    <a:pt x="3726269" y="1863017"/>
                  </a:lnTo>
                  <a:lnTo>
                    <a:pt x="3728991" y="1865962"/>
                  </a:lnTo>
                  <a:lnTo>
                    <a:pt x="3727446" y="1866313"/>
                  </a:lnTo>
                  <a:lnTo>
                    <a:pt x="3726059" y="1865752"/>
                  </a:lnTo>
                  <a:lnTo>
                    <a:pt x="3722649" y="1863370"/>
                  </a:lnTo>
                  <a:lnTo>
                    <a:pt x="3721268" y="1862718"/>
                  </a:lnTo>
                  <a:lnTo>
                    <a:pt x="3719509" y="1862149"/>
                  </a:lnTo>
                  <a:lnTo>
                    <a:pt x="3718180" y="1862171"/>
                  </a:lnTo>
                  <a:lnTo>
                    <a:pt x="3718078" y="1863295"/>
                  </a:lnTo>
                  <a:lnTo>
                    <a:pt x="3719141" y="1863495"/>
                  </a:lnTo>
                  <a:lnTo>
                    <a:pt x="3722741" y="1864946"/>
                  </a:lnTo>
                  <a:lnTo>
                    <a:pt x="3723068" y="1867915"/>
                  </a:lnTo>
                  <a:lnTo>
                    <a:pt x="3720562" y="1867650"/>
                  </a:lnTo>
                  <a:lnTo>
                    <a:pt x="3717430" y="1866548"/>
                  </a:lnTo>
                  <a:lnTo>
                    <a:pt x="3715907" y="1867040"/>
                  </a:lnTo>
                  <a:lnTo>
                    <a:pt x="3719894" y="1870131"/>
                  </a:lnTo>
                  <a:lnTo>
                    <a:pt x="3720637" y="1870521"/>
                  </a:lnTo>
                  <a:lnTo>
                    <a:pt x="3724584" y="1868371"/>
                  </a:lnTo>
                  <a:lnTo>
                    <a:pt x="3726352" y="1868843"/>
                  </a:lnTo>
                  <a:lnTo>
                    <a:pt x="3727257" y="1870361"/>
                  </a:lnTo>
                  <a:lnTo>
                    <a:pt x="3727240" y="1871822"/>
                  </a:lnTo>
                  <a:lnTo>
                    <a:pt x="3726231" y="1872139"/>
                  </a:lnTo>
                  <a:lnTo>
                    <a:pt x="3724990" y="1871689"/>
                  </a:lnTo>
                  <a:lnTo>
                    <a:pt x="3723571" y="1871439"/>
                  </a:lnTo>
                  <a:lnTo>
                    <a:pt x="3722626" y="1871882"/>
                  </a:lnTo>
                  <a:lnTo>
                    <a:pt x="3722817" y="1873529"/>
                  </a:lnTo>
                  <a:lnTo>
                    <a:pt x="3723374" y="1873440"/>
                  </a:lnTo>
                  <a:lnTo>
                    <a:pt x="3725289" y="1873971"/>
                  </a:lnTo>
                  <a:lnTo>
                    <a:pt x="3725226" y="1874509"/>
                  </a:lnTo>
                  <a:lnTo>
                    <a:pt x="3725084" y="1874938"/>
                  </a:lnTo>
                  <a:lnTo>
                    <a:pt x="3725439" y="1875600"/>
                  </a:lnTo>
                  <a:lnTo>
                    <a:pt x="3730639" y="1872013"/>
                  </a:lnTo>
                  <a:lnTo>
                    <a:pt x="3733023" y="1871993"/>
                  </a:lnTo>
                  <a:lnTo>
                    <a:pt x="3734337" y="1871589"/>
                  </a:lnTo>
                  <a:lnTo>
                    <a:pt x="3734445" y="1872667"/>
                  </a:lnTo>
                  <a:lnTo>
                    <a:pt x="3734032" y="1873352"/>
                  </a:lnTo>
                  <a:lnTo>
                    <a:pt x="3733549" y="1873816"/>
                  </a:lnTo>
                  <a:lnTo>
                    <a:pt x="3733448" y="1874218"/>
                  </a:lnTo>
                  <a:lnTo>
                    <a:pt x="3734171" y="1874974"/>
                  </a:lnTo>
                  <a:lnTo>
                    <a:pt x="3734915" y="1874933"/>
                  </a:lnTo>
                  <a:lnTo>
                    <a:pt x="3737633" y="1873442"/>
                  </a:lnTo>
                  <a:lnTo>
                    <a:pt x="3738412" y="1873494"/>
                  </a:lnTo>
                  <a:lnTo>
                    <a:pt x="3739411" y="1873945"/>
                  </a:lnTo>
                  <a:lnTo>
                    <a:pt x="3740341" y="1874781"/>
                  </a:lnTo>
                  <a:lnTo>
                    <a:pt x="3741124" y="1875703"/>
                  </a:lnTo>
                  <a:lnTo>
                    <a:pt x="3741861" y="1876185"/>
                  </a:lnTo>
                  <a:lnTo>
                    <a:pt x="3742626" y="1875672"/>
                  </a:lnTo>
                  <a:lnTo>
                    <a:pt x="3741820" y="1877096"/>
                  </a:lnTo>
                  <a:lnTo>
                    <a:pt x="3738845" y="1877858"/>
                  </a:lnTo>
                  <a:lnTo>
                    <a:pt x="3737944" y="1879025"/>
                  </a:lnTo>
                  <a:lnTo>
                    <a:pt x="3739703" y="1879759"/>
                  </a:lnTo>
                  <a:lnTo>
                    <a:pt x="3742928" y="1879002"/>
                  </a:lnTo>
                  <a:lnTo>
                    <a:pt x="3744509" y="1880552"/>
                  </a:lnTo>
                  <a:lnTo>
                    <a:pt x="3745073" y="1881987"/>
                  </a:lnTo>
                  <a:lnTo>
                    <a:pt x="3744576" y="1882071"/>
                  </a:lnTo>
                  <a:lnTo>
                    <a:pt x="3743634" y="1881615"/>
                  </a:lnTo>
                  <a:lnTo>
                    <a:pt x="3742870" y="1881453"/>
                  </a:lnTo>
                  <a:lnTo>
                    <a:pt x="3742688" y="1882099"/>
                  </a:lnTo>
                  <a:lnTo>
                    <a:pt x="3743454" y="1882872"/>
                  </a:lnTo>
                  <a:lnTo>
                    <a:pt x="3744553" y="1883462"/>
                  </a:lnTo>
                  <a:lnTo>
                    <a:pt x="3745390" y="1883579"/>
                  </a:lnTo>
                  <a:lnTo>
                    <a:pt x="3745748" y="1884239"/>
                  </a:lnTo>
                  <a:lnTo>
                    <a:pt x="3745614" y="1885007"/>
                  </a:lnTo>
                  <a:lnTo>
                    <a:pt x="3746069" y="1885752"/>
                  </a:lnTo>
                  <a:lnTo>
                    <a:pt x="3746787" y="1886342"/>
                  </a:lnTo>
                  <a:lnTo>
                    <a:pt x="3747437" y="1886653"/>
                  </a:lnTo>
                  <a:lnTo>
                    <a:pt x="3747827" y="1887373"/>
                  </a:lnTo>
                  <a:lnTo>
                    <a:pt x="3747328" y="1888300"/>
                  </a:lnTo>
                  <a:lnTo>
                    <a:pt x="3745845" y="1889574"/>
                  </a:lnTo>
                  <a:lnTo>
                    <a:pt x="3745243" y="1890430"/>
                  </a:lnTo>
                  <a:lnTo>
                    <a:pt x="3746581" y="1890675"/>
                  </a:lnTo>
                  <a:lnTo>
                    <a:pt x="3748927" y="1890182"/>
                  </a:lnTo>
                  <a:lnTo>
                    <a:pt x="3750206" y="1890423"/>
                  </a:lnTo>
                  <a:lnTo>
                    <a:pt x="3752421" y="1892031"/>
                  </a:lnTo>
                  <a:lnTo>
                    <a:pt x="3753541" y="1892363"/>
                  </a:lnTo>
                  <a:lnTo>
                    <a:pt x="3753155" y="1890860"/>
                  </a:lnTo>
                  <a:lnTo>
                    <a:pt x="3752121" y="1889480"/>
                  </a:lnTo>
                  <a:lnTo>
                    <a:pt x="3751903" y="1888850"/>
                  </a:lnTo>
                  <a:lnTo>
                    <a:pt x="3752334" y="1888321"/>
                  </a:lnTo>
                  <a:lnTo>
                    <a:pt x="3752723" y="1888336"/>
                  </a:lnTo>
                  <a:lnTo>
                    <a:pt x="3757971" y="1891200"/>
                  </a:lnTo>
                  <a:lnTo>
                    <a:pt x="3758094" y="1892880"/>
                  </a:lnTo>
                  <a:lnTo>
                    <a:pt x="3757258" y="1893459"/>
                  </a:lnTo>
                  <a:lnTo>
                    <a:pt x="3755062" y="1893664"/>
                  </a:lnTo>
                  <a:lnTo>
                    <a:pt x="3754493" y="1894484"/>
                  </a:lnTo>
                  <a:lnTo>
                    <a:pt x="3754560" y="1895662"/>
                  </a:lnTo>
                  <a:lnTo>
                    <a:pt x="3754815" y="1896961"/>
                  </a:lnTo>
                  <a:lnTo>
                    <a:pt x="3754815" y="1898165"/>
                  </a:lnTo>
                  <a:lnTo>
                    <a:pt x="3753697" y="1899434"/>
                  </a:lnTo>
                  <a:lnTo>
                    <a:pt x="3748942" y="1901400"/>
                  </a:lnTo>
                  <a:lnTo>
                    <a:pt x="3746996" y="1901093"/>
                  </a:lnTo>
                  <a:lnTo>
                    <a:pt x="3745028" y="1900303"/>
                  </a:lnTo>
                  <a:lnTo>
                    <a:pt x="3741271" y="1900311"/>
                  </a:lnTo>
                  <a:lnTo>
                    <a:pt x="3738132" y="1898935"/>
                  </a:lnTo>
                  <a:lnTo>
                    <a:pt x="3736222" y="1898564"/>
                  </a:lnTo>
                  <a:lnTo>
                    <a:pt x="3735045" y="1897784"/>
                  </a:lnTo>
                  <a:lnTo>
                    <a:pt x="3734248" y="1896823"/>
                  </a:lnTo>
                  <a:lnTo>
                    <a:pt x="3733520" y="1895743"/>
                  </a:lnTo>
                  <a:lnTo>
                    <a:pt x="3732718" y="1894855"/>
                  </a:lnTo>
                  <a:lnTo>
                    <a:pt x="3731711" y="1894465"/>
                  </a:lnTo>
                  <a:lnTo>
                    <a:pt x="3731893" y="1896768"/>
                  </a:lnTo>
                  <a:lnTo>
                    <a:pt x="3732747" y="1898176"/>
                  </a:lnTo>
                  <a:lnTo>
                    <a:pt x="3734138" y="1899512"/>
                  </a:lnTo>
                  <a:lnTo>
                    <a:pt x="3735924" y="1901565"/>
                  </a:lnTo>
                  <a:lnTo>
                    <a:pt x="3734626" y="1901414"/>
                  </a:lnTo>
                  <a:lnTo>
                    <a:pt x="3731758" y="1900161"/>
                  </a:lnTo>
                  <a:lnTo>
                    <a:pt x="3728857" y="1900358"/>
                  </a:lnTo>
                  <a:lnTo>
                    <a:pt x="3727612" y="1899232"/>
                  </a:lnTo>
                  <a:lnTo>
                    <a:pt x="3726462" y="1897846"/>
                  </a:lnTo>
                  <a:lnTo>
                    <a:pt x="3725158" y="1897158"/>
                  </a:lnTo>
                  <a:lnTo>
                    <a:pt x="3725750" y="1899658"/>
                  </a:lnTo>
                  <a:lnTo>
                    <a:pt x="3728470" y="1901264"/>
                  </a:lnTo>
                  <a:lnTo>
                    <a:pt x="3731604" y="1902365"/>
                  </a:lnTo>
                  <a:lnTo>
                    <a:pt x="3733409" y="1903360"/>
                  </a:lnTo>
                  <a:lnTo>
                    <a:pt x="3733750" y="1904620"/>
                  </a:lnTo>
                  <a:lnTo>
                    <a:pt x="3733604" y="1905441"/>
                  </a:lnTo>
                  <a:lnTo>
                    <a:pt x="3733854" y="1906333"/>
                  </a:lnTo>
                  <a:lnTo>
                    <a:pt x="3735407" y="1907826"/>
                  </a:lnTo>
                  <a:lnTo>
                    <a:pt x="3736584" y="1908561"/>
                  </a:lnTo>
                  <a:lnTo>
                    <a:pt x="3740551" y="1910230"/>
                  </a:lnTo>
                  <a:lnTo>
                    <a:pt x="3743785" y="1912926"/>
                  </a:lnTo>
                  <a:lnTo>
                    <a:pt x="3744600" y="1913155"/>
                  </a:lnTo>
                  <a:lnTo>
                    <a:pt x="3745528" y="1913596"/>
                  </a:lnTo>
                  <a:lnTo>
                    <a:pt x="3748966" y="1916058"/>
                  </a:lnTo>
                  <a:lnTo>
                    <a:pt x="3749817" y="1916806"/>
                  </a:lnTo>
                  <a:lnTo>
                    <a:pt x="3750344" y="1917405"/>
                  </a:lnTo>
                  <a:lnTo>
                    <a:pt x="3750902" y="1917570"/>
                  </a:lnTo>
                  <a:lnTo>
                    <a:pt x="3751432" y="1917597"/>
                  </a:lnTo>
                  <a:lnTo>
                    <a:pt x="3751891" y="1917804"/>
                  </a:lnTo>
                  <a:lnTo>
                    <a:pt x="3752586" y="1918647"/>
                  </a:lnTo>
                  <a:lnTo>
                    <a:pt x="3753154" y="1919540"/>
                  </a:lnTo>
                  <a:lnTo>
                    <a:pt x="3753601" y="1920335"/>
                  </a:lnTo>
                  <a:lnTo>
                    <a:pt x="3753956" y="1920874"/>
                  </a:lnTo>
                  <a:lnTo>
                    <a:pt x="3755115" y="1922106"/>
                  </a:lnTo>
                  <a:lnTo>
                    <a:pt x="3756417" y="1923199"/>
                  </a:lnTo>
                  <a:lnTo>
                    <a:pt x="3757716" y="1923988"/>
                  </a:lnTo>
                  <a:lnTo>
                    <a:pt x="3758855" y="1924262"/>
                  </a:lnTo>
                  <a:lnTo>
                    <a:pt x="3759062" y="1925713"/>
                  </a:lnTo>
                  <a:lnTo>
                    <a:pt x="3758283" y="1925894"/>
                  </a:lnTo>
                  <a:lnTo>
                    <a:pt x="3757118" y="1925628"/>
                  </a:lnTo>
                  <a:lnTo>
                    <a:pt x="3756144" y="1925741"/>
                  </a:lnTo>
                  <a:lnTo>
                    <a:pt x="3756997" y="1927243"/>
                  </a:lnTo>
                  <a:lnTo>
                    <a:pt x="3756918" y="1928945"/>
                  </a:lnTo>
                  <a:lnTo>
                    <a:pt x="3755320" y="1933585"/>
                  </a:lnTo>
                  <a:lnTo>
                    <a:pt x="3754491" y="1935088"/>
                  </a:lnTo>
                  <a:lnTo>
                    <a:pt x="3753457" y="1936320"/>
                  </a:lnTo>
                  <a:lnTo>
                    <a:pt x="3752228" y="1937260"/>
                  </a:lnTo>
                  <a:lnTo>
                    <a:pt x="3749879" y="1937240"/>
                  </a:lnTo>
                  <a:lnTo>
                    <a:pt x="3746949" y="1935438"/>
                  </a:lnTo>
                  <a:lnTo>
                    <a:pt x="3740855" y="1929683"/>
                  </a:lnTo>
                  <a:lnTo>
                    <a:pt x="3741353" y="1926931"/>
                  </a:lnTo>
                  <a:lnTo>
                    <a:pt x="3739718" y="1927655"/>
                  </a:lnTo>
                  <a:lnTo>
                    <a:pt x="3739021" y="1928223"/>
                  </a:lnTo>
                  <a:lnTo>
                    <a:pt x="3738659" y="1929159"/>
                  </a:lnTo>
                  <a:lnTo>
                    <a:pt x="3739691" y="1930538"/>
                  </a:lnTo>
                  <a:lnTo>
                    <a:pt x="3739644" y="1931172"/>
                  </a:lnTo>
                  <a:lnTo>
                    <a:pt x="3738980" y="1931098"/>
                  </a:lnTo>
                  <a:lnTo>
                    <a:pt x="3738146" y="1930364"/>
                  </a:lnTo>
                  <a:lnTo>
                    <a:pt x="3737477" y="1929176"/>
                  </a:lnTo>
                  <a:lnTo>
                    <a:pt x="3737178" y="1928067"/>
                  </a:lnTo>
                  <a:lnTo>
                    <a:pt x="3736716" y="1923585"/>
                  </a:lnTo>
                  <a:lnTo>
                    <a:pt x="3736873" y="1921743"/>
                  </a:lnTo>
                  <a:lnTo>
                    <a:pt x="3738028" y="1918499"/>
                  </a:lnTo>
                  <a:lnTo>
                    <a:pt x="3736424" y="1918405"/>
                  </a:lnTo>
                  <a:lnTo>
                    <a:pt x="3734019" y="1921280"/>
                  </a:lnTo>
                  <a:lnTo>
                    <a:pt x="3731990" y="1920898"/>
                  </a:lnTo>
                  <a:lnTo>
                    <a:pt x="3731762" y="1919173"/>
                  </a:lnTo>
                  <a:lnTo>
                    <a:pt x="3731174" y="1917804"/>
                  </a:lnTo>
                  <a:lnTo>
                    <a:pt x="3730856" y="1916726"/>
                  </a:lnTo>
                  <a:lnTo>
                    <a:pt x="3731457" y="1915916"/>
                  </a:lnTo>
                  <a:lnTo>
                    <a:pt x="3733493" y="1915155"/>
                  </a:lnTo>
                  <a:lnTo>
                    <a:pt x="3734308" y="1914548"/>
                  </a:lnTo>
                  <a:lnTo>
                    <a:pt x="3734882" y="1913298"/>
                  </a:lnTo>
                  <a:lnTo>
                    <a:pt x="3733536" y="1913496"/>
                  </a:lnTo>
                  <a:lnTo>
                    <a:pt x="3732365" y="1914041"/>
                  </a:lnTo>
                  <a:lnTo>
                    <a:pt x="3731211" y="1914236"/>
                  </a:lnTo>
                  <a:lnTo>
                    <a:pt x="3729941" y="1913411"/>
                  </a:lnTo>
                  <a:lnTo>
                    <a:pt x="3729203" y="1912224"/>
                  </a:lnTo>
                  <a:lnTo>
                    <a:pt x="3728236" y="1910262"/>
                  </a:lnTo>
                  <a:lnTo>
                    <a:pt x="3727468" y="1908284"/>
                  </a:lnTo>
                  <a:lnTo>
                    <a:pt x="3727339" y="1907064"/>
                  </a:lnTo>
                  <a:lnTo>
                    <a:pt x="3726157" y="1906705"/>
                  </a:lnTo>
                  <a:lnTo>
                    <a:pt x="3726839" y="1910450"/>
                  </a:lnTo>
                  <a:lnTo>
                    <a:pt x="3728794" y="1917347"/>
                  </a:lnTo>
                  <a:lnTo>
                    <a:pt x="3728514" y="1917726"/>
                  </a:lnTo>
                  <a:lnTo>
                    <a:pt x="3728312" y="1918275"/>
                  </a:lnTo>
                  <a:lnTo>
                    <a:pt x="3728025" y="1918749"/>
                  </a:lnTo>
                  <a:lnTo>
                    <a:pt x="3727498" y="1918905"/>
                  </a:lnTo>
                  <a:lnTo>
                    <a:pt x="3727123" y="1918437"/>
                  </a:lnTo>
                  <a:lnTo>
                    <a:pt x="3726616" y="1917526"/>
                  </a:lnTo>
                  <a:lnTo>
                    <a:pt x="3725981" y="1916776"/>
                  </a:lnTo>
                  <a:lnTo>
                    <a:pt x="3725237" y="1916789"/>
                  </a:lnTo>
                  <a:lnTo>
                    <a:pt x="3725227" y="1917266"/>
                  </a:lnTo>
                  <a:lnTo>
                    <a:pt x="3725697" y="1919150"/>
                  </a:lnTo>
                  <a:lnTo>
                    <a:pt x="3725711" y="1919862"/>
                  </a:lnTo>
                  <a:lnTo>
                    <a:pt x="3723168" y="1920431"/>
                  </a:lnTo>
                  <a:lnTo>
                    <a:pt x="3722133" y="1921896"/>
                  </a:lnTo>
                  <a:lnTo>
                    <a:pt x="3720049" y="1922525"/>
                  </a:lnTo>
                  <a:lnTo>
                    <a:pt x="3717583" y="1921741"/>
                  </a:lnTo>
                  <a:lnTo>
                    <a:pt x="3715313" y="1919064"/>
                  </a:lnTo>
                  <a:lnTo>
                    <a:pt x="3714137" y="1917376"/>
                  </a:lnTo>
                  <a:lnTo>
                    <a:pt x="3713649" y="1916547"/>
                  </a:lnTo>
                  <a:lnTo>
                    <a:pt x="3712901" y="1915487"/>
                  </a:lnTo>
                  <a:lnTo>
                    <a:pt x="3712697" y="1915924"/>
                  </a:lnTo>
                  <a:lnTo>
                    <a:pt x="3712783" y="1917472"/>
                  </a:lnTo>
                  <a:lnTo>
                    <a:pt x="3711844" y="1917637"/>
                  </a:lnTo>
                  <a:lnTo>
                    <a:pt x="3710817" y="1917332"/>
                  </a:lnTo>
                  <a:lnTo>
                    <a:pt x="3708494" y="1916271"/>
                  </a:lnTo>
                  <a:lnTo>
                    <a:pt x="3708057" y="1914272"/>
                  </a:lnTo>
                  <a:lnTo>
                    <a:pt x="3707914" y="1912243"/>
                  </a:lnTo>
                  <a:lnTo>
                    <a:pt x="3708097" y="1908846"/>
                  </a:lnTo>
                  <a:lnTo>
                    <a:pt x="3707397" y="1908292"/>
                  </a:lnTo>
                  <a:lnTo>
                    <a:pt x="3707599" y="1907926"/>
                  </a:lnTo>
                  <a:lnTo>
                    <a:pt x="3707646" y="1907730"/>
                  </a:lnTo>
                  <a:lnTo>
                    <a:pt x="3707671" y="1907372"/>
                  </a:lnTo>
                  <a:lnTo>
                    <a:pt x="3707011" y="1906888"/>
                  </a:lnTo>
                  <a:lnTo>
                    <a:pt x="3705884" y="1906286"/>
                  </a:lnTo>
                  <a:lnTo>
                    <a:pt x="3705470" y="1906000"/>
                  </a:lnTo>
                  <a:lnTo>
                    <a:pt x="3704860" y="1905054"/>
                  </a:lnTo>
                  <a:lnTo>
                    <a:pt x="3704356" y="1903909"/>
                  </a:lnTo>
                  <a:lnTo>
                    <a:pt x="3703808" y="1903031"/>
                  </a:lnTo>
                  <a:lnTo>
                    <a:pt x="3703093" y="1902930"/>
                  </a:lnTo>
                  <a:lnTo>
                    <a:pt x="3702784" y="1903892"/>
                  </a:lnTo>
                  <a:lnTo>
                    <a:pt x="3703004" y="1905699"/>
                  </a:lnTo>
                  <a:lnTo>
                    <a:pt x="3703741" y="1907680"/>
                  </a:lnTo>
                  <a:lnTo>
                    <a:pt x="3704996" y="1909176"/>
                  </a:lnTo>
                  <a:lnTo>
                    <a:pt x="3706321" y="1911003"/>
                  </a:lnTo>
                  <a:lnTo>
                    <a:pt x="3705992" y="1912888"/>
                  </a:lnTo>
                  <a:lnTo>
                    <a:pt x="3704500" y="1915456"/>
                  </a:lnTo>
                  <a:lnTo>
                    <a:pt x="3705067" y="1917634"/>
                  </a:lnTo>
                  <a:lnTo>
                    <a:pt x="3706337" y="1918510"/>
                  </a:lnTo>
                  <a:lnTo>
                    <a:pt x="3707883" y="1919143"/>
                  </a:lnTo>
                  <a:lnTo>
                    <a:pt x="3709255" y="1920577"/>
                  </a:lnTo>
                  <a:lnTo>
                    <a:pt x="3709555" y="1922118"/>
                  </a:lnTo>
                  <a:lnTo>
                    <a:pt x="3708185" y="1921654"/>
                  </a:lnTo>
                  <a:lnTo>
                    <a:pt x="3705345" y="1919635"/>
                  </a:lnTo>
                  <a:lnTo>
                    <a:pt x="3702902" y="1918705"/>
                  </a:lnTo>
                  <a:lnTo>
                    <a:pt x="3702346" y="1918675"/>
                  </a:lnTo>
                  <a:lnTo>
                    <a:pt x="3700832" y="1920502"/>
                  </a:lnTo>
                  <a:lnTo>
                    <a:pt x="3700131" y="1920684"/>
                  </a:lnTo>
                  <a:lnTo>
                    <a:pt x="3698646" y="1919884"/>
                  </a:lnTo>
                  <a:lnTo>
                    <a:pt x="3698449" y="1918392"/>
                  </a:lnTo>
                  <a:lnTo>
                    <a:pt x="3699200" y="1915174"/>
                  </a:lnTo>
                  <a:lnTo>
                    <a:pt x="3698743" y="1911777"/>
                  </a:lnTo>
                  <a:lnTo>
                    <a:pt x="3698840" y="1911195"/>
                  </a:lnTo>
                  <a:lnTo>
                    <a:pt x="3699167" y="1910750"/>
                  </a:lnTo>
                  <a:lnTo>
                    <a:pt x="3699621" y="1908984"/>
                  </a:lnTo>
                  <a:lnTo>
                    <a:pt x="3699734" y="1908187"/>
                  </a:lnTo>
                  <a:lnTo>
                    <a:pt x="3699416" y="1907576"/>
                  </a:lnTo>
                  <a:lnTo>
                    <a:pt x="3698090" y="1908427"/>
                  </a:lnTo>
                  <a:lnTo>
                    <a:pt x="3697132" y="1910004"/>
                  </a:lnTo>
                  <a:lnTo>
                    <a:pt x="3695768" y="1913661"/>
                  </a:lnTo>
                  <a:lnTo>
                    <a:pt x="3696082" y="1914268"/>
                  </a:lnTo>
                  <a:lnTo>
                    <a:pt x="3696411" y="1914485"/>
                  </a:lnTo>
                  <a:lnTo>
                    <a:pt x="3696936" y="1915016"/>
                  </a:lnTo>
                  <a:lnTo>
                    <a:pt x="3697373" y="1915362"/>
                  </a:lnTo>
                  <a:lnTo>
                    <a:pt x="3694792" y="1916597"/>
                  </a:lnTo>
                  <a:lnTo>
                    <a:pt x="3693317" y="1916643"/>
                  </a:lnTo>
                  <a:lnTo>
                    <a:pt x="3691578" y="1915859"/>
                  </a:lnTo>
                  <a:lnTo>
                    <a:pt x="3690888" y="1915342"/>
                  </a:lnTo>
                  <a:lnTo>
                    <a:pt x="3690230" y="1914748"/>
                  </a:lnTo>
                  <a:lnTo>
                    <a:pt x="3689645" y="1914071"/>
                  </a:lnTo>
                  <a:lnTo>
                    <a:pt x="3689182" y="1913345"/>
                  </a:lnTo>
                  <a:lnTo>
                    <a:pt x="3689333" y="1913049"/>
                  </a:lnTo>
                  <a:lnTo>
                    <a:pt x="3689344" y="1911958"/>
                  </a:lnTo>
                  <a:lnTo>
                    <a:pt x="3689099" y="1910875"/>
                  </a:lnTo>
                  <a:lnTo>
                    <a:pt x="3688496" y="1910621"/>
                  </a:lnTo>
                  <a:lnTo>
                    <a:pt x="3687921" y="1911638"/>
                  </a:lnTo>
                  <a:lnTo>
                    <a:pt x="3687662" y="1913045"/>
                  </a:lnTo>
                  <a:lnTo>
                    <a:pt x="3687018" y="1913885"/>
                  </a:lnTo>
                  <a:lnTo>
                    <a:pt x="3685310" y="1913219"/>
                  </a:lnTo>
                  <a:lnTo>
                    <a:pt x="3684377" y="1912148"/>
                  </a:lnTo>
                  <a:lnTo>
                    <a:pt x="3683176" y="1910506"/>
                  </a:lnTo>
                  <a:lnTo>
                    <a:pt x="3681941" y="1909094"/>
                  </a:lnTo>
                  <a:lnTo>
                    <a:pt x="3680913" y="1908737"/>
                  </a:lnTo>
                  <a:lnTo>
                    <a:pt x="3679435" y="1908837"/>
                  </a:lnTo>
                  <a:lnTo>
                    <a:pt x="3676085" y="1907622"/>
                  </a:lnTo>
                  <a:lnTo>
                    <a:pt x="3674695" y="1907675"/>
                  </a:lnTo>
                  <a:lnTo>
                    <a:pt x="3674757" y="1908629"/>
                  </a:lnTo>
                  <a:lnTo>
                    <a:pt x="3676714" y="1909758"/>
                  </a:lnTo>
                  <a:lnTo>
                    <a:pt x="3679954" y="1910930"/>
                  </a:lnTo>
                  <a:lnTo>
                    <a:pt x="3680608" y="1911633"/>
                  </a:lnTo>
                  <a:lnTo>
                    <a:pt x="3681135" y="1912436"/>
                  </a:lnTo>
                  <a:lnTo>
                    <a:pt x="3682145" y="1914400"/>
                  </a:lnTo>
                  <a:lnTo>
                    <a:pt x="3682887" y="1915359"/>
                  </a:lnTo>
                  <a:lnTo>
                    <a:pt x="3683679" y="1915758"/>
                  </a:lnTo>
                  <a:lnTo>
                    <a:pt x="3684449" y="1915936"/>
                  </a:lnTo>
                  <a:lnTo>
                    <a:pt x="3686634" y="1916940"/>
                  </a:lnTo>
                  <a:lnTo>
                    <a:pt x="3689518" y="1917314"/>
                  </a:lnTo>
                  <a:lnTo>
                    <a:pt x="3691122" y="1918639"/>
                  </a:lnTo>
                  <a:lnTo>
                    <a:pt x="3690922" y="1918880"/>
                  </a:lnTo>
                  <a:lnTo>
                    <a:pt x="3690715" y="1919488"/>
                  </a:lnTo>
                  <a:lnTo>
                    <a:pt x="3690514" y="1919729"/>
                  </a:lnTo>
                  <a:lnTo>
                    <a:pt x="3691806" y="1921717"/>
                  </a:lnTo>
                  <a:lnTo>
                    <a:pt x="3691118" y="1923100"/>
                  </a:lnTo>
                  <a:lnTo>
                    <a:pt x="3689504" y="1923790"/>
                  </a:lnTo>
                  <a:lnTo>
                    <a:pt x="3688025" y="1923714"/>
                  </a:lnTo>
                  <a:lnTo>
                    <a:pt x="3686337" y="1922541"/>
                  </a:lnTo>
                  <a:lnTo>
                    <a:pt x="3685397" y="1922038"/>
                  </a:lnTo>
                  <a:lnTo>
                    <a:pt x="3684553" y="1922064"/>
                  </a:lnTo>
                  <a:lnTo>
                    <a:pt x="3684269" y="1922332"/>
                  </a:lnTo>
                  <a:lnTo>
                    <a:pt x="3683845" y="1923082"/>
                  </a:lnTo>
                  <a:lnTo>
                    <a:pt x="3683521" y="1923371"/>
                  </a:lnTo>
                  <a:lnTo>
                    <a:pt x="3683037" y="1923244"/>
                  </a:lnTo>
                  <a:lnTo>
                    <a:pt x="3682619" y="1922630"/>
                  </a:lnTo>
                  <a:lnTo>
                    <a:pt x="3682278" y="1921946"/>
                  </a:lnTo>
                  <a:lnTo>
                    <a:pt x="3682034" y="1921605"/>
                  </a:lnTo>
                  <a:lnTo>
                    <a:pt x="3680595" y="1921807"/>
                  </a:lnTo>
                  <a:lnTo>
                    <a:pt x="3678008" y="1923252"/>
                  </a:lnTo>
                  <a:lnTo>
                    <a:pt x="3676598" y="1923649"/>
                  </a:lnTo>
                  <a:lnTo>
                    <a:pt x="3675267" y="1923386"/>
                  </a:lnTo>
                  <a:lnTo>
                    <a:pt x="3672002" y="1921721"/>
                  </a:lnTo>
                  <a:lnTo>
                    <a:pt x="3670669" y="1920809"/>
                  </a:lnTo>
                  <a:lnTo>
                    <a:pt x="3670258" y="1919327"/>
                  </a:lnTo>
                  <a:lnTo>
                    <a:pt x="3668743" y="1919704"/>
                  </a:lnTo>
                  <a:lnTo>
                    <a:pt x="3667389" y="1918818"/>
                  </a:lnTo>
                  <a:lnTo>
                    <a:pt x="3666919" y="1917628"/>
                  </a:lnTo>
                  <a:lnTo>
                    <a:pt x="3668060" y="1917085"/>
                  </a:lnTo>
                  <a:lnTo>
                    <a:pt x="3667076" y="1916421"/>
                  </a:lnTo>
                  <a:lnTo>
                    <a:pt x="3664814" y="1914458"/>
                  </a:lnTo>
                  <a:lnTo>
                    <a:pt x="3661743" y="1912645"/>
                  </a:lnTo>
                  <a:lnTo>
                    <a:pt x="3660641" y="1911468"/>
                  </a:lnTo>
                  <a:lnTo>
                    <a:pt x="3660576" y="1908813"/>
                  </a:lnTo>
                  <a:lnTo>
                    <a:pt x="3660033" y="1907676"/>
                  </a:lnTo>
                  <a:lnTo>
                    <a:pt x="3658574" y="1906250"/>
                  </a:lnTo>
                  <a:lnTo>
                    <a:pt x="3657232" y="1905421"/>
                  </a:lnTo>
                  <a:lnTo>
                    <a:pt x="3654757" y="1904521"/>
                  </a:lnTo>
                  <a:lnTo>
                    <a:pt x="3653562" y="1903763"/>
                  </a:lnTo>
                  <a:lnTo>
                    <a:pt x="3652395" y="1903290"/>
                  </a:lnTo>
                  <a:lnTo>
                    <a:pt x="3651142" y="1903189"/>
                  </a:lnTo>
                  <a:lnTo>
                    <a:pt x="3649906" y="1902596"/>
                  </a:lnTo>
                  <a:lnTo>
                    <a:pt x="3648804" y="1900685"/>
                  </a:lnTo>
                  <a:lnTo>
                    <a:pt x="3648637" y="1899400"/>
                  </a:lnTo>
                  <a:lnTo>
                    <a:pt x="3648744" y="1895958"/>
                  </a:lnTo>
                  <a:lnTo>
                    <a:pt x="3648459" y="1894050"/>
                  </a:lnTo>
                  <a:lnTo>
                    <a:pt x="3648137" y="1894215"/>
                  </a:lnTo>
                  <a:lnTo>
                    <a:pt x="3647948" y="1893328"/>
                  </a:lnTo>
                  <a:lnTo>
                    <a:pt x="3647633" y="1892746"/>
                  </a:lnTo>
                  <a:lnTo>
                    <a:pt x="3647226" y="1892472"/>
                  </a:lnTo>
                  <a:lnTo>
                    <a:pt x="3646765" y="1892542"/>
                  </a:lnTo>
                  <a:lnTo>
                    <a:pt x="3646343" y="1893060"/>
                  </a:lnTo>
                  <a:lnTo>
                    <a:pt x="3646563" y="1893745"/>
                  </a:lnTo>
                  <a:lnTo>
                    <a:pt x="3647028" y="1894572"/>
                  </a:lnTo>
                  <a:lnTo>
                    <a:pt x="3647351" y="1895531"/>
                  </a:lnTo>
                  <a:lnTo>
                    <a:pt x="3647317" y="1897365"/>
                  </a:lnTo>
                  <a:lnTo>
                    <a:pt x="3646819" y="1900821"/>
                  </a:lnTo>
                  <a:lnTo>
                    <a:pt x="3647099" y="1902474"/>
                  </a:lnTo>
                  <a:lnTo>
                    <a:pt x="3648074" y="1903853"/>
                  </a:lnTo>
                  <a:lnTo>
                    <a:pt x="3649457" y="1904777"/>
                  </a:lnTo>
                  <a:lnTo>
                    <a:pt x="3653486" y="1906045"/>
                  </a:lnTo>
                  <a:lnTo>
                    <a:pt x="3654760" y="1906131"/>
                  </a:lnTo>
                  <a:lnTo>
                    <a:pt x="3655209" y="1906268"/>
                  </a:lnTo>
                  <a:lnTo>
                    <a:pt x="3656521" y="1907253"/>
                  </a:lnTo>
                  <a:lnTo>
                    <a:pt x="3657142" y="1907446"/>
                  </a:lnTo>
                  <a:lnTo>
                    <a:pt x="3657948" y="1910915"/>
                  </a:lnTo>
                  <a:lnTo>
                    <a:pt x="3658538" y="1912601"/>
                  </a:lnTo>
                  <a:lnTo>
                    <a:pt x="3659725" y="1913253"/>
                  </a:lnTo>
                  <a:lnTo>
                    <a:pt x="3661042" y="1914316"/>
                  </a:lnTo>
                  <a:lnTo>
                    <a:pt x="3661584" y="1914439"/>
                  </a:lnTo>
                  <a:lnTo>
                    <a:pt x="3661954" y="1914782"/>
                  </a:lnTo>
                  <a:lnTo>
                    <a:pt x="3662754" y="1917054"/>
                  </a:lnTo>
                  <a:lnTo>
                    <a:pt x="3663157" y="1917916"/>
                  </a:lnTo>
                  <a:lnTo>
                    <a:pt x="3663719" y="1918186"/>
                  </a:lnTo>
                  <a:lnTo>
                    <a:pt x="3664266" y="1918040"/>
                  </a:lnTo>
                  <a:lnTo>
                    <a:pt x="3664817" y="1918175"/>
                  </a:lnTo>
                  <a:lnTo>
                    <a:pt x="3665395" y="1919300"/>
                  </a:lnTo>
                  <a:lnTo>
                    <a:pt x="3665297" y="1919938"/>
                  </a:lnTo>
                  <a:lnTo>
                    <a:pt x="3664257" y="1921571"/>
                  </a:lnTo>
                  <a:lnTo>
                    <a:pt x="3663035" y="1921529"/>
                  </a:lnTo>
                  <a:lnTo>
                    <a:pt x="3660183" y="1920072"/>
                  </a:lnTo>
                  <a:lnTo>
                    <a:pt x="3658959" y="1920065"/>
                  </a:lnTo>
                  <a:lnTo>
                    <a:pt x="3660132" y="1921272"/>
                  </a:lnTo>
                  <a:lnTo>
                    <a:pt x="3661339" y="1922296"/>
                  </a:lnTo>
                  <a:lnTo>
                    <a:pt x="3662590" y="1923147"/>
                  </a:lnTo>
                  <a:lnTo>
                    <a:pt x="3663878" y="1923828"/>
                  </a:lnTo>
                  <a:lnTo>
                    <a:pt x="3667530" y="1924563"/>
                  </a:lnTo>
                  <a:lnTo>
                    <a:pt x="3668718" y="1925184"/>
                  </a:lnTo>
                  <a:lnTo>
                    <a:pt x="3669954" y="1926543"/>
                  </a:lnTo>
                  <a:lnTo>
                    <a:pt x="3670052" y="1927458"/>
                  </a:lnTo>
                  <a:lnTo>
                    <a:pt x="3669267" y="1927650"/>
                  </a:lnTo>
                  <a:lnTo>
                    <a:pt x="3666764" y="1926221"/>
                  </a:lnTo>
                  <a:lnTo>
                    <a:pt x="3663219" y="1925471"/>
                  </a:lnTo>
                  <a:lnTo>
                    <a:pt x="3663585" y="1926197"/>
                  </a:lnTo>
                  <a:lnTo>
                    <a:pt x="3663885" y="1926044"/>
                  </a:lnTo>
                  <a:lnTo>
                    <a:pt x="3664195" y="1926658"/>
                  </a:lnTo>
                  <a:lnTo>
                    <a:pt x="3662987" y="1927075"/>
                  </a:lnTo>
                  <a:lnTo>
                    <a:pt x="3661506" y="1926622"/>
                  </a:lnTo>
                  <a:lnTo>
                    <a:pt x="3656702" y="1923729"/>
                  </a:lnTo>
                  <a:lnTo>
                    <a:pt x="3655837" y="1923087"/>
                  </a:lnTo>
                  <a:lnTo>
                    <a:pt x="3655240" y="1922353"/>
                  </a:lnTo>
                  <a:lnTo>
                    <a:pt x="3654457" y="1920164"/>
                  </a:lnTo>
                  <a:lnTo>
                    <a:pt x="3653953" y="1918977"/>
                  </a:lnTo>
                  <a:lnTo>
                    <a:pt x="3653521" y="1918561"/>
                  </a:lnTo>
                  <a:lnTo>
                    <a:pt x="3652791" y="1918320"/>
                  </a:lnTo>
                  <a:lnTo>
                    <a:pt x="3652378" y="1917227"/>
                  </a:lnTo>
                  <a:lnTo>
                    <a:pt x="3652224" y="1916096"/>
                  </a:lnTo>
                  <a:lnTo>
                    <a:pt x="3652288" y="1915738"/>
                  </a:lnTo>
                  <a:lnTo>
                    <a:pt x="3651440" y="1913853"/>
                  </a:lnTo>
                  <a:lnTo>
                    <a:pt x="3650996" y="1913262"/>
                  </a:lnTo>
                  <a:lnTo>
                    <a:pt x="3647180" y="1909668"/>
                  </a:lnTo>
                  <a:lnTo>
                    <a:pt x="3645878" y="1907939"/>
                  </a:lnTo>
                  <a:lnTo>
                    <a:pt x="3645085" y="1905866"/>
                  </a:lnTo>
                  <a:lnTo>
                    <a:pt x="3644068" y="1906769"/>
                  </a:lnTo>
                  <a:lnTo>
                    <a:pt x="3644514" y="1908963"/>
                  </a:lnTo>
                  <a:lnTo>
                    <a:pt x="3645581" y="1911138"/>
                  </a:lnTo>
                  <a:lnTo>
                    <a:pt x="3646458" y="1911975"/>
                  </a:lnTo>
                  <a:lnTo>
                    <a:pt x="3647985" y="1912372"/>
                  </a:lnTo>
                  <a:lnTo>
                    <a:pt x="3649444" y="1914292"/>
                  </a:lnTo>
                  <a:lnTo>
                    <a:pt x="3650299" y="1916720"/>
                  </a:lnTo>
                  <a:lnTo>
                    <a:pt x="3650011" y="1918651"/>
                  </a:lnTo>
                  <a:lnTo>
                    <a:pt x="3648824" y="1919163"/>
                  </a:lnTo>
                  <a:lnTo>
                    <a:pt x="3647175" y="1918691"/>
                  </a:lnTo>
                  <a:lnTo>
                    <a:pt x="3645383" y="1917631"/>
                  </a:lnTo>
                  <a:lnTo>
                    <a:pt x="3643769" y="1916359"/>
                  </a:lnTo>
                  <a:lnTo>
                    <a:pt x="3642185" y="1915513"/>
                  </a:lnTo>
                  <a:lnTo>
                    <a:pt x="3638888" y="1914891"/>
                  </a:lnTo>
                  <a:lnTo>
                    <a:pt x="3637562" y="1914034"/>
                  </a:lnTo>
                  <a:lnTo>
                    <a:pt x="3636507" y="1911833"/>
                  </a:lnTo>
                  <a:lnTo>
                    <a:pt x="3637083" y="1910282"/>
                  </a:lnTo>
                  <a:lnTo>
                    <a:pt x="3638020" y="1908967"/>
                  </a:lnTo>
                  <a:lnTo>
                    <a:pt x="3638033" y="1907459"/>
                  </a:lnTo>
                  <a:lnTo>
                    <a:pt x="3636929" y="1906445"/>
                  </a:lnTo>
                  <a:lnTo>
                    <a:pt x="3635614" y="1906318"/>
                  </a:lnTo>
                  <a:lnTo>
                    <a:pt x="3634279" y="1905806"/>
                  </a:lnTo>
                  <a:lnTo>
                    <a:pt x="3633105" y="1903606"/>
                  </a:lnTo>
                  <a:lnTo>
                    <a:pt x="3632564" y="1899584"/>
                  </a:lnTo>
                  <a:lnTo>
                    <a:pt x="3631881" y="1897652"/>
                  </a:lnTo>
                  <a:lnTo>
                    <a:pt x="3630564" y="1897335"/>
                  </a:lnTo>
                  <a:lnTo>
                    <a:pt x="3629859" y="1897832"/>
                  </a:lnTo>
                  <a:lnTo>
                    <a:pt x="3629888" y="1898323"/>
                  </a:lnTo>
                  <a:lnTo>
                    <a:pt x="3630247" y="1899057"/>
                  </a:lnTo>
                  <a:lnTo>
                    <a:pt x="3630751" y="1901195"/>
                  </a:lnTo>
                  <a:lnTo>
                    <a:pt x="3631697" y="1904221"/>
                  </a:lnTo>
                  <a:lnTo>
                    <a:pt x="3632014" y="1905072"/>
                  </a:lnTo>
                  <a:lnTo>
                    <a:pt x="3632701" y="1906076"/>
                  </a:lnTo>
                  <a:lnTo>
                    <a:pt x="3635515" y="1909116"/>
                  </a:lnTo>
                  <a:lnTo>
                    <a:pt x="3634610" y="1910113"/>
                  </a:lnTo>
                  <a:lnTo>
                    <a:pt x="3631181" y="1911298"/>
                  </a:lnTo>
                  <a:lnTo>
                    <a:pt x="3630118" y="1911237"/>
                  </a:lnTo>
                  <a:lnTo>
                    <a:pt x="3627667" y="1909748"/>
                  </a:lnTo>
                  <a:lnTo>
                    <a:pt x="3626395" y="1909576"/>
                  </a:lnTo>
                  <a:lnTo>
                    <a:pt x="3626698" y="1910189"/>
                  </a:lnTo>
                  <a:lnTo>
                    <a:pt x="3627922" y="1910624"/>
                  </a:lnTo>
                  <a:lnTo>
                    <a:pt x="3629038" y="1911469"/>
                  </a:lnTo>
                  <a:lnTo>
                    <a:pt x="3629475" y="1912470"/>
                  </a:lnTo>
                  <a:lnTo>
                    <a:pt x="3628674" y="1913391"/>
                  </a:lnTo>
                  <a:lnTo>
                    <a:pt x="3627269" y="1913176"/>
                  </a:lnTo>
                  <a:lnTo>
                    <a:pt x="3623983" y="1910783"/>
                  </a:lnTo>
                  <a:lnTo>
                    <a:pt x="3617053" y="1907770"/>
                  </a:lnTo>
                  <a:lnTo>
                    <a:pt x="3615654" y="1906790"/>
                  </a:lnTo>
                  <a:lnTo>
                    <a:pt x="3614228" y="1905463"/>
                  </a:lnTo>
                  <a:lnTo>
                    <a:pt x="3612780" y="1903728"/>
                  </a:lnTo>
                  <a:lnTo>
                    <a:pt x="3611240" y="1901081"/>
                  </a:lnTo>
                  <a:lnTo>
                    <a:pt x="3610772" y="1900466"/>
                  </a:lnTo>
                  <a:lnTo>
                    <a:pt x="3609986" y="1900073"/>
                  </a:lnTo>
                  <a:lnTo>
                    <a:pt x="3609270" y="1900130"/>
                  </a:lnTo>
                  <a:lnTo>
                    <a:pt x="3609024" y="1900607"/>
                  </a:lnTo>
                  <a:lnTo>
                    <a:pt x="3609620" y="1901458"/>
                  </a:lnTo>
                  <a:lnTo>
                    <a:pt x="3610666" y="1903323"/>
                  </a:lnTo>
                  <a:lnTo>
                    <a:pt x="3611349" y="1904365"/>
                  </a:lnTo>
                  <a:lnTo>
                    <a:pt x="3611569" y="1904330"/>
                  </a:lnTo>
                  <a:lnTo>
                    <a:pt x="3611701" y="1905532"/>
                  </a:lnTo>
                  <a:lnTo>
                    <a:pt x="3611435" y="1905519"/>
                  </a:lnTo>
                  <a:lnTo>
                    <a:pt x="3610908" y="1905078"/>
                  </a:lnTo>
                  <a:lnTo>
                    <a:pt x="3609642" y="1905007"/>
                  </a:lnTo>
                  <a:lnTo>
                    <a:pt x="3608041" y="1904604"/>
                  </a:lnTo>
                  <a:lnTo>
                    <a:pt x="3607453" y="1904621"/>
                  </a:lnTo>
                  <a:lnTo>
                    <a:pt x="3606751" y="1904460"/>
                  </a:lnTo>
                  <a:lnTo>
                    <a:pt x="3606152" y="1903560"/>
                  </a:lnTo>
                  <a:lnTo>
                    <a:pt x="3605607" y="1902439"/>
                  </a:lnTo>
                  <a:lnTo>
                    <a:pt x="3605075" y="1901616"/>
                  </a:lnTo>
                  <a:lnTo>
                    <a:pt x="3602623" y="1900357"/>
                  </a:lnTo>
                  <a:lnTo>
                    <a:pt x="3601605" y="1899275"/>
                  </a:lnTo>
                  <a:lnTo>
                    <a:pt x="3601557" y="1897430"/>
                  </a:lnTo>
                  <a:lnTo>
                    <a:pt x="3599670" y="1896554"/>
                  </a:lnTo>
                  <a:lnTo>
                    <a:pt x="3597871" y="1896365"/>
                  </a:lnTo>
                  <a:lnTo>
                    <a:pt x="3596091" y="1895620"/>
                  </a:lnTo>
                  <a:lnTo>
                    <a:pt x="3594279" y="1893116"/>
                  </a:lnTo>
                  <a:lnTo>
                    <a:pt x="3592783" y="1891701"/>
                  </a:lnTo>
                  <a:lnTo>
                    <a:pt x="3590902" y="1890964"/>
                  </a:lnTo>
                  <a:lnTo>
                    <a:pt x="3589405" y="1889748"/>
                  </a:lnTo>
                  <a:lnTo>
                    <a:pt x="3589046" y="1886888"/>
                  </a:lnTo>
                  <a:lnTo>
                    <a:pt x="3588084" y="1887754"/>
                  </a:lnTo>
                  <a:lnTo>
                    <a:pt x="3586728" y="1890196"/>
                  </a:lnTo>
                  <a:lnTo>
                    <a:pt x="3585912" y="1890999"/>
                  </a:lnTo>
                  <a:lnTo>
                    <a:pt x="3584685" y="1890610"/>
                  </a:lnTo>
                  <a:lnTo>
                    <a:pt x="3583520" y="1888887"/>
                  </a:lnTo>
                  <a:lnTo>
                    <a:pt x="3582356" y="1886891"/>
                  </a:lnTo>
                  <a:lnTo>
                    <a:pt x="3581129" y="1885686"/>
                  </a:lnTo>
                  <a:lnTo>
                    <a:pt x="3580995" y="1886538"/>
                  </a:lnTo>
                  <a:lnTo>
                    <a:pt x="3580637" y="1886842"/>
                  </a:lnTo>
                  <a:lnTo>
                    <a:pt x="3580084" y="1886595"/>
                  </a:lnTo>
                  <a:lnTo>
                    <a:pt x="3579359" y="1885790"/>
                  </a:lnTo>
                  <a:lnTo>
                    <a:pt x="3578616" y="1883981"/>
                  </a:lnTo>
                  <a:lnTo>
                    <a:pt x="3576611" y="1882743"/>
                  </a:lnTo>
                  <a:lnTo>
                    <a:pt x="3572835" y="1881393"/>
                  </a:lnTo>
                  <a:lnTo>
                    <a:pt x="3574259" y="1883432"/>
                  </a:lnTo>
                  <a:lnTo>
                    <a:pt x="3577741" y="1885566"/>
                  </a:lnTo>
                  <a:lnTo>
                    <a:pt x="3578463" y="1886611"/>
                  </a:lnTo>
                  <a:lnTo>
                    <a:pt x="3579108" y="1888245"/>
                  </a:lnTo>
                  <a:lnTo>
                    <a:pt x="3580493" y="1889289"/>
                  </a:lnTo>
                  <a:lnTo>
                    <a:pt x="3583156" y="1890612"/>
                  </a:lnTo>
                  <a:lnTo>
                    <a:pt x="3584500" y="1892531"/>
                  </a:lnTo>
                  <a:lnTo>
                    <a:pt x="3585732" y="1896503"/>
                  </a:lnTo>
                  <a:lnTo>
                    <a:pt x="3587101" y="1898384"/>
                  </a:lnTo>
                  <a:lnTo>
                    <a:pt x="3587903" y="1899216"/>
                  </a:lnTo>
                  <a:lnTo>
                    <a:pt x="3589354" y="1900957"/>
                  </a:lnTo>
                  <a:lnTo>
                    <a:pt x="3590233" y="1901820"/>
                  </a:lnTo>
                  <a:lnTo>
                    <a:pt x="3595889" y="1906162"/>
                  </a:lnTo>
                  <a:lnTo>
                    <a:pt x="3599209" y="1909340"/>
                  </a:lnTo>
                  <a:lnTo>
                    <a:pt x="3601685" y="1912841"/>
                  </a:lnTo>
                  <a:lnTo>
                    <a:pt x="3601696" y="1915902"/>
                  </a:lnTo>
                  <a:lnTo>
                    <a:pt x="3600231" y="1916620"/>
                  </a:lnTo>
                  <a:lnTo>
                    <a:pt x="3596545" y="1915123"/>
                  </a:lnTo>
                  <a:lnTo>
                    <a:pt x="3594808" y="1915097"/>
                  </a:lnTo>
                  <a:lnTo>
                    <a:pt x="3594229" y="1914887"/>
                  </a:lnTo>
                  <a:lnTo>
                    <a:pt x="3593461" y="1914129"/>
                  </a:lnTo>
                  <a:lnTo>
                    <a:pt x="3592150" y="1912607"/>
                  </a:lnTo>
                  <a:lnTo>
                    <a:pt x="3590479" y="1910897"/>
                  </a:lnTo>
                  <a:lnTo>
                    <a:pt x="3589738" y="1910265"/>
                  </a:lnTo>
                  <a:lnTo>
                    <a:pt x="3584349" y="1907538"/>
                  </a:lnTo>
                  <a:lnTo>
                    <a:pt x="3580928" y="1906781"/>
                  </a:lnTo>
                  <a:lnTo>
                    <a:pt x="3579789" y="1906083"/>
                  </a:lnTo>
                  <a:lnTo>
                    <a:pt x="3578604" y="1905535"/>
                  </a:lnTo>
                  <a:lnTo>
                    <a:pt x="3576723" y="1906172"/>
                  </a:lnTo>
                  <a:lnTo>
                    <a:pt x="3575521" y="1905608"/>
                  </a:lnTo>
                  <a:lnTo>
                    <a:pt x="3574330" y="1904294"/>
                  </a:lnTo>
                  <a:lnTo>
                    <a:pt x="3573250" y="1902925"/>
                  </a:lnTo>
                  <a:lnTo>
                    <a:pt x="3572207" y="1901851"/>
                  </a:lnTo>
                  <a:lnTo>
                    <a:pt x="3571123" y="1901452"/>
                  </a:lnTo>
                  <a:lnTo>
                    <a:pt x="3572451" y="1903479"/>
                  </a:lnTo>
                  <a:lnTo>
                    <a:pt x="3572197" y="1904385"/>
                  </a:lnTo>
                  <a:lnTo>
                    <a:pt x="3571247" y="1904427"/>
                  </a:lnTo>
                  <a:lnTo>
                    <a:pt x="3570493" y="1903878"/>
                  </a:lnTo>
                  <a:lnTo>
                    <a:pt x="3569392" y="1902743"/>
                  </a:lnTo>
                  <a:lnTo>
                    <a:pt x="3567700" y="1904721"/>
                  </a:lnTo>
                  <a:lnTo>
                    <a:pt x="3566379" y="1903736"/>
                  </a:lnTo>
                  <a:lnTo>
                    <a:pt x="3566987" y="1902537"/>
                  </a:lnTo>
                  <a:lnTo>
                    <a:pt x="3566377" y="1901106"/>
                  </a:lnTo>
                  <a:lnTo>
                    <a:pt x="3565129" y="1899649"/>
                  </a:lnTo>
                  <a:lnTo>
                    <a:pt x="3562675" y="1897176"/>
                  </a:lnTo>
                  <a:lnTo>
                    <a:pt x="3561505" y="1896207"/>
                  </a:lnTo>
                  <a:lnTo>
                    <a:pt x="3560326" y="1895782"/>
                  </a:lnTo>
                  <a:lnTo>
                    <a:pt x="3559179" y="1896312"/>
                  </a:lnTo>
                  <a:lnTo>
                    <a:pt x="3559529" y="1897050"/>
                  </a:lnTo>
                  <a:lnTo>
                    <a:pt x="3561998" y="1899428"/>
                  </a:lnTo>
                  <a:lnTo>
                    <a:pt x="3563277" y="1900994"/>
                  </a:lnTo>
                  <a:lnTo>
                    <a:pt x="3563356" y="1901932"/>
                  </a:lnTo>
                  <a:lnTo>
                    <a:pt x="3562035" y="1902164"/>
                  </a:lnTo>
                  <a:lnTo>
                    <a:pt x="3559199" y="1901753"/>
                  </a:lnTo>
                  <a:lnTo>
                    <a:pt x="3558038" y="1901918"/>
                  </a:lnTo>
                  <a:lnTo>
                    <a:pt x="3557146" y="1901571"/>
                  </a:lnTo>
                  <a:lnTo>
                    <a:pt x="3555816" y="1900400"/>
                  </a:lnTo>
                  <a:lnTo>
                    <a:pt x="3554508" y="1898946"/>
                  </a:lnTo>
                  <a:lnTo>
                    <a:pt x="3553694" y="1897760"/>
                  </a:lnTo>
                  <a:lnTo>
                    <a:pt x="3552943" y="1897228"/>
                  </a:lnTo>
                  <a:lnTo>
                    <a:pt x="3550142" y="1896143"/>
                  </a:lnTo>
                  <a:lnTo>
                    <a:pt x="3549412" y="1895986"/>
                  </a:lnTo>
                  <a:lnTo>
                    <a:pt x="3548890" y="1896096"/>
                  </a:lnTo>
                  <a:lnTo>
                    <a:pt x="3547731" y="1896083"/>
                  </a:lnTo>
                  <a:lnTo>
                    <a:pt x="3547197" y="1896282"/>
                  </a:lnTo>
                  <a:lnTo>
                    <a:pt x="3547281" y="1896514"/>
                  </a:lnTo>
                  <a:lnTo>
                    <a:pt x="3547539" y="1896965"/>
                  </a:lnTo>
                  <a:lnTo>
                    <a:pt x="3547743" y="1897432"/>
                  </a:lnTo>
                  <a:lnTo>
                    <a:pt x="3547678" y="1897715"/>
                  </a:lnTo>
                  <a:lnTo>
                    <a:pt x="3546332" y="1898353"/>
                  </a:lnTo>
                  <a:lnTo>
                    <a:pt x="3537520" y="1897128"/>
                  </a:lnTo>
                  <a:lnTo>
                    <a:pt x="3536625" y="1897244"/>
                  </a:lnTo>
                  <a:lnTo>
                    <a:pt x="3537310" y="1898402"/>
                  </a:lnTo>
                  <a:lnTo>
                    <a:pt x="3537893" y="1898769"/>
                  </a:lnTo>
                  <a:lnTo>
                    <a:pt x="3539227" y="1899266"/>
                  </a:lnTo>
                  <a:lnTo>
                    <a:pt x="3539745" y="1899807"/>
                  </a:lnTo>
                  <a:lnTo>
                    <a:pt x="3540132" y="1900943"/>
                  </a:lnTo>
                  <a:lnTo>
                    <a:pt x="3539846" y="1901447"/>
                  </a:lnTo>
                  <a:lnTo>
                    <a:pt x="3539218" y="1901452"/>
                  </a:lnTo>
                  <a:lnTo>
                    <a:pt x="3538577" y="1901112"/>
                  </a:lnTo>
                  <a:lnTo>
                    <a:pt x="3537825" y="1902636"/>
                  </a:lnTo>
                  <a:lnTo>
                    <a:pt x="3532165" y="1903101"/>
                  </a:lnTo>
                  <a:lnTo>
                    <a:pt x="3530506" y="1902689"/>
                  </a:lnTo>
                  <a:lnTo>
                    <a:pt x="3529722" y="1902789"/>
                  </a:lnTo>
                  <a:lnTo>
                    <a:pt x="3526904" y="1904104"/>
                  </a:lnTo>
                  <a:lnTo>
                    <a:pt x="3527172" y="1905284"/>
                  </a:lnTo>
                  <a:lnTo>
                    <a:pt x="3527961" y="1906069"/>
                  </a:lnTo>
                  <a:lnTo>
                    <a:pt x="3532664" y="1908161"/>
                  </a:lnTo>
                  <a:lnTo>
                    <a:pt x="3535518" y="1910144"/>
                  </a:lnTo>
                  <a:lnTo>
                    <a:pt x="3539179" y="1911693"/>
                  </a:lnTo>
                  <a:lnTo>
                    <a:pt x="3540390" y="1912827"/>
                  </a:lnTo>
                  <a:lnTo>
                    <a:pt x="3540963" y="1914003"/>
                  </a:lnTo>
                  <a:lnTo>
                    <a:pt x="3539765" y="1915039"/>
                  </a:lnTo>
                  <a:lnTo>
                    <a:pt x="3539513" y="1916478"/>
                  </a:lnTo>
                  <a:lnTo>
                    <a:pt x="3540409" y="1916788"/>
                  </a:lnTo>
                  <a:lnTo>
                    <a:pt x="3541357" y="1916886"/>
                  </a:lnTo>
                  <a:lnTo>
                    <a:pt x="3543033" y="1916558"/>
                  </a:lnTo>
                  <a:lnTo>
                    <a:pt x="3543772" y="1916818"/>
                  </a:lnTo>
                  <a:lnTo>
                    <a:pt x="3544733" y="1917802"/>
                  </a:lnTo>
                  <a:lnTo>
                    <a:pt x="3545733" y="1918990"/>
                  </a:lnTo>
                  <a:lnTo>
                    <a:pt x="3546568" y="1919856"/>
                  </a:lnTo>
                  <a:lnTo>
                    <a:pt x="3549912" y="1921805"/>
                  </a:lnTo>
                  <a:lnTo>
                    <a:pt x="3551725" y="1922506"/>
                  </a:lnTo>
                  <a:lnTo>
                    <a:pt x="3554095" y="1922765"/>
                  </a:lnTo>
                  <a:lnTo>
                    <a:pt x="3558187" y="1924327"/>
                  </a:lnTo>
                  <a:lnTo>
                    <a:pt x="3560597" y="1926022"/>
                  </a:lnTo>
                  <a:lnTo>
                    <a:pt x="3562498" y="1925722"/>
                  </a:lnTo>
                  <a:lnTo>
                    <a:pt x="3565506" y="1924233"/>
                  </a:lnTo>
                  <a:lnTo>
                    <a:pt x="3565639" y="1925520"/>
                  </a:lnTo>
                  <a:lnTo>
                    <a:pt x="3565212" y="1926168"/>
                  </a:lnTo>
                  <a:lnTo>
                    <a:pt x="3563729" y="1926739"/>
                  </a:lnTo>
                  <a:lnTo>
                    <a:pt x="3564424" y="1927492"/>
                  </a:lnTo>
                  <a:lnTo>
                    <a:pt x="3567809" y="1929606"/>
                  </a:lnTo>
                  <a:lnTo>
                    <a:pt x="3570535" y="1930221"/>
                  </a:lnTo>
                  <a:lnTo>
                    <a:pt x="3572327" y="1931251"/>
                  </a:lnTo>
                  <a:lnTo>
                    <a:pt x="3575942" y="1934127"/>
                  </a:lnTo>
                  <a:lnTo>
                    <a:pt x="3578042" y="1934415"/>
                  </a:lnTo>
                  <a:lnTo>
                    <a:pt x="3578894" y="1934942"/>
                  </a:lnTo>
                  <a:lnTo>
                    <a:pt x="3579735" y="1935639"/>
                  </a:lnTo>
                  <a:lnTo>
                    <a:pt x="3580343" y="1936254"/>
                  </a:lnTo>
                  <a:lnTo>
                    <a:pt x="3580422" y="1936637"/>
                  </a:lnTo>
                  <a:lnTo>
                    <a:pt x="3580392" y="1937240"/>
                  </a:lnTo>
                  <a:lnTo>
                    <a:pt x="3580437" y="1937932"/>
                  </a:lnTo>
                  <a:lnTo>
                    <a:pt x="3580733" y="1938562"/>
                  </a:lnTo>
                  <a:lnTo>
                    <a:pt x="3581305" y="1938972"/>
                  </a:lnTo>
                  <a:lnTo>
                    <a:pt x="3582091" y="1938743"/>
                  </a:lnTo>
                  <a:lnTo>
                    <a:pt x="3583272" y="1939188"/>
                  </a:lnTo>
                  <a:lnTo>
                    <a:pt x="3585180" y="1939554"/>
                  </a:lnTo>
                  <a:lnTo>
                    <a:pt x="3585972" y="1940269"/>
                  </a:lnTo>
                  <a:lnTo>
                    <a:pt x="3586555" y="1941689"/>
                  </a:lnTo>
                  <a:lnTo>
                    <a:pt x="3586410" y="1942556"/>
                  </a:lnTo>
                  <a:lnTo>
                    <a:pt x="3585830" y="1942998"/>
                  </a:lnTo>
                  <a:lnTo>
                    <a:pt x="3585134" y="1943174"/>
                  </a:lnTo>
                  <a:lnTo>
                    <a:pt x="3586467" y="1944089"/>
                  </a:lnTo>
                  <a:lnTo>
                    <a:pt x="3588662" y="1944179"/>
                  </a:lnTo>
                  <a:lnTo>
                    <a:pt x="3589772" y="1944686"/>
                  </a:lnTo>
                  <a:lnTo>
                    <a:pt x="3591062" y="1945715"/>
                  </a:lnTo>
                  <a:lnTo>
                    <a:pt x="3591944" y="1946163"/>
                  </a:lnTo>
                  <a:lnTo>
                    <a:pt x="3592695" y="1946133"/>
                  </a:lnTo>
                  <a:lnTo>
                    <a:pt x="3593607" y="1945748"/>
                  </a:lnTo>
                  <a:lnTo>
                    <a:pt x="3595533" y="1943751"/>
                  </a:lnTo>
                  <a:lnTo>
                    <a:pt x="3598192" y="1944162"/>
                  </a:lnTo>
                  <a:lnTo>
                    <a:pt x="3601612" y="1943545"/>
                  </a:lnTo>
                  <a:lnTo>
                    <a:pt x="3602884" y="1942992"/>
                  </a:lnTo>
                  <a:lnTo>
                    <a:pt x="3602953" y="1944091"/>
                  </a:lnTo>
                  <a:lnTo>
                    <a:pt x="3602661" y="1944749"/>
                  </a:lnTo>
                  <a:lnTo>
                    <a:pt x="3602471" y="1945452"/>
                  </a:lnTo>
                  <a:lnTo>
                    <a:pt x="3603127" y="1947710"/>
                  </a:lnTo>
                  <a:lnTo>
                    <a:pt x="3603091" y="1951153"/>
                  </a:lnTo>
                  <a:lnTo>
                    <a:pt x="3604170" y="1951538"/>
                  </a:lnTo>
                  <a:lnTo>
                    <a:pt x="3604996" y="1950973"/>
                  </a:lnTo>
                  <a:lnTo>
                    <a:pt x="3605547" y="1949762"/>
                  </a:lnTo>
                  <a:lnTo>
                    <a:pt x="3605812" y="1948238"/>
                  </a:lnTo>
                  <a:lnTo>
                    <a:pt x="3604653" y="1946671"/>
                  </a:lnTo>
                  <a:lnTo>
                    <a:pt x="3605017" y="1944974"/>
                  </a:lnTo>
                  <a:lnTo>
                    <a:pt x="3606436" y="1944055"/>
                  </a:lnTo>
                  <a:lnTo>
                    <a:pt x="3610709" y="1945817"/>
                  </a:lnTo>
                  <a:lnTo>
                    <a:pt x="3612535" y="1944943"/>
                  </a:lnTo>
                  <a:lnTo>
                    <a:pt x="3615393" y="1941886"/>
                  </a:lnTo>
                  <a:lnTo>
                    <a:pt x="3617337" y="1940811"/>
                  </a:lnTo>
                  <a:lnTo>
                    <a:pt x="3618565" y="1940954"/>
                  </a:lnTo>
                  <a:lnTo>
                    <a:pt x="3619709" y="1942273"/>
                  </a:lnTo>
                  <a:lnTo>
                    <a:pt x="3620039" y="1943937"/>
                  </a:lnTo>
                  <a:lnTo>
                    <a:pt x="3619380" y="1944973"/>
                  </a:lnTo>
                  <a:lnTo>
                    <a:pt x="3615799" y="1946747"/>
                  </a:lnTo>
                  <a:lnTo>
                    <a:pt x="3615257" y="1947609"/>
                  </a:lnTo>
                  <a:lnTo>
                    <a:pt x="3615493" y="1948941"/>
                  </a:lnTo>
                  <a:lnTo>
                    <a:pt x="3615574" y="1950060"/>
                  </a:lnTo>
                  <a:lnTo>
                    <a:pt x="3614329" y="1952016"/>
                  </a:lnTo>
                  <a:lnTo>
                    <a:pt x="3614184" y="1953250"/>
                  </a:lnTo>
                  <a:lnTo>
                    <a:pt x="3615693" y="1952513"/>
                  </a:lnTo>
                  <a:lnTo>
                    <a:pt x="3616121" y="1953890"/>
                  </a:lnTo>
                  <a:lnTo>
                    <a:pt x="3616817" y="1954723"/>
                  </a:lnTo>
                  <a:lnTo>
                    <a:pt x="3617593" y="1954990"/>
                  </a:lnTo>
                  <a:lnTo>
                    <a:pt x="3618264" y="1954671"/>
                  </a:lnTo>
                  <a:lnTo>
                    <a:pt x="3618591" y="1955346"/>
                  </a:lnTo>
                  <a:lnTo>
                    <a:pt x="3618110" y="1955686"/>
                  </a:lnTo>
                  <a:lnTo>
                    <a:pt x="3617825" y="1956249"/>
                  </a:lnTo>
                  <a:lnTo>
                    <a:pt x="3617783" y="1957055"/>
                  </a:lnTo>
                  <a:lnTo>
                    <a:pt x="3618033" y="1958126"/>
                  </a:lnTo>
                  <a:lnTo>
                    <a:pt x="3619475" y="1957644"/>
                  </a:lnTo>
                  <a:lnTo>
                    <a:pt x="3620181" y="1957209"/>
                  </a:lnTo>
                  <a:lnTo>
                    <a:pt x="3620453" y="1956524"/>
                  </a:lnTo>
                  <a:lnTo>
                    <a:pt x="3620102" y="1955591"/>
                  </a:lnTo>
                  <a:lnTo>
                    <a:pt x="3619337" y="1954638"/>
                  </a:lnTo>
                  <a:lnTo>
                    <a:pt x="3618416" y="1953820"/>
                  </a:lnTo>
                  <a:lnTo>
                    <a:pt x="3617611" y="1953320"/>
                  </a:lnTo>
                  <a:lnTo>
                    <a:pt x="3618990" y="1949196"/>
                  </a:lnTo>
                  <a:lnTo>
                    <a:pt x="3618969" y="1947649"/>
                  </a:lnTo>
                  <a:lnTo>
                    <a:pt x="3620158" y="1947219"/>
                  </a:lnTo>
                  <a:lnTo>
                    <a:pt x="3621369" y="1947116"/>
                  </a:lnTo>
                  <a:lnTo>
                    <a:pt x="3622267" y="1946515"/>
                  </a:lnTo>
                  <a:lnTo>
                    <a:pt x="3622524" y="1944605"/>
                  </a:lnTo>
                  <a:lnTo>
                    <a:pt x="3623049" y="1944148"/>
                  </a:lnTo>
                  <a:lnTo>
                    <a:pt x="3624347" y="1944483"/>
                  </a:lnTo>
                  <a:lnTo>
                    <a:pt x="3625831" y="1945295"/>
                  </a:lnTo>
                  <a:lnTo>
                    <a:pt x="3626904" y="1946250"/>
                  </a:lnTo>
                  <a:lnTo>
                    <a:pt x="3627317" y="1947575"/>
                  </a:lnTo>
                  <a:lnTo>
                    <a:pt x="3626870" y="1948808"/>
                  </a:lnTo>
                  <a:lnTo>
                    <a:pt x="3625959" y="1949805"/>
                  </a:lnTo>
                  <a:lnTo>
                    <a:pt x="3624998" y="1950453"/>
                  </a:lnTo>
                  <a:lnTo>
                    <a:pt x="3624240" y="1951299"/>
                  </a:lnTo>
                  <a:lnTo>
                    <a:pt x="3623371" y="1952867"/>
                  </a:lnTo>
                  <a:lnTo>
                    <a:pt x="3623012" y="1954432"/>
                  </a:lnTo>
                  <a:lnTo>
                    <a:pt x="3623801" y="1955299"/>
                  </a:lnTo>
                  <a:lnTo>
                    <a:pt x="3623195" y="1956402"/>
                  </a:lnTo>
                  <a:lnTo>
                    <a:pt x="3623051" y="1957085"/>
                  </a:lnTo>
                  <a:lnTo>
                    <a:pt x="3623242" y="1958071"/>
                  </a:lnTo>
                  <a:lnTo>
                    <a:pt x="3623759" y="1959001"/>
                  </a:lnTo>
                  <a:lnTo>
                    <a:pt x="3624278" y="1959215"/>
                  </a:lnTo>
                  <a:lnTo>
                    <a:pt x="3624676" y="1959089"/>
                  </a:lnTo>
                  <a:lnTo>
                    <a:pt x="3624828" y="1958960"/>
                  </a:lnTo>
                  <a:lnTo>
                    <a:pt x="3625157" y="1959639"/>
                  </a:lnTo>
                  <a:lnTo>
                    <a:pt x="3625021" y="1957730"/>
                  </a:lnTo>
                  <a:lnTo>
                    <a:pt x="3626196" y="1954239"/>
                  </a:lnTo>
                  <a:lnTo>
                    <a:pt x="3626436" y="1952254"/>
                  </a:lnTo>
                  <a:lnTo>
                    <a:pt x="3627644" y="1952824"/>
                  </a:lnTo>
                  <a:lnTo>
                    <a:pt x="3628501" y="1951769"/>
                  </a:lnTo>
                  <a:lnTo>
                    <a:pt x="3629753" y="1949016"/>
                  </a:lnTo>
                  <a:lnTo>
                    <a:pt x="3630464" y="1948655"/>
                  </a:lnTo>
                  <a:lnTo>
                    <a:pt x="3631449" y="1948461"/>
                  </a:lnTo>
                  <a:lnTo>
                    <a:pt x="3632493" y="1948482"/>
                  </a:lnTo>
                  <a:lnTo>
                    <a:pt x="3634197" y="1948988"/>
                  </a:lnTo>
                  <a:lnTo>
                    <a:pt x="3634552" y="1949371"/>
                  </a:lnTo>
                  <a:lnTo>
                    <a:pt x="3634730" y="1950349"/>
                  </a:lnTo>
                  <a:lnTo>
                    <a:pt x="3634744" y="1951614"/>
                  </a:lnTo>
                  <a:lnTo>
                    <a:pt x="3634666" y="1952107"/>
                  </a:lnTo>
                  <a:lnTo>
                    <a:pt x="3634497" y="1952519"/>
                  </a:lnTo>
                  <a:lnTo>
                    <a:pt x="3634674" y="1952546"/>
                  </a:lnTo>
                  <a:lnTo>
                    <a:pt x="3634791" y="1952503"/>
                  </a:lnTo>
                  <a:lnTo>
                    <a:pt x="3634912" y="1952608"/>
                  </a:lnTo>
                  <a:lnTo>
                    <a:pt x="3635102" y="1953057"/>
                  </a:lnTo>
                  <a:lnTo>
                    <a:pt x="3635947" y="1951770"/>
                  </a:lnTo>
                  <a:lnTo>
                    <a:pt x="3636635" y="1951149"/>
                  </a:lnTo>
                  <a:lnTo>
                    <a:pt x="3637540" y="1951198"/>
                  </a:lnTo>
                  <a:lnTo>
                    <a:pt x="3642076" y="1953451"/>
                  </a:lnTo>
                  <a:lnTo>
                    <a:pt x="3643410" y="1953695"/>
                  </a:lnTo>
                  <a:lnTo>
                    <a:pt x="3644712" y="1953374"/>
                  </a:lnTo>
                  <a:lnTo>
                    <a:pt x="3645015" y="1953987"/>
                  </a:lnTo>
                  <a:lnTo>
                    <a:pt x="3640543" y="1958730"/>
                  </a:lnTo>
                  <a:lnTo>
                    <a:pt x="3640903" y="1959464"/>
                  </a:lnTo>
                  <a:lnTo>
                    <a:pt x="3643039" y="1958611"/>
                  </a:lnTo>
                  <a:lnTo>
                    <a:pt x="3643975" y="1957920"/>
                  </a:lnTo>
                  <a:lnTo>
                    <a:pt x="3644471" y="1956775"/>
                  </a:lnTo>
                  <a:lnTo>
                    <a:pt x="3644505" y="1957671"/>
                  </a:lnTo>
                  <a:lnTo>
                    <a:pt x="3645295" y="1954951"/>
                  </a:lnTo>
                  <a:lnTo>
                    <a:pt x="3646154" y="1953748"/>
                  </a:lnTo>
                  <a:lnTo>
                    <a:pt x="3647433" y="1953618"/>
                  </a:lnTo>
                  <a:lnTo>
                    <a:pt x="3649548" y="1955312"/>
                  </a:lnTo>
                  <a:lnTo>
                    <a:pt x="3649582" y="1957204"/>
                  </a:lnTo>
                  <a:lnTo>
                    <a:pt x="3648769" y="1959078"/>
                  </a:lnTo>
                  <a:lnTo>
                    <a:pt x="3648357" y="1960772"/>
                  </a:lnTo>
                  <a:lnTo>
                    <a:pt x="3648956" y="1960318"/>
                  </a:lnTo>
                  <a:lnTo>
                    <a:pt x="3650223" y="1958601"/>
                  </a:lnTo>
                  <a:lnTo>
                    <a:pt x="3650520" y="1958353"/>
                  </a:lnTo>
                  <a:lnTo>
                    <a:pt x="3651424" y="1959219"/>
                  </a:lnTo>
                  <a:lnTo>
                    <a:pt x="3652210" y="1958636"/>
                  </a:lnTo>
                  <a:lnTo>
                    <a:pt x="3653101" y="1956640"/>
                  </a:lnTo>
                  <a:lnTo>
                    <a:pt x="3654684" y="1957584"/>
                  </a:lnTo>
                  <a:lnTo>
                    <a:pt x="3655551" y="1958244"/>
                  </a:lnTo>
                  <a:lnTo>
                    <a:pt x="3656139" y="1958969"/>
                  </a:lnTo>
                  <a:lnTo>
                    <a:pt x="3656456" y="1960154"/>
                  </a:lnTo>
                  <a:lnTo>
                    <a:pt x="3656335" y="1962425"/>
                  </a:lnTo>
                  <a:lnTo>
                    <a:pt x="3656489" y="1963487"/>
                  </a:lnTo>
                  <a:lnTo>
                    <a:pt x="3657151" y="1962990"/>
                  </a:lnTo>
                  <a:lnTo>
                    <a:pt x="3657831" y="1961163"/>
                  </a:lnTo>
                  <a:lnTo>
                    <a:pt x="3659452" y="1960243"/>
                  </a:lnTo>
                  <a:lnTo>
                    <a:pt x="3659704" y="1960701"/>
                  </a:lnTo>
                  <a:lnTo>
                    <a:pt x="3659695" y="1960856"/>
                  </a:lnTo>
                  <a:lnTo>
                    <a:pt x="3659563" y="1960908"/>
                  </a:lnTo>
                  <a:lnTo>
                    <a:pt x="3659456" y="1961082"/>
                  </a:lnTo>
                  <a:lnTo>
                    <a:pt x="3659702" y="1961033"/>
                  </a:lnTo>
                  <a:lnTo>
                    <a:pt x="3659824" y="1961201"/>
                  </a:lnTo>
                  <a:lnTo>
                    <a:pt x="3659819" y="1961814"/>
                  </a:lnTo>
                  <a:lnTo>
                    <a:pt x="3661580" y="1962683"/>
                  </a:lnTo>
                  <a:lnTo>
                    <a:pt x="3662339" y="1963266"/>
                  </a:lnTo>
                  <a:lnTo>
                    <a:pt x="3662678" y="1964111"/>
                  </a:lnTo>
                  <a:lnTo>
                    <a:pt x="3662660" y="1965276"/>
                  </a:lnTo>
                  <a:lnTo>
                    <a:pt x="3662234" y="1968145"/>
                  </a:lnTo>
                  <a:lnTo>
                    <a:pt x="3662842" y="1968605"/>
                  </a:lnTo>
                  <a:lnTo>
                    <a:pt x="3663993" y="1966915"/>
                  </a:lnTo>
                  <a:lnTo>
                    <a:pt x="3665470" y="1965916"/>
                  </a:lnTo>
                  <a:lnTo>
                    <a:pt x="3668903" y="1964783"/>
                  </a:lnTo>
                  <a:lnTo>
                    <a:pt x="3668708" y="1965407"/>
                  </a:lnTo>
                  <a:lnTo>
                    <a:pt x="3667450" y="1967199"/>
                  </a:lnTo>
                  <a:lnTo>
                    <a:pt x="3667084" y="1968029"/>
                  </a:lnTo>
                  <a:lnTo>
                    <a:pt x="3666839" y="1968933"/>
                  </a:lnTo>
                  <a:lnTo>
                    <a:pt x="3666637" y="1970971"/>
                  </a:lnTo>
                  <a:lnTo>
                    <a:pt x="3667732" y="1970349"/>
                  </a:lnTo>
                  <a:lnTo>
                    <a:pt x="3676270" y="1962804"/>
                  </a:lnTo>
                  <a:lnTo>
                    <a:pt x="3678450" y="1963304"/>
                  </a:lnTo>
                  <a:lnTo>
                    <a:pt x="3677998" y="1964020"/>
                  </a:lnTo>
                  <a:lnTo>
                    <a:pt x="3677672" y="1964964"/>
                  </a:lnTo>
                  <a:lnTo>
                    <a:pt x="3677627" y="1966189"/>
                  </a:lnTo>
                  <a:lnTo>
                    <a:pt x="3678012" y="1967738"/>
                  </a:lnTo>
                  <a:lnTo>
                    <a:pt x="3681016" y="1964568"/>
                  </a:lnTo>
                  <a:lnTo>
                    <a:pt x="3682246" y="1964733"/>
                  </a:lnTo>
                  <a:lnTo>
                    <a:pt x="3681945" y="1965569"/>
                  </a:lnTo>
                  <a:lnTo>
                    <a:pt x="3680803" y="1967234"/>
                  </a:lnTo>
                  <a:lnTo>
                    <a:pt x="3681630" y="1967716"/>
                  </a:lnTo>
                  <a:lnTo>
                    <a:pt x="3682414" y="1967948"/>
                  </a:lnTo>
                  <a:lnTo>
                    <a:pt x="3683037" y="1967791"/>
                  </a:lnTo>
                  <a:lnTo>
                    <a:pt x="3683902" y="1966375"/>
                  </a:lnTo>
                  <a:lnTo>
                    <a:pt x="3684689" y="1966260"/>
                  </a:lnTo>
                  <a:lnTo>
                    <a:pt x="3685571" y="1966316"/>
                  </a:lnTo>
                  <a:lnTo>
                    <a:pt x="3686350" y="1966078"/>
                  </a:lnTo>
                  <a:lnTo>
                    <a:pt x="3686368" y="1966470"/>
                  </a:lnTo>
                  <a:lnTo>
                    <a:pt x="3686417" y="1966851"/>
                  </a:lnTo>
                  <a:lnTo>
                    <a:pt x="3686438" y="1967258"/>
                  </a:lnTo>
                  <a:lnTo>
                    <a:pt x="3686360" y="1967679"/>
                  </a:lnTo>
                  <a:lnTo>
                    <a:pt x="3688106" y="1969210"/>
                  </a:lnTo>
                  <a:lnTo>
                    <a:pt x="3691591" y="1970166"/>
                  </a:lnTo>
                  <a:lnTo>
                    <a:pt x="3693254" y="1972200"/>
                  </a:lnTo>
                  <a:lnTo>
                    <a:pt x="3694817" y="1973658"/>
                  </a:lnTo>
                  <a:lnTo>
                    <a:pt x="3696342" y="1973568"/>
                  </a:lnTo>
                  <a:lnTo>
                    <a:pt x="3697513" y="1973996"/>
                  </a:lnTo>
                  <a:lnTo>
                    <a:pt x="3698024" y="1977024"/>
                  </a:lnTo>
                  <a:lnTo>
                    <a:pt x="3698890" y="1978458"/>
                  </a:lnTo>
                  <a:lnTo>
                    <a:pt x="3699354" y="1981505"/>
                  </a:lnTo>
                  <a:lnTo>
                    <a:pt x="3700119" y="1982689"/>
                  </a:lnTo>
                  <a:lnTo>
                    <a:pt x="3700973" y="1982632"/>
                  </a:lnTo>
                  <a:lnTo>
                    <a:pt x="3701489" y="1981387"/>
                  </a:lnTo>
                  <a:lnTo>
                    <a:pt x="3701848" y="1979860"/>
                  </a:lnTo>
                  <a:lnTo>
                    <a:pt x="3702259" y="1978986"/>
                  </a:lnTo>
                  <a:lnTo>
                    <a:pt x="3705596" y="1976420"/>
                  </a:lnTo>
                  <a:lnTo>
                    <a:pt x="3706067" y="1976705"/>
                  </a:lnTo>
                  <a:lnTo>
                    <a:pt x="3705901" y="1977953"/>
                  </a:lnTo>
                  <a:lnTo>
                    <a:pt x="3705268" y="1980039"/>
                  </a:lnTo>
                  <a:lnTo>
                    <a:pt x="3710006" y="1981731"/>
                  </a:lnTo>
                  <a:lnTo>
                    <a:pt x="3710078" y="1982901"/>
                  </a:lnTo>
                  <a:lnTo>
                    <a:pt x="3709791" y="1983351"/>
                  </a:lnTo>
                  <a:lnTo>
                    <a:pt x="3709326" y="1983561"/>
                  </a:lnTo>
                  <a:lnTo>
                    <a:pt x="3708121" y="1984953"/>
                  </a:lnTo>
                  <a:lnTo>
                    <a:pt x="3708035" y="1985399"/>
                  </a:lnTo>
                  <a:lnTo>
                    <a:pt x="3708061" y="1986613"/>
                  </a:lnTo>
                  <a:lnTo>
                    <a:pt x="3707811" y="1987305"/>
                  </a:lnTo>
                  <a:lnTo>
                    <a:pt x="3706456" y="1987756"/>
                  </a:lnTo>
                  <a:lnTo>
                    <a:pt x="3705711" y="1988275"/>
                  </a:lnTo>
                  <a:lnTo>
                    <a:pt x="3705372" y="1988359"/>
                  </a:lnTo>
                  <a:lnTo>
                    <a:pt x="3705130" y="1988528"/>
                  </a:lnTo>
                  <a:lnTo>
                    <a:pt x="3705179" y="1988901"/>
                  </a:lnTo>
                  <a:lnTo>
                    <a:pt x="3705478" y="1989480"/>
                  </a:lnTo>
                  <a:lnTo>
                    <a:pt x="3705805" y="1990005"/>
                  </a:lnTo>
                  <a:lnTo>
                    <a:pt x="3706146" y="1990353"/>
                  </a:lnTo>
                  <a:lnTo>
                    <a:pt x="3708879" y="1990836"/>
                  </a:lnTo>
                  <a:lnTo>
                    <a:pt x="3715242" y="1993813"/>
                  </a:lnTo>
                  <a:lnTo>
                    <a:pt x="3716789" y="1992726"/>
                  </a:lnTo>
                  <a:lnTo>
                    <a:pt x="3713092" y="1990080"/>
                  </a:lnTo>
                  <a:lnTo>
                    <a:pt x="3711325" y="1988262"/>
                  </a:lnTo>
                  <a:lnTo>
                    <a:pt x="3711671" y="1986861"/>
                  </a:lnTo>
                  <a:lnTo>
                    <a:pt x="3713116" y="1984977"/>
                  </a:lnTo>
                  <a:lnTo>
                    <a:pt x="3713877" y="1984799"/>
                  </a:lnTo>
                  <a:lnTo>
                    <a:pt x="3714710" y="1985118"/>
                  </a:lnTo>
                  <a:lnTo>
                    <a:pt x="3716230" y="1986152"/>
                  </a:lnTo>
                  <a:lnTo>
                    <a:pt x="3717154" y="1986549"/>
                  </a:lnTo>
                  <a:lnTo>
                    <a:pt x="3716493" y="1984531"/>
                  </a:lnTo>
                  <a:lnTo>
                    <a:pt x="3716293" y="1983522"/>
                  </a:lnTo>
                  <a:lnTo>
                    <a:pt x="3716649" y="1983337"/>
                  </a:lnTo>
                  <a:lnTo>
                    <a:pt x="3717657" y="1983760"/>
                  </a:lnTo>
                  <a:lnTo>
                    <a:pt x="3718013" y="1984164"/>
                  </a:lnTo>
                  <a:lnTo>
                    <a:pt x="3718405" y="1984806"/>
                  </a:lnTo>
                  <a:lnTo>
                    <a:pt x="3718869" y="1985336"/>
                  </a:lnTo>
                  <a:lnTo>
                    <a:pt x="3719909" y="1985360"/>
                  </a:lnTo>
                  <a:lnTo>
                    <a:pt x="3721229" y="1985801"/>
                  </a:lnTo>
                  <a:lnTo>
                    <a:pt x="3721802" y="1985826"/>
                  </a:lnTo>
                  <a:lnTo>
                    <a:pt x="3721791" y="1986279"/>
                  </a:lnTo>
                  <a:lnTo>
                    <a:pt x="3721850" y="1986808"/>
                  </a:lnTo>
                  <a:lnTo>
                    <a:pt x="3721988" y="1987446"/>
                  </a:lnTo>
                  <a:lnTo>
                    <a:pt x="3722221" y="1988227"/>
                  </a:lnTo>
                  <a:lnTo>
                    <a:pt x="3723434" y="1989233"/>
                  </a:lnTo>
                  <a:lnTo>
                    <a:pt x="3723694" y="1989526"/>
                  </a:lnTo>
                  <a:lnTo>
                    <a:pt x="3723993" y="1989934"/>
                  </a:lnTo>
                  <a:lnTo>
                    <a:pt x="3724603" y="1990947"/>
                  </a:lnTo>
                  <a:lnTo>
                    <a:pt x="3724811" y="1991644"/>
                  </a:lnTo>
                  <a:lnTo>
                    <a:pt x="3723891" y="1991115"/>
                  </a:lnTo>
                  <a:lnTo>
                    <a:pt x="3722609" y="1990685"/>
                  </a:lnTo>
                  <a:lnTo>
                    <a:pt x="3721232" y="1991047"/>
                  </a:lnTo>
                  <a:lnTo>
                    <a:pt x="3718961" y="1992372"/>
                  </a:lnTo>
                  <a:lnTo>
                    <a:pt x="3724007" y="1992818"/>
                  </a:lnTo>
                  <a:lnTo>
                    <a:pt x="3730116" y="1991358"/>
                  </a:lnTo>
                  <a:lnTo>
                    <a:pt x="3730413" y="1989796"/>
                  </a:lnTo>
                  <a:lnTo>
                    <a:pt x="3730107" y="1989956"/>
                  </a:lnTo>
                  <a:lnTo>
                    <a:pt x="3730815" y="1988219"/>
                  </a:lnTo>
                  <a:lnTo>
                    <a:pt x="3732635" y="1988305"/>
                  </a:lnTo>
                  <a:lnTo>
                    <a:pt x="3737068" y="1990613"/>
                  </a:lnTo>
                  <a:lnTo>
                    <a:pt x="3737416" y="1991288"/>
                  </a:lnTo>
                  <a:lnTo>
                    <a:pt x="3734934" y="1995535"/>
                  </a:lnTo>
                  <a:lnTo>
                    <a:pt x="3734532" y="1997410"/>
                  </a:lnTo>
                  <a:lnTo>
                    <a:pt x="3734482" y="1998666"/>
                  </a:lnTo>
                  <a:lnTo>
                    <a:pt x="3734530" y="1999306"/>
                  </a:lnTo>
                  <a:lnTo>
                    <a:pt x="3734815" y="1999944"/>
                  </a:lnTo>
                  <a:lnTo>
                    <a:pt x="3735480" y="2001185"/>
                  </a:lnTo>
                  <a:lnTo>
                    <a:pt x="3736020" y="2001745"/>
                  </a:lnTo>
                  <a:lnTo>
                    <a:pt x="3737875" y="2003367"/>
                  </a:lnTo>
                  <a:lnTo>
                    <a:pt x="3738293" y="2003980"/>
                  </a:lnTo>
                  <a:lnTo>
                    <a:pt x="3738465" y="2005252"/>
                  </a:lnTo>
                  <a:lnTo>
                    <a:pt x="3738634" y="2005844"/>
                  </a:lnTo>
                  <a:lnTo>
                    <a:pt x="3738499" y="2006096"/>
                  </a:lnTo>
                  <a:lnTo>
                    <a:pt x="3737739" y="2006352"/>
                  </a:lnTo>
                  <a:lnTo>
                    <a:pt x="3736229" y="2006026"/>
                  </a:lnTo>
                  <a:lnTo>
                    <a:pt x="3736012" y="2006018"/>
                  </a:lnTo>
                  <a:lnTo>
                    <a:pt x="3735563" y="2005739"/>
                  </a:lnTo>
                  <a:lnTo>
                    <a:pt x="3734452" y="2006464"/>
                  </a:lnTo>
                  <a:lnTo>
                    <a:pt x="3733985" y="2006616"/>
                  </a:lnTo>
                  <a:lnTo>
                    <a:pt x="3730845" y="2003798"/>
                  </a:lnTo>
                  <a:lnTo>
                    <a:pt x="3729428" y="2003286"/>
                  </a:lnTo>
                  <a:lnTo>
                    <a:pt x="3729179" y="2005651"/>
                  </a:lnTo>
                  <a:lnTo>
                    <a:pt x="3729558" y="2005902"/>
                  </a:lnTo>
                  <a:lnTo>
                    <a:pt x="3730001" y="2006064"/>
                  </a:lnTo>
                  <a:lnTo>
                    <a:pt x="3730356" y="2005970"/>
                  </a:lnTo>
                  <a:lnTo>
                    <a:pt x="3730540" y="2004833"/>
                  </a:lnTo>
                  <a:lnTo>
                    <a:pt x="3730915" y="2005091"/>
                  </a:lnTo>
                  <a:lnTo>
                    <a:pt x="3731382" y="2005694"/>
                  </a:lnTo>
                  <a:lnTo>
                    <a:pt x="3731737" y="2006094"/>
                  </a:lnTo>
                  <a:lnTo>
                    <a:pt x="3736853" y="2009879"/>
                  </a:lnTo>
                  <a:lnTo>
                    <a:pt x="3737426" y="2010482"/>
                  </a:lnTo>
                  <a:lnTo>
                    <a:pt x="3738130" y="2011682"/>
                  </a:lnTo>
                  <a:lnTo>
                    <a:pt x="3738218" y="2012453"/>
                  </a:lnTo>
                  <a:lnTo>
                    <a:pt x="3737382" y="2013740"/>
                  </a:lnTo>
                  <a:lnTo>
                    <a:pt x="3737153" y="2014342"/>
                  </a:lnTo>
                  <a:lnTo>
                    <a:pt x="3738535" y="2014409"/>
                  </a:lnTo>
                  <a:lnTo>
                    <a:pt x="3740087" y="2014109"/>
                  </a:lnTo>
                  <a:lnTo>
                    <a:pt x="3741439" y="2014119"/>
                  </a:lnTo>
                  <a:lnTo>
                    <a:pt x="3742242" y="2015141"/>
                  </a:lnTo>
                  <a:lnTo>
                    <a:pt x="3744121" y="2016963"/>
                  </a:lnTo>
                  <a:lnTo>
                    <a:pt x="3744504" y="2017267"/>
                  </a:lnTo>
                  <a:lnTo>
                    <a:pt x="3745088" y="2016961"/>
                  </a:lnTo>
                  <a:lnTo>
                    <a:pt x="3745904" y="2015522"/>
                  </a:lnTo>
                  <a:lnTo>
                    <a:pt x="3746662" y="2015725"/>
                  </a:lnTo>
                  <a:lnTo>
                    <a:pt x="3747208" y="2016564"/>
                  </a:lnTo>
                  <a:lnTo>
                    <a:pt x="3747623" y="2017633"/>
                  </a:lnTo>
                  <a:lnTo>
                    <a:pt x="3748105" y="2018420"/>
                  </a:lnTo>
                  <a:lnTo>
                    <a:pt x="3749499" y="2018497"/>
                  </a:lnTo>
                  <a:lnTo>
                    <a:pt x="3750317" y="2019036"/>
                  </a:lnTo>
                  <a:lnTo>
                    <a:pt x="3751097" y="2019959"/>
                  </a:lnTo>
                  <a:lnTo>
                    <a:pt x="3751622" y="2021158"/>
                  </a:lnTo>
                  <a:lnTo>
                    <a:pt x="3751207" y="2022677"/>
                  </a:lnTo>
                  <a:lnTo>
                    <a:pt x="3748239" y="2023861"/>
                  </a:lnTo>
                  <a:lnTo>
                    <a:pt x="3748126" y="2025104"/>
                  </a:lnTo>
                  <a:lnTo>
                    <a:pt x="3747622" y="2025967"/>
                  </a:lnTo>
                  <a:lnTo>
                    <a:pt x="3742698" y="2028350"/>
                  </a:lnTo>
                  <a:lnTo>
                    <a:pt x="3738877" y="2032597"/>
                  </a:lnTo>
                  <a:lnTo>
                    <a:pt x="3735162" y="2032400"/>
                  </a:lnTo>
                  <a:lnTo>
                    <a:pt x="3731974" y="2033807"/>
                  </a:lnTo>
                  <a:lnTo>
                    <a:pt x="3730221" y="2033960"/>
                  </a:lnTo>
                  <a:lnTo>
                    <a:pt x="3727276" y="2033615"/>
                  </a:lnTo>
                  <a:lnTo>
                    <a:pt x="3725991" y="2033822"/>
                  </a:lnTo>
                  <a:lnTo>
                    <a:pt x="3724604" y="2034397"/>
                  </a:lnTo>
                  <a:lnTo>
                    <a:pt x="3723687" y="2034330"/>
                  </a:lnTo>
                  <a:lnTo>
                    <a:pt x="3721667" y="2033055"/>
                  </a:lnTo>
                  <a:lnTo>
                    <a:pt x="3720917" y="2032912"/>
                  </a:lnTo>
                  <a:lnTo>
                    <a:pt x="3720457" y="2033448"/>
                  </a:lnTo>
                  <a:lnTo>
                    <a:pt x="3720160" y="2034146"/>
                  </a:lnTo>
                  <a:lnTo>
                    <a:pt x="3719735" y="2034689"/>
                  </a:lnTo>
                  <a:lnTo>
                    <a:pt x="3718868" y="2034725"/>
                  </a:lnTo>
                  <a:lnTo>
                    <a:pt x="3717332" y="2033854"/>
                  </a:lnTo>
                  <a:lnTo>
                    <a:pt x="3717117" y="2032700"/>
                  </a:lnTo>
                  <a:lnTo>
                    <a:pt x="3718125" y="2030059"/>
                  </a:lnTo>
                  <a:lnTo>
                    <a:pt x="3716850" y="2029908"/>
                  </a:lnTo>
                  <a:lnTo>
                    <a:pt x="3715301" y="2031550"/>
                  </a:lnTo>
                  <a:lnTo>
                    <a:pt x="3714378" y="2031970"/>
                  </a:lnTo>
                  <a:lnTo>
                    <a:pt x="3713851" y="2031746"/>
                  </a:lnTo>
                  <a:lnTo>
                    <a:pt x="3713244" y="2031254"/>
                  </a:lnTo>
                  <a:lnTo>
                    <a:pt x="3712134" y="2030199"/>
                  </a:lnTo>
                  <a:lnTo>
                    <a:pt x="3711711" y="2029993"/>
                  </a:lnTo>
                  <a:lnTo>
                    <a:pt x="3710249" y="2029860"/>
                  </a:lnTo>
                  <a:lnTo>
                    <a:pt x="3710180" y="2029434"/>
                  </a:lnTo>
                  <a:lnTo>
                    <a:pt x="3709863" y="2028377"/>
                  </a:lnTo>
                  <a:lnTo>
                    <a:pt x="3708380" y="2028594"/>
                  </a:lnTo>
                  <a:lnTo>
                    <a:pt x="3704545" y="2030232"/>
                  </a:lnTo>
                  <a:lnTo>
                    <a:pt x="3700409" y="2029304"/>
                  </a:lnTo>
                  <a:lnTo>
                    <a:pt x="3699182" y="2029503"/>
                  </a:lnTo>
                  <a:lnTo>
                    <a:pt x="3700584" y="2030167"/>
                  </a:lnTo>
                  <a:lnTo>
                    <a:pt x="3701061" y="2030236"/>
                  </a:lnTo>
                  <a:lnTo>
                    <a:pt x="3701071" y="2032633"/>
                  </a:lnTo>
                  <a:lnTo>
                    <a:pt x="3699176" y="2032447"/>
                  </a:lnTo>
                  <a:lnTo>
                    <a:pt x="3695261" y="2030712"/>
                  </a:lnTo>
                  <a:lnTo>
                    <a:pt x="3694688" y="2031385"/>
                  </a:lnTo>
                  <a:lnTo>
                    <a:pt x="3693928" y="2033436"/>
                  </a:lnTo>
                  <a:lnTo>
                    <a:pt x="3693309" y="2034136"/>
                  </a:lnTo>
                  <a:lnTo>
                    <a:pt x="3692271" y="2034326"/>
                  </a:lnTo>
                  <a:lnTo>
                    <a:pt x="3691182" y="2034053"/>
                  </a:lnTo>
                  <a:lnTo>
                    <a:pt x="3683970" y="2030910"/>
                  </a:lnTo>
                  <a:lnTo>
                    <a:pt x="3683281" y="2030819"/>
                  </a:lnTo>
                  <a:lnTo>
                    <a:pt x="3682843" y="2030988"/>
                  </a:lnTo>
                  <a:lnTo>
                    <a:pt x="3682901" y="2031408"/>
                  </a:lnTo>
                  <a:lnTo>
                    <a:pt x="3683330" y="2032941"/>
                  </a:lnTo>
                  <a:lnTo>
                    <a:pt x="3683365" y="2033308"/>
                  </a:lnTo>
                  <a:lnTo>
                    <a:pt x="3680961" y="2035487"/>
                  </a:lnTo>
                  <a:lnTo>
                    <a:pt x="3680259" y="2035242"/>
                  </a:lnTo>
                  <a:lnTo>
                    <a:pt x="3679745" y="2034415"/>
                  </a:lnTo>
                  <a:lnTo>
                    <a:pt x="3678871" y="2033203"/>
                  </a:lnTo>
                  <a:lnTo>
                    <a:pt x="3677918" y="2032036"/>
                  </a:lnTo>
                  <a:lnTo>
                    <a:pt x="3677150" y="2031309"/>
                  </a:lnTo>
                  <a:lnTo>
                    <a:pt x="3677802" y="2030627"/>
                  </a:lnTo>
                  <a:lnTo>
                    <a:pt x="3677560" y="2029884"/>
                  </a:lnTo>
                  <a:lnTo>
                    <a:pt x="3676824" y="2029362"/>
                  </a:lnTo>
                  <a:lnTo>
                    <a:pt x="3673497" y="2029806"/>
                  </a:lnTo>
                  <a:lnTo>
                    <a:pt x="3669662" y="2032264"/>
                  </a:lnTo>
                  <a:lnTo>
                    <a:pt x="3667935" y="2032459"/>
                  </a:lnTo>
                  <a:lnTo>
                    <a:pt x="3665855" y="2031452"/>
                  </a:lnTo>
                  <a:lnTo>
                    <a:pt x="3663796" y="2030763"/>
                  </a:lnTo>
                  <a:lnTo>
                    <a:pt x="3662603" y="2031971"/>
                  </a:lnTo>
                  <a:lnTo>
                    <a:pt x="3661740" y="2033832"/>
                  </a:lnTo>
                  <a:lnTo>
                    <a:pt x="3660704" y="2035161"/>
                  </a:lnTo>
                  <a:lnTo>
                    <a:pt x="3656729" y="2036389"/>
                  </a:lnTo>
                  <a:lnTo>
                    <a:pt x="3652412" y="2036704"/>
                  </a:lnTo>
                  <a:lnTo>
                    <a:pt x="3652229" y="2035840"/>
                  </a:lnTo>
                  <a:lnTo>
                    <a:pt x="3652223" y="2035113"/>
                  </a:lnTo>
                  <a:lnTo>
                    <a:pt x="3652389" y="2034540"/>
                  </a:lnTo>
                  <a:lnTo>
                    <a:pt x="3652718" y="2034141"/>
                  </a:lnTo>
                  <a:lnTo>
                    <a:pt x="3652390" y="2033457"/>
                  </a:lnTo>
                  <a:lnTo>
                    <a:pt x="3651623" y="2033319"/>
                  </a:lnTo>
                  <a:lnTo>
                    <a:pt x="3651120" y="2033549"/>
                  </a:lnTo>
                  <a:lnTo>
                    <a:pt x="3650531" y="2034362"/>
                  </a:lnTo>
                  <a:lnTo>
                    <a:pt x="3650566" y="2034584"/>
                  </a:lnTo>
                  <a:lnTo>
                    <a:pt x="3650613" y="2035683"/>
                  </a:lnTo>
                  <a:lnTo>
                    <a:pt x="3650527" y="2036032"/>
                  </a:lnTo>
                  <a:lnTo>
                    <a:pt x="3650089" y="2036270"/>
                  </a:lnTo>
                  <a:lnTo>
                    <a:pt x="3649109" y="2036067"/>
                  </a:lnTo>
                  <a:lnTo>
                    <a:pt x="3644168" y="2036581"/>
                  </a:lnTo>
                  <a:lnTo>
                    <a:pt x="3643033" y="2037164"/>
                  </a:lnTo>
                  <a:lnTo>
                    <a:pt x="3641998" y="2038150"/>
                  </a:lnTo>
                  <a:lnTo>
                    <a:pt x="3641386" y="2038376"/>
                  </a:lnTo>
                  <a:lnTo>
                    <a:pt x="3640549" y="2038364"/>
                  </a:lnTo>
                  <a:lnTo>
                    <a:pt x="3640252" y="2038090"/>
                  </a:lnTo>
                  <a:lnTo>
                    <a:pt x="3639742" y="2037528"/>
                  </a:lnTo>
                  <a:lnTo>
                    <a:pt x="3639148" y="2036996"/>
                  </a:lnTo>
                  <a:lnTo>
                    <a:pt x="3638596" y="2036816"/>
                  </a:lnTo>
                  <a:lnTo>
                    <a:pt x="3638416" y="2037122"/>
                  </a:lnTo>
                  <a:lnTo>
                    <a:pt x="3638232" y="2038380"/>
                  </a:lnTo>
                  <a:lnTo>
                    <a:pt x="3638020" y="2038749"/>
                  </a:lnTo>
                  <a:lnTo>
                    <a:pt x="3616291" y="2045305"/>
                  </a:lnTo>
                  <a:lnTo>
                    <a:pt x="3612936" y="2044968"/>
                  </a:lnTo>
                  <a:lnTo>
                    <a:pt x="3611696" y="2044397"/>
                  </a:lnTo>
                  <a:lnTo>
                    <a:pt x="3609963" y="2044029"/>
                  </a:lnTo>
                  <a:lnTo>
                    <a:pt x="3608767" y="2044044"/>
                  </a:lnTo>
                  <a:lnTo>
                    <a:pt x="3606410" y="2043534"/>
                  </a:lnTo>
                  <a:lnTo>
                    <a:pt x="3605737" y="2043238"/>
                  </a:lnTo>
                  <a:lnTo>
                    <a:pt x="3605422" y="2042558"/>
                  </a:lnTo>
                  <a:lnTo>
                    <a:pt x="3605871" y="2041686"/>
                  </a:lnTo>
                  <a:lnTo>
                    <a:pt x="3606071" y="2041425"/>
                  </a:lnTo>
                  <a:lnTo>
                    <a:pt x="3605755" y="2040744"/>
                  </a:lnTo>
                  <a:lnTo>
                    <a:pt x="3600103" y="2041746"/>
                  </a:lnTo>
                  <a:lnTo>
                    <a:pt x="3599338" y="2041173"/>
                  </a:lnTo>
                  <a:lnTo>
                    <a:pt x="3598390" y="2039650"/>
                  </a:lnTo>
                  <a:lnTo>
                    <a:pt x="3597282" y="2038413"/>
                  </a:lnTo>
                  <a:lnTo>
                    <a:pt x="3596028" y="2038683"/>
                  </a:lnTo>
                  <a:lnTo>
                    <a:pt x="3595934" y="2040747"/>
                  </a:lnTo>
                  <a:lnTo>
                    <a:pt x="3595725" y="2041308"/>
                  </a:lnTo>
                  <a:lnTo>
                    <a:pt x="3595152" y="2041472"/>
                  </a:lnTo>
                  <a:lnTo>
                    <a:pt x="3594279" y="2041361"/>
                  </a:lnTo>
                  <a:lnTo>
                    <a:pt x="3593352" y="2041064"/>
                  </a:lnTo>
                  <a:lnTo>
                    <a:pt x="3592607" y="2040652"/>
                  </a:lnTo>
                  <a:lnTo>
                    <a:pt x="3591346" y="2040343"/>
                  </a:lnTo>
                  <a:lnTo>
                    <a:pt x="3589932" y="2042289"/>
                  </a:lnTo>
                  <a:lnTo>
                    <a:pt x="3588700" y="2042467"/>
                  </a:lnTo>
                  <a:lnTo>
                    <a:pt x="3577986" y="2039593"/>
                  </a:lnTo>
                  <a:lnTo>
                    <a:pt x="3571625" y="2036587"/>
                  </a:lnTo>
                  <a:lnTo>
                    <a:pt x="3568566" y="2032264"/>
                  </a:lnTo>
                  <a:lnTo>
                    <a:pt x="3568254" y="2032407"/>
                  </a:lnTo>
                  <a:lnTo>
                    <a:pt x="3566588" y="2023963"/>
                  </a:lnTo>
                  <a:lnTo>
                    <a:pt x="3566065" y="2023442"/>
                  </a:lnTo>
                  <a:lnTo>
                    <a:pt x="3565387" y="2023261"/>
                  </a:lnTo>
                  <a:lnTo>
                    <a:pt x="3564746" y="2023379"/>
                  </a:lnTo>
                  <a:lnTo>
                    <a:pt x="3565617" y="2026559"/>
                  </a:lnTo>
                  <a:lnTo>
                    <a:pt x="3565782" y="2027397"/>
                  </a:lnTo>
                  <a:lnTo>
                    <a:pt x="3565727" y="2028302"/>
                  </a:lnTo>
                  <a:lnTo>
                    <a:pt x="3565496" y="2029664"/>
                  </a:lnTo>
                  <a:lnTo>
                    <a:pt x="3565467" y="2030384"/>
                  </a:lnTo>
                  <a:lnTo>
                    <a:pt x="3565656" y="2031603"/>
                  </a:lnTo>
                  <a:lnTo>
                    <a:pt x="3565929" y="2032568"/>
                  </a:lnTo>
                  <a:lnTo>
                    <a:pt x="3566041" y="2033449"/>
                  </a:lnTo>
                  <a:lnTo>
                    <a:pt x="3565765" y="2034440"/>
                  </a:lnTo>
                  <a:lnTo>
                    <a:pt x="3565087" y="2033984"/>
                  </a:lnTo>
                  <a:lnTo>
                    <a:pt x="3564734" y="2033389"/>
                  </a:lnTo>
                  <a:lnTo>
                    <a:pt x="3564450" y="2032714"/>
                  </a:lnTo>
                  <a:lnTo>
                    <a:pt x="3563942" y="2031980"/>
                  </a:lnTo>
                  <a:lnTo>
                    <a:pt x="3563452" y="2031620"/>
                  </a:lnTo>
                  <a:lnTo>
                    <a:pt x="3562977" y="2031385"/>
                  </a:lnTo>
                  <a:lnTo>
                    <a:pt x="3562471" y="2030939"/>
                  </a:lnTo>
                  <a:lnTo>
                    <a:pt x="3561920" y="2029988"/>
                  </a:lnTo>
                  <a:lnTo>
                    <a:pt x="3561519" y="2028901"/>
                  </a:lnTo>
                  <a:lnTo>
                    <a:pt x="3561393" y="2028310"/>
                  </a:lnTo>
                  <a:lnTo>
                    <a:pt x="3561178" y="2027898"/>
                  </a:lnTo>
                  <a:lnTo>
                    <a:pt x="3560517" y="2027331"/>
                  </a:lnTo>
                  <a:lnTo>
                    <a:pt x="3559824" y="2026955"/>
                  </a:lnTo>
                  <a:lnTo>
                    <a:pt x="3557736" y="2026583"/>
                  </a:lnTo>
                  <a:lnTo>
                    <a:pt x="3558501" y="2027676"/>
                  </a:lnTo>
                  <a:lnTo>
                    <a:pt x="3559125" y="2028187"/>
                  </a:lnTo>
                  <a:lnTo>
                    <a:pt x="3559733" y="2028587"/>
                  </a:lnTo>
                  <a:lnTo>
                    <a:pt x="3560482" y="2029364"/>
                  </a:lnTo>
                  <a:lnTo>
                    <a:pt x="3561010" y="2030462"/>
                  </a:lnTo>
                  <a:lnTo>
                    <a:pt x="3561219" y="2031485"/>
                  </a:lnTo>
                  <a:lnTo>
                    <a:pt x="3561543" y="2032285"/>
                  </a:lnTo>
                  <a:lnTo>
                    <a:pt x="3562388" y="2032689"/>
                  </a:lnTo>
                  <a:lnTo>
                    <a:pt x="3561785" y="2033862"/>
                  </a:lnTo>
                  <a:lnTo>
                    <a:pt x="3560598" y="2033107"/>
                  </a:lnTo>
                  <a:lnTo>
                    <a:pt x="3559334" y="2031770"/>
                  </a:lnTo>
                  <a:lnTo>
                    <a:pt x="3558476" y="2031175"/>
                  </a:lnTo>
                  <a:lnTo>
                    <a:pt x="3557431" y="2031067"/>
                  </a:lnTo>
                  <a:lnTo>
                    <a:pt x="3556048" y="2030279"/>
                  </a:lnTo>
                  <a:lnTo>
                    <a:pt x="3553368" y="2028113"/>
                  </a:lnTo>
                  <a:lnTo>
                    <a:pt x="3550664" y="2026365"/>
                  </a:lnTo>
                  <a:lnTo>
                    <a:pt x="3550126" y="2025491"/>
                  </a:lnTo>
                  <a:lnTo>
                    <a:pt x="3550545" y="2023938"/>
                  </a:lnTo>
                  <a:lnTo>
                    <a:pt x="3551424" y="2022991"/>
                  </a:lnTo>
                  <a:lnTo>
                    <a:pt x="3554878" y="2021969"/>
                  </a:lnTo>
                  <a:lnTo>
                    <a:pt x="3554598" y="2021346"/>
                  </a:lnTo>
                  <a:lnTo>
                    <a:pt x="3554229" y="2021132"/>
                  </a:lnTo>
                  <a:lnTo>
                    <a:pt x="3553364" y="2020261"/>
                  </a:lnTo>
                  <a:lnTo>
                    <a:pt x="3554914" y="2019687"/>
                  </a:lnTo>
                  <a:lnTo>
                    <a:pt x="3555374" y="2019016"/>
                  </a:lnTo>
                  <a:lnTo>
                    <a:pt x="3555221" y="2017692"/>
                  </a:lnTo>
                  <a:lnTo>
                    <a:pt x="3552439" y="2018960"/>
                  </a:lnTo>
                  <a:lnTo>
                    <a:pt x="3550926" y="2020339"/>
                  </a:lnTo>
                  <a:lnTo>
                    <a:pt x="3550003" y="2020523"/>
                  </a:lnTo>
                  <a:lnTo>
                    <a:pt x="3548705" y="2019833"/>
                  </a:lnTo>
                  <a:lnTo>
                    <a:pt x="3549248" y="2017204"/>
                  </a:lnTo>
                  <a:lnTo>
                    <a:pt x="3550664" y="2015664"/>
                  </a:lnTo>
                  <a:lnTo>
                    <a:pt x="3554359" y="2014053"/>
                  </a:lnTo>
                  <a:lnTo>
                    <a:pt x="3554896" y="2013602"/>
                  </a:lnTo>
                  <a:lnTo>
                    <a:pt x="3555290" y="2012882"/>
                  </a:lnTo>
                  <a:lnTo>
                    <a:pt x="3555285" y="2012069"/>
                  </a:lnTo>
                  <a:lnTo>
                    <a:pt x="3554640" y="2011377"/>
                  </a:lnTo>
                  <a:lnTo>
                    <a:pt x="3553735" y="2011384"/>
                  </a:lnTo>
                  <a:lnTo>
                    <a:pt x="3551707" y="2013614"/>
                  </a:lnTo>
                  <a:lnTo>
                    <a:pt x="3550797" y="2013597"/>
                  </a:lnTo>
                  <a:lnTo>
                    <a:pt x="3549819" y="2013209"/>
                  </a:lnTo>
                  <a:lnTo>
                    <a:pt x="3548926" y="2013085"/>
                  </a:lnTo>
                  <a:lnTo>
                    <a:pt x="3547611" y="2014815"/>
                  </a:lnTo>
                  <a:lnTo>
                    <a:pt x="3546635" y="2014979"/>
                  </a:lnTo>
                  <a:lnTo>
                    <a:pt x="3543804" y="2014174"/>
                  </a:lnTo>
                  <a:lnTo>
                    <a:pt x="3543271" y="2013857"/>
                  </a:lnTo>
                  <a:lnTo>
                    <a:pt x="3542870" y="2013843"/>
                  </a:lnTo>
                  <a:lnTo>
                    <a:pt x="3542583" y="2014462"/>
                  </a:lnTo>
                  <a:lnTo>
                    <a:pt x="3542776" y="2015065"/>
                  </a:lnTo>
                  <a:lnTo>
                    <a:pt x="3543674" y="2016805"/>
                  </a:lnTo>
                  <a:lnTo>
                    <a:pt x="3543667" y="2017264"/>
                  </a:lnTo>
                  <a:lnTo>
                    <a:pt x="3543160" y="2017801"/>
                  </a:lnTo>
                  <a:lnTo>
                    <a:pt x="3542363" y="2019400"/>
                  </a:lnTo>
                  <a:lnTo>
                    <a:pt x="3541637" y="2019826"/>
                  </a:lnTo>
                  <a:lnTo>
                    <a:pt x="3541009" y="2015996"/>
                  </a:lnTo>
                  <a:lnTo>
                    <a:pt x="3538913" y="2016501"/>
                  </a:lnTo>
                  <a:lnTo>
                    <a:pt x="3536633" y="2016314"/>
                  </a:lnTo>
                  <a:lnTo>
                    <a:pt x="3534227" y="2015537"/>
                  </a:lnTo>
                  <a:lnTo>
                    <a:pt x="3531748" y="2014262"/>
                  </a:lnTo>
                  <a:lnTo>
                    <a:pt x="3531564" y="2014931"/>
                  </a:lnTo>
                  <a:lnTo>
                    <a:pt x="3531410" y="2015245"/>
                  </a:lnTo>
                  <a:lnTo>
                    <a:pt x="3532072" y="2015956"/>
                  </a:lnTo>
                  <a:lnTo>
                    <a:pt x="3534189" y="2017794"/>
                  </a:lnTo>
                  <a:lnTo>
                    <a:pt x="3535147" y="2018362"/>
                  </a:lnTo>
                  <a:lnTo>
                    <a:pt x="3536057" y="2018472"/>
                  </a:lnTo>
                  <a:lnTo>
                    <a:pt x="3536957" y="2018752"/>
                  </a:lnTo>
                  <a:lnTo>
                    <a:pt x="3537908" y="2019861"/>
                  </a:lnTo>
                  <a:lnTo>
                    <a:pt x="3537753" y="2020048"/>
                  </a:lnTo>
                  <a:lnTo>
                    <a:pt x="3537567" y="2020763"/>
                  </a:lnTo>
                  <a:lnTo>
                    <a:pt x="3537958" y="2021062"/>
                  </a:lnTo>
                  <a:lnTo>
                    <a:pt x="3538853" y="2021946"/>
                  </a:lnTo>
                  <a:lnTo>
                    <a:pt x="3539406" y="2022398"/>
                  </a:lnTo>
                  <a:lnTo>
                    <a:pt x="3538569" y="2022989"/>
                  </a:lnTo>
                  <a:lnTo>
                    <a:pt x="3537846" y="2022756"/>
                  </a:lnTo>
                  <a:lnTo>
                    <a:pt x="3536021" y="2021076"/>
                  </a:lnTo>
                  <a:lnTo>
                    <a:pt x="3534912" y="2020571"/>
                  </a:lnTo>
                  <a:lnTo>
                    <a:pt x="3534202" y="2020870"/>
                  </a:lnTo>
                  <a:lnTo>
                    <a:pt x="3532958" y="2022083"/>
                  </a:lnTo>
                  <a:lnTo>
                    <a:pt x="3531889" y="2022053"/>
                  </a:lnTo>
                  <a:lnTo>
                    <a:pt x="3530739" y="2021335"/>
                  </a:lnTo>
                  <a:lnTo>
                    <a:pt x="3528300" y="2019164"/>
                  </a:lnTo>
                  <a:lnTo>
                    <a:pt x="3527801" y="2022578"/>
                  </a:lnTo>
                  <a:lnTo>
                    <a:pt x="3527297" y="2023848"/>
                  </a:lnTo>
                  <a:lnTo>
                    <a:pt x="3524737" y="2027185"/>
                  </a:lnTo>
                  <a:lnTo>
                    <a:pt x="3524212" y="2027623"/>
                  </a:lnTo>
                  <a:lnTo>
                    <a:pt x="3523263" y="2027780"/>
                  </a:lnTo>
                  <a:lnTo>
                    <a:pt x="3520964" y="2027676"/>
                  </a:lnTo>
                  <a:lnTo>
                    <a:pt x="3520030" y="2027835"/>
                  </a:lnTo>
                  <a:lnTo>
                    <a:pt x="3516704" y="2029962"/>
                  </a:lnTo>
                  <a:lnTo>
                    <a:pt x="3515235" y="2029951"/>
                  </a:lnTo>
                  <a:lnTo>
                    <a:pt x="3510656" y="2028231"/>
                  </a:lnTo>
                  <a:lnTo>
                    <a:pt x="3509172" y="2028448"/>
                  </a:lnTo>
                  <a:lnTo>
                    <a:pt x="3508161" y="2028126"/>
                  </a:lnTo>
                  <a:lnTo>
                    <a:pt x="3504971" y="2026151"/>
                  </a:lnTo>
                  <a:lnTo>
                    <a:pt x="3503120" y="2025879"/>
                  </a:lnTo>
                  <a:lnTo>
                    <a:pt x="3502277" y="2025488"/>
                  </a:lnTo>
                  <a:lnTo>
                    <a:pt x="3501427" y="2024909"/>
                  </a:lnTo>
                  <a:lnTo>
                    <a:pt x="3500897" y="2024270"/>
                  </a:lnTo>
                  <a:lnTo>
                    <a:pt x="3500306" y="2023680"/>
                  </a:lnTo>
                  <a:lnTo>
                    <a:pt x="3499550" y="2023712"/>
                  </a:lnTo>
                  <a:lnTo>
                    <a:pt x="3498266" y="2024228"/>
                  </a:lnTo>
                  <a:lnTo>
                    <a:pt x="3490562" y="2025120"/>
                  </a:lnTo>
                  <a:lnTo>
                    <a:pt x="3485147" y="2027038"/>
                  </a:lnTo>
                  <a:lnTo>
                    <a:pt x="3483408" y="2026498"/>
                  </a:lnTo>
                  <a:lnTo>
                    <a:pt x="3483728" y="2027250"/>
                  </a:lnTo>
                  <a:lnTo>
                    <a:pt x="3480596" y="2026807"/>
                  </a:lnTo>
                  <a:lnTo>
                    <a:pt x="3479695" y="2026466"/>
                  </a:lnTo>
                  <a:lnTo>
                    <a:pt x="3480653" y="2024851"/>
                  </a:lnTo>
                  <a:lnTo>
                    <a:pt x="3483682" y="2023608"/>
                  </a:lnTo>
                  <a:lnTo>
                    <a:pt x="3485021" y="2022545"/>
                  </a:lnTo>
                  <a:lnTo>
                    <a:pt x="3483297" y="2023035"/>
                  </a:lnTo>
                  <a:lnTo>
                    <a:pt x="3479501" y="2022957"/>
                  </a:lnTo>
                  <a:lnTo>
                    <a:pt x="3477637" y="2023348"/>
                  </a:lnTo>
                  <a:lnTo>
                    <a:pt x="3475951" y="2024875"/>
                  </a:lnTo>
                  <a:lnTo>
                    <a:pt x="3472414" y="2025351"/>
                  </a:lnTo>
                  <a:lnTo>
                    <a:pt x="3471433" y="2025114"/>
                  </a:lnTo>
                  <a:lnTo>
                    <a:pt x="3471142" y="2024423"/>
                  </a:lnTo>
                  <a:lnTo>
                    <a:pt x="3472068" y="2023583"/>
                  </a:lnTo>
                  <a:lnTo>
                    <a:pt x="3475062" y="2022824"/>
                  </a:lnTo>
                  <a:lnTo>
                    <a:pt x="3475470" y="2021688"/>
                  </a:lnTo>
                  <a:lnTo>
                    <a:pt x="3474657" y="2020202"/>
                  </a:lnTo>
                  <a:lnTo>
                    <a:pt x="3473622" y="2019456"/>
                  </a:lnTo>
                  <a:lnTo>
                    <a:pt x="3473086" y="2018608"/>
                  </a:lnTo>
                  <a:lnTo>
                    <a:pt x="3473759" y="2016797"/>
                  </a:lnTo>
                  <a:lnTo>
                    <a:pt x="3472611" y="2015793"/>
                  </a:lnTo>
                  <a:lnTo>
                    <a:pt x="3471592" y="2016010"/>
                  </a:lnTo>
                  <a:lnTo>
                    <a:pt x="3470812" y="2016984"/>
                  </a:lnTo>
                  <a:lnTo>
                    <a:pt x="3470387" y="2018237"/>
                  </a:lnTo>
                  <a:lnTo>
                    <a:pt x="3470561" y="2019012"/>
                  </a:lnTo>
                  <a:lnTo>
                    <a:pt x="3471011" y="2019868"/>
                  </a:lnTo>
                  <a:lnTo>
                    <a:pt x="3471270" y="2020659"/>
                  </a:lnTo>
                  <a:lnTo>
                    <a:pt x="3470863" y="2021211"/>
                  </a:lnTo>
                  <a:lnTo>
                    <a:pt x="3470449" y="2021528"/>
                  </a:lnTo>
                  <a:lnTo>
                    <a:pt x="3469793" y="2022419"/>
                  </a:lnTo>
                  <a:lnTo>
                    <a:pt x="3467194" y="2024023"/>
                  </a:lnTo>
                  <a:lnTo>
                    <a:pt x="3465781" y="2024419"/>
                  </a:lnTo>
                  <a:lnTo>
                    <a:pt x="3464684" y="2023837"/>
                  </a:lnTo>
                  <a:lnTo>
                    <a:pt x="3464311" y="2022624"/>
                  </a:lnTo>
                  <a:lnTo>
                    <a:pt x="3464254" y="2021083"/>
                  </a:lnTo>
                  <a:lnTo>
                    <a:pt x="3464414" y="2019741"/>
                  </a:lnTo>
                  <a:lnTo>
                    <a:pt x="3464683" y="2019104"/>
                  </a:lnTo>
                  <a:lnTo>
                    <a:pt x="3468970" y="2018027"/>
                  </a:lnTo>
                  <a:lnTo>
                    <a:pt x="3469224" y="2017492"/>
                  </a:lnTo>
                  <a:lnTo>
                    <a:pt x="3469144" y="2015431"/>
                  </a:lnTo>
                  <a:lnTo>
                    <a:pt x="3469181" y="2014600"/>
                  </a:lnTo>
                  <a:lnTo>
                    <a:pt x="3469465" y="2014052"/>
                  </a:lnTo>
                  <a:lnTo>
                    <a:pt x="3470244" y="2013195"/>
                  </a:lnTo>
                  <a:lnTo>
                    <a:pt x="3470477" y="2012499"/>
                  </a:lnTo>
                  <a:lnTo>
                    <a:pt x="3470456" y="2011863"/>
                  </a:lnTo>
                  <a:lnTo>
                    <a:pt x="3470057" y="2010698"/>
                  </a:lnTo>
                  <a:lnTo>
                    <a:pt x="3469904" y="2009857"/>
                  </a:lnTo>
                  <a:lnTo>
                    <a:pt x="3470041" y="2009017"/>
                  </a:lnTo>
                  <a:lnTo>
                    <a:pt x="3470977" y="2008179"/>
                  </a:lnTo>
                  <a:lnTo>
                    <a:pt x="3471607" y="2007041"/>
                  </a:lnTo>
                  <a:lnTo>
                    <a:pt x="3472743" y="2005747"/>
                  </a:lnTo>
                  <a:lnTo>
                    <a:pt x="3473536" y="2003949"/>
                  </a:lnTo>
                  <a:lnTo>
                    <a:pt x="3474007" y="2003582"/>
                  </a:lnTo>
                  <a:lnTo>
                    <a:pt x="3473811" y="2003122"/>
                  </a:lnTo>
                  <a:lnTo>
                    <a:pt x="3473622" y="2002853"/>
                  </a:lnTo>
                  <a:lnTo>
                    <a:pt x="3473135" y="2002393"/>
                  </a:lnTo>
                  <a:lnTo>
                    <a:pt x="3471695" y="2003371"/>
                  </a:lnTo>
                  <a:lnTo>
                    <a:pt x="3470902" y="2004916"/>
                  </a:lnTo>
                  <a:lnTo>
                    <a:pt x="3470462" y="2006308"/>
                  </a:lnTo>
                  <a:lnTo>
                    <a:pt x="3470134" y="2006914"/>
                  </a:lnTo>
                  <a:lnTo>
                    <a:pt x="3469635" y="2007080"/>
                  </a:lnTo>
                  <a:lnTo>
                    <a:pt x="3469363" y="2006700"/>
                  </a:lnTo>
                  <a:lnTo>
                    <a:pt x="3468860" y="2005907"/>
                  </a:lnTo>
                  <a:lnTo>
                    <a:pt x="3468236" y="2005116"/>
                  </a:lnTo>
                  <a:lnTo>
                    <a:pt x="3467596" y="2004768"/>
                  </a:lnTo>
                  <a:lnTo>
                    <a:pt x="3468024" y="2003906"/>
                  </a:lnTo>
                  <a:lnTo>
                    <a:pt x="3469025" y="2002643"/>
                  </a:lnTo>
                  <a:lnTo>
                    <a:pt x="3469099" y="2001533"/>
                  </a:lnTo>
                  <a:lnTo>
                    <a:pt x="3467516" y="2001304"/>
                  </a:lnTo>
                  <a:lnTo>
                    <a:pt x="3466093" y="2003053"/>
                  </a:lnTo>
                  <a:lnTo>
                    <a:pt x="3465545" y="2005665"/>
                  </a:lnTo>
                  <a:lnTo>
                    <a:pt x="3466577" y="2007979"/>
                  </a:lnTo>
                  <a:lnTo>
                    <a:pt x="3467384" y="2009293"/>
                  </a:lnTo>
                  <a:lnTo>
                    <a:pt x="3467310" y="2010625"/>
                  </a:lnTo>
                  <a:lnTo>
                    <a:pt x="3466952" y="2011826"/>
                  </a:lnTo>
                  <a:lnTo>
                    <a:pt x="3466913" y="2012764"/>
                  </a:lnTo>
                  <a:lnTo>
                    <a:pt x="3463340" y="2014652"/>
                  </a:lnTo>
                  <a:lnTo>
                    <a:pt x="3462294" y="2014543"/>
                  </a:lnTo>
                  <a:lnTo>
                    <a:pt x="3461501" y="2013848"/>
                  </a:lnTo>
                  <a:lnTo>
                    <a:pt x="3460877" y="2013066"/>
                  </a:lnTo>
                  <a:lnTo>
                    <a:pt x="3460350" y="2012737"/>
                  </a:lnTo>
                  <a:lnTo>
                    <a:pt x="3460184" y="2013336"/>
                  </a:lnTo>
                  <a:lnTo>
                    <a:pt x="3459925" y="2017393"/>
                  </a:lnTo>
                  <a:lnTo>
                    <a:pt x="3460169" y="2018361"/>
                  </a:lnTo>
                  <a:lnTo>
                    <a:pt x="3461461" y="2022396"/>
                  </a:lnTo>
                  <a:lnTo>
                    <a:pt x="3461401" y="2023420"/>
                  </a:lnTo>
                  <a:lnTo>
                    <a:pt x="3460516" y="2023978"/>
                  </a:lnTo>
                  <a:lnTo>
                    <a:pt x="3459375" y="2024149"/>
                  </a:lnTo>
                  <a:lnTo>
                    <a:pt x="3458521" y="2024001"/>
                  </a:lnTo>
                  <a:lnTo>
                    <a:pt x="3458262" y="2023379"/>
                  </a:lnTo>
                  <a:lnTo>
                    <a:pt x="3458968" y="2022243"/>
                  </a:lnTo>
                  <a:lnTo>
                    <a:pt x="3458225" y="2021540"/>
                  </a:lnTo>
                  <a:lnTo>
                    <a:pt x="3456820" y="2021218"/>
                  </a:lnTo>
                  <a:lnTo>
                    <a:pt x="3455554" y="2021272"/>
                  </a:lnTo>
                  <a:lnTo>
                    <a:pt x="3452623" y="2022388"/>
                  </a:lnTo>
                  <a:lnTo>
                    <a:pt x="3450992" y="2022235"/>
                  </a:lnTo>
                  <a:lnTo>
                    <a:pt x="3449060" y="2020675"/>
                  </a:lnTo>
                  <a:lnTo>
                    <a:pt x="3449480" y="2019387"/>
                  </a:lnTo>
                  <a:lnTo>
                    <a:pt x="3449436" y="2017480"/>
                  </a:lnTo>
                  <a:lnTo>
                    <a:pt x="3448893" y="2015879"/>
                  </a:lnTo>
                  <a:lnTo>
                    <a:pt x="3447833" y="2015501"/>
                  </a:lnTo>
                  <a:lnTo>
                    <a:pt x="3447564" y="2015866"/>
                  </a:lnTo>
                  <a:lnTo>
                    <a:pt x="3446858" y="2017438"/>
                  </a:lnTo>
                  <a:lnTo>
                    <a:pt x="3446709" y="2018042"/>
                  </a:lnTo>
                  <a:lnTo>
                    <a:pt x="3446270" y="2018361"/>
                  </a:lnTo>
                  <a:lnTo>
                    <a:pt x="3443803" y="2017187"/>
                  </a:lnTo>
                  <a:lnTo>
                    <a:pt x="3440864" y="2017803"/>
                  </a:lnTo>
                  <a:lnTo>
                    <a:pt x="3437531" y="2017441"/>
                  </a:lnTo>
                  <a:lnTo>
                    <a:pt x="3433061" y="2015668"/>
                  </a:lnTo>
                  <a:lnTo>
                    <a:pt x="3431755" y="2015715"/>
                  </a:lnTo>
                  <a:lnTo>
                    <a:pt x="3431636" y="2014428"/>
                  </a:lnTo>
                  <a:lnTo>
                    <a:pt x="3432113" y="2013786"/>
                  </a:lnTo>
                  <a:lnTo>
                    <a:pt x="3433657" y="2013306"/>
                  </a:lnTo>
                  <a:lnTo>
                    <a:pt x="3433371" y="2012613"/>
                  </a:lnTo>
                  <a:lnTo>
                    <a:pt x="3430300" y="2011380"/>
                  </a:lnTo>
                  <a:lnTo>
                    <a:pt x="3427965" y="2011351"/>
                  </a:lnTo>
                  <a:lnTo>
                    <a:pt x="3427288" y="2011075"/>
                  </a:lnTo>
                  <a:lnTo>
                    <a:pt x="3427373" y="2009766"/>
                  </a:lnTo>
                  <a:lnTo>
                    <a:pt x="3427854" y="2009100"/>
                  </a:lnTo>
                  <a:lnTo>
                    <a:pt x="3430870" y="2007687"/>
                  </a:lnTo>
                  <a:lnTo>
                    <a:pt x="3431508" y="2006834"/>
                  </a:lnTo>
                  <a:lnTo>
                    <a:pt x="3431100" y="2005786"/>
                  </a:lnTo>
                  <a:lnTo>
                    <a:pt x="3429755" y="2005368"/>
                  </a:lnTo>
                  <a:lnTo>
                    <a:pt x="3425823" y="2008375"/>
                  </a:lnTo>
                  <a:lnTo>
                    <a:pt x="3425540" y="2007685"/>
                  </a:lnTo>
                  <a:lnTo>
                    <a:pt x="3425911" y="2007489"/>
                  </a:lnTo>
                  <a:lnTo>
                    <a:pt x="3426487" y="2006402"/>
                  </a:lnTo>
                  <a:lnTo>
                    <a:pt x="3424943" y="2005934"/>
                  </a:lnTo>
                  <a:lnTo>
                    <a:pt x="3424468" y="2004948"/>
                  </a:lnTo>
                  <a:lnTo>
                    <a:pt x="3424207" y="2003647"/>
                  </a:lnTo>
                  <a:lnTo>
                    <a:pt x="3423292" y="2002200"/>
                  </a:lnTo>
                  <a:lnTo>
                    <a:pt x="3421354" y="2001070"/>
                  </a:lnTo>
                  <a:lnTo>
                    <a:pt x="3419700" y="2000372"/>
                  </a:lnTo>
                  <a:lnTo>
                    <a:pt x="3422045" y="1999661"/>
                  </a:lnTo>
                  <a:lnTo>
                    <a:pt x="3423106" y="1999006"/>
                  </a:lnTo>
                  <a:lnTo>
                    <a:pt x="3423694" y="1997846"/>
                  </a:lnTo>
                  <a:lnTo>
                    <a:pt x="3423397" y="1997857"/>
                  </a:lnTo>
                  <a:lnTo>
                    <a:pt x="3422483" y="1997603"/>
                  </a:lnTo>
                  <a:lnTo>
                    <a:pt x="3421773" y="1995734"/>
                  </a:lnTo>
                  <a:lnTo>
                    <a:pt x="3420243" y="1993818"/>
                  </a:lnTo>
                  <a:lnTo>
                    <a:pt x="3418873" y="1992979"/>
                  </a:lnTo>
                  <a:lnTo>
                    <a:pt x="3418631" y="1994338"/>
                  </a:lnTo>
                  <a:lnTo>
                    <a:pt x="3418930" y="1995710"/>
                  </a:lnTo>
                  <a:lnTo>
                    <a:pt x="3417921" y="1996551"/>
                  </a:lnTo>
                  <a:lnTo>
                    <a:pt x="3412684" y="1997896"/>
                  </a:lnTo>
                  <a:lnTo>
                    <a:pt x="3411150" y="1997425"/>
                  </a:lnTo>
                  <a:lnTo>
                    <a:pt x="3409414" y="1995143"/>
                  </a:lnTo>
                  <a:lnTo>
                    <a:pt x="3408870" y="1995037"/>
                  </a:lnTo>
                  <a:lnTo>
                    <a:pt x="3408540" y="1995462"/>
                  </a:lnTo>
                  <a:lnTo>
                    <a:pt x="3408678" y="1996369"/>
                  </a:lnTo>
                  <a:lnTo>
                    <a:pt x="3409421" y="1998190"/>
                  </a:lnTo>
                  <a:lnTo>
                    <a:pt x="3409421" y="1998695"/>
                  </a:lnTo>
                  <a:lnTo>
                    <a:pt x="3409034" y="1999013"/>
                  </a:lnTo>
                  <a:lnTo>
                    <a:pt x="3405843" y="1999576"/>
                  </a:lnTo>
                  <a:lnTo>
                    <a:pt x="3405577" y="1999410"/>
                  </a:lnTo>
                  <a:lnTo>
                    <a:pt x="3405502" y="1998834"/>
                  </a:lnTo>
                  <a:lnTo>
                    <a:pt x="3405653" y="1998195"/>
                  </a:lnTo>
                  <a:lnTo>
                    <a:pt x="3406039" y="1997806"/>
                  </a:lnTo>
                  <a:lnTo>
                    <a:pt x="3405783" y="1997174"/>
                  </a:lnTo>
                  <a:lnTo>
                    <a:pt x="3404351" y="1997429"/>
                  </a:lnTo>
                  <a:lnTo>
                    <a:pt x="3402446" y="1996981"/>
                  </a:lnTo>
                  <a:lnTo>
                    <a:pt x="3401231" y="1996193"/>
                  </a:lnTo>
                  <a:lnTo>
                    <a:pt x="3401822" y="1995511"/>
                  </a:lnTo>
                  <a:lnTo>
                    <a:pt x="3403001" y="1995176"/>
                  </a:lnTo>
                  <a:lnTo>
                    <a:pt x="3403884" y="1995241"/>
                  </a:lnTo>
                  <a:lnTo>
                    <a:pt x="3404430" y="1995673"/>
                  </a:lnTo>
                  <a:lnTo>
                    <a:pt x="3405112" y="1996600"/>
                  </a:lnTo>
                  <a:lnTo>
                    <a:pt x="3405515" y="1995881"/>
                  </a:lnTo>
                  <a:lnTo>
                    <a:pt x="3405831" y="1993845"/>
                  </a:lnTo>
                  <a:lnTo>
                    <a:pt x="3406520" y="1993449"/>
                  </a:lnTo>
                  <a:lnTo>
                    <a:pt x="3409247" y="1993332"/>
                  </a:lnTo>
                  <a:lnTo>
                    <a:pt x="3413556" y="1991565"/>
                  </a:lnTo>
                  <a:lnTo>
                    <a:pt x="3422710" y="1990220"/>
                  </a:lnTo>
                  <a:lnTo>
                    <a:pt x="3425824" y="1988628"/>
                  </a:lnTo>
                  <a:lnTo>
                    <a:pt x="3427003" y="1987090"/>
                  </a:lnTo>
                  <a:lnTo>
                    <a:pt x="3427051" y="1985098"/>
                  </a:lnTo>
                  <a:lnTo>
                    <a:pt x="3426081" y="1984125"/>
                  </a:lnTo>
                  <a:lnTo>
                    <a:pt x="3426648" y="1982942"/>
                  </a:lnTo>
                  <a:lnTo>
                    <a:pt x="3432083" y="1978822"/>
                  </a:lnTo>
                  <a:lnTo>
                    <a:pt x="3432396" y="1977191"/>
                  </a:lnTo>
                  <a:lnTo>
                    <a:pt x="3432098" y="1976959"/>
                  </a:lnTo>
                  <a:lnTo>
                    <a:pt x="3431605" y="1976391"/>
                  </a:lnTo>
                  <a:lnTo>
                    <a:pt x="3431208" y="1976064"/>
                  </a:lnTo>
                  <a:lnTo>
                    <a:pt x="3431863" y="1974033"/>
                  </a:lnTo>
                  <a:lnTo>
                    <a:pt x="3434211" y="1971623"/>
                  </a:lnTo>
                  <a:lnTo>
                    <a:pt x="3435026" y="1968225"/>
                  </a:lnTo>
                  <a:lnTo>
                    <a:pt x="3434912" y="1967638"/>
                  </a:lnTo>
                  <a:lnTo>
                    <a:pt x="3434527" y="1967103"/>
                  </a:lnTo>
                  <a:lnTo>
                    <a:pt x="3433717" y="1966598"/>
                  </a:lnTo>
                  <a:lnTo>
                    <a:pt x="3433511" y="1966093"/>
                  </a:lnTo>
                  <a:lnTo>
                    <a:pt x="3433629" y="1964979"/>
                  </a:lnTo>
                  <a:lnTo>
                    <a:pt x="3434167" y="1964306"/>
                  </a:lnTo>
                  <a:lnTo>
                    <a:pt x="3435717" y="1963607"/>
                  </a:lnTo>
                  <a:lnTo>
                    <a:pt x="3433994" y="1962684"/>
                  </a:lnTo>
                  <a:lnTo>
                    <a:pt x="3432248" y="1963097"/>
                  </a:lnTo>
                  <a:lnTo>
                    <a:pt x="3431206" y="1964698"/>
                  </a:lnTo>
                  <a:lnTo>
                    <a:pt x="3431570" y="1967347"/>
                  </a:lnTo>
                  <a:lnTo>
                    <a:pt x="3432001" y="1968139"/>
                  </a:lnTo>
                  <a:lnTo>
                    <a:pt x="3432325" y="1968666"/>
                  </a:lnTo>
                  <a:lnTo>
                    <a:pt x="3432297" y="1969059"/>
                  </a:lnTo>
                  <a:lnTo>
                    <a:pt x="3430110" y="1970153"/>
                  </a:lnTo>
                  <a:lnTo>
                    <a:pt x="3429267" y="1970261"/>
                  </a:lnTo>
                  <a:lnTo>
                    <a:pt x="3428341" y="1969962"/>
                  </a:lnTo>
                  <a:lnTo>
                    <a:pt x="3429370" y="1966599"/>
                  </a:lnTo>
                  <a:lnTo>
                    <a:pt x="3429303" y="1965426"/>
                  </a:lnTo>
                  <a:lnTo>
                    <a:pt x="3428492" y="1963866"/>
                  </a:lnTo>
                  <a:lnTo>
                    <a:pt x="3427532" y="1963340"/>
                  </a:lnTo>
                  <a:lnTo>
                    <a:pt x="3426561" y="1963428"/>
                  </a:lnTo>
                  <a:lnTo>
                    <a:pt x="3425746" y="1963741"/>
                  </a:lnTo>
                  <a:lnTo>
                    <a:pt x="3426770" y="1965097"/>
                  </a:lnTo>
                  <a:lnTo>
                    <a:pt x="3427194" y="1965500"/>
                  </a:lnTo>
                  <a:lnTo>
                    <a:pt x="3426826" y="1966186"/>
                  </a:lnTo>
                  <a:lnTo>
                    <a:pt x="3426312" y="1966639"/>
                  </a:lnTo>
                  <a:lnTo>
                    <a:pt x="3425051" y="1967210"/>
                  </a:lnTo>
                  <a:lnTo>
                    <a:pt x="3425760" y="1968152"/>
                  </a:lnTo>
                  <a:lnTo>
                    <a:pt x="3426018" y="1968276"/>
                  </a:lnTo>
                  <a:lnTo>
                    <a:pt x="3426539" y="1968285"/>
                  </a:lnTo>
                  <a:lnTo>
                    <a:pt x="3426802" y="1968915"/>
                  </a:lnTo>
                  <a:lnTo>
                    <a:pt x="3425894" y="1969977"/>
                  </a:lnTo>
                  <a:lnTo>
                    <a:pt x="3423881" y="1971288"/>
                  </a:lnTo>
                  <a:lnTo>
                    <a:pt x="3421695" y="1971992"/>
                  </a:lnTo>
                  <a:lnTo>
                    <a:pt x="3420282" y="1971271"/>
                  </a:lnTo>
                  <a:lnTo>
                    <a:pt x="3419553" y="1968211"/>
                  </a:lnTo>
                  <a:lnTo>
                    <a:pt x="3420391" y="1967060"/>
                  </a:lnTo>
                  <a:lnTo>
                    <a:pt x="3421840" y="1966610"/>
                  </a:lnTo>
                  <a:lnTo>
                    <a:pt x="3422943" y="1965655"/>
                  </a:lnTo>
                  <a:lnTo>
                    <a:pt x="3421578" y="1964708"/>
                  </a:lnTo>
                  <a:lnTo>
                    <a:pt x="3418735" y="1965817"/>
                  </a:lnTo>
                  <a:lnTo>
                    <a:pt x="3417686" y="1965007"/>
                  </a:lnTo>
                  <a:lnTo>
                    <a:pt x="3417495" y="1964275"/>
                  </a:lnTo>
                  <a:lnTo>
                    <a:pt x="3417479" y="1963064"/>
                  </a:lnTo>
                  <a:lnTo>
                    <a:pt x="3417162" y="1962022"/>
                  </a:lnTo>
                  <a:lnTo>
                    <a:pt x="3416937" y="1960990"/>
                  </a:lnTo>
                  <a:lnTo>
                    <a:pt x="3417039" y="1960077"/>
                  </a:lnTo>
                  <a:lnTo>
                    <a:pt x="3417333" y="1959370"/>
                  </a:lnTo>
                  <a:lnTo>
                    <a:pt x="3417661" y="1958943"/>
                  </a:lnTo>
                  <a:lnTo>
                    <a:pt x="3417374" y="1958250"/>
                  </a:lnTo>
                  <a:lnTo>
                    <a:pt x="3416735" y="1958517"/>
                  </a:lnTo>
                  <a:lnTo>
                    <a:pt x="3416189" y="1959968"/>
                  </a:lnTo>
                  <a:lnTo>
                    <a:pt x="3415785" y="1960464"/>
                  </a:lnTo>
                  <a:lnTo>
                    <a:pt x="3415168" y="1960388"/>
                  </a:lnTo>
                  <a:lnTo>
                    <a:pt x="3414875" y="1959756"/>
                  </a:lnTo>
                  <a:lnTo>
                    <a:pt x="3414830" y="1958963"/>
                  </a:lnTo>
                  <a:lnTo>
                    <a:pt x="3414940" y="1958381"/>
                  </a:lnTo>
                  <a:lnTo>
                    <a:pt x="3413736" y="1958433"/>
                  </a:lnTo>
                  <a:lnTo>
                    <a:pt x="3412782" y="1958742"/>
                  </a:lnTo>
                  <a:lnTo>
                    <a:pt x="3412136" y="1959508"/>
                  </a:lnTo>
                  <a:lnTo>
                    <a:pt x="3411884" y="1960941"/>
                  </a:lnTo>
                  <a:lnTo>
                    <a:pt x="3412368" y="1961982"/>
                  </a:lnTo>
                  <a:lnTo>
                    <a:pt x="3414803" y="1963791"/>
                  </a:lnTo>
                  <a:lnTo>
                    <a:pt x="3415716" y="1964619"/>
                  </a:lnTo>
                  <a:lnTo>
                    <a:pt x="3416380" y="1965971"/>
                  </a:lnTo>
                  <a:lnTo>
                    <a:pt x="3415968" y="1966254"/>
                  </a:lnTo>
                  <a:lnTo>
                    <a:pt x="3414330" y="1966006"/>
                  </a:lnTo>
                  <a:lnTo>
                    <a:pt x="3414097" y="1965765"/>
                  </a:lnTo>
                  <a:lnTo>
                    <a:pt x="3412434" y="1964427"/>
                  </a:lnTo>
                  <a:lnTo>
                    <a:pt x="3410017" y="1963743"/>
                  </a:lnTo>
                  <a:lnTo>
                    <a:pt x="3409706" y="1962988"/>
                  </a:lnTo>
                  <a:lnTo>
                    <a:pt x="3410484" y="1962478"/>
                  </a:lnTo>
                  <a:lnTo>
                    <a:pt x="3410298" y="1961082"/>
                  </a:lnTo>
                  <a:lnTo>
                    <a:pt x="3409843" y="1959412"/>
                  </a:lnTo>
                  <a:lnTo>
                    <a:pt x="3409813" y="1958077"/>
                  </a:lnTo>
                  <a:lnTo>
                    <a:pt x="3408436" y="1957093"/>
                  </a:lnTo>
                  <a:lnTo>
                    <a:pt x="3408146" y="1959270"/>
                  </a:lnTo>
                  <a:lnTo>
                    <a:pt x="3408500" y="1964370"/>
                  </a:lnTo>
                  <a:lnTo>
                    <a:pt x="3408010" y="1964052"/>
                  </a:lnTo>
                  <a:lnTo>
                    <a:pt x="3407595" y="1963707"/>
                  </a:lnTo>
                  <a:lnTo>
                    <a:pt x="3407187" y="1963277"/>
                  </a:lnTo>
                  <a:lnTo>
                    <a:pt x="3406709" y="1962678"/>
                  </a:lnTo>
                  <a:lnTo>
                    <a:pt x="3406402" y="1960720"/>
                  </a:lnTo>
                  <a:lnTo>
                    <a:pt x="3405302" y="1959292"/>
                  </a:lnTo>
                  <a:lnTo>
                    <a:pt x="3401599" y="1956810"/>
                  </a:lnTo>
                  <a:lnTo>
                    <a:pt x="3401020" y="1956571"/>
                  </a:lnTo>
                  <a:lnTo>
                    <a:pt x="3400246" y="1956432"/>
                  </a:lnTo>
                  <a:lnTo>
                    <a:pt x="3398225" y="1957012"/>
                  </a:lnTo>
                  <a:lnTo>
                    <a:pt x="3397515" y="1956677"/>
                  </a:lnTo>
                  <a:lnTo>
                    <a:pt x="3397619" y="1956258"/>
                  </a:lnTo>
                  <a:lnTo>
                    <a:pt x="3397707" y="1955267"/>
                  </a:lnTo>
                  <a:lnTo>
                    <a:pt x="3397806" y="1954870"/>
                  </a:lnTo>
                  <a:lnTo>
                    <a:pt x="3395713" y="1954485"/>
                  </a:lnTo>
                  <a:lnTo>
                    <a:pt x="3394696" y="1956420"/>
                  </a:lnTo>
                  <a:lnTo>
                    <a:pt x="3394438" y="1959533"/>
                  </a:lnTo>
                  <a:lnTo>
                    <a:pt x="3394635" y="1962705"/>
                  </a:lnTo>
                  <a:lnTo>
                    <a:pt x="3394947" y="1962848"/>
                  </a:lnTo>
                  <a:lnTo>
                    <a:pt x="3395524" y="1963223"/>
                  </a:lnTo>
                  <a:lnTo>
                    <a:pt x="3396121" y="1962126"/>
                  </a:lnTo>
                  <a:lnTo>
                    <a:pt x="3396575" y="1959733"/>
                  </a:lnTo>
                  <a:lnTo>
                    <a:pt x="3397428" y="1959142"/>
                  </a:lnTo>
                  <a:lnTo>
                    <a:pt x="3397610" y="1959882"/>
                  </a:lnTo>
                  <a:lnTo>
                    <a:pt x="3397722" y="1960642"/>
                  </a:lnTo>
                  <a:lnTo>
                    <a:pt x="3398746" y="1960462"/>
                  </a:lnTo>
                  <a:lnTo>
                    <a:pt x="3400373" y="1958868"/>
                  </a:lnTo>
                  <a:lnTo>
                    <a:pt x="3401635" y="1959034"/>
                  </a:lnTo>
                  <a:lnTo>
                    <a:pt x="3401548" y="1960082"/>
                  </a:lnTo>
                  <a:lnTo>
                    <a:pt x="3402017" y="1963053"/>
                  </a:lnTo>
                  <a:lnTo>
                    <a:pt x="3401999" y="1963736"/>
                  </a:lnTo>
                  <a:lnTo>
                    <a:pt x="3401495" y="1964449"/>
                  </a:lnTo>
                  <a:lnTo>
                    <a:pt x="3401664" y="1965571"/>
                  </a:lnTo>
                  <a:lnTo>
                    <a:pt x="3402323" y="1966670"/>
                  </a:lnTo>
                  <a:lnTo>
                    <a:pt x="3403289" y="1967324"/>
                  </a:lnTo>
                  <a:lnTo>
                    <a:pt x="3402746" y="1968796"/>
                  </a:lnTo>
                  <a:lnTo>
                    <a:pt x="3402586" y="1970279"/>
                  </a:lnTo>
                  <a:lnTo>
                    <a:pt x="3402226" y="1971319"/>
                  </a:lnTo>
                  <a:lnTo>
                    <a:pt x="3401076" y="1971472"/>
                  </a:lnTo>
                  <a:lnTo>
                    <a:pt x="3400600" y="1972091"/>
                  </a:lnTo>
                  <a:lnTo>
                    <a:pt x="3400239" y="1972084"/>
                  </a:lnTo>
                  <a:lnTo>
                    <a:pt x="3399881" y="1971152"/>
                  </a:lnTo>
                  <a:lnTo>
                    <a:pt x="3399836" y="1970495"/>
                  </a:lnTo>
                  <a:lnTo>
                    <a:pt x="3399981" y="1970088"/>
                  </a:lnTo>
                  <a:lnTo>
                    <a:pt x="3400161" y="1969783"/>
                  </a:lnTo>
                  <a:lnTo>
                    <a:pt x="3400489" y="1968781"/>
                  </a:lnTo>
                  <a:lnTo>
                    <a:pt x="3400831" y="1968111"/>
                  </a:lnTo>
                  <a:lnTo>
                    <a:pt x="3400749" y="1967243"/>
                  </a:lnTo>
                  <a:lnTo>
                    <a:pt x="3399702" y="1965966"/>
                  </a:lnTo>
                  <a:lnTo>
                    <a:pt x="3398377" y="1964837"/>
                  </a:lnTo>
                  <a:lnTo>
                    <a:pt x="3397812" y="1964750"/>
                  </a:lnTo>
                  <a:lnTo>
                    <a:pt x="3397200" y="1970879"/>
                  </a:lnTo>
                  <a:lnTo>
                    <a:pt x="3396592" y="1971762"/>
                  </a:lnTo>
                  <a:lnTo>
                    <a:pt x="3395381" y="1970561"/>
                  </a:lnTo>
                  <a:lnTo>
                    <a:pt x="3395144" y="1969304"/>
                  </a:lnTo>
                  <a:lnTo>
                    <a:pt x="3394525" y="1967914"/>
                  </a:lnTo>
                  <a:lnTo>
                    <a:pt x="3393760" y="1966661"/>
                  </a:lnTo>
                  <a:lnTo>
                    <a:pt x="3393079" y="1965840"/>
                  </a:lnTo>
                  <a:lnTo>
                    <a:pt x="3392170" y="1965286"/>
                  </a:lnTo>
                  <a:lnTo>
                    <a:pt x="3392076" y="1965989"/>
                  </a:lnTo>
                  <a:lnTo>
                    <a:pt x="3392039" y="1967174"/>
                  </a:lnTo>
                  <a:lnTo>
                    <a:pt x="3391323" y="1968101"/>
                  </a:lnTo>
                  <a:lnTo>
                    <a:pt x="3390421" y="1967977"/>
                  </a:lnTo>
                  <a:lnTo>
                    <a:pt x="3389246" y="1967284"/>
                  </a:lnTo>
                  <a:lnTo>
                    <a:pt x="3387032" y="1965405"/>
                  </a:lnTo>
                  <a:lnTo>
                    <a:pt x="3385662" y="1963930"/>
                  </a:lnTo>
                  <a:lnTo>
                    <a:pt x="3385000" y="1963496"/>
                  </a:lnTo>
                  <a:lnTo>
                    <a:pt x="3384687" y="1963931"/>
                  </a:lnTo>
                  <a:lnTo>
                    <a:pt x="3384840" y="1964898"/>
                  </a:lnTo>
                  <a:lnTo>
                    <a:pt x="3385279" y="1965972"/>
                  </a:lnTo>
                  <a:lnTo>
                    <a:pt x="3385852" y="1966971"/>
                  </a:lnTo>
                  <a:lnTo>
                    <a:pt x="3386390" y="1967677"/>
                  </a:lnTo>
                  <a:lnTo>
                    <a:pt x="3386658" y="1969705"/>
                  </a:lnTo>
                  <a:lnTo>
                    <a:pt x="3386890" y="1970862"/>
                  </a:lnTo>
                  <a:lnTo>
                    <a:pt x="3387434" y="1972056"/>
                  </a:lnTo>
                  <a:lnTo>
                    <a:pt x="3388627" y="1974181"/>
                  </a:lnTo>
                  <a:lnTo>
                    <a:pt x="3387925" y="1974720"/>
                  </a:lnTo>
                  <a:lnTo>
                    <a:pt x="3383944" y="1975928"/>
                  </a:lnTo>
                  <a:lnTo>
                    <a:pt x="3383428" y="1975294"/>
                  </a:lnTo>
                  <a:lnTo>
                    <a:pt x="3380970" y="1969404"/>
                  </a:lnTo>
                  <a:lnTo>
                    <a:pt x="3380032" y="1968561"/>
                  </a:lnTo>
                  <a:lnTo>
                    <a:pt x="3378783" y="1969131"/>
                  </a:lnTo>
                  <a:lnTo>
                    <a:pt x="3378508" y="1968444"/>
                  </a:lnTo>
                  <a:lnTo>
                    <a:pt x="3378922" y="1966768"/>
                  </a:lnTo>
                  <a:lnTo>
                    <a:pt x="3379277" y="1965971"/>
                  </a:lnTo>
                  <a:lnTo>
                    <a:pt x="3379685" y="1965609"/>
                  </a:lnTo>
                  <a:lnTo>
                    <a:pt x="3380576" y="1965553"/>
                  </a:lnTo>
                  <a:lnTo>
                    <a:pt x="3382915" y="1966268"/>
                  </a:lnTo>
                  <a:lnTo>
                    <a:pt x="3383397" y="1965665"/>
                  </a:lnTo>
                  <a:lnTo>
                    <a:pt x="3382386" y="1964707"/>
                  </a:lnTo>
                  <a:lnTo>
                    <a:pt x="3381241" y="1963284"/>
                  </a:lnTo>
                  <a:lnTo>
                    <a:pt x="3380574" y="1961875"/>
                  </a:lnTo>
                  <a:lnTo>
                    <a:pt x="3381007" y="1960978"/>
                  </a:lnTo>
                  <a:lnTo>
                    <a:pt x="3381054" y="1960036"/>
                  </a:lnTo>
                  <a:lnTo>
                    <a:pt x="3380463" y="1954815"/>
                  </a:lnTo>
                  <a:lnTo>
                    <a:pt x="3380821" y="1953649"/>
                  </a:lnTo>
                  <a:lnTo>
                    <a:pt x="3381423" y="1952905"/>
                  </a:lnTo>
                  <a:lnTo>
                    <a:pt x="3383066" y="1952065"/>
                  </a:lnTo>
                  <a:lnTo>
                    <a:pt x="3383719" y="1951477"/>
                  </a:lnTo>
                  <a:lnTo>
                    <a:pt x="3384523" y="1948247"/>
                  </a:lnTo>
                  <a:lnTo>
                    <a:pt x="3381893" y="1950847"/>
                  </a:lnTo>
                  <a:lnTo>
                    <a:pt x="3380801" y="1951367"/>
                  </a:lnTo>
                  <a:lnTo>
                    <a:pt x="3379681" y="1951412"/>
                  </a:lnTo>
                  <a:lnTo>
                    <a:pt x="3378563" y="1950946"/>
                  </a:lnTo>
                  <a:lnTo>
                    <a:pt x="3377838" y="1949964"/>
                  </a:lnTo>
                  <a:lnTo>
                    <a:pt x="3377891" y="1948442"/>
                  </a:lnTo>
                  <a:lnTo>
                    <a:pt x="3375836" y="1946040"/>
                  </a:lnTo>
                  <a:lnTo>
                    <a:pt x="3375649" y="1948478"/>
                  </a:lnTo>
                  <a:lnTo>
                    <a:pt x="3375751" y="1949307"/>
                  </a:lnTo>
                  <a:lnTo>
                    <a:pt x="3375747" y="1949516"/>
                  </a:lnTo>
                  <a:lnTo>
                    <a:pt x="3375717" y="1949778"/>
                  </a:lnTo>
                  <a:lnTo>
                    <a:pt x="3375770" y="1950165"/>
                  </a:lnTo>
                  <a:lnTo>
                    <a:pt x="3376037" y="1950808"/>
                  </a:lnTo>
                  <a:lnTo>
                    <a:pt x="3376507" y="1951460"/>
                  </a:lnTo>
                  <a:lnTo>
                    <a:pt x="3377502" y="1952250"/>
                  </a:lnTo>
                  <a:lnTo>
                    <a:pt x="3377801" y="1952582"/>
                  </a:lnTo>
                  <a:lnTo>
                    <a:pt x="3378211" y="1953994"/>
                  </a:lnTo>
                  <a:lnTo>
                    <a:pt x="3377587" y="1954236"/>
                  </a:lnTo>
                  <a:lnTo>
                    <a:pt x="3376394" y="1953723"/>
                  </a:lnTo>
                  <a:lnTo>
                    <a:pt x="3375078" y="1952874"/>
                  </a:lnTo>
                  <a:lnTo>
                    <a:pt x="3375542" y="1956288"/>
                  </a:lnTo>
                  <a:lnTo>
                    <a:pt x="3375107" y="1958323"/>
                  </a:lnTo>
                  <a:lnTo>
                    <a:pt x="3374373" y="1959993"/>
                  </a:lnTo>
                  <a:lnTo>
                    <a:pt x="3373927" y="1962287"/>
                  </a:lnTo>
                  <a:lnTo>
                    <a:pt x="3375505" y="1962835"/>
                  </a:lnTo>
                  <a:lnTo>
                    <a:pt x="3376270" y="1963403"/>
                  </a:lnTo>
                  <a:lnTo>
                    <a:pt x="3376975" y="1964619"/>
                  </a:lnTo>
                  <a:lnTo>
                    <a:pt x="3377337" y="1966020"/>
                  </a:lnTo>
                  <a:lnTo>
                    <a:pt x="3377012" y="1966468"/>
                  </a:lnTo>
                  <a:lnTo>
                    <a:pt x="3375593" y="1966452"/>
                  </a:lnTo>
                  <a:lnTo>
                    <a:pt x="3372532" y="1967832"/>
                  </a:lnTo>
                  <a:lnTo>
                    <a:pt x="3370712" y="1968142"/>
                  </a:lnTo>
                  <a:lnTo>
                    <a:pt x="3369213" y="1967329"/>
                  </a:lnTo>
                  <a:lnTo>
                    <a:pt x="3369735" y="1966463"/>
                  </a:lnTo>
                  <a:lnTo>
                    <a:pt x="3371674" y="1965380"/>
                  </a:lnTo>
                  <a:lnTo>
                    <a:pt x="3371725" y="1963904"/>
                  </a:lnTo>
                  <a:lnTo>
                    <a:pt x="3370268" y="1963940"/>
                  </a:lnTo>
                  <a:lnTo>
                    <a:pt x="3365454" y="1962778"/>
                  </a:lnTo>
                  <a:lnTo>
                    <a:pt x="3363802" y="1961766"/>
                  </a:lnTo>
                  <a:lnTo>
                    <a:pt x="3362960" y="1962590"/>
                  </a:lnTo>
                  <a:lnTo>
                    <a:pt x="3362307" y="1963828"/>
                  </a:lnTo>
                  <a:lnTo>
                    <a:pt x="3361205" y="1964064"/>
                  </a:lnTo>
                  <a:lnTo>
                    <a:pt x="3361352" y="1961161"/>
                  </a:lnTo>
                  <a:lnTo>
                    <a:pt x="3360792" y="1959651"/>
                  </a:lnTo>
                  <a:lnTo>
                    <a:pt x="3359672" y="1958412"/>
                  </a:lnTo>
                  <a:lnTo>
                    <a:pt x="3358154" y="1956352"/>
                  </a:lnTo>
                  <a:lnTo>
                    <a:pt x="3359456" y="1954813"/>
                  </a:lnTo>
                  <a:lnTo>
                    <a:pt x="3359855" y="1953618"/>
                  </a:lnTo>
                  <a:lnTo>
                    <a:pt x="3359649" y="1952174"/>
                  </a:lnTo>
                  <a:lnTo>
                    <a:pt x="3359139" y="1951119"/>
                  </a:lnTo>
                  <a:lnTo>
                    <a:pt x="3358667" y="1950386"/>
                  </a:lnTo>
                  <a:lnTo>
                    <a:pt x="3358219" y="1949595"/>
                  </a:lnTo>
                  <a:lnTo>
                    <a:pt x="3357793" y="1948373"/>
                  </a:lnTo>
                  <a:lnTo>
                    <a:pt x="3357618" y="1945293"/>
                  </a:lnTo>
                  <a:lnTo>
                    <a:pt x="3356509" y="1945202"/>
                  </a:lnTo>
                  <a:lnTo>
                    <a:pt x="3355415" y="1947767"/>
                  </a:lnTo>
                  <a:lnTo>
                    <a:pt x="3354559" y="1947718"/>
                  </a:lnTo>
                  <a:lnTo>
                    <a:pt x="3353595" y="1946331"/>
                  </a:lnTo>
                  <a:lnTo>
                    <a:pt x="3353299" y="1944966"/>
                  </a:lnTo>
                  <a:lnTo>
                    <a:pt x="3353134" y="1943362"/>
                  </a:lnTo>
                  <a:lnTo>
                    <a:pt x="3352550" y="1941233"/>
                  </a:lnTo>
                  <a:lnTo>
                    <a:pt x="3352164" y="1940825"/>
                  </a:lnTo>
                  <a:lnTo>
                    <a:pt x="3351559" y="1940533"/>
                  </a:lnTo>
                  <a:lnTo>
                    <a:pt x="3351146" y="1940725"/>
                  </a:lnTo>
                  <a:lnTo>
                    <a:pt x="3351317" y="1941722"/>
                  </a:lnTo>
                  <a:lnTo>
                    <a:pt x="3351953" y="1943629"/>
                  </a:lnTo>
                  <a:lnTo>
                    <a:pt x="3352516" y="1945636"/>
                  </a:lnTo>
                  <a:lnTo>
                    <a:pt x="3352699" y="1946614"/>
                  </a:lnTo>
                  <a:lnTo>
                    <a:pt x="3352806" y="1947564"/>
                  </a:lnTo>
                  <a:lnTo>
                    <a:pt x="3352976" y="1948389"/>
                  </a:lnTo>
                  <a:lnTo>
                    <a:pt x="3353336" y="1948999"/>
                  </a:lnTo>
                  <a:lnTo>
                    <a:pt x="3354138" y="1949439"/>
                  </a:lnTo>
                  <a:lnTo>
                    <a:pt x="3354791" y="1949440"/>
                  </a:lnTo>
                  <a:lnTo>
                    <a:pt x="3355454" y="1949637"/>
                  </a:lnTo>
                  <a:lnTo>
                    <a:pt x="3356281" y="1950652"/>
                  </a:lnTo>
                  <a:lnTo>
                    <a:pt x="3356057" y="1951614"/>
                  </a:lnTo>
                  <a:lnTo>
                    <a:pt x="3355703" y="1952589"/>
                  </a:lnTo>
                  <a:lnTo>
                    <a:pt x="3355232" y="1953371"/>
                  </a:lnTo>
                  <a:lnTo>
                    <a:pt x="3354686" y="1953779"/>
                  </a:lnTo>
                  <a:lnTo>
                    <a:pt x="3353618" y="1953693"/>
                  </a:lnTo>
                  <a:lnTo>
                    <a:pt x="3353035" y="1952969"/>
                  </a:lnTo>
                  <a:lnTo>
                    <a:pt x="3352541" y="1951899"/>
                  </a:lnTo>
                  <a:lnTo>
                    <a:pt x="3351748" y="1950769"/>
                  </a:lnTo>
                  <a:lnTo>
                    <a:pt x="3349788" y="1949779"/>
                  </a:lnTo>
                  <a:lnTo>
                    <a:pt x="3346174" y="1950469"/>
                  </a:lnTo>
                  <a:lnTo>
                    <a:pt x="3344282" y="1949690"/>
                  </a:lnTo>
                  <a:lnTo>
                    <a:pt x="3344641" y="1948930"/>
                  </a:lnTo>
                  <a:lnTo>
                    <a:pt x="3344859" y="1948644"/>
                  </a:lnTo>
                  <a:lnTo>
                    <a:pt x="3345242" y="1948508"/>
                  </a:lnTo>
                  <a:lnTo>
                    <a:pt x="3344993" y="1947872"/>
                  </a:lnTo>
                  <a:lnTo>
                    <a:pt x="3344109" y="1947860"/>
                  </a:lnTo>
                  <a:lnTo>
                    <a:pt x="3342196" y="1948669"/>
                  </a:lnTo>
                  <a:lnTo>
                    <a:pt x="3341370" y="1948490"/>
                  </a:lnTo>
                  <a:lnTo>
                    <a:pt x="3340497" y="1947309"/>
                  </a:lnTo>
                  <a:lnTo>
                    <a:pt x="3340415" y="1946192"/>
                  </a:lnTo>
                  <a:lnTo>
                    <a:pt x="3340781" y="1945230"/>
                  </a:lnTo>
                  <a:lnTo>
                    <a:pt x="3341217" y="1944459"/>
                  </a:lnTo>
                  <a:lnTo>
                    <a:pt x="3341691" y="1944097"/>
                  </a:lnTo>
                  <a:lnTo>
                    <a:pt x="3342177" y="1943934"/>
                  </a:lnTo>
                  <a:lnTo>
                    <a:pt x="3342389" y="1943473"/>
                  </a:lnTo>
                  <a:lnTo>
                    <a:pt x="3342026" y="1942169"/>
                  </a:lnTo>
                  <a:lnTo>
                    <a:pt x="3341504" y="1941272"/>
                  </a:lnTo>
                  <a:lnTo>
                    <a:pt x="3341068" y="1941184"/>
                  </a:lnTo>
                  <a:lnTo>
                    <a:pt x="3340644" y="1941260"/>
                  </a:lnTo>
                  <a:lnTo>
                    <a:pt x="3340153" y="1940854"/>
                  </a:lnTo>
                  <a:lnTo>
                    <a:pt x="3339262" y="1939163"/>
                  </a:lnTo>
                  <a:lnTo>
                    <a:pt x="3338773" y="1937842"/>
                  </a:lnTo>
                  <a:lnTo>
                    <a:pt x="3338198" y="1936716"/>
                  </a:lnTo>
                  <a:lnTo>
                    <a:pt x="3337068" y="1935637"/>
                  </a:lnTo>
                  <a:lnTo>
                    <a:pt x="3335840" y="1935131"/>
                  </a:lnTo>
                  <a:lnTo>
                    <a:pt x="3334531" y="1935118"/>
                  </a:lnTo>
                  <a:lnTo>
                    <a:pt x="3332312" y="1935966"/>
                  </a:lnTo>
                  <a:lnTo>
                    <a:pt x="3330802" y="1937704"/>
                  </a:lnTo>
                  <a:lnTo>
                    <a:pt x="3329885" y="1937884"/>
                  </a:lnTo>
                  <a:lnTo>
                    <a:pt x="3328979" y="1936395"/>
                  </a:lnTo>
                  <a:lnTo>
                    <a:pt x="3328958" y="1935274"/>
                  </a:lnTo>
                  <a:lnTo>
                    <a:pt x="3329239" y="1934174"/>
                  </a:lnTo>
                  <a:lnTo>
                    <a:pt x="3329145" y="1932866"/>
                  </a:lnTo>
                  <a:lnTo>
                    <a:pt x="3328009" y="1931150"/>
                  </a:lnTo>
                  <a:lnTo>
                    <a:pt x="3325537" y="1931046"/>
                  </a:lnTo>
                  <a:lnTo>
                    <a:pt x="3324658" y="1930383"/>
                  </a:lnTo>
                  <a:lnTo>
                    <a:pt x="3324171" y="1930161"/>
                  </a:lnTo>
                  <a:lnTo>
                    <a:pt x="3324045" y="1929234"/>
                  </a:lnTo>
                  <a:lnTo>
                    <a:pt x="3324101" y="1928725"/>
                  </a:lnTo>
                  <a:lnTo>
                    <a:pt x="3324355" y="1928463"/>
                  </a:lnTo>
                  <a:lnTo>
                    <a:pt x="3324831" y="1928307"/>
                  </a:lnTo>
                  <a:lnTo>
                    <a:pt x="3323302" y="1927701"/>
                  </a:lnTo>
                  <a:lnTo>
                    <a:pt x="3319225" y="1928416"/>
                  </a:lnTo>
                  <a:lnTo>
                    <a:pt x="3317746" y="1925824"/>
                  </a:lnTo>
                  <a:lnTo>
                    <a:pt x="3317092" y="1925130"/>
                  </a:lnTo>
                  <a:lnTo>
                    <a:pt x="3316570" y="1925088"/>
                  </a:lnTo>
                  <a:lnTo>
                    <a:pt x="3316314" y="1925985"/>
                  </a:lnTo>
                  <a:lnTo>
                    <a:pt x="3316858" y="1926583"/>
                  </a:lnTo>
                  <a:lnTo>
                    <a:pt x="3316723" y="1927610"/>
                  </a:lnTo>
                  <a:lnTo>
                    <a:pt x="3316114" y="1927974"/>
                  </a:lnTo>
                  <a:lnTo>
                    <a:pt x="3314454" y="1928385"/>
                  </a:lnTo>
                  <a:lnTo>
                    <a:pt x="3314697" y="1929017"/>
                  </a:lnTo>
                  <a:lnTo>
                    <a:pt x="3315769" y="1929139"/>
                  </a:lnTo>
                  <a:lnTo>
                    <a:pt x="3316953" y="1930202"/>
                  </a:lnTo>
                  <a:lnTo>
                    <a:pt x="3317789" y="1931786"/>
                  </a:lnTo>
                  <a:lnTo>
                    <a:pt x="3317829" y="1933491"/>
                  </a:lnTo>
                  <a:lnTo>
                    <a:pt x="3316902" y="1934455"/>
                  </a:lnTo>
                  <a:lnTo>
                    <a:pt x="3315342" y="1934649"/>
                  </a:lnTo>
                  <a:lnTo>
                    <a:pt x="3313678" y="1934167"/>
                  </a:lnTo>
                  <a:lnTo>
                    <a:pt x="3312441" y="1933095"/>
                  </a:lnTo>
                  <a:lnTo>
                    <a:pt x="3312060" y="1932247"/>
                  </a:lnTo>
                  <a:lnTo>
                    <a:pt x="3311377" y="1930217"/>
                  </a:lnTo>
                  <a:lnTo>
                    <a:pt x="3310160" y="1928306"/>
                  </a:lnTo>
                  <a:lnTo>
                    <a:pt x="3310046" y="1927615"/>
                  </a:lnTo>
                  <a:lnTo>
                    <a:pt x="3310354" y="1926680"/>
                  </a:lnTo>
                  <a:lnTo>
                    <a:pt x="3310607" y="1926234"/>
                  </a:lnTo>
                  <a:lnTo>
                    <a:pt x="3311047" y="1925874"/>
                  </a:lnTo>
                  <a:lnTo>
                    <a:pt x="3311340" y="1925331"/>
                  </a:lnTo>
                  <a:lnTo>
                    <a:pt x="3311171" y="1924327"/>
                  </a:lnTo>
                  <a:lnTo>
                    <a:pt x="3311006" y="1923721"/>
                  </a:lnTo>
                  <a:lnTo>
                    <a:pt x="3310860" y="1922846"/>
                  </a:lnTo>
                  <a:lnTo>
                    <a:pt x="3310830" y="1922041"/>
                  </a:lnTo>
                  <a:lnTo>
                    <a:pt x="3311001" y="1921617"/>
                  </a:lnTo>
                  <a:lnTo>
                    <a:pt x="3311351" y="1921798"/>
                  </a:lnTo>
                  <a:lnTo>
                    <a:pt x="3312600" y="1922807"/>
                  </a:lnTo>
                  <a:lnTo>
                    <a:pt x="3313147" y="1923126"/>
                  </a:lnTo>
                  <a:lnTo>
                    <a:pt x="3313797" y="1923066"/>
                  </a:lnTo>
                  <a:lnTo>
                    <a:pt x="3314185" y="1922630"/>
                  </a:lnTo>
                  <a:lnTo>
                    <a:pt x="3314328" y="1922165"/>
                  </a:lnTo>
                  <a:lnTo>
                    <a:pt x="3314247" y="1921971"/>
                  </a:lnTo>
                  <a:lnTo>
                    <a:pt x="3313489" y="1921632"/>
                  </a:lnTo>
                  <a:lnTo>
                    <a:pt x="3310771" y="1919871"/>
                  </a:lnTo>
                  <a:lnTo>
                    <a:pt x="3309560" y="1919692"/>
                  </a:lnTo>
                  <a:lnTo>
                    <a:pt x="3308956" y="1920569"/>
                  </a:lnTo>
                  <a:lnTo>
                    <a:pt x="3309240" y="1923268"/>
                  </a:lnTo>
                  <a:lnTo>
                    <a:pt x="3308653" y="1924124"/>
                  </a:lnTo>
                  <a:lnTo>
                    <a:pt x="3307472" y="1924133"/>
                  </a:lnTo>
                  <a:lnTo>
                    <a:pt x="3303399" y="1922055"/>
                  </a:lnTo>
                  <a:lnTo>
                    <a:pt x="3303357" y="1917718"/>
                  </a:lnTo>
                  <a:lnTo>
                    <a:pt x="3303780" y="1916153"/>
                  </a:lnTo>
                  <a:lnTo>
                    <a:pt x="3304841" y="1916338"/>
                  </a:lnTo>
                  <a:lnTo>
                    <a:pt x="3306380" y="1917003"/>
                  </a:lnTo>
                  <a:lnTo>
                    <a:pt x="3307519" y="1916093"/>
                  </a:lnTo>
                  <a:lnTo>
                    <a:pt x="3308249" y="1914254"/>
                  </a:lnTo>
                  <a:lnTo>
                    <a:pt x="3308566" y="1912135"/>
                  </a:lnTo>
                  <a:lnTo>
                    <a:pt x="3307335" y="1911850"/>
                  </a:lnTo>
                  <a:lnTo>
                    <a:pt x="3306668" y="1912742"/>
                  </a:lnTo>
                  <a:lnTo>
                    <a:pt x="3306137" y="1914030"/>
                  </a:lnTo>
                  <a:lnTo>
                    <a:pt x="3305308" y="1914922"/>
                  </a:lnTo>
                  <a:lnTo>
                    <a:pt x="3303829" y="1914859"/>
                  </a:lnTo>
                  <a:lnTo>
                    <a:pt x="3303399" y="1913577"/>
                  </a:lnTo>
                  <a:lnTo>
                    <a:pt x="3303710" y="1911844"/>
                  </a:lnTo>
                  <a:lnTo>
                    <a:pt x="3307018" y="1906645"/>
                  </a:lnTo>
                  <a:lnTo>
                    <a:pt x="3307711" y="1905976"/>
                  </a:lnTo>
                  <a:lnTo>
                    <a:pt x="3307721" y="1905494"/>
                  </a:lnTo>
                  <a:lnTo>
                    <a:pt x="3307428" y="1903294"/>
                  </a:lnTo>
                  <a:lnTo>
                    <a:pt x="3307243" y="1902515"/>
                  </a:lnTo>
                  <a:lnTo>
                    <a:pt x="3307333" y="1901816"/>
                  </a:lnTo>
                  <a:lnTo>
                    <a:pt x="3309203" y="1900518"/>
                  </a:lnTo>
                  <a:lnTo>
                    <a:pt x="3309839" y="1899540"/>
                  </a:lnTo>
                  <a:lnTo>
                    <a:pt x="3309966" y="1898859"/>
                  </a:lnTo>
                  <a:lnTo>
                    <a:pt x="3309846" y="1897859"/>
                  </a:lnTo>
                  <a:lnTo>
                    <a:pt x="3309565" y="1897121"/>
                  </a:lnTo>
                  <a:lnTo>
                    <a:pt x="3309026" y="1896030"/>
                  </a:lnTo>
                  <a:lnTo>
                    <a:pt x="3308486" y="1895321"/>
                  </a:lnTo>
                  <a:lnTo>
                    <a:pt x="3308199" y="1895729"/>
                  </a:lnTo>
                  <a:lnTo>
                    <a:pt x="3307910" y="1897304"/>
                  </a:lnTo>
                  <a:lnTo>
                    <a:pt x="3307288" y="1898649"/>
                  </a:lnTo>
                  <a:lnTo>
                    <a:pt x="3306357" y="1899325"/>
                  </a:lnTo>
                  <a:lnTo>
                    <a:pt x="3305151" y="1898874"/>
                  </a:lnTo>
                  <a:lnTo>
                    <a:pt x="3304533" y="1898228"/>
                  </a:lnTo>
                  <a:lnTo>
                    <a:pt x="3304385" y="1897807"/>
                  </a:lnTo>
                  <a:lnTo>
                    <a:pt x="3304271" y="1897249"/>
                  </a:lnTo>
                  <a:lnTo>
                    <a:pt x="3303749" y="1896208"/>
                  </a:lnTo>
                  <a:lnTo>
                    <a:pt x="3302838" y="1894663"/>
                  </a:lnTo>
                  <a:lnTo>
                    <a:pt x="3302325" y="1893943"/>
                  </a:lnTo>
                  <a:lnTo>
                    <a:pt x="3301742" y="1893552"/>
                  </a:lnTo>
                  <a:lnTo>
                    <a:pt x="3301255" y="1892660"/>
                  </a:lnTo>
                  <a:lnTo>
                    <a:pt x="3300951" y="1892409"/>
                  </a:lnTo>
                  <a:lnTo>
                    <a:pt x="3300712" y="1892515"/>
                  </a:lnTo>
                  <a:lnTo>
                    <a:pt x="3300657" y="1892852"/>
                  </a:lnTo>
                  <a:lnTo>
                    <a:pt x="3300630" y="1893225"/>
                  </a:lnTo>
                  <a:lnTo>
                    <a:pt x="3300490" y="1893461"/>
                  </a:lnTo>
                  <a:lnTo>
                    <a:pt x="3300139" y="1893812"/>
                  </a:lnTo>
                  <a:lnTo>
                    <a:pt x="3299954" y="1894442"/>
                  </a:lnTo>
                  <a:lnTo>
                    <a:pt x="3299904" y="1895245"/>
                  </a:lnTo>
                  <a:lnTo>
                    <a:pt x="3299949" y="1896067"/>
                  </a:lnTo>
                  <a:lnTo>
                    <a:pt x="3301667" y="1897637"/>
                  </a:lnTo>
                  <a:lnTo>
                    <a:pt x="3303519" y="1899880"/>
                  </a:lnTo>
                  <a:lnTo>
                    <a:pt x="3304977" y="1902615"/>
                  </a:lnTo>
                  <a:lnTo>
                    <a:pt x="3305512" y="1905630"/>
                  </a:lnTo>
                  <a:lnTo>
                    <a:pt x="3305084" y="1906645"/>
                  </a:lnTo>
                  <a:lnTo>
                    <a:pt x="3301486" y="1909598"/>
                  </a:lnTo>
                  <a:lnTo>
                    <a:pt x="3300851" y="1910601"/>
                  </a:lnTo>
                  <a:lnTo>
                    <a:pt x="3300142" y="1911230"/>
                  </a:lnTo>
                  <a:lnTo>
                    <a:pt x="3299099" y="1910813"/>
                  </a:lnTo>
                  <a:lnTo>
                    <a:pt x="3299084" y="1909072"/>
                  </a:lnTo>
                  <a:lnTo>
                    <a:pt x="3298464" y="1907400"/>
                  </a:lnTo>
                  <a:lnTo>
                    <a:pt x="3297552" y="1906069"/>
                  </a:lnTo>
                  <a:lnTo>
                    <a:pt x="3296664" y="1905344"/>
                  </a:lnTo>
                  <a:lnTo>
                    <a:pt x="3296421" y="1904707"/>
                  </a:lnTo>
                  <a:lnTo>
                    <a:pt x="3297038" y="1904519"/>
                  </a:lnTo>
                  <a:lnTo>
                    <a:pt x="3297776" y="1904632"/>
                  </a:lnTo>
                  <a:lnTo>
                    <a:pt x="3298561" y="1904995"/>
                  </a:lnTo>
                  <a:lnTo>
                    <a:pt x="3300284" y="1906130"/>
                  </a:lnTo>
                  <a:lnTo>
                    <a:pt x="3300646" y="1905753"/>
                  </a:lnTo>
                  <a:lnTo>
                    <a:pt x="3300766" y="1905033"/>
                  </a:lnTo>
                  <a:lnTo>
                    <a:pt x="3300988" y="1904561"/>
                  </a:lnTo>
                  <a:lnTo>
                    <a:pt x="3300905" y="1904235"/>
                  </a:lnTo>
                  <a:lnTo>
                    <a:pt x="3298235" y="1903211"/>
                  </a:lnTo>
                  <a:lnTo>
                    <a:pt x="3297388" y="1902490"/>
                  </a:lnTo>
                  <a:lnTo>
                    <a:pt x="3297085" y="1901818"/>
                  </a:lnTo>
                  <a:lnTo>
                    <a:pt x="3297306" y="1901261"/>
                  </a:lnTo>
                  <a:lnTo>
                    <a:pt x="3298028" y="1900894"/>
                  </a:lnTo>
                  <a:lnTo>
                    <a:pt x="3296501" y="1899908"/>
                  </a:lnTo>
                  <a:lnTo>
                    <a:pt x="3295552" y="1900472"/>
                  </a:lnTo>
                  <a:lnTo>
                    <a:pt x="3294433" y="1902989"/>
                  </a:lnTo>
                  <a:lnTo>
                    <a:pt x="3293654" y="1903802"/>
                  </a:lnTo>
                  <a:lnTo>
                    <a:pt x="3292512" y="1904352"/>
                  </a:lnTo>
                  <a:lnTo>
                    <a:pt x="3291521" y="1904143"/>
                  </a:lnTo>
                  <a:lnTo>
                    <a:pt x="3291171" y="1902635"/>
                  </a:lnTo>
                  <a:lnTo>
                    <a:pt x="3290172" y="1901322"/>
                  </a:lnTo>
                  <a:lnTo>
                    <a:pt x="3288781" y="1899719"/>
                  </a:lnTo>
                  <a:lnTo>
                    <a:pt x="3287308" y="1898448"/>
                  </a:lnTo>
                  <a:lnTo>
                    <a:pt x="3286050" y="1898110"/>
                  </a:lnTo>
                  <a:lnTo>
                    <a:pt x="3285133" y="1898663"/>
                  </a:lnTo>
                  <a:lnTo>
                    <a:pt x="3285302" y="1899428"/>
                  </a:lnTo>
                  <a:lnTo>
                    <a:pt x="3286067" y="1900564"/>
                  </a:lnTo>
                  <a:lnTo>
                    <a:pt x="3286938" y="1902240"/>
                  </a:lnTo>
                  <a:lnTo>
                    <a:pt x="3287358" y="1903731"/>
                  </a:lnTo>
                  <a:lnTo>
                    <a:pt x="3287435" y="1904903"/>
                  </a:lnTo>
                  <a:lnTo>
                    <a:pt x="3287399" y="1906012"/>
                  </a:lnTo>
                  <a:lnTo>
                    <a:pt x="3287471" y="1907310"/>
                  </a:lnTo>
                  <a:lnTo>
                    <a:pt x="3288485" y="1907165"/>
                  </a:lnTo>
                  <a:lnTo>
                    <a:pt x="3289550" y="1907323"/>
                  </a:lnTo>
                  <a:lnTo>
                    <a:pt x="3289253" y="1908866"/>
                  </a:lnTo>
                  <a:lnTo>
                    <a:pt x="3285880" y="1911043"/>
                  </a:lnTo>
                  <a:lnTo>
                    <a:pt x="3285939" y="1911321"/>
                  </a:lnTo>
                  <a:lnTo>
                    <a:pt x="3286176" y="1911803"/>
                  </a:lnTo>
                  <a:lnTo>
                    <a:pt x="3286364" y="1912285"/>
                  </a:lnTo>
                  <a:lnTo>
                    <a:pt x="3286270" y="1912568"/>
                  </a:lnTo>
                  <a:lnTo>
                    <a:pt x="3285908" y="1912576"/>
                  </a:lnTo>
                  <a:lnTo>
                    <a:pt x="3285141" y="1912322"/>
                  </a:lnTo>
                  <a:lnTo>
                    <a:pt x="3284800" y="1912322"/>
                  </a:lnTo>
                  <a:lnTo>
                    <a:pt x="3284172" y="1912173"/>
                  </a:lnTo>
                  <a:lnTo>
                    <a:pt x="3282762" y="1911004"/>
                  </a:lnTo>
                  <a:lnTo>
                    <a:pt x="3281206" y="1910456"/>
                  </a:lnTo>
                  <a:lnTo>
                    <a:pt x="3278589" y="1908144"/>
                  </a:lnTo>
                  <a:lnTo>
                    <a:pt x="3277459" y="1907815"/>
                  </a:lnTo>
                  <a:lnTo>
                    <a:pt x="3276244" y="1908413"/>
                  </a:lnTo>
                  <a:lnTo>
                    <a:pt x="3275975" y="1909219"/>
                  </a:lnTo>
                  <a:lnTo>
                    <a:pt x="3276430" y="1910595"/>
                  </a:lnTo>
                  <a:lnTo>
                    <a:pt x="3277023" y="1911130"/>
                  </a:lnTo>
                  <a:lnTo>
                    <a:pt x="3279094" y="1911268"/>
                  </a:lnTo>
                  <a:lnTo>
                    <a:pt x="3279679" y="1913572"/>
                  </a:lnTo>
                  <a:lnTo>
                    <a:pt x="3280754" y="1914715"/>
                  </a:lnTo>
                  <a:lnTo>
                    <a:pt x="3281930" y="1915474"/>
                  </a:lnTo>
                  <a:lnTo>
                    <a:pt x="3282813" y="1916628"/>
                  </a:lnTo>
                  <a:lnTo>
                    <a:pt x="3283642" y="1917892"/>
                  </a:lnTo>
                  <a:lnTo>
                    <a:pt x="3284550" y="1918118"/>
                  </a:lnTo>
                  <a:lnTo>
                    <a:pt x="3285430" y="1918001"/>
                  </a:lnTo>
                  <a:lnTo>
                    <a:pt x="3286189" y="1918268"/>
                  </a:lnTo>
                  <a:lnTo>
                    <a:pt x="3285601" y="1917613"/>
                  </a:lnTo>
                  <a:lnTo>
                    <a:pt x="3286064" y="1917952"/>
                  </a:lnTo>
                  <a:lnTo>
                    <a:pt x="3286452" y="1918316"/>
                  </a:lnTo>
                  <a:lnTo>
                    <a:pt x="3286839" y="1918766"/>
                  </a:lnTo>
                  <a:lnTo>
                    <a:pt x="3287289" y="1919372"/>
                  </a:lnTo>
                  <a:lnTo>
                    <a:pt x="3287123" y="1920364"/>
                  </a:lnTo>
                  <a:lnTo>
                    <a:pt x="3286804" y="1921017"/>
                  </a:lnTo>
                  <a:lnTo>
                    <a:pt x="3286269" y="1921128"/>
                  </a:lnTo>
                  <a:lnTo>
                    <a:pt x="3284441" y="1919563"/>
                  </a:lnTo>
                  <a:lnTo>
                    <a:pt x="3283383" y="1918956"/>
                  </a:lnTo>
                  <a:lnTo>
                    <a:pt x="3282566" y="1918924"/>
                  </a:lnTo>
                  <a:lnTo>
                    <a:pt x="3282274" y="1919739"/>
                  </a:lnTo>
                  <a:lnTo>
                    <a:pt x="3282696" y="1920456"/>
                  </a:lnTo>
                  <a:lnTo>
                    <a:pt x="3283441" y="1921491"/>
                  </a:lnTo>
                  <a:lnTo>
                    <a:pt x="3283814" y="1922551"/>
                  </a:lnTo>
                  <a:lnTo>
                    <a:pt x="3283115" y="1923341"/>
                  </a:lnTo>
                  <a:lnTo>
                    <a:pt x="3282183" y="1923319"/>
                  </a:lnTo>
                  <a:lnTo>
                    <a:pt x="3280334" y="1922369"/>
                  </a:lnTo>
                  <a:lnTo>
                    <a:pt x="3279456" y="1922311"/>
                  </a:lnTo>
                  <a:lnTo>
                    <a:pt x="3280568" y="1924594"/>
                  </a:lnTo>
                  <a:lnTo>
                    <a:pt x="3280801" y="1926344"/>
                  </a:lnTo>
                  <a:lnTo>
                    <a:pt x="3281256" y="1927763"/>
                  </a:lnTo>
                  <a:lnTo>
                    <a:pt x="3283027" y="1929032"/>
                  </a:lnTo>
                  <a:lnTo>
                    <a:pt x="3282830" y="1929972"/>
                  </a:lnTo>
                  <a:lnTo>
                    <a:pt x="3282507" y="1930778"/>
                  </a:lnTo>
                  <a:lnTo>
                    <a:pt x="3281655" y="1931943"/>
                  </a:lnTo>
                  <a:lnTo>
                    <a:pt x="3281916" y="1932640"/>
                  </a:lnTo>
                  <a:lnTo>
                    <a:pt x="3282312" y="1933491"/>
                  </a:lnTo>
                  <a:lnTo>
                    <a:pt x="3282970" y="1935301"/>
                  </a:lnTo>
                  <a:lnTo>
                    <a:pt x="3283553" y="1937210"/>
                  </a:lnTo>
                  <a:lnTo>
                    <a:pt x="3283736" y="1938350"/>
                  </a:lnTo>
                  <a:lnTo>
                    <a:pt x="3282964" y="1938885"/>
                  </a:lnTo>
                  <a:lnTo>
                    <a:pt x="3281733" y="1938444"/>
                  </a:lnTo>
                  <a:lnTo>
                    <a:pt x="3280606" y="1938307"/>
                  </a:lnTo>
                  <a:lnTo>
                    <a:pt x="3280120" y="1939695"/>
                  </a:lnTo>
                  <a:lnTo>
                    <a:pt x="3280109" y="1938824"/>
                  </a:lnTo>
                  <a:lnTo>
                    <a:pt x="3279604" y="1939288"/>
                  </a:lnTo>
                  <a:lnTo>
                    <a:pt x="3278788" y="1939424"/>
                  </a:lnTo>
                  <a:lnTo>
                    <a:pt x="3278060" y="1939095"/>
                  </a:lnTo>
                  <a:lnTo>
                    <a:pt x="3277808" y="1938162"/>
                  </a:lnTo>
                  <a:lnTo>
                    <a:pt x="3276863" y="1937832"/>
                  </a:lnTo>
                  <a:lnTo>
                    <a:pt x="3276045" y="1938088"/>
                  </a:lnTo>
                  <a:lnTo>
                    <a:pt x="3275236" y="1938112"/>
                  </a:lnTo>
                  <a:lnTo>
                    <a:pt x="3274318" y="1937059"/>
                  </a:lnTo>
                  <a:lnTo>
                    <a:pt x="3276143" y="1936578"/>
                  </a:lnTo>
                  <a:lnTo>
                    <a:pt x="3276931" y="1936063"/>
                  </a:lnTo>
                  <a:lnTo>
                    <a:pt x="3277372" y="1935058"/>
                  </a:lnTo>
                  <a:lnTo>
                    <a:pt x="3276793" y="1934560"/>
                  </a:lnTo>
                  <a:lnTo>
                    <a:pt x="3276278" y="1933743"/>
                  </a:lnTo>
                  <a:lnTo>
                    <a:pt x="3275701" y="1932483"/>
                  </a:lnTo>
                  <a:lnTo>
                    <a:pt x="3276581" y="1930345"/>
                  </a:lnTo>
                  <a:lnTo>
                    <a:pt x="3274959" y="1929151"/>
                  </a:lnTo>
                  <a:lnTo>
                    <a:pt x="3272454" y="1928311"/>
                  </a:lnTo>
                  <a:lnTo>
                    <a:pt x="3270685" y="1927240"/>
                  </a:lnTo>
                  <a:lnTo>
                    <a:pt x="3274413" y="1926586"/>
                  </a:lnTo>
                  <a:lnTo>
                    <a:pt x="3276148" y="1928153"/>
                  </a:lnTo>
                  <a:lnTo>
                    <a:pt x="3277069" y="1928542"/>
                  </a:lnTo>
                  <a:lnTo>
                    <a:pt x="3277171" y="1927159"/>
                  </a:lnTo>
                  <a:lnTo>
                    <a:pt x="3275938" y="1924893"/>
                  </a:lnTo>
                  <a:lnTo>
                    <a:pt x="3269899" y="1918692"/>
                  </a:lnTo>
                  <a:lnTo>
                    <a:pt x="3272008" y="1918490"/>
                  </a:lnTo>
                  <a:lnTo>
                    <a:pt x="3276393" y="1919187"/>
                  </a:lnTo>
                  <a:lnTo>
                    <a:pt x="3278420" y="1918630"/>
                  </a:lnTo>
                  <a:lnTo>
                    <a:pt x="3278183" y="1917995"/>
                  </a:lnTo>
                  <a:lnTo>
                    <a:pt x="3276775" y="1916961"/>
                  </a:lnTo>
                  <a:lnTo>
                    <a:pt x="3275442" y="1916412"/>
                  </a:lnTo>
                  <a:lnTo>
                    <a:pt x="3270508" y="1915395"/>
                  </a:lnTo>
                  <a:lnTo>
                    <a:pt x="3269907" y="1915423"/>
                  </a:lnTo>
                  <a:lnTo>
                    <a:pt x="3267872" y="1916805"/>
                  </a:lnTo>
                  <a:lnTo>
                    <a:pt x="3267042" y="1916485"/>
                  </a:lnTo>
                  <a:lnTo>
                    <a:pt x="3266806" y="1915845"/>
                  </a:lnTo>
                  <a:lnTo>
                    <a:pt x="3267821" y="1913796"/>
                  </a:lnTo>
                  <a:lnTo>
                    <a:pt x="3273735" y="1912472"/>
                  </a:lnTo>
                  <a:lnTo>
                    <a:pt x="3272344" y="1910893"/>
                  </a:lnTo>
                  <a:lnTo>
                    <a:pt x="3269229" y="1909684"/>
                  </a:lnTo>
                  <a:lnTo>
                    <a:pt x="3267953" y="1907805"/>
                  </a:lnTo>
                  <a:lnTo>
                    <a:pt x="3267847" y="1907103"/>
                  </a:lnTo>
                  <a:lnTo>
                    <a:pt x="3267623" y="1904690"/>
                  </a:lnTo>
                  <a:lnTo>
                    <a:pt x="3266937" y="1902263"/>
                  </a:lnTo>
                  <a:lnTo>
                    <a:pt x="3266371" y="1899692"/>
                  </a:lnTo>
                  <a:lnTo>
                    <a:pt x="3266190" y="1898532"/>
                  </a:lnTo>
                  <a:lnTo>
                    <a:pt x="3265129" y="1897510"/>
                  </a:lnTo>
                  <a:lnTo>
                    <a:pt x="3263938" y="1896730"/>
                  </a:lnTo>
                  <a:lnTo>
                    <a:pt x="3262922" y="1896580"/>
                  </a:lnTo>
                  <a:lnTo>
                    <a:pt x="3262360" y="1897406"/>
                  </a:lnTo>
                  <a:lnTo>
                    <a:pt x="3262562" y="1899214"/>
                  </a:lnTo>
                  <a:lnTo>
                    <a:pt x="3264441" y="1901654"/>
                  </a:lnTo>
                  <a:lnTo>
                    <a:pt x="3264731" y="1903781"/>
                  </a:lnTo>
                  <a:lnTo>
                    <a:pt x="3264437" y="1904375"/>
                  </a:lnTo>
                  <a:lnTo>
                    <a:pt x="3263225" y="1904239"/>
                  </a:lnTo>
                  <a:lnTo>
                    <a:pt x="3262623" y="1904562"/>
                  </a:lnTo>
                  <a:lnTo>
                    <a:pt x="3262309" y="1906688"/>
                  </a:lnTo>
                  <a:lnTo>
                    <a:pt x="3261863" y="1907224"/>
                  </a:lnTo>
                  <a:lnTo>
                    <a:pt x="3260797" y="1906035"/>
                  </a:lnTo>
                  <a:lnTo>
                    <a:pt x="3260683" y="1907322"/>
                  </a:lnTo>
                  <a:lnTo>
                    <a:pt x="3260882" y="1908612"/>
                  </a:lnTo>
                  <a:lnTo>
                    <a:pt x="3261354" y="1909792"/>
                  </a:lnTo>
                  <a:lnTo>
                    <a:pt x="3263086" y="1912117"/>
                  </a:lnTo>
                  <a:lnTo>
                    <a:pt x="3263413" y="1913232"/>
                  </a:lnTo>
                  <a:lnTo>
                    <a:pt x="3263258" y="1916357"/>
                  </a:lnTo>
                  <a:lnTo>
                    <a:pt x="3260855" y="1914431"/>
                  </a:lnTo>
                  <a:lnTo>
                    <a:pt x="3259556" y="1913094"/>
                  </a:lnTo>
                  <a:lnTo>
                    <a:pt x="3259041" y="1911859"/>
                  </a:lnTo>
                  <a:lnTo>
                    <a:pt x="3259682" y="1910551"/>
                  </a:lnTo>
                  <a:lnTo>
                    <a:pt x="3259788" y="1909656"/>
                  </a:lnTo>
                  <a:lnTo>
                    <a:pt x="3259189" y="1908585"/>
                  </a:lnTo>
                  <a:lnTo>
                    <a:pt x="3258543" y="1908006"/>
                  </a:lnTo>
                  <a:lnTo>
                    <a:pt x="3257715" y="1907409"/>
                  </a:lnTo>
                  <a:lnTo>
                    <a:pt x="3256915" y="1906967"/>
                  </a:lnTo>
                  <a:lnTo>
                    <a:pt x="3256360" y="1906872"/>
                  </a:lnTo>
                  <a:lnTo>
                    <a:pt x="3256001" y="1907877"/>
                  </a:lnTo>
                  <a:lnTo>
                    <a:pt x="3257395" y="1911506"/>
                  </a:lnTo>
                  <a:lnTo>
                    <a:pt x="3257217" y="1912928"/>
                  </a:lnTo>
                  <a:lnTo>
                    <a:pt x="3256175" y="1912964"/>
                  </a:lnTo>
                  <a:lnTo>
                    <a:pt x="3253458" y="1910912"/>
                  </a:lnTo>
                  <a:lnTo>
                    <a:pt x="3252329" y="1910670"/>
                  </a:lnTo>
                  <a:lnTo>
                    <a:pt x="3253545" y="1912393"/>
                  </a:lnTo>
                  <a:lnTo>
                    <a:pt x="3255228" y="1914160"/>
                  </a:lnTo>
                  <a:lnTo>
                    <a:pt x="3256942" y="1915645"/>
                  </a:lnTo>
                  <a:lnTo>
                    <a:pt x="3258239" y="1916536"/>
                  </a:lnTo>
                  <a:lnTo>
                    <a:pt x="3257953" y="1919005"/>
                  </a:lnTo>
                  <a:lnTo>
                    <a:pt x="3256810" y="1919395"/>
                  </a:lnTo>
                  <a:lnTo>
                    <a:pt x="3255270" y="1918368"/>
                  </a:lnTo>
                  <a:lnTo>
                    <a:pt x="3253784" y="1916577"/>
                  </a:lnTo>
                  <a:lnTo>
                    <a:pt x="3254232" y="1916081"/>
                  </a:lnTo>
                  <a:lnTo>
                    <a:pt x="3254279" y="1915238"/>
                  </a:lnTo>
                  <a:lnTo>
                    <a:pt x="3253961" y="1914514"/>
                  </a:lnTo>
                  <a:lnTo>
                    <a:pt x="3253325" y="1914353"/>
                  </a:lnTo>
                  <a:lnTo>
                    <a:pt x="3252658" y="1914862"/>
                  </a:lnTo>
                  <a:lnTo>
                    <a:pt x="3251594" y="1916389"/>
                  </a:lnTo>
                  <a:lnTo>
                    <a:pt x="3250864" y="1916925"/>
                  </a:lnTo>
                  <a:lnTo>
                    <a:pt x="3249433" y="1916877"/>
                  </a:lnTo>
                  <a:lnTo>
                    <a:pt x="3248551" y="1916657"/>
                  </a:lnTo>
                  <a:lnTo>
                    <a:pt x="3247934" y="1916316"/>
                  </a:lnTo>
                  <a:lnTo>
                    <a:pt x="3247510" y="1915655"/>
                  </a:lnTo>
                  <a:lnTo>
                    <a:pt x="3246616" y="1913747"/>
                  </a:lnTo>
                  <a:lnTo>
                    <a:pt x="3246039" y="1912960"/>
                  </a:lnTo>
                  <a:lnTo>
                    <a:pt x="3245052" y="1912452"/>
                  </a:lnTo>
                  <a:lnTo>
                    <a:pt x="3242658" y="1911972"/>
                  </a:lnTo>
                  <a:lnTo>
                    <a:pt x="3241469" y="1911104"/>
                  </a:lnTo>
                  <a:lnTo>
                    <a:pt x="3240341" y="1909987"/>
                  </a:lnTo>
                  <a:lnTo>
                    <a:pt x="3236969" y="1907565"/>
                  </a:lnTo>
                  <a:lnTo>
                    <a:pt x="3237250" y="1906611"/>
                  </a:lnTo>
                  <a:lnTo>
                    <a:pt x="3237335" y="1906031"/>
                  </a:lnTo>
                  <a:lnTo>
                    <a:pt x="3237241" y="1905440"/>
                  </a:lnTo>
                  <a:lnTo>
                    <a:pt x="3237217" y="1904918"/>
                  </a:lnTo>
                  <a:lnTo>
                    <a:pt x="3237564" y="1904830"/>
                  </a:lnTo>
                  <a:lnTo>
                    <a:pt x="3238010" y="1904849"/>
                  </a:lnTo>
                  <a:lnTo>
                    <a:pt x="3238269" y="1904642"/>
                  </a:lnTo>
                  <a:lnTo>
                    <a:pt x="3238219" y="1903566"/>
                  </a:lnTo>
                  <a:lnTo>
                    <a:pt x="3238009" y="1902348"/>
                  </a:lnTo>
                  <a:lnTo>
                    <a:pt x="3237955" y="1901297"/>
                  </a:lnTo>
                  <a:lnTo>
                    <a:pt x="3239030" y="1899462"/>
                  </a:lnTo>
                  <a:lnTo>
                    <a:pt x="3239189" y="1894996"/>
                  </a:lnTo>
                  <a:lnTo>
                    <a:pt x="3239645" y="1893949"/>
                  </a:lnTo>
                  <a:lnTo>
                    <a:pt x="3241911" y="1894495"/>
                  </a:lnTo>
                  <a:lnTo>
                    <a:pt x="3243010" y="1894143"/>
                  </a:lnTo>
                  <a:lnTo>
                    <a:pt x="3242715" y="1892685"/>
                  </a:lnTo>
                  <a:lnTo>
                    <a:pt x="3241366" y="1891697"/>
                  </a:lnTo>
                  <a:lnTo>
                    <a:pt x="3238696" y="1892506"/>
                  </a:lnTo>
                  <a:lnTo>
                    <a:pt x="3237517" y="1891394"/>
                  </a:lnTo>
                  <a:lnTo>
                    <a:pt x="3237899" y="1890928"/>
                  </a:lnTo>
                  <a:lnTo>
                    <a:pt x="3238176" y="1890400"/>
                  </a:lnTo>
                  <a:lnTo>
                    <a:pt x="3238299" y="1889701"/>
                  </a:lnTo>
                  <a:lnTo>
                    <a:pt x="3238204" y="1888684"/>
                  </a:lnTo>
                  <a:lnTo>
                    <a:pt x="3237171" y="1889187"/>
                  </a:lnTo>
                  <a:lnTo>
                    <a:pt x="3233532" y="1889652"/>
                  </a:lnTo>
                  <a:lnTo>
                    <a:pt x="3233093" y="1890394"/>
                  </a:lnTo>
                  <a:lnTo>
                    <a:pt x="3233634" y="1891373"/>
                  </a:lnTo>
                  <a:lnTo>
                    <a:pt x="3234575" y="1892516"/>
                  </a:lnTo>
                  <a:lnTo>
                    <a:pt x="3235335" y="1893776"/>
                  </a:lnTo>
                  <a:lnTo>
                    <a:pt x="3234186" y="1893590"/>
                  </a:lnTo>
                  <a:lnTo>
                    <a:pt x="3231630" y="1895114"/>
                  </a:lnTo>
                  <a:lnTo>
                    <a:pt x="3231090" y="1895990"/>
                  </a:lnTo>
                  <a:lnTo>
                    <a:pt x="3231701" y="1897319"/>
                  </a:lnTo>
                  <a:lnTo>
                    <a:pt x="3233304" y="1899281"/>
                  </a:lnTo>
                  <a:lnTo>
                    <a:pt x="3234566" y="1901118"/>
                  </a:lnTo>
                  <a:lnTo>
                    <a:pt x="3235010" y="1902279"/>
                  </a:lnTo>
                  <a:lnTo>
                    <a:pt x="3235126" y="1903858"/>
                  </a:lnTo>
                  <a:lnTo>
                    <a:pt x="3234774" y="1904638"/>
                  </a:lnTo>
                  <a:lnTo>
                    <a:pt x="3234035" y="1904539"/>
                  </a:lnTo>
                  <a:lnTo>
                    <a:pt x="3230992" y="1902574"/>
                  </a:lnTo>
                  <a:lnTo>
                    <a:pt x="3230223" y="1902225"/>
                  </a:lnTo>
                  <a:lnTo>
                    <a:pt x="3229473" y="1902238"/>
                  </a:lnTo>
                  <a:lnTo>
                    <a:pt x="3229552" y="1902674"/>
                  </a:lnTo>
                  <a:lnTo>
                    <a:pt x="3229608" y="1903704"/>
                  </a:lnTo>
                  <a:lnTo>
                    <a:pt x="3229509" y="1904828"/>
                  </a:lnTo>
                  <a:lnTo>
                    <a:pt x="3229168" y="1905599"/>
                  </a:lnTo>
                  <a:lnTo>
                    <a:pt x="3228388" y="1905651"/>
                  </a:lnTo>
                  <a:lnTo>
                    <a:pt x="3226231" y="1904628"/>
                  </a:lnTo>
                  <a:lnTo>
                    <a:pt x="3225401" y="1904489"/>
                  </a:lnTo>
                  <a:lnTo>
                    <a:pt x="3223130" y="1905043"/>
                  </a:lnTo>
                  <a:lnTo>
                    <a:pt x="3222437" y="1905544"/>
                  </a:lnTo>
                  <a:lnTo>
                    <a:pt x="3224483" y="1907976"/>
                  </a:lnTo>
                  <a:lnTo>
                    <a:pt x="3226530" y="1908244"/>
                  </a:lnTo>
                  <a:lnTo>
                    <a:pt x="3228535" y="1907955"/>
                  </a:lnTo>
                  <a:lnTo>
                    <a:pt x="3230456" y="1908673"/>
                  </a:lnTo>
                  <a:lnTo>
                    <a:pt x="3230896" y="1909240"/>
                  </a:lnTo>
                  <a:lnTo>
                    <a:pt x="3231473" y="1910496"/>
                  </a:lnTo>
                  <a:lnTo>
                    <a:pt x="3231837" y="1911075"/>
                  </a:lnTo>
                  <a:lnTo>
                    <a:pt x="3232287" y="1911529"/>
                  </a:lnTo>
                  <a:lnTo>
                    <a:pt x="3233009" y="1911990"/>
                  </a:lnTo>
                  <a:lnTo>
                    <a:pt x="3233451" y="1912371"/>
                  </a:lnTo>
                  <a:lnTo>
                    <a:pt x="3234578" y="1913003"/>
                  </a:lnTo>
                  <a:lnTo>
                    <a:pt x="3236844" y="1912886"/>
                  </a:lnTo>
                  <a:lnTo>
                    <a:pt x="3237979" y="1913159"/>
                  </a:lnTo>
                  <a:lnTo>
                    <a:pt x="3246142" y="1916966"/>
                  </a:lnTo>
                  <a:lnTo>
                    <a:pt x="3254111" y="1922103"/>
                  </a:lnTo>
                  <a:lnTo>
                    <a:pt x="3253141" y="1924258"/>
                  </a:lnTo>
                  <a:lnTo>
                    <a:pt x="3252544" y="1924992"/>
                  </a:lnTo>
                  <a:lnTo>
                    <a:pt x="3251583" y="1925412"/>
                  </a:lnTo>
                  <a:lnTo>
                    <a:pt x="3248904" y="1925374"/>
                  </a:lnTo>
                  <a:lnTo>
                    <a:pt x="3247731" y="1925965"/>
                  </a:lnTo>
                  <a:lnTo>
                    <a:pt x="3247339" y="1927746"/>
                  </a:lnTo>
                  <a:lnTo>
                    <a:pt x="3250174" y="1926962"/>
                  </a:lnTo>
                  <a:lnTo>
                    <a:pt x="3251802" y="1927286"/>
                  </a:lnTo>
                  <a:lnTo>
                    <a:pt x="3253186" y="1928803"/>
                  </a:lnTo>
                  <a:lnTo>
                    <a:pt x="3252500" y="1929787"/>
                  </a:lnTo>
                  <a:lnTo>
                    <a:pt x="3251649" y="1929442"/>
                  </a:lnTo>
                  <a:lnTo>
                    <a:pt x="3250682" y="1928697"/>
                  </a:lnTo>
                  <a:lnTo>
                    <a:pt x="3249649" y="1928493"/>
                  </a:lnTo>
                  <a:lnTo>
                    <a:pt x="3249210" y="1929192"/>
                  </a:lnTo>
                  <a:lnTo>
                    <a:pt x="3249691" y="1930250"/>
                  </a:lnTo>
                  <a:lnTo>
                    <a:pt x="3250545" y="1931287"/>
                  </a:lnTo>
                  <a:lnTo>
                    <a:pt x="3251222" y="1931900"/>
                  </a:lnTo>
                  <a:lnTo>
                    <a:pt x="3252418" y="1932348"/>
                  </a:lnTo>
                  <a:lnTo>
                    <a:pt x="3254586" y="1932031"/>
                  </a:lnTo>
                  <a:lnTo>
                    <a:pt x="3255780" y="1932308"/>
                  </a:lnTo>
                  <a:lnTo>
                    <a:pt x="3256253" y="1933017"/>
                  </a:lnTo>
                  <a:lnTo>
                    <a:pt x="3255770" y="1933848"/>
                  </a:lnTo>
                  <a:lnTo>
                    <a:pt x="3255352" y="1934981"/>
                  </a:lnTo>
                  <a:lnTo>
                    <a:pt x="3256023" y="1936601"/>
                  </a:lnTo>
                  <a:lnTo>
                    <a:pt x="3255151" y="1937419"/>
                  </a:lnTo>
                  <a:lnTo>
                    <a:pt x="3253713" y="1937723"/>
                  </a:lnTo>
                  <a:lnTo>
                    <a:pt x="3252788" y="1938295"/>
                  </a:lnTo>
                  <a:lnTo>
                    <a:pt x="3253446" y="1939914"/>
                  </a:lnTo>
                  <a:lnTo>
                    <a:pt x="3251530" y="1941373"/>
                  </a:lnTo>
                  <a:lnTo>
                    <a:pt x="3250744" y="1942463"/>
                  </a:lnTo>
                  <a:lnTo>
                    <a:pt x="3251422" y="1943824"/>
                  </a:lnTo>
                  <a:lnTo>
                    <a:pt x="3251653" y="1944466"/>
                  </a:lnTo>
                  <a:lnTo>
                    <a:pt x="3250077" y="1944536"/>
                  </a:lnTo>
                  <a:lnTo>
                    <a:pt x="3247406" y="1943313"/>
                  </a:lnTo>
                  <a:lnTo>
                    <a:pt x="3245783" y="1943394"/>
                  </a:lnTo>
                  <a:lnTo>
                    <a:pt x="3246051" y="1943852"/>
                  </a:lnTo>
                  <a:lnTo>
                    <a:pt x="3246625" y="1945005"/>
                  </a:lnTo>
                  <a:lnTo>
                    <a:pt x="3246894" y="1945453"/>
                  </a:lnTo>
                  <a:lnTo>
                    <a:pt x="3245442" y="1945770"/>
                  </a:lnTo>
                  <a:lnTo>
                    <a:pt x="3243433" y="1945258"/>
                  </a:lnTo>
                  <a:lnTo>
                    <a:pt x="3241345" y="1944202"/>
                  </a:lnTo>
                  <a:lnTo>
                    <a:pt x="3239659" y="1942887"/>
                  </a:lnTo>
                  <a:lnTo>
                    <a:pt x="3238714" y="1942471"/>
                  </a:lnTo>
                  <a:lnTo>
                    <a:pt x="3238162" y="1943179"/>
                  </a:lnTo>
                  <a:lnTo>
                    <a:pt x="3237766" y="1944252"/>
                  </a:lnTo>
                  <a:lnTo>
                    <a:pt x="3237292" y="1944912"/>
                  </a:lnTo>
                  <a:lnTo>
                    <a:pt x="3236389" y="1944731"/>
                  </a:lnTo>
                  <a:lnTo>
                    <a:pt x="3234351" y="1943223"/>
                  </a:lnTo>
                  <a:lnTo>
                    <a:pt x="3229315" y="1942188"/>
                  </a:lnTo>
                  <a:lnTo>
                    <a:pt x="3227382" y="1940545"/>
                  </a:lnTo>
                  <a:lnTo>
                    <a:pt x="3226343" y="1939929"/>
                  </a:lnTo>
                  <a:lnTo>
                    <a:pt x="3225606" y="1940330"/>
                  </a:lnTo>
                  <a:lnTo>
                    <a:pt x="3225371" y="1941660"/>
                  </a:lnTo>
                  <a:lnTo>
                    <a:pt x="3225958" y="1942223"/>
                  </a:lnTo>
                  <a:lnTo>
                    <a:pt x="3226848" y="1942462"/>
                  </a:lnTo>
                  <a:lnTo>
                    <a:pt x="3227531" y="1942817"/>
                  </a:lnTo>
                  <a:lnTo>
                    <a:pt x="3228243" y="1944196"/>
                  </a:lnTo>
                  <a:lnTo>
                    <a:pt x="3227839" y="1944692"/>
                  </a:lnTo>
                  <a:lnTo>
                    <a:pt x="3226998" y="1944917"/>
                  </a:lnTo>
                  <a:lnTo>
                    <a:pt x="3226419" y="1945518"/>
                  </a:lnTo>
                  <a:lnTo>
                    <a:pt x="3227019" y="1946171"/>
                  </a:lnTo>
                  <a:lnTo>
                    <a:pt x="3226774" y="1946918"/>
                  </a:lnTo>
                  <a:lnTo>
                    <a:pt x="3226335" y="1947205"/>
                  </a:lnTo>
                  <a:lnTo>
                    <a:pt x="3225770" y="1947134"/>
                  </a:lnTo>
                  <a:lnTo>
                    <a:pt x="3225150" y="1946827"/>
                  </a:lnTo>
                  <a:lnTo>
                    <a:pt x="3224175" y="1945253"/>
                  </a:lnTo>
                  <a:lnTo>
                    <a:pt x="3223808" y="1944848"/>
                  </a:lnTo>
                  <a:lnTo>
                    <a:pt x="3223382" y="1944671"/>
                  </a:lnTo>
                  <a:lnTo>
                    <a:pt x="3222756" y="1944707"/>
                  </a:lnTo>
                  <a:lnTo>
                    <a:pt x="3220017" y="1943819"/>
                  </a:lnTo>
                  <a:lnTo>
                    <a:pt x="3219167" y="1943300"/>
                  </a:lnTo>
                  <a:lnTo>
                    <a:pt x="3216821" y="1941273"/>
                  </a:lnTo>
                  <a:lnTo>
                    <a:pt x="3216196" y="1941094"/>
                  </a:lnTo>
                  <a:lnTo>
                    <a:pt x="3214734" y="1941122"/>
                  </a:lnTo>
                  <a:lnTo>
                    <a:pt x="3211574" y="1940098"/>
                  </a:lnTo>
                  <a:lnTo>
                    <a:pt x="3210111" y="1940124"/>
                  </a:lnTo>
                  <a:lnTo>
                    <a:pt x="3207652" y="1940918"/>
                  </a:lnTo>
                  <a:lnTo>
                    <a:pt x="3206245" y="1940287"/>
                  </a:lnTo>
                  <a:lnTo>
                    <a:pt x="3205094" y="1937899"/>
                  </a:lnTo>
                  <a:lnTo>
                    <a:pt x="3203380" y="1939526"/>
                  </a:lnTo>
                  <a:lnTo>
                    <a:pt x="3201331" y="1940027"/>
                  </a:lnTo>
                  <a:lnTo>
                    <a:pt x="3199005" y="1939586"/>
                  </a:lnTo>
                  <a:lnTo>
                    <a:pt x="3193862" y="1936976"/>
                  </a:lnTo>
                  <a:lnTo>
                    <a:pt x="3192487" y="1936842"/>
                  </a:lnTo>
                  <a:lnTo>
                    <a:pt x="3191807" y="1938071"/>
                  </a:lnTo>
                  <a:lnTo>
                    <a:pt x="3192283" y="1939307"/>
                  </a:lnTo>
                  <a:lnTo>
                    <a:pt x="3193506" y="1940288"/>
                  </a:lnTo>
                  <a:lnTo>
                    <a:pt x="3194858" y="1940928"/>
                  </a:lnTo>
                  <a:lnTo>
                    <a:pt x="3195722" y="1941113"/>
                  </a:lnTo>
                  <a:lnTo>
                    <a:pt x="3195943" y="1941758"/>
                  </a:lnTo>
                  <a:lnTo>
                    <a:pt x="3194633" y="1942144"/>
                  </a:lnTo>
                  <a:lnTo>
                    <a:pt x="3194103" y="1942559"/>
                  </a:lnTo>
                  <a:lnTo>
                    <a:pt x="3193766" y="1943361"/>
                  </a:lnTo>
                  <a:lnTo>
                    <a:pt x="3194336" y="1943435"/>
                  </a:lnTo>
                  <a:lnTo>
                    <a:pt x="3194760" y="1944133"/>
                  </a:lnTo>
                  <a:lnTo>
                    <a:pt x="3195220" y="1945143"/>
                  </a:lnTo>
                  <a:lnTo>
                    <a:pt x="3195905" y="1946180"/>
                  </a:lnTo>
                  <a:lnTo>
                    <a:pt x="3196822" y="1946763"/>
                  </a:lnTo>
                  <a:lnTo>
                    <a:pt x="3197949" y="1946962"/>
                  </a:lnTo>
                  <a:lnTo>
                    <a:pt x="3199854" y="1946735"/>
                  </a:lnTo>
                  <a:lnTo>
                    <a:pt x="3202825" y="1948952"/>
                  </a:lnTo>
                  <a:lnTo>
                    <a:pt x="3204623" y="1949471"/>
                  </a:lnTo>
                  <a:lnTo>
                    <a:pt x="3205515" y="1949937"/>
                  </a:lnTo>
                  <a:lnTo>
                    <a:pt x="3206523" y="1950848"/>
                  </a:lnTo>
                  <a:lnTo>
                    <a:pt x="3206440" y="1951470"/>
                  </a:lnTo>
                  <a:lnTo>
                    <a:pt x="3206240" y="1951822"/>
                  </a:lnTo>
                  <a:lnTo>
                    <a:pt x="3205943" y="1951994"/>
                  </a:lnTo>
                  <a:lnTo>
                    <a:pt x="3205549" y="1952045"/>
                  </a:lnTo>
                  <a:lnTo>
                    <a:pt x="3205881" y="1951931"/>
                  </a:lnTo>
                  <a:lnTo>
                    <a:pt x="3204709" y="1951937"/>
                  </a:lnTo>
                  <a:lnTo>
                    <a:pt x="3202115" y="1950989"/>
                  </a:lnTo>
                  <a:lnTo>
                    <a:pt x="3201431" y="1951873"/>
                  </a:lnTo>
                  <a:lnTo>
                    <a:pt x="3202783" y="1952644"/>
                  </a:lnTo>
                  <a:lnTo>
                    <a:pt x="3204283" y="1953199"/>
                  </a:lnTo>
                  <a:lnTo>
                    <a:pt x="3203751" y="1953894"/>
                  </a:lnTo>
                  <a:lnTo>
                    <a:pt x="3203029" y="1953742"/>
                  </a:lnTo>
                  <a:lnTo>
                    <a:pt x="3201348" y="1952621"/>
                  </a:lnTo>
                  <a:lnTo>
                    <a:pt x="3195162" y="1951326"/>
                  </a:lnTo>
                  <a:lnTo>
                    <a:pt x="3193817" y="1951374"/>
                  </a:lnTo>
                  <a:lnTo>
                    <a:pt x="3192756" y="1952382"/>
                  </a:lnTo>
                  <a:lnTo>
                    <a:pt x="3193315" y="1952696"/>
                  </a:lnTo>
                  <a:lnTo>
                    <a:pt x="3194056" y="1952520"/>
                  </a:lnTo>
                  <a:lnTo>
                    <a:pt x="3194567" y="1952558"/>
                  </a:lnTo>
                  <a:lnTo>
                    <a:pt x="3196295" y="1953411"/>
                  </a:lnTo>
                  <a:lnTo>
                    <a:pt x="3196722" y="1953478"/>
                  </a:lnTo>
                  <a:lnTo>
                    <a:pt x="3197255" y="1953730"/>
                  </a:lnTo>
                  <a:lnTo>
                    <a:pt x="3199158" y="1955115"/>
                  </a:lnTo>
                  <a:lnTo>
                    <a:pt x="3199948" y="1955542"/>
                  </a:lnTo>
                  <a:lnTo>
                    <a:pt x="3199793" y="1956028"/>
                  </a:lnTo>
                  <a:lnTo>
                    <a:pt x="3199581" y="1956335"/>
                  </a:lnTo>
                  <a:lnTo>
                    <a:pt x="3199316" y="1956529"/>
                  </a:lnTo>
                  <a:lnTo>
                    <a:pt x="3199006" y="1956653"/>
                  </a:lnTo>
                  <a:lnTo>
                    <a:pt x="3199282" y="1956559"/>
                  </a:lnTo>
                  <a:lnTo>
                    <a:pt x="3200071" y="1957434"/>
                  </a:lnTo>
                  <a:lnTo>
                    <a:pt x="3205548" y="1959942"/>
                  </a:lnTo>
                  <a:lnTo>
                    <a:pt x="3205055" y="1961442"/>
                  </a:lnTo>
                  <a:lnTo>
                    <a:pt x="3203437" y="1961789"/>
                  </a:lnTo>
                  <a:lnTo>
                    <a:pt x="3200388" y="1961702"/>
                  </a:lnTo>
                  <a:lnTo>
                    <a:pt x="3200283" y="1962260"/>
                  </a:lnTo>
                  <a:lnTo>
                    <a:pt x="3200361" y="1963094"/>
                  </a:lnTo>
                  <a:lnTo>
                    <a:pt x="3200264" y="1963583"/>
                  </a:lnTo>
                  <a:lnTo>
                    <a:pt x="3199261" y="1962819"/>
                  </a:lnTo>
                  <a:lnTo>
                    <a:pt x="3196981" y="1962351"/>
                  </a:lnTo>
                  <a:lnTo>
                    <a:pt x="3196315" y="1962496"/>
                  </a:lnTo>
                  <a:lnTo>
                    <a:pt x="3195828" y="1963066"/>
                  </a:lnTo>
                  <a:lnTo>
                    <a:pt x="3195385" y="1964118"/>
                  </a:lnTo>
                  <a:lnTo>
                    <a:pt x="3194165" y="1961089"/>
                  </a:lnTo>
                  <a:lnTo>
                    <a:pt x="3193074" y="1961580"/>
                  </a:lnTo>
                  <a:lnTo>
                    <a:pt x="3191681" y="1964648"/>
                  </a:lnTo>
                  <a:lnTo>
                    <a:pt x="3191097" y="1965324"/>
                  </a:lnTo>
                  <a:lnTo>
                    <a:pt x="3190803" y="1966354"/>
                  </a:lnTo>
                  <a:lnTo>
                    <a:pt x="3190339" y="1967130"/>
                  </a:lnTo>
                  <a:lnTo>
                    <a:pt x="3189256" y="1967042"/>
                  </a:lnTo>
                  <a:lnTo>
                    <a:pt x="3188703" y="1966443"/>
                  </a:lnTo>
                  <a:lnTo>
                    <a:pt x="3188231" y="1965596"/>
                  </a:lnTo>
                  <a:lnTo>
                    <a:pt x="3187714" y="1965075"/>
                  </a:lnTo>
                  <a:lnTo>
                    <a:pt x="3187019" y="1965429"/>
                  </a:lnTo>
                  <a:lnTo>
                    <a:pt x="3187296" y="1965336"/>
                  </a:lnTo>
                  <a:lnTo>
                    <a:pt x="3185315" y="1967502"/>
                  </a:lnTo>
                  <a:lnTo>
                    <a:pt x="3185739" y="1967370"/>
                  </a:lnTo>
                  <a:lnTo>
                    <a:pt x="3186173" y="1967371"/>
                  </a:lnTo>
                  <a:lnTo>
                    <a:pt x="3186623" y="1967502"/>
                  </a:lnTo>
                  <a:lnTo>
                    <a:pt x="3187095" y="1967766"/>
                  </a:lnTo>
                  <a:lnTo>
                    <a:pt x="3186425" y="1969724"/>
                  </a:lnTo>
                  <a:lnTo>
                    <a:pt x="3183044" y="1969345"/>
                  </a:lnTo>
                  <a:lnTo>
                    <a:pt x="3181272" y="1971929"/>
                  </a:lnTo>
                  <a:lnTo>
                    <a:pt x="3177923" y="1971734"/>
                  </a:lnTo>
                  <a:lnTo>
                    <a:pt x="3176904" y="1972733"/>
                  </a:lnTo>
                  <a:lnTo>
                    <a:pt x="3178305" y="1973423"/>
                  </a:lnTo>
                  <a:lnTo>
                    <a:pt x="3180751" y="1975555"/>
                  </a:lnTo>
                  <a:lnTo>
                    <a:pt x="3182001" y="1975844"/>
                  </a:lnTo>
                  <a:lnTo>
                    <a:pt x="3184450" y="1974242"/>
                  </a:lnTo>
                  <a:lnTo>
                    <a:pt x="3185886" y="1974063"/>
                  </a:lnTo>
                  <a:lnTo>
                    <a:pt x="3187385" y="1975620"/>
                  </a:lnTo>
                  <a:lnTo>
                    <a:pt x="3182299" y="1979687"/>
                  </a:lnTo>
                  <a:lnTo>
                    <a:pt x="3180479" y="1979023"/>
                  </a:lnTo>
                  <a:lnTo>
                    <a:pt x="3178625" y="1977708"/>
                  </a:lnTo>
                  <a:lnTo>
                    <a:pt x="3176340" y="1977055"/>
                  </a:lnTo>
                  <a:lnTo>
                    <a:pt x="3174353" y="1977292"/>
                  </a:lnTo>
                  <a:lnTo>
                    <a:pt x="3173419" y="1978678"/>
                  </a:lnTo>
                  <a:lnTo>
                    <a:pt x="3174240" y="1978980"/>
                  </a:lnTo>
                  <a:lnTo>
                    <a:pt x="3175597" y="1978468"/>
                  </a:lnTo>
                  <a:lnTo>
                    <a:pt x="3176380" y="1978417"/>
                  </a:lnTo>
                  <a:lnTo>
                    <a:pt x="3177108" y="1978786"/>
                  </a:lnTo>
                  <a:lnTo>
                    <a:pt x="3178538" y="1979791"/>
                  </a:lnTo>
                  <a:lnTo>
                    <a:pt x="3179252" y="1979823"/>
                  </a:lnTo>
                  <a:lnTo>
                    <a:pt x="3178534" y="1981692"/>
                  </a:lnTo>
                  <a:lnTo>
                    <a:pt x="3176529" y="1982845"/>
                  </a:lnTo>
                  <a:lnTo>
                    <a:pt x="3174388" y="1982616"/>
                  </a:lnTo>
                  <a:lnTo>
                    <a:pt x="3173244" y="1980301"/>
                  </a:lnTo>
                  <a:lnTo>
                    <a:pt x="3170711" y="1980279"/>
                  </a:lnTo>
                  <a:lnTo>
                    <a:pt x="3170337" y="1981207"/>
                  </a:lnTo>
                  <a:lnTo>
                    <a:pt x="3170076" y="1981517"/>
                  </a:lnTo>
                  <a:lnTo>
                    <a:pt x="3169568" y="1980770"/>
                  </a:lnTo>
                  <a:lnTo>
                    <a:pt x="3169239" y="1980497"/>
                  </a:lnTo>
                  <a:lnTo>
                    <a:pt x="3168891" y="1980288"/>
                  </a:lnTo>
                  <a:lnTo>
                    <a:pt x="3168650" y="1980240"/>
                  </a:lnTo>
                  <a:lnTo>
                    <a:pt x="3168374" y="1980766"/>
                  </a:lnTo>
                  <a:lnTo>
                    <a:pt x="3168178" y="1983458"/>
                  </a:lnTo>
                  <a:lnTo>
                    <a:pt x="3167714" y="1984157"/>
                  </a:lnTo>
                  <a:lnTo>
                    <a:pt x="3165629" y="1985084"/>
                  </a:lnTo>
                  <a:lnTo>
                    <a:pt x="3165511" y="1983979"/>
                  </a:lnTo>
                  <a:lnTo>
                    <a:pt x="3165497" y="1983544"/>
                  </a:lnTo>
                  <a:lnTo>
                    <a:pt x="3163834" y="1982919"/>
                  </a:lnTo>
                  <a:lnTo>
                    <a:pt x="3163386" y="1984127"/>
                  </a:lnTo>
                  <a:lnTo>
                    <a:pt x="3163948" y="1986228"/>
                  </a:lnTo>
                  <a:lnTo>
                    <a:pt x="3165326" y="1988319"/>
                  </a:lnTo>
                  <a:lnTo>
                    <a:pt x="3165672" y="1989686"/>
                  </a:lnTo>
                  <a:lnTo>
                    <a:pt x="3166490" y="1990395"/>
                  </a:lnTo>
                  <a:lnTo>
                    <a:pt x="3167457" y="1990605"/>
                  </a:lnTo>
                  <a:lnTo>
                    <a:pt x="3168261" y="1990512"/>
                  </a:lnTo>
                  <a:lnTo>
                    <a:pt x="3169118" y="1990870"/>
                  </a:lnTo>
                  <a:lnTo>
                    <a:pt x="3169502" y="1992160"/>
                  </a:lnTo>
                  <a:lnTo>
                    <a:pt x="3169372" y="1993607"/>
                  </a:lnTo>
                  <a:lnTo>
                    <a:pt x="3168675" y="1994442"/>
                  </a:lnTo>
                  <a:lnTo>
                    <a:pt x="3167746" y="1994472"/>
                  </a:lnTo>
                  <a:lnTo>
                    <a:pt x="3165801" y="1993989"/>
                  </a:lnTo>
                  <a:lnTo>
                    <a:pt x="3164811" y="1994057"/>
                  </a:lnTo>
                  <a:lnTo>
                    <a:pt x="3161095" y="1995257"/>
                  </a:lnTo>
                  <a:lnTo>
                    <a:pt x="3161555" y="1994116"/>
                  </a:lnTo>
                  <a:lnTo>
                    <a:pt x="3162202" y="1993332"/>
                  </a:lnTo>
                  <a:lnTo>
                    <a:pt x="3161590" y="1992884"/>
                  </a:lnTo>
                  <a:lnTo>
                    <a:pt x="3161353" y="1992806"/>
                  </a:lnTo>
                  <a:lnTo>
                    <a:pt x="3161029" y="1992854"/>
                  </a:lnTo>
                  <a:lnTo>
                    <a:pt x="3161104" y="1992035"/>
                  </a:lnTo>
                  <a:lnTo>
                    <a:pt x="3159378" y="1992446"/>
                  </a:lnTo>
                  <a:lnTo>
                    <a:pt x="3157481" y="1992060"/>
                  </a:lnTo>
                  <a:lnTo>
                    <a:pt x="3153580" y="1989818"/>
                  </a:lnTo>
                  <a:lnTo>
                    <a:pt x="3153268" y="1991825"/>
                  </a:lnTo>
                  <a:lnTo>
                    <a:pt x="3151623" y="1992179"/>
                  </a:lnTo>
                  <a:lnTo>
                    <a:pt x="3147811" y="1990813"/>
                  </a:lnTo>
                  <a:lnTo>
                    <a:pt x="3145931" y="1989617"/>
                  </a:lnTo>
                  <a:lnTo>
                    <a:pt x="3145016" y="1989450"/>
                  </a:lnTo>
                  <a:lnTo>
                    <a:pt x="3144983" y="1990525"/>
                  </a:lnTo>
                  <a:lnTo>
                    <a:pt x="3144708" y="1991434"/>
                  </a:lnTo>
                  <a:lnTo>
                    <a:pt x="3141854" y="1993547"/>
                  </a:lnTo>
                  <a:lnTo>
                    <a:pt x="3137197" y="1998796"/>
                  </a:lnTo>
                  <a:lnTo>
                    <a:pt x="3135648" y="1998633"/>
                  </a:lnTo>
                  <a:lnTo>
                    <a:pt x="3135417" y="1997749"/>
                  </a:lnTo>
                  <a:lnTo>
                    <a:pt x="3135302" y="1995266"/>
                  </a:lnTo>
                  <a:lnTo>
                    <a:pt x="3135001" y="1994857"/>
                  </a:lnTo>
                  <a:lnTo>
                    <a:pt x="3134605" y="1994757"/>
                  </a:lnTo>
                  <a:lnTo>
                    <a:pt x="3133594" y="1994028"/>
                  </a:lnTo>
                  <a:lnTo>
                    <a:pt x="3133137" y="1993863"/>
                  </a:lnTo>
                  <a:lnTo>
                    <a:pt x="3132672" y="1994138"/>
                  </a:lnTo>
                  <a:lnTo>
                    <a:pt x="3132266" y="1994625"/>
                  </a:lnTo>
                  <a:lnTo>
                    <a:pt x="3131748" y="1994899"/>
                  </a:lnTo>
                  <a:lnTo>
                    <a:pt x="3130961" y="1994542"/>
                  </a:lnTo>
                  <a:lnTo>
                    <a:pt x="3131569" y="1993709"/>
                  </a:lnTo>
                  <a:lnTo>
                    <a:pt x="3132981" y="1992671"/>
                  </a:lnTo>
                  <a:lnTo>
                    <a:pt x="3133413" y="1991510"/>
                  </a:lnTo>
                  <a:lnTo>
                    <a:pt x="3131931" y="1990532"/>
                  </a:lnTo>
                  <a:lnTo>
                    <a:pt x="3131564" y="1990446"/>
                  </a:lnTo>
                  <a:lnTo>
                    <a:pt x="3131219" y="1990806"/>
                  </a:lnTo>
                  <a:lnTo>
                    <a:pt x="3131062" y="1991405"/>
                  </a:lnTo>
                  <a:lnTo>
                    <a:pt x="3130956" y="1992277"/>
                  </a:lnTo>
                  <a:lnTo>
                    <a:pt x="3126010" y="1993816"/>
                  </a:lnTo>
                  <a:lnTo>
                    <a:pt x="3125769" y="1993038"/>
                  </a:lnTo>
                  <a:lnTo>
                    <a:pt x="3126617" y="1991409"/>
                  </a:lnTo>
                  <a:lnTo>
                    <a:pt x="3127335" y="1989419"/>
                  </a:lnTo>
                  <a:lnTo>
                    <a:pt x="3126187" y="1988923"/>
                  </a:lnTo>
                  <a:lnTo>
                    <a:pt x="3124144" y="1989491"/>
                  </a:lnTo>
                  <a:lnTo>
                    <a:pt x="3119365" y="1987558"/>
                  </a:lnTo>
                  <a:lnTo>
                    <a:pt x="3118643" y="1987418"/>
                  </a:lnTo>
                  <a:lnTo>
                    <a:pt x="3118734" y="1988926"/>
                  </a:lnTo>
                  <a:lnTo>
                    <a:pt x="3120012" y="1991184"/>
                  </a:lnTo>
                  <a:lnTo>
                    <a:pt x="3120882" y="1993431"/>
                  </a:lnTo>
                  <a:lnTo>
                    <a:pt x="3119760" y="1994895"/>
                  </a:lnTo>
                  <a:lnTo>
                    <a:pt x="3119506" y="1994707"/>
                  </a:lnTo>
                  <a:lnTo>
                    <a:pt x="3118925" y="1993768"/>
                  </a:lnTo>
                  <a:lnTo>
                    <a:pt x="3118681" y="1993582"/>
                  </a:lnTo>
                  <a:lnTo>
                    <a:pt x="3117087" y="1993370"/>
                  </a:lnTo>
                  <a:lnTo>
                    <a:pt x="3116712" y="1993499"/>
                  </a:lnTo>
                  <a:lnTo>
                    <a:pt x="3116415" y="1993767"/>
                  </a:lnTo>
                  <a:lnTo>
                    <a:pt x="3116067" y="1993957"/>
                  </a:lnTo>
                  <a:lnTo>
                    <a:pt x="3115548" y="1993842"/>
                  </a:lnTo>
                  <a:lnTo>
                    <a:pt x="3115256" y="1993470"/>
                  </a:lnTo>
                  <a:lnTo>
                    <a:pt x="3114417" y="1992117"/>
                  </a:lnTo>
                  <a:lnTo>
                    <a:pt x="3114117" y="1991864"/>
                  </a:lnTo>
                  <a:lnTo>
                    <a:pt x="3110340" y="1992305"/>
                  </a:lnTo>
                  <a:lnTo>
                    <a:pt x="3109343" y="1991786"/>
                  </a:lnTo>
                  <a:lnTo>
                    <a:pt x="3106770" y="1989414"/>
                  </a:lnTo>
                  <a:lnTo>
                    <a:pt x="3107249" y="1988859"/>
                  </a:lnTo>
                  <a:lnTo>
                    <a:pt x="3108427" y="1988924"/>
                  </a:lnTo>
                  <a:lnTo>
                    <a:pt x="3108949" y="1988750"/>
                  </a:lnTo>
                  <a:lnTo>
                    <a:pt x="3109217" y="1988260"/>
                  </a:lnTo>
                  <a:lnTo>
                    <a:pt x="3109539" y="1987384"/>
                  </a:lnTo>
                  <a:lnTo>
                    <a:pt x="3109675" y="1986602"/>
                  </a:lnTo>
                  <a:lnTo>
                    <a:pt x="3109375" y="1986359"/>
                  </a:lnTo>
                  <a:lnTo>
                    <a:pt x="3107335" y="1986999"/>
                  </a:lnTo>
                  <a:lnTo>
                    <a:pt x="3105433" y="1988331"/>
                  </a:lnTo>
                  <a:lnTo>
                    <a:pt x="3104614" y="1989329"/>
                  </a:lnTo>
                  <a:lnTo>
                    <a:pt x="3104145" y="1989503"/>
                  </a:lnTo>
                  <a:lnTo>
                    <a:pt x="3103605" y="1989355"/>
                  </a:lnTo>
                  <a:lnTo>
                    <a:pt x="3102518" y="1988666"/>
                  </a:lnTo>
                  <a:lnTo>
                    <a:pt x="3101984" y="1988604"/>
                  </a:lnTo>
                  <a:lnTo>
                    <a:pt x="3101434" y="1988390"/>
                  </a:lnTo>
                  <a:lnTo>
                    <a:pt x="3100915" y="1987718"/>
                  </a:lnTo>
                  <a:lnTo>
                    <a:pt x="3100648" y="1986962"/>
                  </a:lnTo>
                  <a:lnTo>
                    <a:pt x="3100855" y="1986532"/>
                  </a:lnTo>
                  <a:lnTo>
                    <a:pt x="3101165" y="1986257"/>
                  </a:lnTo>
                  <a:lnTo>
                    <a:pt x="3102273" y="1984540"/>
                  </a:lnTo>
                  <a:lnTo>
                    <a:pt x="3102075" y="1983889"/>
                  </a:lnTo>
                  <a:lnTo>
                    <a:pt x="3097638" y="1981728"/>
                  </a:lnTo>
                  <a:lnTo>
                    <a:pt x="3095626" y="1979964"/>
                  </a:lnTo>
                  <a:lnTo>
                    <a:pt x="3095604" y="1977976"/>
                  </a:lnTo>
                  <a:lnTo>
                    <a:pt x="3095387" y="1977260"/>
                  </a:lnTo>
                  <a:lnTo>
                    <a:pt x="3094153" y="1976730"/>
                  </a:lnTo>
                  <a:lnTo>
                    <a:pt x="3091362" y="1976672"/>
                  </a:lnTo>
                  <a:lnTo>
                    <a:pt x="3089862" y="1975728"/>
                  </a:lnTo>
                  <a:lnTo>
                    <a:pt x="3089561" y="1975469"/>
                  </a:lnTo>
                  <a:lnTo>
                    <a:pt x="3088966" y="1974839"/>
                  </a:lnTo>
                  <a:lnTo>
                    <a:pt x="3088629" y="1974132"/>
                  </a:lnTo>
                  <a:lnTo>
                    <a:pt x="3089076" y="1973622"/>
                  </a:lnTo>
                  <a:lnTo>
                    <a:pt x="3091047" y="1973030"/>
                  </a:lnTo>
                  <a:lnTo>
                    <a:pt x="3090831" y="1972315"/>
                  </a:lnTo>
                  <a:lnTo>
                    <a:pt x="3089870" y="1971975"/>
                  </a:lnTo>
                  <a:lnTo>
                    <a:pt x="3088922" y="1971437"/>
                  </a:lnTo>
                  <a:lnTo>
                    <a:pt x="3088234" y="1970375"/>
                  </a:lnTo>
                  <a:lnTo>
                    <a:pt x="3088041" y="1968471"/>
                  </a:lnTo>
                  <a:lnTo>
                    <a:pt x="3087491" y="1967782"/>
                  </a:lnTo>
                  <a:lnTo>
                    <a:pt x="3086979" y="1967391"/>
                  </a:lnTo>
                  <a:lnTo>
                    <a:pt x="3086503" y="1967307"/>
                  </a:lnTo>
                  <a:lnTo>
                    <a:pt x="3086062" y="1967513"/>
                  </a:lnTo>
                  <a:lnTo>
                    <a:pt x="3085747" y="1965386"/>
                  </a:lnTo>
                  <a:lnTo>
                    <a:pt x="3085716" y="1964173"/>
                  </a:lnTo>
                  <a:lnTo>
                    <a:pt x="3086379" y="1961953"/>
                  </a:lnTo>
                  <a:lnTo>
                    <a:pt x="3084706" y="1961386"/>
                  </a:lnTo>
                  <a:lnTo>
                    <a:pt x="3079758" y="1963081"/>
                  </a:lnTo>
                  <a:lnTo>
                    <a:pt x="3080699" y="1961830"/>
                  </a:lnTo>
                  <a:lnTo>
                    <a:pt x="3084323" y="1959531"/>
                  </a:lnTo>
                  <a:lnTo>
                    <a:pt x="3084051" y="1959348"/>
                  </a:lnTo>
                  <a:lnTo>
                    <a:pt x="3083892" y="1959195"/>
                  </a:lnTo>
                  <a:lnTo>
                    <a:pt x="3083888" y="1959010"/>
                  </a:lnTo>
                  <a:lnTo>
                    <a:pt x="3084087" y="1958747"/>
                  </a:lnTo>
                  <a:lnTo>
                    <a:pt x="3083248" y="1956759"/>
                  </a:lnTo>
                  <a:lnTo>
                    <a:pt x="3083365" y="1955005"/>
                  </a:lnTo>
                  <a:lnTo>
                    <a:pt x="3084037" y="1953692"/>
                  </a:lnTo>
                  <a:lnTo>
                    <a:pt x="3084866" y="1953053"/>
                  </a:lnTo>
                  <a:lnTo>
                    <a:pt x="3085136" y="1952595"/>
                  </a:lnTo>
                  <a:lnTo>
                    <a:pt x="3085190" y="1951752"/>
                  </a:lnTo>
                  <a:lnTo>
                    <a:pt x="3085072" y="1950955"/>
                  </a:lnTo>
                  <a:lnTo>
                    <a:pt x="3084818" y="1950655"/>
                  </a:lnTo>
                  <a:lnTo>
                    <a:pt x="3084584" y="1950488"/>
                  </a:lnTo>
                  <a:lnTo>
                    <a:pt x="3084529" y="1949961"/>
                  </a:lnTo>
                  <a:lnTo>
                    <a:pt x="3084628" y="1949402"/>
                  </a:lnTo>
                  <a:lnTo>
                    <a:pt x="3084842" y="1949096"/>
                  </a:lnTo>
                  <a:lnTo>
                    <a:pt x="3086355" y="1948640"/>
                  </a:lnTo>
                  <a:lnTo>
                    <a:pt x="3085767" y="1947343"/>
                  </a:lnTo>
                  <a:lnTo>
                    <a:pt x="3085583" y="1946204"/>
                  </a:lnTo>
                  <a:lnTo>
                    <a:pt x="3085602" y="1944962"/>
                  </a:lnTo>
                  <a:lnTo>
                    <a:pt x="3084960" y="1944096"/>
                  </a:lnTo>
                  <a:lnTo>
                    <a:pt x="3084081" y="1943347"/>
                  </a:lnTo>
                  <a:lnTo>
                    <a:pt x="3083173" y="1942867"/>
                  </a:lnTo>
                  <a:lnTo>
                    <a:pt x="3082441" y="1942795"/>
                  </a:lnTo>
                  <a:lnTo>
                    <a:pt x="3081844" y="1942068"/>
                  </a:lnTo>
                  <a:lnTo>
                    <a:pt x="3080927" y="1940242"/>
                  </a:lnTo>
                  <a:lnTo>
                    <a:pt x="3079091" y="1935840"/>
                  </a:lnTo>
                  <a:lnTo>
                    <a:pt x="3078844" y="1935370"/>
                  </a:lnTo>
                  <a:lnTo>
                    <a:pt x="3078743" y="1934783"/>
                  </a:lnTo>
                  <a:lnTo>
                    <a:pt x="3078859" y="1933660"/>
                  </a:lnTo>
                  <a:lnTo>
                    <a:pt x="3079238" y="1932700"/>
                  </a:lnTo>
                  <a:lnTo>
                    <a:pt x="3080369" y="1931426"/>
                  </a:lnTo>
                  <a:lnTo>
                    <a:pt x="3080858" y="1929693"/>
                  </a:lnTo>
                  <a:lnTo>
                    <a:pt x="3081580" y="1928518"/>
                  </a:lnTo>
                  <a:lnTo>
                    <a:pt x="3082184" y="1926782"/>
                  </a:lnTo>
                  <a:lnTo>
                    <a:pt x="3083415" y="1925916"/>
                  </a:lnTo>
                  <a:lnTo>
                    <a:pt x="3083864" y="1925204"/>
                  </a:lnTo>
                  <a:lnTo>
                    <a:pt x="3083811" y="1924792"/>
                  </a:lnTo>
                  <a:lnTo>
                    <a:pt x="3083619" y="1924152"/>
                  </a:lnTo>
                  <a:lnTo>
                    <a:pt x="3083449" y="1923436"/>
                  </a:lnTo>
                  <a:lnTo>
                    <a:pt x="3083472" y="1922839"/>
                  </a:lnTo>
                  <a:lnTo>
                    <a:pt x="3083670" y="1922476"/>
                  </a:lnTo>
                  <a:lnTo>
                    <a:pt x="3086318" y="1919880"/>
                  </a:lnTo>
                  <a:lnTo>
                    <a:pt x="3086895" y="1919527"/>
                  </a:lnTo>
                  <a:lnTo>
                    <a:pt x="3088839" y="1916378"/>
                  </a:lnTo>
                  <a:lnTo>
                    <a:pt x="3091263" y="1915062"/>
                  </a:lnTo>
                  <a:lnTo>
                    <a:pt x="3093122" y="1912883"/>
                  </a:lnTo>
                  <a:lnTo>
                    <a:pt x="3093965" y="1911389"/>
                  </a:lnTo>
                  <a:lnTo>
                    <a:pt x="3094411" y="1909761"/>
                  </a:lnTo>
                  <a:lnTo>
                    <a:pt x="3095192" y="1907907"/>
                  </a:lnTo>
                  <a:lnTo>
                    <a:pt x="3096728" y="1907171"/>
                  </a:lnTo>
                  <a:lnTo>
                    <a:pt x="3100192" y="1906756"/>
                  </a:lnTo>
                  <a:lnTo>
                    <a:pt x="3101447" y="1906002"/>
                  </a:lnTo>
                  <a:lnTo>
                    <a:pt x="3103357" y="1903782"/>
                  </a:lnTo>
                  <a:lnTo>
                    <a:pt x="3105575" y="1902388"/>
                  </a:lnTo>
                  <a:lnTo>
                    <a:pt x="3106389" y="1901246"/>
                  </a:lnTo>
                  <a:lnTo>
                    <a:pt x="3106980" y="1899786"/>
                  </a:lnTo>
                  <a:lnTo>
                    <a:pt x="3107301" y="1898201"/>
                  </a:lnTo>
                  <a:lnTo>
                    <a:pt x="3102777" y="1894214"/>
                  </a:lnTo>
                  <a:lnTo>
                    <a:pt x="3099481" y="1892205"/>
                  </a:lnTo>
                  <a:lnTo>
                    <a:pt x="3097413" y="1890277"/>
                  </a:lnTo>
                  <a:lnTo>
                    <a:pt x="3095356" y="1888755"/>
                  </a:lnTo>
                  <a:lnTo>
                    <a:pt x="3094410" y="1887795"/>
                  </a:lnTo>
                  <a:lnTo>
                    <a:pt x="3094377" y="1886682"/>
                  </a:lnTo>
                  <a:lnTo>
                    <a:pt x="3094728" y="1882100"/>
                  </a:lnTo>
                  <a:lnTo>
                    <a:pt x="3094988" y="1880858"/>
                  </a:lnTo>
                  <a:lnTo>
                    <a:pt x="3101878" y="1881286"/>
                  </a:lnTo>
                  <a:lnTo>
                    <a:pt x="3102217" y="1879008"/>
                  </a:lnTo>
                  <a:lnTo>
                    <a:pt x="3100786" y="1877541"/>
                  </a:lnTo>
                  <a:lnTo>
                    <a:pt x="3095356" y="1874604"/>
                  </a:lnTo>
                  <a:lnTo>
                    <a:pt x="3093421" y="1872803"/>
                  </a:lnTo>
                  <a:lnTo>
                    <a:pt x="3094876" y="1870803"/>
                  </a:lnTo>
                  <a:lnTo>
                    <a:pt x="3101534" y="1868617"/>
                  </a:lnTo>
                  <a:lnTo>
                    <a:pt x="3101286" y="1869115"/>
                  </a:lnTo>
                  <a:lnTo>
                    <a:pt x="3101022" y="1869460"/>
                  </a:lnTo>
                  <a:lnTo>
                    <a:pt x="3100694" y="1869685"/>
                  </a:lnTo>
                  <a:lnTo>
                    <a:pt x="3100237" y="1869811"/>
                  </a:lnTo>
                  <a:lnTo>
                    <a:pt x="3100482" y="1870583"/>
                  </a:lnTo>
                  <a:lnTo>
                    <a:pt x="3103979" y="1869972"/>
                  </a:lnTo>
                  <a:lnTo>
                    <a:pt x="3107668" y="1870584"/>
                  </a:lnTo>
                  <a:lnTo>
                    <a:pt x="3108337" y="1872137"/>
                  </a:lnTo>
                  <a:lnTo>
                    <a:pt x="3109791" y="1872637"/>
                  </a:lnTo>
                  <a:lnTo>
                    <a:pt x="3115244" y="1871387"/>
                  </a:lnTo>
                  <a:lnTo>
                    <a:pt x="3115551" y="1870882"/>
                  </a:lnTo>
                  <a:lnTo>
                    <a:pt x="3115405" y="1869381"/>
                  </a:lnTo>
                  <a:lnTo>
                    <a:pt x="3115987" y="1868661"/>
                  </a:lnTo>
                  <a:lnTo>
                    <a:pt x="3120420" y="1867488"/>
                  </a:lnTo>
                  <a:lnTo>
                    <a:pt x="3121411" y="1867743"/>
                  </a:lnTo>
                  <a:lnTo>
                    <a:pt x="3123418" y="1869199"/>
                  </a:lnTo>
                  <a:lnTo>
                    <a:pt x="3124005" y="1869261"/>
                  </a:lnTo>
                  <a:lnTo>
                    <a:pt x="3127729" y="1867418"/>
                  </a:lnTo>
                  <a:lnTo>
                    <a:pt x="3141814" y="1869863"/>
                  </a:lnTo>
                  <a:lnTo>
                    <a:pt x="3155936" y="1872239"/>
                  </a:lnTo>
                  <a:lnTo>
                    <a:pt x="3157159" y="1872115"/>
                  </a:lnTo>
                  <a:lnTo>
                    <a:pt x="3159404" y="1871303"/>
                  </a:lnTo>
                  <a:lnTo>
                    <a:pt x="3160594" y="1871390"/>
                  </a:lnTo>
                  <a:lnTo>
                    <a:pt x="3162394" y="1872823"/>
                  </a:lnTo>
                  <a:lnTo>
                    <a:pt x="3162814" y="1873028"/>
                  </a:lnTo>
                  <a:lnTo>
                    <a:pt x="3164896" y="1872371"/>
                  </a:lnTo>
                  <a:lnTo>
                    <a:pt x="3166022" y="1872346"/>
                  </a:lnTo>
                  <a:lnTo>
                    <a:pt x="3168356" y="1873133"/>
                  </a:lnTo>
                  <a:lnTo>
                    <a:pt x="3170505" y="1873037"/>
                  </a:lnTo>
                  <a:lnTo>
                    <a:pt x="3171810" y="1873330"/>
                  </a:lnTo>
                  <a:lnTo>
                    <a:pt x="3173117" y="1873900"/>
                  </a:lnTo>
                  <a:lnTo>
                    <a:pt x="3174220" y="1874648"/>
                  </a:lnTo>
                  <a:lnTo>
                    <a:pt x="3174201" y="1875262"/>
                  </a:lnTo>
                  <a:lnTo>
                    <a:pt x="3174410" y="1877026"/>
                  </a:lnTo>
                  <a:lnTo>
                    <a:pt x="3175212" y="1877251"/>
                  </a:lnTo>
                  <a:lnTo>
                    <a:pt x="3175974" y="1878337"/>
                  </a:lnTo>
                  <a:lnTo>
                    <a:pt x="3176586" y="1879516"/>
                  </a:lnTo>
                  <a:lnTo>
                    <a:pt x="3176943" y="1880039"/>
                  </a:lnTo>
                  <a:lnTo>
                    <a:pt x="3181154" y="1880242"/>
                  </a:lnTo>
                  <a:lnTo>
                    <a:pt x="3184225" y="1881333"/>
                  </a:lnTo>
                  <a:lnTo>
                    <a:pt x="3185946" y="1881304"/>
                  </a:lnTo>
                  <a:lnTo>
                    <a:pt x="3188010" y="1881910"/>
                  </a:lnTo>
                  <a:lnTo>
                    <a:pt x="3192243" y="1884096"/>
                  </a:lnTo>
                  <a:lnTo>
                    <a:pt x="3193207" y="1885247"/>
                  </a:lnTo>
                  <a:lnTo>
                    <a:pt x="3194208" y="1886964"/>
                  </a:lnTo>
                  <a:lnTo>
                    <a:pt x="3195438" y="1888560"/>
                  </a:lnTo>
                  <a:lnTo>
                    <a:pt x="3196081" y="1890006"/>
                  </a:lnTo>
                  <a:lnTo>
                    <a:pt x="3195301" y="1891244"/>
                  </a:lnTo>
                  <a:lnTo>
                    <a:pt x="3195935" y="1891783"/>
                  </a:lnTo>
                  <a:lnTo>
                    <a:pt x="3197446" y="1893663"/>
                  </a:lnTo>
                  <a:lnTo>
                    <a:pt x="3197245" y="1894653"/>
                  </a:lnTo>
                  <a:lnTo>
                    <a:pt x="3196834" y="1895550"/>
                  </a:lnTo>
                  <a:lnTo>
                    <a:pt x="3196317" y="1896239"/>
                  </a:lnTo>
                  <a:lnTo>
                    <a:pt x="3195322" y="1897085"/>
                  </a:lnTo>
                  <a:lnTo>
                    <a:pt x="3194915" y="1898730"/>
                  </a:lnTo>
                  <a:lnTo>
                    <a:pt x="3194441" y="1899455"/>
                  </a:lnTo>
                  <a:lnTo>
                    <a:pt x="3192754" y="1899915"/>
                  </a:lnTo>
                  <a:lnTo>
                    <a:pt x="3188893" y="1899738"/>
                  </a:lnTo>
                  <a:lnTo>
                    <a:pt x="3187658" y="1901077"/>
                  </a:lnTo>
                  <a:lnTo>
                    <a:pt x="3188614" y="1901865"/>
                  </a:lnTo>
                  <a:lnTo>
                    <a:pt x="3189552" y="1902418"/>
                  </a:lnTo>
                  <a:lnTo>
                    <a:pt x="3191306" y="1902978"/>
                  </a:lnTo>
                  <a:lnTo>
                    <a:pt x="3191039" y="1903070"/>
                  </a:lnTo>
                  <a:lnTo>
                    <a:pt x="3191671" y="1904049"/>
                  </a:lnTo>
                  <a:lnTo>
                    <a:pt x="3192711" y="1906726"/>
                  </a:lnTo>
                  <a:lnTo>
                    <a:pt x="3193346" y="1907811"/>
                  </a:lnTo>
                  <a:lnTo>
                    <a:pt x="3194609" y="1908851"/>
                  </a:lnTo>
                  <a:lnTo>
                    <a:pt x="3195603" y="1908894"/>
                  </a:lnTo>
                  <a:lnTo>
                    <a:pt x="3198540" y="1907614"/>
                  </a:lnTo>
                  <a:lnTo>
                    <a:pt x="3199184" y="1907646"/>
                  </a:lnTo>
                  <a:lnTo>
                    <a:pt x="3199768" y="1907962"/>
                  </a:lnTo>
                  <a:lnTo>
                    <a:pt x="3200388" y="1908558"/>
                  </a:lnTo>
                  <a:lnTo>
                    <a:pt x="3200560" y="1908837"/>
                  </a:lnTo>
                  <a:lnTo>
                    <a:pt x="3200631" y="1909280"/>
                  </a:lnTo>
                  <a:lnTo>
                    <a:pt x="3200926" y="1910333"/>
                  </a:lnTo>
                  <a:lnTo>
                    <a:pt x="3201122" y="1911783"/>
                  </a:lnTo>
                  <a:lnTo>
                    <a:pt x="3200602" y="1912511"/>
                  </a:lnTo>
                  <a:lnTo>
                    <a:pt x="3198827" y="1913030"/>
                  </a:lnTo>
                  <a:lnTo>
                    <a:pt x="3198974" y="1913531"/>
                  </a:lnTo>
                  <a:lnTo>
                    <a:pt x="3199083" y="1913630"/>
                  </a:lnTo>
                  <a:lnTo>
                    <a:pt x="3199198" y="1913581"/>
                  </a:lnTo>
                  <a:lnTo>
                    <a:pt x="3199369" y="1913635"/>
                  </a:lnTo>
                  <a:lnTo>
                    <a:pt x="3199064" y="1914296"/>
                  </a:lnTo>
                  <a:lnTo>
                    <a:pt x="3198977" y="1914746"/>
                  </a:lnTo>
                  <a:lnTo>
                    <a:pt x="3198966" y="1915358"/>
                  </a:lnTo>
                  <a:lnTo>
                    <a:pt x="3199264" y="1915255"/>
                  </a:lnTo>
                  <a:lnTo>
                    <a:pt x="3199233" y="1916128"/>
                  </a:lnTo>
                  <a:lnTo>
                    <a:pt x="3200634" y="1916261"/>
                  </a:lnTo>
                  <a:lnTo>
                    <a:pt x="3201991" y="1915782"/>
                  </a:lnTo>
                  <a:lnTo>
                    <a:pt x="3203418" y="1915768"/>
                  </a:lnTo>
                  <a:lnTo>
                    <a:pt x="3205026" y="1917289"/>
                  </a:lnTo>
                  <a:lnTo>
                    <a:pt x="3204754" y="1917383"/>
                  </a:lnTo>
                  <a:lnTo>
                    <a:pt x="3204975" y="1918018"/>
                  </a:lnTo>
                  <a:lnTo>
                    <a:pt x="3205720" y="1917811"/>
                  </a:lnTo>
                  <a:lnTo>
                    <a:pt x="3206596" y="1918087"/>
                  </a:lnTo>
                  <a:lnTo>
                    <a:pt x="3207151" y="1918790"/>
                  </a:lnTo>
                  <a:lnTo>
                    <a:pt x="3206933" y="1919865"/>
                  </a:lnTo>
                  <a:lnTo>
                    <a:pt x="3208337" y="1919876"/>
                  </a:lnTo>
                  <a:lnTo>
                    <a:pt x="3210216" y="1918905"/>
                  </a:lnTo>
                  <a:lnTo>
                    <a:pt x="3211466" y="1917335"/>
                  </a:lnTo>
                  <a:lnTo>
                    <a:pt x="3210990" y="1915562"/>
                  </a:lnTo>
                  <a:lnTo>
                    <a:pt x="3210142" y="1914906"/>
                  </a:lnTo>
                  <a:lnTo>
                    <a:pt x="3208406" y="1913955"/>
                  </a:lnTo>
                  <a:lnTo>
                    <a:pt x="3207623" y="1913214"/>
                  </a:lnTo>
                  <a:lnTo>
                    <a:pt x="3206864" y="1912068"/>
                  </a:lnTo>
                  <a:lnTo>
                    <a:pt x="3206312" y="1910958"/>
                  </a:lnTo>
                  <a:lnTo>
                    <a:pt x="3205524" y="1909129"/>
                  </a:lnTo>
                  <a:lnTo>
                    <a:pt x="3205573" y="1908319"/>
                  </a:lnTo>
                  <a:lnTo>
                    <a:pt x="3204754" y="1908029"/>
                  </a:lnTo>
                  <a:lnTo>
                    <a:pt x="3204453" y="1907983"/>
                  </a:lnTo>
                  <a:lnTo>
                    <a:pt x="3204065" y="1906213"/>
                  </a:lnTo>
                  <a:lnTo>
                    <a:pt x="3203877" y="1904669"/>
                  </a:lnTo>
                  <a:lnTo>
                    <a:pt x="3203913" y="1903411"/>
                  </a:lnTo>
                  <a:lnTo>
                    <a:pt x="3204190" y="1902465"/>
                  </a:lnTo>
                  <a:lnTo>
                    <a:pt x="3203346" y="1901886"/>
                  </a:lnTo>
                  <a:lnTo>
                    <a:pt x="3202774" y="1900921"/>
                  </a:lnTo>
                  <a:lnTo>
                    <a:pt x="3202465" y="1899698"/>
                  </a:lnTo>
                  <a:lnTo>
                    <a:pt x="3202408" y="1898335"/>
                  </a:lnTo>
                  <a:lnTo>
                    <a:pt x="3201394" y="1898840"/>
                  </a:lnTo>
                  <a:lnTo>
                    <a:pt x="3200811" y="1899543"/>
                  </a:lnTo>
                  <a:lnTo>
                    <a:pt x="3199574" y="1904210"/>
                  </a:lnTo>
                  <a:lnTo>
                    <a:pt x="3199198" y="1905024"/>
                  </a:lnTo>
                  <a:lnTo>
                    <a:pt x="3198785" y="1905139"/>
                  </a:lnTo>
                  <a:lnTo>
                    <a:pt x="3197421" y="1904947"/>
                  </a:lnTo>
                  <a:lnTo>
                    <a:pt x="3196738" y="1905056"/>
                  </a:lnTo>
                  <a:lnTo>
                    <a:pt x="3195543" y="1905993"/>
                  </a:lnTo>
                  <a:lnTo>
                    <a:pt x="3194927" y="1906276"/>
                  </a:lnTo>
                  <a:lnTo>
                    <a:pt x="3194046" y="1905987"/>
                  </a:lnTo>
                  <a:lnTo>
                    <a:pt x="3194798" y="1904657"/>
                  </a:lnTo>
                  <a:lnTo>
                    <a:pt x="3197119" y="1902581"/>
                  </a:lnTo>
                  <a:lnTo>
                    <a:pt x="3196717" y="1901108"/>
                  </a:lnTo>
                  <a:lnTo>
                    <a:pt x="3196586" y="1898768"/>
                  </a:lnTo>
                  <a:lnTo>
                    <a:pt x="3197134" y="1897125"/>
                  </a:lnTo>
                  <a:lnTo>
                    <a:pt x="3198133" y="1896032"/>
                  </a:lnTo>
                  <a:lnTo>
                    <a:pt x="3199370" y="1895366"/>
                  </a:lnTo>
                  <a:lnTo>
                    <a:pt x="3198284" y="1893131"/>
                  </a:lnTo>
                  <a:lnTo>
                    <a:pt x="3199153" y="1892573"/>
                  </a:lnTo>
                  <a:lnTo>
                    <a:pt x="3201729" y="1893033"/>
                  </a:lnTo>
                  <a:lnTo>
                    <a:pt x="3203979" y="1893887"/>
                  </a:lnTo>
                  <a:lnTo>
                    <a:pt x="3204871" y="1893783"/>
                  </a:lnTo>
                  <a:lnTo>
                    <a:pt x="3203877" y="1892157"/>
                  </a:lnTo>
                  <a:lnTo>
                    <a:pt x="3203139" y="1891562"/>
                  </a:lnTo>
                  <a:lnTo>
                    <a:pt x="3202391" y="1890828"/>
                  </a:lnTo>
                  <a:lnTo>
                    <a:pt x="3202062" y="1889673"/>
                  </a:lnTo>
                  <a:lnTo>
                    <a:pt x="3202434" y="1888651"/>
                  </a:lnTo>
                  <a:lnTo>
                    <a:pt x="3203096" y="1888372"/>
                  </a:lnTo>
                  <a:lnTo>
                    <a:pt x="3203411" y="1887581"/>
                  </a:lnTo>
                  <a:lnTo>
                    <a:pt x="3202765" y="1885069"/>
                  </a:lnTo>
                  <a:lnTo>
                    <a:pt x="3202455" y="1883162"/>
                  </a:lnTo>
                  <a:lnTo>
                    <a:pt x="3202885" y="1882119"/>
                  </a:lnTo>
                  <a:lnTo>
                    <a:pt x="3203461" y="1881491"/>
                  </a:lnTo>
                  <a:lnTo>
                    <a:pt x="3203587" y="1880814"/>
                  </a:lnTo>
                  <a:lnTo>
                    <a:pt x="3202786" y="1878545"/>
                  </a:lnTo>
                  <a:lnTo>
                    <a:pt x="3202217" y="1877461"/>
                  </a:lnTo>
                  <a:lnTo>
                    <a:pt x="3201471" y="1877260"/>
                  </a:lnTo>
                  <a:lnTo>
                    <a:pt x="3199729" y="1877996"/>
                  </a:lnTo>
                  <a:lnTo>
                    <a:pt x="3199759" y="1879165"/>
                  </a:lnTo>
                  <a:lnTo>
                    <a:pt x="3200246" y="1880788"/>
                  </a:lnTo>
                  <a:lnTo>
                    <a:pt x="3200886" y="1882565"/>
                  </a:lnTo>
                  <a:lnTo>
                    <a:pt x="3201180" y="1884360"/>
                  </a:lnTo>
                  <a:lnTo>
                    <a:pt x="3200969" y="1886077"/>
                  </a:lnTo>
                  <a:lnTo>
                    <a:pt x="3200455" y="1887418"/>
                  </a:lnTo>
                  <a:lnTo>
                    <a:pt x="3199341" y="1888676"/>
                  </a:lnTo>
                  <a:lnTo>
                    <a:pt x="3199085" y="1889553"/>
                  </a:lnTo>
                  <a:lnTo>
                    <a:pt x="3198670" y="1890080"/>
                  </a:lnTo>
                  <a:lnTo>
                    <a:pt x="3197689" y="1889616"/>
                  </a:lnTo>
                  <a:lnTo>
                    <a:pt x="3197079" y="1888805"/>
                  </a:lnTo>
                  <a:lnTo>
                    <a:pt x="3195441" y="1886040"/>
                  </a:lnTo>
                  <a:lnTo>
                    <a:pt x="3194782" y="1885095"/>
                  </a:lnTo>
                  <a:lnTo>
                    <a:pt x="3192637" y="1883096"/>
                  </a:lnTo>
                  <a:lnTo>
                    <a:pt x="3188528" y="1879968"/>
                  </a:lnTo>
                  <a:lnTo>
                    <a:pt x="3186487" y="1878006"/>
                  </a:lnTo>
                  <a:lnTo>
                    <a:pt x="3184245" y="1876397"/>
                  </a:lnTo>
                  <a:lnTo>
                    <a:pt x="3180102" y="1875978"/>
                  </a:lnTo>
                  <a:lnTo>
                    <a:pt x="3177971" y="1874945"/>
                  </a:lnTo>
                  <a:lnTo>
                    <a:pt x="3177787" y="1875997"/>
                  </a:lnTo>
                  <a:lnTo>
                    <a:pt x="3177343" y="1876484"/>
                  </a:lnTo>
                  <a:lnTo>
                    <a:pt x="3176700" y="1876374"/>
                  </a:lnTo>
                  <a:lnTo>
                    <a:pt x="3175909" y="1875652"/>
                  </a:lnTo>
                  <a:lnTo>
                    <a:pt x="3176108" y="1875305"/>
                  </a:lnTo>
                  <a:lnTo>
                    <a:pt x="3176178" y="1874910"/>
                  </a:lnTo>
                  <a:lnTo>
                    <a:pt x="3176214" y="1874450"/>
                  </a:lnTo>
                  <a:lnTo>
                    <a:pt x="3176306" y="1873934"/>
                  </a:lnTo>
                  <a:lnTo>
                    <a:pt x="3173699" y="1872214"/>
                  </a:lnTo>
                  <a:lnTo>
                    <a:pt x="3171049" y="1871439"/>
                  </a:lnTo>
                  <a:lnTo>
                    <a:pt x="3166044" y="1871981"/>
                  </a:lnTo>
                  <a:lnTo>
                    <a:pt x="3166184" y="1870880"/>
                  </a:lnTo>
                  <a:lnTo>
                    <a:pt x="3165847" y="1869978"/>
                  </a:lnTo>
                  <a:lnTo>
                    <a:pt x="3165225" y="1869413"/>
                  </a:lnTo>
                  <a:lnTo>
                    <a:pt x="3163817" y="1869185"/>
                  </a:lnTo>
                  <a:lnTo>
                    <a:pt x="3163309" y="1868384"/>
                  </a:lnTo>
                  <a:lnTo>
                    <a:pt x="3162799" y="1867273"/>
                  </a:lnTo>
                  <a:lnTo>
                    <a:pt x="3162109" y="1866209"/>
                  </a:lnTo>
                  <a:lnTo>
                    <a:pt x="3172637" y="1864201"/>
                  </a:lnTo>
                  <a:lnTo>
                    <a:pt x="3173077" y="1863801"/>
                  </a:lnTo>
                  <a:lnTo>
                    <a:pt x="3173731" y="1862243"/>
                  </a:lnTo>
                  <a:lnTo>
                    <a:pt x="3174206" y="1861741"/>
                  </a:lnTo>
                  <a:lnTo>
                    <a:pt x="3174396" y="1860912"/>
                  </a:lnTo>
                  <a:lnTo>
                    <a:pt x="3174474" y="1860062"/>
                  </a:lnTo>
                  <a:lnTo>
                    <a:pt x="3174605" y="1859508"/>
                  </a:lnTo>
                  <a:lnTo>
                    <a:pt x="3175468" y="1859220"/>
                  </a:lnTo>
                  <a:lnTo>
                    <a:pt x="3176514" y="1859877"/>
                  </a:lnTo>
                  <a:lnTo>
                    <a:pt x="3177214" y="1861143"/>
                  </a:lnTo>
                  <a:lnTo>
                    <a:pt x="3177049" y="1862684"/>
                  </a:lnTo>
                  <a:lnTo>
                    <a:pt x="3179105" y="1864600"/>
                  </a:lnTo>
                  <a:lnTo>
                    <a:pt x="3180888" y="1865030"/>
                  </a:lnTo>
                  <a:lnTo>
                    <a:pt x="3191746" y="1862331"/>
                  </a:lnTo>
                  <a:lnTo>
                    <a:pt x="3196078" y="1862393"/>
                  </a:lnTo>
                  <a:lnTo>
                    <a:pt x="3196954" y="1861833"/>
                  </a:lnTo>
                  <a:lnTo>
                    <a:pt x="3198444" y="1860217"/>
                  </a:lnTo>
                  <a:lnTo>
                    <a:pt x="3199252" y="1859690"/>
                  </a:lnTo>
                  <a:lnTo>
                    <a:pt x="3199897" y="1858215"/>
                  </a:lnTo>
                  <a:lnTo>
                    <a:pt x="3199934" y="1855390"/>
                  </a:lnTo>
                  <a:lnTo>
                    <a:pt x="3199412" y="1852598"/>
                  </a:lnTo>
                  <a:lnTo>
                    <a:pt x="3198389" y="1851202"/>
                  </a:lnTo>
                  <a:lnTo>
                    <a:pt x="3196550" y="1847887"/>
                  </a:lnTo>
                  <a:lnTo>
                    <a:pt x="3195857" y="1846857"/>
                  </a:lnTo>
                  <a:lnTo>
                    <a:pt x="3195485" y="1846378"/>
                  </a:lnTo>
                  <a:lnTo>
                    <a:pt x="3195601" y="1846073"/>
                  </a:lnTo>
                  <a:lnTo>
                    <a:pt x="3196380" y="1845565"/>
                  </a:lnTo>
                  <a:lnTo>
                    <a:pt x="3197233" y="1845320"/>
                  </a:lnTo>
                  <a:lnTo>
                    <a:pt x="3201652" y="1845977"/>
                  </a:lnTo>
                  <a:lnTo>
                    <a:pt x="3202110" y="1845913"/>
                  </a:lnTo>
                  <a:lnTo>
                    <a:pt x="3202374" y="1845549"/>
                  </a:lnTo>
                  <a:lnTo>
                    <a:pt x="3202635" y="1844321"/>
                  </a:lnTo>
                  <a:lnTo>
                    <a:pt x="3202882" y="1843977"/>
                  </a:lnTo>
                  <a:lnTo>
                    <a:pt x="3205455" y="1842334"/>
                  </a:lnTo>
                  <a:lnTo>
                    <a:pt x="3206305" y="1842261"/>
                  </a:lnTo>
                  <a:lnTo>
                    <a:pt x="3208068" y="1842675"/>
                  </a:lnTo>
                  <a:lnTo>
                    <a:pt x="3208979" y="1842589"/>
                  </a:lnTo>
                  <a:lnTo>
                    <a:pt x="3209559" y="1842210"/>
                  </a:lnTo>
                  <a:lnTo>
                    <a:pt x="3210109" y="1841511"/>
                  </a:lnTo>
                  <a:lnTo>
                    <a:pt x="3210415" y="1840539"/>
                  </a:lnTo>
                  <a:lnTo>
                    <a:pt x="3210264" y="1839371"/>
                  </a:lnTo>
                  <a:lnTo>
                    <a:pt x="3209803" y="1837567"/>
                  </a:lnTo>
                  <a:lnTo>
                    <a:pt x="3209928" y="1836636"/>
                  </a:lnTo>
                  <a:lnTo>
                    <a:pt x="3210585" y="1835646"/>
                  </a:lnTo>
                  <a:lnTo>
                    <a:pt x="3211152" y="1836308"/>
                  </a:lnTo>
                  <a:lnTo>
                    <a:pt x="3212079" y="1835888"/>
                  </a:lnTo>
                  <a:lnTo>
                    <a:pt x="3212590" y="1835898"/>
                  </a:lnTo>
                  <a:lnTo>
                    <a:pt x="3212864" y="1836415"/>
                  </a:lnTo>
                  <a:lnTo>
                    <a:pt x="3213053" y="1837047"/>
                  </a:lnTo>
                  <a:lnTo>
                    <a:pt x="3212856" y="1837678"/>
                  </a:lnTo>
                  <a:lnTo>
                    <a:pt x="3212152" y="1839060"/>
                  </a:lnTo>
                  <a:lnTo>
                    <a:pt x="3213536" y="1839129"/>
                  </a:lnTo>
                  <a:lnTo>
                    <a:pt x="3214244" y="1839498"/>
                  </a:lnTo>
                  <a:lnTo>
                    <a:pt x="3214955" y="1840435"/>
                  </a:lnTo>
                  <a:lnTo>
                    <a:pt x="3214459" y="1840543"/>
                  </a:lnTo>
                  <a:lnTo>
                    <a:pt x="3214105" y="1840799"/>
                  </a:lnTo>
                  <a:lnTo>
                    <a:pt x="3213876" y="1841180"/>
                  </a:lnTo>
                  <a:lnTo>
                    <a:pt x="3213778" y="1841727"/>
                  </a:lnTo>
                  <a:lnTo>
                    <a:pt x="3216204" y="1843981"/>
                  </a:lnTo>
                  <a:lnTo>
                    <a:pt x="3219004" y="1844698"/>
                  </a:lnTo>
                  <a:lnTo>
                    <a:pt x="3221550" y="1844062"/>
                  </a:lnTo>
                  <a:lnTo>
                    <a:pt x="3223228" y="1842275"/>
                  </a:lnTo>
                  <a:lnTo>
                    <a:pt x="3224727" y="1837306"/>
                  </a:lnTo>
                  <a:lnTo>
                    <a:pt x="3225334" y="1836044"/>
                  </a:lnTo>
                  <a:lnTo>
                    <a:pt x="3226847" y="1834118"/>
                  </a:lnTo>
                  <a:lnTo>
                    <a:pt x="3227374" y="1832789"/>
                  </a:lnTo>
                  <a:lnTo>
                    <a:pt x="3226705" y="1828406"/>
                  </a:lnTo>
                  <a:lnTo>
                    <a:pt x="3226695" y="1826031"/>
                  </a:lnTo>
                  <a:lnTo>
                    <a:pt x="3227198" y="1824815"/>
                  </a:lnTo>
                  <a:lnTo>
                    <a:pt x="3231623" y="1822443"/>
                  </a:lnTo>
                  <a:lnTo>
                    <a:pt x="3232299" y="1821266"/>
                  </a:lnTo>
                  <a:lnTo>
                    <a:pt x="3231007" y="1820489"/>
                  </a:lnTo>
                  <a:lnTo>
                    <a:pt x="3230289" y="1819853"/>
                  </a:lnTo>
                  <a:lnTo>
                    <a:pt x="3229834" y="1819057"/>
                  </a:lnTo>
                  <a:lnTo>
                    <a:pt x="3229923" y="1818226"/>
                  </a:lnTo>
                  <a:lnTo>
                    <a:pt x="3231294" y="1817569"/>
                  </a:lnTo>
                  <a:lnTo>
                    <a:pt x="3231760" y="1817145"/>
                  </a:lnTo>
                  <a:lnTo>
                    <a:pt x="3232164" y="1816391"/>
                  </a:lnTo>
                  <a:lnTo>
                    <a:pt x="3232674" y="1816125"/>
                  </a:lnTo>
                  <a:lnTo>
                    <a:pt x="3233943" y="1815933"/>
                  </a:lnTo>
                  <a:lnTo>
                    <a:pt x="3235014" y="1815377"/>
                  </a:lnTo>
                  <a:lnTo>
                    <a:pt x="3235384" y="1815396"/>
                  </a:lnTo>
                  <a:lnTo>
                    <a:pt x="3235697" y="1815645"/>
                  </a:lnTo>
                  <a:lnTo>
                    <a:pt x="3236484" y="1816584"/>
                  </a:lnTo>
                  <a:lnTo>
                    <a:pt x="3239006" y="1817378"/>
                  </a:lnTo>
                  <a:lnTo>
                    <a:pt x="3240110" y="1817012"/>
                  </a:lnTo>
                  <a:lnTo>
                    <a:pt x="3241002" y="1813636"/>
                  </a:lnTo>
                  <a:lnTo>
                    <a:pt x="3242247" y="1812782"/>
                  </a:lnTo>
                  <a:lnTo>
                    <a:pt x="3247061" y="1812239"/>
                  </a:lnTo>
                  <a:lnTo>
                    <a:pt x="3248932" y="1812476"/>
                  </a:lnTo>
                  <a:lnTo>
                    <a:pt x="3249051" y="1812931"/>
                  </a:lnTo>
                  <a:lnTo>
                    <a:pt x="3249543" y="1814441"/>
                  </a:lnTo>
                  <a:lnTo>
                    <a:pt x="3250288" y="1815361"/>
                  </a:lnTo>
                  <a:lnTo>
                    <a:pt x="3251569" y="1816267"/>
                  </a:lnTo>
                  <a:lnTo>
                    <a:pt x="3252928" y="1816967"/>
                  </a:lnTo>
                  <a:lnTo>
                    <a:pt x="3253921" y="1817281"/>
                  </a:lnTo>
                  <a:lnTo>
                    <a:pt x="3254878" y="1816684"/>
                  </a:lnTo>
                  <a:lnTo>
                    <a:pt x="3256607" y="1814338"/>
                  </a:lnTo>
                  <a:lnTo>
                    <a:pt x="3257685" y="1814580"/>
                  </a:lnTo>
                  <a:lnTo>
                    <a:pt x="3258949" y="1815333"/>
                  </a:lnTo>
                  <a:lnTo>
                    <a:pt x="3260392" y="1815497"/>
                  </a:lnTo>
                  <a:lnTo>
                    <a:pt x="3261643" y="1815081"/>
                  </a:lnTo>
                  <a:lnTo>
                    <a:pt x="3262319" y="1814077"/>
                  </a:lnTo>
                  <a:lnTo>
                    <a:pt x="3260312" y="1812374"/>
                  </a:lnTo>
                  <a:lnTo>
                    <a:pt x="3260262" y="1811485"/>
                  </a:lnTo>
                  <a:lnTo>
                    <a:pt x="3260057" y="1810915"/>
                  </a:lnTo>
                  <a:lnTo>
                    <a:pt x="3259708" y="1810576"/>
                  </a:lnTo>
                  <a:lnTo>
                    <a:pt x="3259222" y="1810390"/>
                  </a:lnTo>
                  <a:lnTo>
                    <a:pt x="3259506" y="1810281"/>
                  </a:lnTo>
                  <a:lnTo>
                    <a:pt x="3256951" y="1807894"/>
                  </a:lnTo>
                  <a:lnTo>
                    <a:pt x="3252386" y="1802728"/>
                  </a:lnTo>
                  <a:lnTo>
                    <a:pt x="3249744" y="1801197"/>
                  </a:lnTo>
                  <a:lnTo>
                    <a:pt x="3249451" y="1800431"/>
                  </a:lnTo>
                  <a:lnTo>
                    <a:pt x="3249705" y="1799810"/>
                  </a:lnTo>
                  <a:lnTo>
                    <a:pt x="3249803" y="1798942"/>
                  </a:lnTo>
                  <a:lnTo>
                    <a:pt x="3249618" y="1797878"/>
                  </a:lnTo>
                  <a:lnTo>
                    <a:pt x="3249025" y="1796673"/>
                  </a:lnTo>
                  <a:lnTo>
                    <a:pt x="3248060" y="1795815"/>
                  </a:lnTo>
                  <a:lnTo>
                    <a:pt x="3247212" y="1795923"/>
                  </a:lnTo>
                  <a:lnTo>
                    <a:pt x="3246409" y="1796324"/>
                  </a:lnTo>
                  <a:lnTo>
                    <a:pt x="3245604" y="1796372"/>
                  </a:lnTo>
                  <a:lnTo>
                    <a:pt x="3245167" y="1795999"/>
                  </a:lnTo>
                  <a:lnTo>
                    <a:pt x="3244504" y="1795221"/>
                  </a:lnTo>
                  <a:lnTo>
                    <a:pt x="3243837" y="1794215"/>
                  </a:lnTo>
                  <a:lnTo>
                    <a:pt x="3243359" y="1793143"/>
                  </a:lnTo>
                  <a:lnTo>
                    <a:pt x="3243037" y="1791540"/>
                  </a:lnTo>
                  <a:lnTo>
                    <a:pt x="3243222" y="1790787"/>
                  </a:lnTo>
                  <a:lnTo>
                    <a:pt x="3244583" y="1790284"/>
                  </a:lnTo>
                  <a:lnTo>
                    <a:pt x="3243472" y="1789466"/>
                  </a:lnTo>
                  <a:lnTo>
                    <a:pt x="3242478" y="1789096"/>
                  </a:lnTo>
                  <a:lnTo>
                    <a:pt x="3241528" y="1788394"/>
                  </a:lnTo>
                  <a:lnTo>
                    <a:pt x="3240558" y="1786578"/>
                  </a:lnTo>
                  <a:lnTo>
                    <a:pt x="3239760" y="1785751"/>
                  </a:lnTo>
                  <a:lnTo>
                    <a:pt x="3236212" y="1784582"/>
                  </a:lnTo>
                  <a:lnTo>
                    <a:pt x="3233719" y="1783261"/>
                  </a:lnTo>
                  <a:lnTo>
                    <a:pt x="3232629" y="1783039"/>
                  </a:lnTo>
                  <a:lnTo>
                    <a:pt x="3230211" y="1783354"/>
                  </a:lnTo>
                  <a:lnTo>
                    <a:pt x="3227510" y="1782711"/>
                  </a:lnTo>
                  <a:lnTo>
                    <a:pt x="3226378" y="1782764"/>
                  </a:lnTo>
                  <a:lnTo>
                    <a:pt x="3224365" y="1782123"/>
                  </a:lnTo>
                  <a:lnTo>
                    <a:pt x="3219467" y="1777815"/>
                  </a:lnTo>
                  <a:lnTo>
                    <a:pt x="3216816" y="1776939"/>
                  </a:lnTo>
                  <a:lnTo>
                    <a:pt x="3213569" y="1774702"/>
                  </a:lnTo>
                  <a:lnTo>
                    <a:pt x="3211482" y="1772263"/>
                  </a:lnTo>
                  <a:lnTo>
                    <a:pt x="3210473" y="1771397"/>
                  </a:lnTo>
                  <a:lnTo>
                    <a:pt x="3209472" y="1771430"/>
                  </a:lnTo>
                  <a:lnTo>
                    <a:pt x="3209730" y="1771334"/>
                  </a:lnTo>
                  <a:lnTo>
                    <a:pt x="3198687" y="1764970"/>
                  </a:lnTo>
                  <a:lnTo>
                    <a:pt x="3196020" y="1762611"/>
                  </a:lnTo>
                  <a:lnTo>
                    <a:pt x="3194660" y="1760850"/>
                  </a:lnTo>
                  <a:lnTo>
                    <a:pt x="3194072" y="1759063"/>
                  </a:lnTo>
                  <a:lnTo>
                    <a:pt x="3194167" y="1757425"/>
                  </a:lnTo>
                  <a:lnTo>
                    <a:pt x="3194745" y="1754313"/>
                  </a:lnTo>
                  <a:lnTo>
                    <a:pt x="3196356" y="1749216"/>
                  </a:lnTo>
                  <a:lnTo>
                    <a:pt x="3204302" y="1737579"/>
                  </a:lnTo>
                  <a:lnTo>
                    <a:pt x="3204806" y="1735122"/>
                  </a:lnTo>
                  <a:lnTo>
                    <a:pt x="3205124" y="1734346"/>
                  </a:lnTo>
                  <a:lnTo>
                    <a:pt x="3205546" y="1733746"/>
                  </a:lnTo>
                  <a:lnTo>
                    <a:pt x="3205976" y="1733428"/>
                  </a:lnTo>
                  <a:lnTo>
                    <a:pt x="3206278" y="1732872"/>
                  </a:lnTo>
                  <a:lnTo>
                    <a:pt x="3206704" y="1730681"/>
                  </a:lnTo>
                  <a:lnTo>
                    <a:pt x="3207018" y="1729911"/>
                  </a:lnTo>
                  <a:lnTo>
                    <a:pt x="3207509" y="1729555"/>
                  </a:lnTo>
                  <a:lnTo>
                    <a:pt x="3209270" y="1729064"/>
                  </a:lnTo>
                  <a:lnTo>
                    <a:pt x="3208681" y="1728072"/>
                  </a:lnTo>
                  <a:lnTo>
                    <a:pt x="3208436" y="1727707"/>
                  </a:lnTo>
                  <a:lnTo>
                    <a:pt x="3208631" y="1726662"/>
                  </a:lnTo>
                  <a:lnTo>
                    <a:pt x="3208991" y="1725941"/>
                  </a:lnTo>
                  <a:lnTo>
                    <a:pt x="3209894" y="1724768"/>
                  </a:lnTo>
                  <a:lnTo>
                    <a:pt x="3211020" y="1722236"/>
                  </a:lnTo>
                  <a:lnTo>
                    <a:pt x="3212019" y="1720853"/>
                  </a:lnTo>
                  <a:lnTo>
                    <a:pt x="3213045" y="1715573"/>
                  </a:lnTo>
                  <a:lnTo>
                    <a:pt x="3219955" y="1702324"/>
                  </a:lnTo>
                  <a:lnTo>
                    <a:pt x="3220431" y="1700594"/>
                  </a:lnTo>
                  <a:lnTo>
                    <a:pt x="3219443" y="1695740"/>
                  </a:lnTo>
                  <a:lnTo>
                    <a:pt x="3219462" y="1693248"/>
                  </a:lnTo>
                  <a:lnTo>
                    <a:pt x="3219757" y="1691022"/>
                  </a:lnTo>
                  <a:lnTo>
                    <a:pt x="3220118" y="1689564"/>
                  </a:lnTo>
                  <a:lnTo>
                    <a:pt x="3220436" y="1688896"/>
                  </a:lnTo>
                  <a:lnTo>
                    <a:pt x="3222246" y="1686531"/>
                  </a:lnTo>
                  <a:lnTo>
                    <a:pt x="3223211" y="1684592"/>
                  </a:lnTo>
                  <a:lnTo>
                    <a:pt x="3224781" y="1683096"/>
                  </a:lnTo>
                  <a:lnTo>
                    <a:pt x="3226275" y="1679881"/>
                  </a:lnTo>
                  <a:lnTo>
                    <a:pt x="3227221" y="1678697"/>
                  </a:lnTo>
                  <a:lnTo>
                    <a:pt x="3230803" y="1677503"/>
                  </a:lnTo>
                  <a:lnTo>
                    <a:pt x="3232909" y="1675654"/>
                  </a:lnTo>
                  <a:lnTo>
                    <a:pt x="3230855" y="1673469"/>
                  </a:lnTo>
                  <a:lnTo>
                    <a:pt x="3228846" y="1671998"/>
                  </a:lnTo>
                  <a:lnTo>
                    <a:pt x="3227275" y="1668084"/>
                  </a:lnTo>
                  <a:lnTo>
                    <a:pt x="3226898" y="1662470"/>
                  </a:lnTo>
                  <a:lnTo>
                    <a:pt x="3227253" y="1657370"/>
                  </a:lnTo>
                  <a:lnTo>
                    <a:pt x="3227891" y="1654975"/>
                  </a:lnTo>
                  <a:lnTo>
                    <a:pt x="3227615" y="1655027"/>
                  </a:lnTo>
                  <a:lnTo>
                    <a:pt x="3227504" y="1654898"/>
                  </a:lnTo>
                  <a:lnTo>
                    <a:pt x="3227346" y="1654467"/>
                  </a:lnTo>
                  <a:lnTo>
                    <a:pt x="3227522" y="1652154"/>
                  </a:lnTo>
                  <a:lnTo>
                    <a:pt x="3226155" y="1644918"/>
                  </a:lnTo>
                  <a:lnTo>
                    <a:pt x="3226122" y="1642005"/>
                  </a:lnTo>
                  <a:lnTo>
                    <a:pt x="3227642" y="1638411"/>
                  </a:lnTo>
                  <a:lnTo>
                    <a:pt x="3229783" y="1636146"/>
                  </a:lnTo>
                  <a:lnTo>
                    <a:pt x="3237126" y="1632329"/>
                  </a:lnTo>
                  <a:lnTo>
                    <a:pt x="3239189" y="1630130"/>
                  </a:lnTo>
                  <a:lnTo>
                    <a:pt x="3240732" y="1627109"/>
                  </a:lnTo>
                  <a:lnTo>
                    <a:pt x="3241380" y="1621807"/>
                  </a:lnTo>
                  <a:lnTo>
                    <a:pt x="3241398" y="1620958"/>
                  </a:lnTo>
                  <a:lnTo>
                    <a:pt x="3241160" y="1619759"/>
                  </a:lnTo>
                  <a:lnTo>
                    <a:pt x="3240784" y="1618916"/>
                  </a:lnTo>
                  <a:lnTo>
                    <a:pt x="3239634" y="1616886"/>
                  </a:lnTo>
                  <a:lnTo>
                    <a:pt x="3239156" y="1615722"/>
                  </a:lnTo>
                  <a:lnTo>
                    <a:pt x="3238723" y="1613169"/>
                  </a:lnTo>
                  <a:lnTo>
                    <a:pt x="3238986" y="1611242"/>
                  </a:lnTo>
                  <a:lnTo>
                    <a:pt x="3240346" y="1608780"/>
                  </a:lnTo>
                  <a:lnTo>
                    <a:pt x="3234392" y="1607635"/>
                  </a:lnTo>
                  <a:lnTo>
                    <a:pt x="3231195" y="1605988"/>
                  </a:lnTo>
                  <a:lnTo>
                    <a:pt x="3230258" y="1602317"/>
                  </a:lnTo>
                  <a:lnTo>
                    <a:pt x="3229402" y="1601664"/>
                  </a:lnTo>
                  <a:lnTo>
                    <a:pt x="3226680" y="1598110"/>
                  </a:lnTo>
                  <a:lnTo>
                    <a:pt x="3224381" y="1595765"/>
                  </a:lnTo>
                  <a:lnTo>
                    <a:pt x="3223492" y="1594389"/>
                  </a:lnTo>
                  <a:lnTo>
                    <a:pt x="3222729" y="1592370"/>
                  </a:lnTo>
                  <a:lnTo>
                    <a:pt x="3218726" y="1590765"/>
                  </a:lnTo>
                  <a:lnTo>
                    <a:pt x="3218923" y="1589157"/>
                  </a:lnTo>
                  <a:lnTo>
                    <a:pt x="3220283" y="1586685"/>
                  </a:lnTo>
                  <a:lnTo>
                    <a:pt x="3220176" y="1585333"/>
                  </a:lnTo>
                  <a:lnTo>
                    <a:pt x="3219543" y="1584377"/>
                  </a:lnTo>
                  <a:lnTo>
                    <a:pt x="3218952" y="1584141"/>
                  </a:lnTo>
                  <a:lnTo>
                    <a:pt x="3218370" y="1584150"/>
                  </a:lnTo>
                  <a:lnTo>
                    <a:pt x="3217753" y="1583899"/>
                  </a:lnTo>
                  <a:lnTo>
                    <a:pt x="3217097" y="1583174"/>
                  </a:lnTo>
                  <a:lnTo>
                    <a:pt x="3215821" y="1581410"/>
                  </a:lnTo>
                  <a:lnTo>
                    <a:pt x="3215260" y="1580868"/>
                  </a:lnTo>
                  <a:lnTo>
                    <a:pt x="3214939" y="1578670"/>
                  </a:lnTo>
                  <a:lnTo>
                    <a:pt x="3213852" y="1577589"/>
                  </a:lnTo>
                  <a:lnTo>
                    <a:pt x="3212512" y="1577308"/>
                  </a:lnTo>
                  <a:lnTo>
                    <a:pt x="3209837" y="1578139"/>
                  </a:lnTo>
                  <a:lnTo>
                    <a:pt x="3209458" y="1577931"/>
                  </a:lnTo>
                  <a:lnTo>
                    <a:pt x="3209068" y="1577190"/>
                  </a:lnTo>
                  <a:lnTo>
                    <a:pt x="3208542" y="1576469"/>
                  </a:lnTo>
                  <a:lnTo>
                    <a:pt x="3208000" y="1575952"/>
                  </a:lnTo>
                  <a:lnTo>
                    <a:pt x="3206504" y="1575658"/>
                  </a:lnTo>
                  <a:lnTo>
                    <a:pt x="3205223" y="1574640"/>
                  </a:lnTo>
                  <a:lnTo>
                    <a:pt x="3204113" y="1572986"/>
                  </a:lnTo>
                  <a:lnTo>
                    <a:pt x="3203563" y="1570916"/>
                  </a:lnTo>
                  <a:lnTo>
                    <a:pt x="3203906" y="1569755"/>
                  </a:lnTo>
                  <a:lnTo>
                    <a:pt x="3205267" y="1567495"/>
                  </a:lnTo>
                  <a:lnTo>
                    <a:pt x="3205044" y="1566364"/>
                  </a:lnTo>
                  <a:lnTo>
                    <a:pt x="3204404" y="1565286"/>
                  </a:lnTo>
                  <a:lnTo>
                    <a:pt x="3203783" y="1564344"/>
                  </a:lnTo>
                  <a:lnTo>
                    <a:pt x="3203122" y="1563505"/>
                  </a:lnTo>
                  <a:lnTo>
                    <a:pt x="3202335" y="1562735"/>
                  </a:lnTo>
                  <a:lnTo>
                    <a:pt x="3201536" y="1562152"/>
                  </a:lnTo>
                  <a:lnTo>
                    <a:pt x="3200770" y="1561850"/>
                  </a:lnTo>
                  <a:lnTo>
                    <a:pt x="3200065" y="1561916"/>
                  </a:lnTo>
                  <a:lnTo>
                    <a:pt x="3199402" y="1561789"/>
                  </a:lnTo>
                  <a:lnTo>
                    <a:pt x="3198527" y="1561207"/>
                  </a:lnTo>
                  <a:lnTo>
                    <a:pt x="3196952" y="1559864"/>
                  </a:lnTo>
                  <a:lnTo>
                    <a:pt x="3195598" y="1558993"/>
                  </a:lnTo>
                  <a:lnTo>
                    <a:pt x="3195176" y="1558427"/>
                  </a:lnTo>
                  <a:lnTo>
                    <a:pt x="3195046" y="1557400"/>
                  </a:lnTo>
                  <a:lnTo>
                    <a:pt x="3193319" y="1556318"/>
                  </a:lnTo>
                  <a:lnTo>
                    <a:pt x="3192726" y="1557490"/>
                  </a:lnTo>
                  <a:lnTo>
                    <a:pt x="3192464" y="1559374"/>
                  </a:lnTo>
                  <a:lnTo>
                    <a:pt x="3191713" y="1560411"/>
                  </a:lnTo>
                  <a:lnTo>
                    <a:pt x="3190573" y="1559756"/>
                  </a:lnTo>
                  <a:lnTo>
                    <a:pt x="3187909" y="1556642"/>
                  </a:lnTo>
                  <a:lnTo>
                    <a:pt x="3186573" y="1555948"/>
                  </a:lnTo>
                  <a:lnTo>
                    <a:pt x="3186526" y="1554816"/>
                  </a:lnTo>
                  <a:lnTo>
                    <a:pt x="3186750" y="1552585"/>
                  </a:lnTo>
                  <a:lnTo>
                    <a:pt x="3185964" y="1552709"/>
                  </a:lnTo>
                  <a:lnTo>
                    <a:pt x="3185109" y="1553547"/>
                  </a:lnTo>
                  <a:lnTo>
                    <a:pt x="3184346" y="1553772"/>
                  </a:lnTo>
                  <a:lnTo>
                    <a:pt x="3183858" y="1552120"/>
                  </a:lnTo>
                  <a:lnTo>
                    <a:pt x="3184523" y="1550644"/>
                  </a:lnTo>
                  <a:lnTo>
                    <a:pt x="3184618" y="1550280"/>
                  </a:lnTo>
                  <a:lnTo>
                    <a:pt x="3184291" y="1549302"/>
                  </a:lnTo>
                  <a:lnTo>
                    <a:pt x="3183824" y="1548466"/>
                  </a:lnTo>
                  <a:lnTo>
                    <a:pt x="3183335" y="1547701"/>
                  </a:lnTo>
                  <a:lnTo>
                    <a:pt x="3182941" y="1546928"/>
                  </a:lnTo>
                  <a:lnTo>
                    <a:pt x="3182670" y="1545971"/>
                  </a:lnTo>
                  <a:lnTo>
                    <a:pt x="3182652" y="1544875"/>
                  </a:lnTo>
                  <a:lnTo>
                    <a:pt x="3182339" y="1543878"/>
                  </a:lnTo>
                  <a:lnTo>
                    <a:pt x="3182096" y="1543629"/>
                  </a:lnTo>
                  <a:lnTo>
                    <a:pt x="3181696" y="1543399"/>
                  </a:lnTo>
                  <a:lnTo>
                    <a:pt x="3181252" y="1543062"/>
                  </a:lnTo>
                  <a:lnTo>
                    <a:pt x="3180881" y="1542485"/>
                  </a:lnTo>
                  <a:lnTo>
                    <a:pt x="3180758" y="1542021"/>
                  </a:lnTo>
                  <a:lnTo>
                    <a:pt x="3180705" y="1541563"/>
                  </a:lnTo>
                  <a:lnTo>
                    <a:pt x="3180613" y="1541091"/>
                  </a:lnTo>
                  <a:lnTo>
                    <a:pt x="3180400" y="1540619"/>
                  </a:lnTo>
                  <a:lnTo>
                    <a:pt x="3179434" y="1539344"/>
                  </a:lnTo>
                  <a:lnTo>
                    <a:pt x="3177395" y="1537064"/>
                  </a:lnTo>
                  <a:lnTo>
                    <a:pt x="3176389" y="1535775"/>
                  </a:lnTo>
                  <a:lnTo>
                    <a:pt x="3174680" y="1533148"/>
                  </a:lnTo>
                  <a:lnTo>
                    <a:pt x="3172825" y="1529942"/>
                  </a:lnTo>
                  <a:lnTo>
                    <a:pt x="3172070" y="1528300"/>
                  </a:lnTo>
                  <a:lnTo>
                    <a:pt x="3170570" y="1524657"/>
                  </a:lnTo>
                  <a:lnTo>
                    <a:pt x="3170034" y="1523671"/>
                  </a:lnTo>
                  <a:lnTo>
                    <a:pt x="3169376" y="1523202"/>
                  </a:lnTo>
                  <a:lnTo>
                    <a:pt x="3168810" y="1523249"/>
                  </a:lnTo>
                  <a:lnTo>
                    <a:pt x="3168394" y="1523686"/>
                  </a:lnTo>
                  <a:lnTo>
                    <a:pt x="3168197" y="1524396"/>
                  </a:lnTo>
                  <a:lnTo>
                    <a:pt x="3168440" y="1525152"/>
                  </a:lnTo>
                  <a:lnTo>
                    <a:pt x="3169001" y="1525904"/>
                  </a:lnTo>
                  <a:lnTo>
                    <a:pt x="3169420" y="1526773"/>
                  </a:lnTo>
                  <a:lnTo>
                    <a:pt x="3169233" y="1527867"/>
                  </a:lnTo>
                  <a:lnTo>
                    <a:pt x="3168268" y="1527715"/>
                  </a:lnTo>
                  <a:lnTo>
                    <a:pt x="3166828" y="1526471"/>
                  </a:lnTo>
                  <a:lnTo>
                    <a:pt x="3165590" y="1525870"/>
                  </a:lnTo>
                  <a:lnTo>
                    <a:pt x="3165224" y="1527675"/>
                  </a:lnTo>
                  <a:lnTo>
                    <a:pt x="3164982" y="1527852"/>
                  </a:lnTo>
                  <a:lnTo>
                    <a:pt x="3163527" y="1526115"/>
                  </a:lnTo>
                  <a:lnTo>
                    <a:pt x="3162938" y="1525728"/>
                  </a:lnTo>
                  <a:lnTo>
                    <a:pt x="3162520" y="1526121"/>
                  </a:lnTo>
                  <a:lnTo>
                    <a:pt x="3162189" y="1526624"/>
                  </a:lnTo>
                  <a:lnTo>
                    <a:pt x="3161759" y="1526874"/>
                  </a:lnTo>
                  <a:lnTo>
                    <a:pt x="3161028" y="1526475"/>
                  </a:lnTo>
                  <a:lnTo>
                    <a:pt x="3161482" y="1526245"/>
                  </a:lnTo>
                  <a:lnTo>
                    <a:pt x="3161720" y="1525673"/>
                  </a:lnTo>
                  <a:lnTo>
                    <a:pt x="3161683" y="1524769"/>
                  </a:lnTo>
                  <a:lnTo>
                    <a:pt x="3161316" y="1523549"/>
                  </a:lnTo>
                  <a:lnTo>
                    <a:pt x="3160726" y="1522694"/>
                  </a:lnTo>
                  <a:lnTo>
                    <a:pt x="3160102" y="1522617"/>
                  </a:lnTo>
                  <a:lnTo>
                    <a:pt x="3159496" y="1522830"/>
                  </a:lnTo>
                  <a:lnTo>
                    <a:pt x="3158960" y="1522829"/>
                  </a:lnTo>
                  <a:lnTo>
                    <a:pt x="3158248" y="1522538"/>
                  </a:lnTo>
                  <a:lnTo>
                    <a:pt x="3156810" y="1522462"/>
                  </a:lnTo>
                  <a:lnTo>
                    <a:pt x="3156255" y="1522640"/>
                  </a:lnTo>
                  <a:lnTo>
                    <a:pt x="3155968" y="1523167"/>
                  </a:lnTo>
                  <a:lnTo>
                    <a:pt x="3155726" y="1524117"/>
                  </a:lnTo>
                  <a:lnTo>
                    <a:pt x="3155667" y="1524976"/>
                  </a:lnTo>
                  <a:lnTo>
                    <a:pt x="3155931" y="1525247"/>
                  </a:lnTo>
                  <a:lnTo>
                    <a:pt x="3156460" y="1525371"/>
                  </a:lnTo>
                  <a:lnTo>
                    <a:pt x="3156531" y="1526103"/>
                  </a:lnTo>
                  <a:lnTo>
                    <a:pt x="3156341" y="1526966"/>
                  </a:lnTo>
                  <a:lnTo>
                    <a:pt x="3156093" y="1527521"/>
                  </a:lnTo>
                  <a:lnTo>
                    <a:pt x="3155684" y="1527838"/>
                  </a:lnTo>
                  <a:lnTo>
                    <a:pt x="3155200" y="1527911"/>
                  </a:lnTo>
                  <a:lnTo>
                    <a:pt x="3154648" y="1527709"/>
                  </a:lnTo>
                  <a:lnTo>
                    <a:pt x="3152697" y="1526186"/>
                  </a:lnTo>
                  <a:lnTo>
                    <a:pt x="3151578" y="1526045"/>
                  </a:lnTo>
                  <a:lnTo>
                    <a:pt x="3149610" y="1526819"/>
                  </a:lnTo>
                  <a:lnTo>
                    <a:pt x="3149798" y="1525686"/>
                  </a:lnTo>
                  <a:lnTo>
                    <a:pt x="3150245" y="1524788"/>
                  </a:lnTo>
                  <a:lnTo>
                    <a:pt x="3150845" y="1524150"/>
                  </a:lnTo>
                  <a:lnTo>
                    <a:pt x="3151482" y="1523765"/>
                  </a:lnTo>
                  <a:lnTo>
                    <a:pt x="3151497" y="1523396"/>
                  </a:lnTo>
                  <a:lnTo>
                    <a:pt x="3151114" y="1521896"/>
                  </a:lnTo>
                  <a:lnTo>
                    <a:pt x="3151043" y="1521461"/>
                  </a:lnTo>
                  <a:lnTo>
                    <a:pt x="3151216" y="1521112"/>
                  </a:lnTo>
                  <a:lnTo>
                    <a:pt x="3152070" y="1520336"/>
                  </a:lnTo>
                  <a:lnTo>
                    <a:pt x="3153587" y="1520159"/>
                  </a:lnTo>
                  <a:lnTo>
                    <a:pt x="3153998" y="1519774"/>
                  </a:lnTo>
                  <a:lnTo>
                    <a:pt x="3154550" y="1518617"/>
                  </a:lnTo>
                  <a:lnTo>
                    <a:pt x="3154731" y="1518423"/>
                  </a:lnTo>
                  <a:lnTo>
                    <a:pt x="3154840" y="1517869"/>
                  </a:lnTo>
                  <a:lnTo>
                    <a:pt x="3154401" y="1516907"/>
                  </a:lnTo>
                  <a:lnTo>
                    <a:pt x="3153691" y="1516079"/>
                  </a:lnTo>
                  <a:lnTo>
                    <a:pt x="3152968" y="1515901"/>
                  </a:lnTo>
                  <a:lnTo>
                    <a:pt x="3153007" y="1513993"/>
                  </a:lnTo>
                  <a:lnTo>
                    <a:pt x="3153804" y="1513022"/>
                  </a:lnTo>
                  <a:lnTo>
                    <a:pt x="3156008" y="1512310"/>
                  </a:lnTo>
                  <a:lnTo>
                    <a:pt x="3153780" y="1511277"/>
                  </a:lnTo>
                  <a:lnTo>
                    <a:pt x="3152744" y="1511183"/>
                  </a:lnTo>
                  <a:lnTo>
                    <a:pt x="3151314" y="1511730"/>
                  </a:lnTo>
                  <a:lnTo>
                    <a:pt x="3152282" y="1512673"/>
                  </a:lnTo>
                  <a:lnTo>
                    <a:pt x="3152677" y="1512873"/>
                  </a:lnTo>
                  <a:lnTo>
                    <a:pt x="3152175" y="1513513"/>
                  </a:lnTo>
                  <a:lnTo>
                    <a:pt x="3151470" y="1513955"/>
                  </a:lnTo>
                  <a:lnTo>
                    <a:pt x="3151024" y="1514682"/>
                  </a:lnTo>
                  <a:lnTo>
                    <a:pt x="3151311" y="1516177"/>
                  </a:lnTo>
                  <a:lnTo>
                    <a:pt x="3152259" y="1517926"/>
                  </a:lnTo>
                  <a:lnTo>
                    <a:pt x="3152491" y="1518854"/>
                  </a:lnTo>
                  <a:lnTo>
                    <a:pt x="3152025" y="1519475"/>
                  </a:lnTo>
                  <a:lnTo>
                    <a:pt x="3149602" y="1520021"/>
                  </a:lnTo>
                  <a:lnTo>
                    <a:pt x="3148466" y="1520656"/>
                  </a:lnTo>
                  <a:lnTo>
                    <a:pt x="3148213" y="1521828"/>
                  </a:lnTo>
                  <a:lnTo>
                    <a:pt x="3148420" y="1521877"/>
                  </a:lnTo>
                  <a:lnTo>
                    <a:pt x="3148973" y="1522261"/>
                  </a:lnTo>
                  <a:lnTo>
                    <a:pt x="3147632" y="1526292"/>
                  </a:lnTo>
                  <a:lnTo>
                    <a:pt x="3146710" y="1527835"/>
                  </a:lnTo>
                  <a:lnTo>
                    <a:pt x="3145231" y="1528503"/>
                  </a:lnTo>
                  <a:lnTo>
                    <a:pt x="3145528" y="1529262"/>
                  </a:lnTo>
                  <a:lnTo>
                    <a:pt x="3145914" y="1529462"/>
                  </a:lnTo>
                  <a:lnTo>
                    <a:pt x="3146245" y="1529760"/>
                  </a:lnTo>
                  <a:lnTo>
                    <a:pt x="3146818" y="1530371"/>
                  </a:lnTo>
                  <a:lnTo>
                    <a:pt x="3146038" y="1531400"/>
                  </a:lnTo>
                  <a:lnTo>
                    <a:pt x="3145637" y="1531239"/>
                  </a:lnTo>
                  <a:lnTo>
                    <a:pt x="3145259" y="1530883"/>
                  </a:lnTo>
                  <a:lnTo>
                    <a:pt x="3144953" y="1530527"/>
                  </a:lnTo>
                  <a:lnTo>
                    <a:pt x="3144773" y="1530353"/>
                  </a:lnTo>
                  <a:lnTo>
                    <a:pt x="3142362" y="1529601"/>
                  </a:lnTo>
                  <a:lnTo>
                    <a:pt x="3143020" y="1527361"/>
                  </a:lnTo>
                  <a:lnTo>
                    <a:pt x="3143414" y="1526871"/>
                  </a:lnTo>
                  <a:lnTo>
                    <a:pt x="3144057" y="1526792"/>
                  </a:lnTo>
                  <a:lnTo>
                    <a:pt x="3144703" y="1526930"/>
                  </a:lnTo>
                  <a:lnTo>
                    <a:pt x="3145146" y="1526660"/>
                  </a:lnTo>
                  <a:lnTo>
                    <a:pt x="3145168" y="1525330"/>
                  </a:lnTo>
                  <a:lnTo>
                    <a:pt x="3142771" y="1525481"/>
                  </a:lnTo>
                  <a:lnTo>
                    <a:pt x="3140543" y="1526376"/>
                  </a:lnTo>
                  <a:lnTo>
                    <a:pt x="3139398" y="1526427"/>
                  </a:lnTo>
                  <a:lnTo>
                    <a:pt x="3134326" y="1524810"/>
                  </a:lnTo>
                  <a:lnTo>
                    <a:pt x="3133610" y="1524420"/>
                  </a:lnTo>
                  <a:lnTo>
                    <a:pt x="3131657" y="1522082"/>
                  </a:lnTo>
                  <a:lnTo>
                    <a:pt x="3130454" y="1520933"/>
                  </a:lnTo>
                  <a:lnTo>
                    <a:pt x="3129336" y="1520227"/>
                  </a:lnTo>
                  <a:lnTo>
                    <a:pt x="3127236" y="1519354"/>
                  </a:lnTo>
                  <a:lnTo>
                    <a:pt x="3127416" y="1517967"/>
                  </a:lnTo>
                  <a:lnTo>
                    <a:pt x="3127801" y="1516707"/>
                  </a:lnTo>
                  <a:lnTo>
                    <a:pt x="3127973" y="1515242"/>
                  </a:lnTo>
                  <a:lnTo>
                    <a:pt x="3127012" y="1511152"/>
                  </a:lnTo>
                  <a:lnTo>
                    <a:pt x="3127125" y="1509480"/>
                  </a:lnTo>
                  <a:lnTo>
                    <a:pt x="3127615" y="1508290"/>
                  </a:lnTo>
                  <a:lnTo>
                    <a:pt x="3128286" y="1507696"/>
                  </a:lnTo>
                  <a:lnTo>
                    <a:pt x="3130314" y="1506830"/>
                  </a:lnTo>
                  <a:lnTo>
                    <a:pt x="3130846" y="1505602"/>
                  </a:lnTo>
                  <a:lnTo>
                    <a:pt x="3130371" y="1503309"/>
                  </a:lnTo>
                  <a:lnTo>
                    <a:pt x="3129666" y="1502824"/>
                  </a:lnTo>
                  <a:lnTo>
                    <a:pt x="3125878" y="1501417"/>
                  </a:lnTo>
                  <a:lnTo>
                    <a:pt x="3127636" y="1499518"/>
                  </a:lnTo>
                  <a:lnTo>
                    <a:pt x="3127870" y="1498657"/>
                  </a:lnTo>
                  <a:lnTo>
                    <a:pt x="3127594" y="1495758"/>
                  </a:lnTo>
                  <a:lnTo>
                    <a:pt x="3127647" y="1495509"/>
                  </a:lnTo>
                  <a:lnTo>
                    <a:pt x="3126703" y="1494630"/>
                  </a:lnTo>
                  <a:lnTo>
                    <a:pt x="3125508" y="1495081"/>
                  </a:lnTo>
                  <a:lnTo>
                    <a:pt x="3123683" y="1496580"/>
                  </a:lnTo>
                  <a:lnTo>
                    <a:pt x="3123438" y="1495949"/>
                  </a:lnTo>
                  <a:lnTo>
                    <a:pt x="3125963" y="1492557"/>
                  </a:lnTo>
                  <a:lnTo>
                    <a:pt x="3126380" y="1490758"/>
                  </a:lnTo>
                  <a:lnTo>
                    <a:pt x="3123625" y="1490998"/>
                  </a:lnTo>
                  <a:lnTo>
                    <a:pt x="3122850" y="1491374"/>
                  </a:lnTo>
                  <a:lnTo>
                    <a:pt x="3122867" y="1490371"/>
                  </a:lnTo>
                  <a:lnTo>
                    <a:pt x="3123068" y="1489661"/>
                  </a:lnTo>
                  <a:lnTo>
                    <a:pt x="3123550" y="1488705"/>
                  </a:lnTo>
                  <a:lnTo>
                    <a:pt x="3120081" y="1489000"/>
                  </a:lnTo>
                  <a:lnTo>
                    <a:pt x="3117590" y="1487830"/>
                  </a:lnTo>
                  <a:lnTo>
                    <a:pt x="3115611" y="1489635"/>
                  </a:lnTo>
                  <a:lnTo>
                    <a:pt x="3114375" y="1489787"/>
                  </a:lnTo>
                  <a:lnTo>
                    <a:pt x="3113760" y="1489158"/>
                  </a:lnTo>
                  <a:lnTo>
                    <a:pt x="3113137" y="1488265"/>
                  </a:lnTo>
                  <a:lnTo>
                    <a:pt x="3112578" y="1487819"/>
                  </a:lnTo>
                  <a:lnTo>
                    <a:pt x="3111790" y="1489172"/>
                  </a:lnTo>
                  <a:lnTo>
                    <a:pt x="3109904" y="1489795"/>
                  </a:lnTo>
                  <a:lnTo>
                    <a:pt x="3109442" y="1489725"/>
                  </a:lnTo>
                  <a:lnTo>
                    <a:pt x="3108144" y="1489123"/>
                  </a:lnTo>
                  <a:lnTo>
                    <a:pt x="3107481" y="1489114"/>
                  </a:lnTo>
                  <a:lnTo>
                    <a:pt x="3106566" y="1490160"/>
                  </a:lnTo>
                  <a:lnTo>
                    <a:pt x="3105934" y="1490415"/>
                  </a:lnTo>
                  <a:lnTo>
                    <a:pt x="3107617" y="1492477"/>
                  </a:lnTo>
                  <a:lnTo>
                    <a:pt x="3108055" y="1492893"/>
                  </a:lnTo>
                  <a:lnTo>
                    <a:pt x="3108668" y="1493121"/>
                  </a:lnTo>
                  <a:lnTo>
                    <a:pt x="3110620" y="1492798"/>
                  </a:lnTo>
                  <a:lnTo>
                    <a:pt x="3111322" y="1493044"/>
                  </a:lnTo>
                  <a:lnTo>
                    <a:pt x="3113710" y="1494831"/>
                  </a:lnTo>
                  <a:lnTo>
                    <a:pt x="3113740" y="1495072"/>
                  </a:lnTo>
                  <a:lnTo>
                    <a:pt x="3113855" y="1495575"/>
                  </a:lnTo>
                  <a:lnTo>
                    <a:pt x="3114091" y="1496029"/>
                  </a:lnTo>
                  <a:lnTo>
                    <a:pt x="3114786" y="1496167"/>
                  </a:lnTo>
                  <a:lnTo>
                    <a:pt x="3115102" y="1496415"/>
                  </a:lnTo>
                  <a:lnTo>
                    <a:pt x="3115819" y="1497306"/>
                  </a:lnTo>
                  <a:lnTo>
                    <a:pt x="3115732" y="1497596"/>
                  </a:lnTo>
                  <a:lnTo>
                    <a:pt x="3115762" y="1497689"/>
                  </a:lnTo>
                  <a:lnTo>
                    <a:pt x="3115811" y="1498033"/>
                  </a:lnTo>
                  <a:lnTo>
                    <a:pt x="3117007" y="1498239"/>
                  </a:lnTo>
                  <a:lnTo>
                    <a:pt x="3118117" y="1499096"/>
                  </a:lnTo>
                  <a:lnTo>
                    <a:pt x="3120751" y="1501758"/>
                  </a:lnTo>
                  <a:lnTo>
                    <a:pt x="3122978" y="1502530"/>
                  </a:lnTo>
                  <a:lnTo>
                    <a:pt x="3123586" y="1503086"/>
                  </a:lnTo>
                  <a:lnTo>
                    <a:pt x="3123986" y="1504035"/>
                  </a:lnTo>
                  <a:lnTo>
                    <a:pt x="3124048" y="1504740"/>
                  </a:lnTo>
                  <a:lnTo>
                    <a:pt x="3123983" y="1505279"/>
                  </a:lnTo>
                  <a:lnTo>
                    <a:pt x="3124262" y="1507731"/>
                  </a:lnTo>
                  <a:lnTo>
                    <a:pt x="3123778" y="1509585"/>
                  </a:lnTo>
                  <a:lnTo>
                    <a:pt x="3122580" y="1511523"/>
                  </a:lnTo>
                  <a:lnTo>
                    <a:pt x="3121255" y="1511664"/>
                  </a:lnTo>
                  <a:lnTo>
                    <a:pt x="3120668" y="1510886"/>
                  </a:lnTo>
                  <a:lnTo>
                    <a:pt x="3120466" y="1509424"/>
                  </a:lnTo>
                  <a:lnTo>
                    <a:pt x="3120320" y="1507509"/>
                  </a:lnTo>
                  <a:lnTo>
                    <a:pt x="3115111" y="1510272"/>
                  </a:lnTo>
                  <a:lnTo>
                    <a:pt x="3113849" y="1512227"/>
                  </a:lnTo>
                  <a:lnTo>
                    <a:pt x="3113046" y="1512712"/>
                  </a:lnTo>
                  <a:lnTo>
                    <a:pt x="3112426" y="1511275"/>
                  </a:lnTo>
                  <a:lnTo>
                    <a:pt x="3110831" y="1510728"/>
                  </a:lnTo>
                  <a:lnTo>
                    <a:pt x="3106272" y="1511963"/>
                  </a:lnTo>
                  <a:lnTo>
                    <a:pt x="3105621" y="1511705"/>
                  </a:lnTo>
                  <a:lnTo>
                    <a:pt x="3104935" y="1510862"/>
                  </a:lnTo>
                  <a:lnTo>
                    <a:pt x="3104361" y="1509977"/>
                  </a:lnTo>
                  <a:lnTo>
                    <a:pt x="3104059" y="1509590"/>
                  </a:lnTo>
                  <a:lnTo>
                    <a:pt x="3103588" y="1509422"/>
                  </a:lnTo>
                  <a:lnTo>
                    <a:pt x="3102156" y="1508374"/>
                  </a:lnTo>
                  <a:lnTo>
                    <a:pt x="3101607" y="1508112"/>
                  </a:lnTo>
                  <a:lnTo>
                    <a:pt x="3099200" y="1508067"/>
                  </a:lnTo>
                  <a:lnTo>
                    <a:pt x="3098074" y="1507162"/>
                  </a:lnTo>
                  <a:lnTo>
                    <a:pt x="3096858" y="1504711"/>
                  </a:lnTo>
                  <a:lnTo>
                    <a:pt x="3096134" y="1502931"/>
                  </a:lnTo>
                  <a:lnTo>
                    <a:pt x="3095452" y="1501787"/>
                  </a:lnTo>
                  <a:lnTo>
                    <a:pt x="3094694" y="1501268"/>
                  </a:lnTo>
                  <a:lnTo>
                    <a:pt x="3093733" y="1501374"/>
                  </a:lnTo>
                  <a:lnTo>
                    <a:pt x="3092741" y="1501126"/>
                  </a:lnTo>
                  <a:lnTo>
                    <a:pt x="3088721" y="1498437"/>
                  </a:lnTo>
                  <a:lnTo>
                    <a:pt x="3086714" y="1497893"/>
                  </a:lnTo>
                  <a:lnTo>
                    <a:pt x="3085962" y="1497058"/>
                  </a:lnTo>
                  <a:lnTo>
                    <a:pt x="3085135" y="1494971"/>
                  </a:lnTo>
                  <a:lnTo>
                    <a:pt x="3084687" y="1493599"/>
                  </a:lnTo>
                  <a:lnTo>
                    <a:pt x="3084611" y="1493082"/>
                  </a:lnTo>
                  <a:lnTo>
                    <a:pt x="3087879" y="1490714"/>
                  </a:lnTo>
                  <a:lnTo>
                    <a:pt x="3088464" y="1489609"/>
                  </a:lnTo>
                  <a:lnTo>
                    <a:pt x="3088706" y="1488392"/>
                  </a:lnTo>
                  <a:lnTo>
                    <a:pt x="3088829" y="1485597"/>
                  </a:lnTo>
                  <a:lnTo>
                    <a:pt x="3087304" y="1484183"/>
                  </a:lnTo>
                  <a:lnTo>
                    <a:pt x="3085535" y="1483853"/>
                  </a:lnTo>
                  <a:lnTo>
                    <a:pt x="3083967" y="1484341"/>
                  </a:lnTo>
                  <a:lnTo>
                    <a:pt x="3083008" y="1485335"/>
                  </a:lnTo>
                  <a:lnTo>
                    <a:pt x="3083556" y="1486339"/>
                  </a:lnTo>
                  <a:lnTo>
                    <a:pt x="3083782" y="1486711"/>
                  </a:lnTo>
                  <a:lnTo>
                    <a:pt x="3083106" y="1486901"/>
                  </a:lnTo>
                  <a:lnTo>
                    <a:pt x="3082503" y="1487372"/>
                  </a:lnTo>
                  <a:lnTo>
                    <a:pt x="3082030" y="1488088"/>
                  </a:lnTo>
                  <a:lnTo>
                    <a:pt x="3081759" y="1489039"/>
                  </a:lnTo>
                  <a:lnTo>
                    <a:pt x="3082973" y="1488664"/>
                  </a:lnTo>
                  <a:lnTo>
                    <a:pt x="3083994" y="1487909"/>
                  </a:lnTo>
                  <a:lnTo>
                    <a:pt x="3085108" y="1487669"/>
                  </a:lnTo>
                  <a:lnTo>
                    <a:pt x="3086612" y="1488859"/>
                  </a:lnTo>
                  <a:lnTo>
                    <a:pt x="3086448" y="1490374"/>
                  </a:lnTo>
                  <a:lnTo>
                    <a:pt x="3080540" y="1494250"/>
                  </a:lnTo>
                  <a:lnTo>
                    <a:pt x="3080057" y="1494056"/>
                  </a:lnTo>
                  <a:lnTo>
                    <a:pt x="3079781" y="1493332"/>
                  </a:lnTo>
                  <a:lnTo>
                    <a:pt x="3079536" y="1492601"/>
                  </a:lnTo>
                  <a:lnTo>
                    <a:pt x="3079152" y="1492366"/>
                  </a:lnTo>
                  <a:lnTo>
                    <a:pt x="3077235" y="1493058"/>
                  </a:lnTo>
                  <a:lnTo>
                    <a:pt x="3074266" y="1492509"/>
                  </a:lnTo>
                  <a:lnTo>
                    <a:pt x="3073390" y="1492791"/>
                  </a:lnTo>
                  <a:lnTo>
                    <a:pt x="3074096" y="1491350"/>
                  </a:lnTo>
                  <a:lnTo>
                    <a:pt x="3076693" y="1489946"/>
                  </a:lnTo>
                  <a:lnTo>
                    <a:pt x="3077731" y="1488908"/>
                  </a:lnTo>
                  <a:lnTo>
                    <a:pt x="3077175" y="1488248"/>
                  </a:lnTo>
                  <a:lnTo>
                    <a:pt x="3078904" y="1485794"/>
                  </a:lnTo>
                  <a:lnTo>
                    <a:pt x="3081230" y="1484466"/>
                  </a:lnTo>
                  <a:lnTo>
                    <a:pt x="3081771" y="1483516"/>
                  </a:lnTo>
                  <a:lnTo>
                    <a:pt x="3081785" y="1481777"/>
                  </a:lnTo>
                  <a:lnTo>
                    <a:pt x="3081250" y="1480081"/>
                  </a:lnTo>
                  <a:lnTo>
                    <a:pt x="3080134" y="1479222"/>
                  </a:lnTo>
                  <a:lnTo>
                    <a:pt x="3080207" y="1478016"/>
                  </a:lnTo>
                  <a:lnTo>
                    <a:pt x="3080335" y="1477675"/>
                  </a:lnTo>
                  <a:lnTo>
                    <a:pt x="3080620" y="1477392"/>
                  </a:lnTo>
                  <a:lnTo>
                    <a:pt x="3078904" y="1476103"/>
                  </a:lnTo>
                  <a:lnTo>
                    <a:pt x="3076900" y="1476537"/>
                  </a:lnTo>
                  <a:lnTo>
                    <a:pt x="3072628" y="1481005"/>
                  </a:lnTo>
                  <a:lnTo>
                    <a:pt x="3067520" y="1483777"/>
                  </a:lnTo>
                  <a:lnTo>
                    <a:pt x="3068015" y="1482639"/>
                  </a:lnTo>
                  <a:lnTo>
                    <a:pt x="3072959" y="1478827"/>
                  </a:lnTo>
                  <a:lnTo>
                    <a:pt x="3073589" y="1477704"/>
                  </a:lnTo>
                  <a:lnTo>
                    <a:pt x="3071499" y="1477612"/>
                  </a:lnTo>
                  <a:lnTo>
                    <a:pt x="3068314" y="1481048"/>
                  </a:lnTo>
                  <a:lnTo>
                    <a:pt x="3066493" y="1480971"/>
                  </a:lnTo>
                  <a:lnTo>
                    <a:pt x="3072004" y="1475025"/>
                  </a:lnTo>
                  <a:lnTo>
                    <a:pt x="3069481" y="1476655"/>
                  </a:lnTo>
                  <a:lnTo>
                    <a:pt x="3068275" y="1478540"/>
                  </a:lnTo>
                  <a:lnTo>
                    <a:pt x="3067496" y="1479076"/>
                  </a:lnTo>
                  <a:lnTo>
                    <a:pt x="3066474" y="1478595"/>
                  </a:lnTo>
                  <a:lnTo>
                    <a:pt x="3066466" y="1477175"/>
                  </a:lnTo>
                  <a:lnTo>
                    <a:pt x="3067900" y="1473083"/>
                  </a:lnTo>
                  <a:lnTo>
                    <a:pt x="3068285" y="1472491"/>
                  </a:lnTo>
                  <a:lnTo>
                    <a:pt x="3074678" y="1467620"/>
                  </a:lnTo>
                  <a:lnTo>
                    <a:pt x="3073293" y="1470368"/>
                  </a:lnTo>
                  <a:lnTo>
                    <a:pt x="3072970" y="1471494"/>
                  </a:lnTo>
                  <a:lnTo>
                    <a:pt x="3073668" y="1471156"/>
                  </a:lnTo>
                  <a:lnTo>
                    <a:pt x="3074691" y="1469577"/>
                  </a:lnTo>
                  <a:lnTo>
                    <a:pt x="3075348" y="1469039"/>
                  </a:lnTo>
                  <a:lnTo>
                    <a:pt x="3077082" y="1468597"/>
                  </a:lnTo>
                  <a:lnTo>
                    <a:pt x="3077755" y="1467916"/>
                  </a:lnTo>
                  <a:lnTo>
                    <a:pt x="3077925" y="1466436"/>
                  </a:lnTo>
                  <a:lnTo>
                    <a:pt x="3076784" y="1464877"/>
                  </a:lnTo>
                  <a:lnTo>
                    <a:pt x="3075985" y="1464353"/>
                  </a:lnTo>
                  <a:lnTo>
                    <a:pt x="3074409" y="1464615"/>
                  </a:lnTo>
                  <a:lnTo>
                    <a:pt x="3073555" y="1464452"/>
                  </a:lnTo>
                  <a:lnTo>
                    <a:pt x="3070602" y="1462749"/>
                  </a:lnTo>
                  <a:lnTo>
                    <a:pt x="3069471" y="1462563"/>
                  </a:lnTo>
                  <a:lnTo>
                    <a:pt x="3068807" y="1463130"/>
                  </a:lnTo>
                  <a:lnTo>
                    <a:pt x="3068285" y="1463948"/>
                  </a:lnTo>
                  <a:lnTo>
                    <a:pt x="3066971" y="1465029"/>
                  </a:lnTo>
                  <a:lnTo>
                    <a:pt x="3065750" y="1466917"/>
                  </a:lnTo>
                  <a:lnTo>
                    <a:pt x="3065648" y="1467786"/>
                  </a:lnTo>
                  <a:lnTo>
                    <a:pt x="3065184" y="1468086"/>
                  </a:lnTo>
                  <a:lnTo>
                    <a:pt x="3065053" y="1468719"/>
                  </a:lnTo>
                  <a:lnTo>
                    <a:pt x="3065153" y="1470708"/>
                  </a:lnTo>
                  <a:lnTo>
                    <a:pt x="3064910" y="1471495"/>
                  </a:lnTo>
                  <a:lnTo>
                    <a:pt x="3063754" y="1472571"/>
                  </a:lnTo>
                  <a:lnTo>
                    <a:pt x="3063394" y="1473353"/>
                  </a:lnTo>
                  <a:lnTo>
                    <a:pt x="3064353" y="1474580"/>
                  </a:lnTo>
                  <a:lnTo>
                    <a:pt x="3064592" y="1475619"/>
                  </a:lnTo>
                  <a:lnTo>
                    <a:pt x="3064375" y="1476477"/>
                  </a:lnTo>
                  <a:lnTo>
                    <a:pt x="3063948" y="1477126"/>
                  </a:lnTo>
                  <a:lnTo>
                    <a:pt x="3065124" y="1479022"/>
                  </a:lnTo>
                  <a:lnTo>
                    <a:pt x="3065360" y="1481235"/>
                  </a:lnTo>
                  <a:lnTo>
                    <a:pt x="3065104" y="1484243"/>
                  </a:lnTo>
                  <a:lnTo>
                    <a:pt x="3065393" y="1486158"/>
                  </a:lnTo>
                  <a:lnTo>
                    <a:pt x="3064698" y="1486897"/>
                  </a:lnTo>
                  <a:lnTo>
                    <a:pt x="3062733" y="1487072"/>
                  </a:lnTo>
                  <a:lnTo>
                    <a:pt x="3062079" y="1486894"/>
                  </a:lnTo>
                  <a:lnTo>
                    <a:pt x="3059666" y="1484925"/>
                  </a:lnTo>
                  <a:lnTo>
                    <a:pt x="3057162" y="1484291"/>
                  </a:lnTo>
                  <a:lnTo>
                    <a:pt x="3053337" y="1481307"/>
                  </a:lnTo>
                  <a:lnTo>
                    <a:pt x="3052602" y="1481151"/>
                  </a:lnTo>
                  <a:lnTo>
                    <a:pt x="3051714" y="1480501"/>
                  </a:lnTo>
                  <a:lnTo>
                    <a:pt x="3049755" y="1478401"/>
                  </a:lnTo>
                  <a:lnTo>
                    <a:pt x="3048824" y="1477653"/>
                  </a:lnTo>
                  <a:lnTo>
                    <a:pt x="3047770" y="1477376"/>
                  </a:lnTo>
                  <a:lnTo>
                    <a:pt x="3046952" y="1477701"/>
                  </a:lnTo>
                  <a:lnTo>
                    <a:pt x="3046307" y="1478482"/>
                  </a:lnTo>
                  <a:lnTo>
                    <a:pt x="3045788" y="1479579"/>
                  </a:lnTo>
                  <a:lnTo>
                    <a:pt x="3045167" y="1482439"/>
                  </a:lnTo>
                  <a:lnTo>
                    <a:pt x="3046000" y="1483988"/>
                  </a:lnTo>
                  <a:lnTo>
                    <a:pt x="3049812" y="1486875"/>
                  </a:lnTo>
                  <a:lnTo>
                    <a:pt x="3048951" y="1490481"/>
                  </a:lnTo>
                  <a:lnTo>
                    <a:pt x="3047532" y="1493280"/>
                  </a:lnTo>
                  <a:lnTo>
                    <a:pt x="3043706" y="1497278"/>
                  </a:lnTo>
                  <a:lnTo>
                    <a:pt x="3041934" y="1500925"/>
                  </a:lnTo>
                  <a:lnTo>
                    <a:pt x="3037572" y="1503758"/>
                  </a:lnTo>
                  <a:lnTo>
                    <a:pt x="3037004" y="1504662"/>
                  </a:lnTo>
                  <a:lnTo>
                    <a:pt x="3036417" y="1508394"/>
                  </a:lnTo>
                  <a:lnTo>
                    <a:pt x="3036002" y="1509885"/>
                  </a:lnTo>
                  <a:lnTo>
                    <a:pt x="3027500" y="1521768"/>
                  </a:lnTo>
                  <a:lnTo>
                    <a:pt x="3020325" y="1526891"/>
                  </a:lnTo>
                  <a:lnTo>
                    <a:pt x="3016828" y="1527170"/>
                  </a:lnTo>
                  <a:lnTo>
                    <a:pt x="3013065" y="1522993"/>
                  </a:lnTo>
                  <a:lnTo>
                    <a:pt x="3012109" y="1519116"/>
                  </a:lnTo>
                  <a:lnTo>
                    <a:pt x="3013929" y="1512168"/>
                  </a:lnTo>
                  <a:lnTo>
                    <a:pt x="3014151" y="1508487"/>
                  </a:lnTo>
                  <a:lnTo>
                    <a:pt x="3013267" y="1505423"/>
                  </a:lnTo>
                  <a:lnTo>
                    <a:pt x="3012253" y="1505215"/>
                  </a:lnTo>
                  <a:lnTo>
                    <a:pt x="3011001" y="1505761"/>
                  </a:lnTo>
                  <a:lnTo>
                    <a:pt x="3009404" y="1504975"/>
                  </a:lnTo>
                  <a:lnTo>
                    <a:pt x="3007899" y="1503106"/>
                  </a:lnTo>
                  <a:lnTo>
                    <a:pt x="3007097" y="1501656"/>
                  </a:lnTo>
                  <a:lnTo>
                    <a:pt x="3006787" y="1500011"/>
                  </a:lnTo>
                  <a:lnTo>
                    <a:pt x="3006761" y="1497565"/>
                  </a:lnTo>
                  <a:lnTo>
                    <a:pt x="3005928" y="1496518"/>
                  </a:lnTo>
                  <a:lnTo>
                    <a:pt x="3005122" y="1494634"/>
                  </a:lnTo>
                  <a:lnTo>
                    <a:pt x="3004680" y="1492770"/>
                  </a:lnTo>
                  <a:lnTo>
                    <a:pt x="3004953" y="1491795"/>
                  </a:lnTo>
                  <a:lnTo>
                    <a:pt x="3005419" y="1491449"/>
                  </a:lnTo>
                  <a:lnTo>
                    <a:pt x="3006623" y="1489673"/>
                  </a:lnTo>
                  <a:lnTo>
                    <a:pt x="3011106" y="1485578"/>
                  </a:lnTo>
                  <a:lnTo>
                    <a:pt x="3021294" y="1483885"/>
                  </a:lnTo>
                  <a:lnTo>
                    <a:pt x="3022664" y="1484267"/>
                  </a:lnTo>
                  <a:lnTo>
                    <a:pt x="3025155" y="1486194"/>
                  </a:lnTo>
                  <a:lnTo>
                    <a:pt x="3026322" y="1486356"/>
                  </a:lnTo>
                  <a:lnTo>
                    <a:pt x="3028817" y="1485258"/>
                  </a:lnTo>
                  <a:lnTo>
                    <a:pt x="3029053" y="1484745"/>
                  </a:lnTo>
                  <a:lnTo>
                    <a:pt x="3029357" y="1483602"/>
                  </a:lnTo>
                  <a:lnTo>
                    <a:pt x="3031162" y="1480247"/>
                  </a:lnTo>
                  <a:lnTo>
                    <a:pt x="3033184" y="1478395"/>
                  </a:lnTo>
                  <a:lnTo>
                    <a:pt x="3032765" y="1475560"/>
                  </a:lnTo>
                  <a:lnTo>
                    <a:pt x="3033650" y="1474568"/>
                  </a:lnTo>
                  <a:lnTo>
                    <a:pt x="3035976" y="1473435"/>
                  </a:lnTo>
                  <a:lnTo>
                    <a:pt x="3038566" y="1473234"/>
                  </a:lnTo>
                  <a:lnTo>
                    <a:pt x="3039584" y="1472635"/>
                  </a:lnTo>
                  <a:lnTo>
                    <a:pt x="3039995" y="1470852"/>
                  </a:lnTo>
                  <a:lnTo>
                    <a:pt x="3039773" y="1470124"/>
                  </a:lnTo>
                  <a:lnTo>
                    <a:pt x="3038720" y="1468233"/>
                  </a:lnTo>
                  <a:lnTo>
                    <a:pt x="3038342" y="1467479"/>
                  </a:lnTo>
                  <a:lnTo>
                    <a:pt x="3038225" y="1466521"/>
                  </a:lnTo>
                  <a:lnTo>
                    <a:pt x="3038864" y="1465553"/>
                  </a:lnTo>
                  <a:lnTo>
                    <a:pt x="3038849" y="1464889"/>
                  </a:lnTo>
                  <a:lnTo>
                    <a:pt x="3035583" y="1458827"/>
                  </a:lnTo>
                  <a:lnTo>
                    <a:pt x="3035330" y="1457774"/>
                  </a:lnTo>
                  <a:lnTo>
                    <a:pt x="3034854" y="1457167"/>
                  </a:lnTo>
                  <a:lnTo>
                    <a:pt x="3029858" y="1452963"/>
                  </a:lnTo>
                  <a:lnTo>
                    <a:pt x="3026928" y="1451943"/>
                  </a:lnTo>
                  <a:lnTo>
                    <a:pt x="3024073" y="1450316"/>
                  </a:lnTo>
                  <a:lnTo>
                    <a:pt x="3020991" y="1449555"/>
                  </a:lnTo>
                  <a:lnTo>
                    <a:pt x="3019744" y="1449733"/>
                  </a:lnTo>
                  <a:lnTo>
                    <a:pt x="3019310" y="1449535"/>
                  </a:lnTo>
                  <a:lnTo>
                    <a:pt x="3017754" y="1448294"/>
                  </a:lnTo>
                  <a:lnTo>
                    <a:pt x="3017235" y="1447762"/>
                  </a:lnTo>
                  <a:lnTo>
                    <a:pt x="3016734" y="1447486"/>
                  </a:lnTo>
                  <a:lnTo>
                    <a:pt x="3013140" y="1447527"/>
                  </a:lnTo>
                  <a:lnTo>
                    <a:pt x="3007802" y="1445843"/>
                  </a:lnTo>
                  <a:lnTo>
                    <a:pt x="3005906" y="1446094"/>
                  </a:lnTo>
                  <a:lnTo>
                    <a:pt x="3001340" y="1449595"/>
                  </a:lnTo>
                  <a:lnTo>
                    <a:pt x="3000016" y="1449461"/>
                  </a:lnTo>
                  <a:lnTo>
                    <a:pt x="2999092" y="1448306"/>
                  </a:lnTo>
                  <a:lnTo>
                    <a:pt x="2998191" y="1446600"/>
                  </a:lnTo>
                  <a:lnTo>
                    <a:pt x="2996938" y="1444843"/>
                  </a:lnTo>
                  <a:lnTo>
                    <a:pt x="2995559" y="1443623"/>
                  </a:lnTo>
                  <a:lnTo>
                    <a:pt x="2987989" y="1439228"/>
                  </a:lnTo>
                  <a:lnTo>
                    <a:pt x="2986424" y="1437778"/>
                  </a:lnTo>
                  <a:lnTo>
                    <a:pt x="2985350" y="1435172"/>
                  </a:lnTo>
                  <a:lnTo>
                    <a:pt x="2985289" y="1432855"/>
                  </a:lnTo>
                  <a:lnTo>
                    <a:pt x="2985945" y="1431219"/>
                  </a:lnTo>
                  <a:lnTo>
                    <a:pt x="2986811" y="1429821"/>
                  </a:lnTo>
                  <a:lnTo>
                    <a:pt x="2988253" y="1424312"/>
                  </a:lnTo>
                  <a:lnTo>
                    <a:pt x="2988816" y="1423816"/>
                  </a:lnTo>
                  <a:lnTo>
                    <a:pt x="2991658" y="1424433"/>
                  </a:lnTo>
                  <a:lnTo>
                    <a:pt x="2993650" y="1424234"/>
                  </a:lnTo>
                  <a:lnTo>
                    <a:pt x="2998277" y="1425367"/>
                  </a:lnTo>
                  <a:lnTo>
                    <a:pt x="2998941" y="1425129"/>
                  </a:lnTo>
                  <a:lnTo>
                    <a:pt x="2998696" y="1424423"/>
                  </a:lnTo>
                  <a:lnTo>
                    <a:pt x="2997595" y="1423489"/>
                  </a:lnTo>
                  <a:lnTo>
                    <a:pt x="2997498" y="1422123"/>
                  </a:lnTo>
                  <a:lnTo>
                    <a:pt x="2998207" y="1419789"/>
                  </a:lnTo>
                  <a:lnTo>
                    <a:pt x="2991670" y="1421647"/>
                  </a:lnTo>
                  <a:lnTo>
                    <a:pt x="2990571" y="1421382"/>
                  </a:lnTo>
                  <a:lnTo>
                    <a:pt x="2989626" y="1420385"/>
                  </a:lnTo>
                  <a:lnTo>
                    <a:pt x="2989472" y="1419456"/>
                  </a:lnTo>
                  <a:lnTo>
                    <a:pt x="2989085" y="1418995"/>
                  </a:lnTo>
                  <a:lnTo>
                    <a:pt x="2988639" y="1419036"/>
                  </a:lnTo>
                  <a:lnTo>
                    <a:pt x="2987796" y="1420424"/>
                  </a:lnTo>
                  <a:lnTo>
                    <a:pt x="2982820" y="1421852"/>
                  </a:lnTo>
                  <a:lnTo>
                    <a:pt x="2981684" y="1422917"/>
                  </a:lnTo>
                  <a:lnTo>
                    <a:pt x="2981533" y="1424648"/>
                  </a:lnTo>
                  <a:lnTo>
                    <a:pt x="2984970" y="1423347"/>
                  </a:lnTo>
                  <a:lnTo>
                    <a:pt x="2985468" y="1423378"/>
                  </a:lnTo>
                  <a:lnTo>
                    <a:pt x="2986186" y="1423819"/>
                  </a:lnTo>
                  <a:lnTo>
                    <a:pt x="2986277" y="1426118"/>
                  </a:lnTo>
                  <a:lnTo>
                    <a:pt x="2986149" y="1427862"/>
                  </a:lnTo>
                  <a:lnTo>
                    <a:pt x="2985658" y="1429107"/>
                  </a:lnTo>
                  <a:lnTo>
                    <a:pt x="2984680" y="1429894"/>
                  </a:lnTo>
                  <a:lnTo>
                    <a:pt x="2984281" y="1429801"/>
                  </a:lnTo>
                  <a:lnTo>
                    <a:pt x="2983797" y="1429512"/>
                  </a:lnTo>
                  <a:lnTo>
                    <a:pt x="2983386" y="1429437"/>
                  </a:lnTo>
                  <a:lnTo>
                    <a:pt x="2983206" y="1429988"/>
                  </a:lnTo>
                  <a:lnTo>
                    <a:pt x="2983319" y="1430498"/>
                  </a:lnTo>
                  <a:lnTo>
                    <a:pt x="2983571" y="1430926"/>
                  </a:lnTo>
                  <a:lnTo>
                    <a:pt x="2983822" y="1431400"/>
                  </a:lnTo>
                  <a:lnTo>
                    <a:pt x="2983914" y="1432077"/>
                  </a:lnTo>
                  <a:lnTo>
                    <a:pt x="2983648" y="1435733"/>
                  </a:lnTo>
                  <a:lnTo>
                    <a:pt x="2983106" y="1436680"/>
                  </a:lnTo>
                  <a:lnTo>
                    <a:pt x="2977957" y="1437113"/>
                  </a:lnTo>
                  <a:lnTo>
                    <a:pt x="2975741" y="1436132"/>
                  </a:lnTo>
                  <a:lnTo>
                    <a:pt x="2975387" y="1435481"/>
                  </a:lnTo>
                  <a:lnTo>
                    <a:pt x="2975302" y="1433759"/>
                  </a:lnTo>
                  <a:lnTo>
                    <a:pt x="2975504" y="1432992"/>
                  </a:lnTo>
                  <a:lnTo>
                    <a:pt x="2976345" y="1431903"/>
                  </a:lnTo>
                  <a:lnTo>
                    <a:pt x="2976557" y="1430992"/>
                  </a:lnTo>
                  <a:lnTo>
                    <a:pt x="2975912" y="1432185"/>
                  </a:lnTo>
                  <a:lnTo>
                    <a:pt x="2973782" y="1433230"/>
                  </a:lnTo>
                  <a:lnTo>
                    <a:pt x="2972867" y="1435996"/>
                  </a:lnTo>
                  <a:lnTo>
                    <a:pt x="2971847" y="1436649"/>
                  </a:lnTo>
                  <a:lnTo>
                    <a:pt x="2970624" y="1436783"/>
                  </a:lnTo>
                  <a:lnTo>
                    <a:pt x="2969580" y="1436401"/>
                  </a:lnTo>
                  <a:lnTo>
                    <a:pt x="2969058" y="1435658"/>
                  </a:lnTo>
                  <a:lnTo>
                    <a:pt x="2968718" y="1434731"/>
                  </a:lnTo>
                  <a:lnTo>
                    <a:pt x="2968361" y="1434005"/>
                  </a:lnTo>
                  <a:lnTo>
                    <a:pt x="2967775" y="1433844"/>
                  </a:lnTo>
                  <a:lnTo>
                    <a:pt x="2966152" y="1435151"/>
                  </a:lnTo>
                  <a:lnTo>
                    <a:pt x="2965307" y="1435189"/>
                  </a:lnTo>
                  <a:lnTo>
                    <a:pt x="2962241" y="1434063"/>
                  </a:lnTo>
                  <a:lnTo>
                    <a:pt x="2962089" y="1430926"/>
                  </a:lnTo>
                  <a:lnTo>
                    <a:pt x="2963276" y="1429200"/>
                  </a:lnTo>
                  <a:lnTo>
                    <a:pt x="2966513" y="1427981"/>
                  </a:lnTo>
                  <a:lnTo>
                    <a:pt x="2966756" y="1427518"/>
                  </a:lnTo>
                  <a:lnTo>
                    <a:pt x="2966864" y="1425825"/>
                  </a:lnTo>
                  <a:lnTo>
                    <a:pt x="2967147" y="1425354"/>
                  </a:lnTo>
                  <a:lnTo>
                    <a:pt x="2967613" y="1425456"/>
                  </a:lnTo>
                  <a:lnTo>
                    <a:pt x="2968415" y="1426318"/>
                  </a:lnTo>
                  <a:lnTo>
                    <a:pt x="2968866" y="1426438"/>
                  </a:lnTo>
                  <a:lnTo>
                    <a:pt x="2969415" y="1425779"/>
                  </a:lnTo>
                  <a:lnTo>
                    <a:pt x="2970041" y="1423724"/>
                  </a:lnTo>
                  <a:lnTo>
                    <a:pt x="2970744" y="1423472"/>
                  </a:lnTo>
                  <a:lnTo>
                    <a:pt x="2970811" y="1424601"/>
                  </a:lnTo>
                  <a:lnTo>
                    <a:pt x="2970753" y="1425601"/>
                  </a:lnTo>
                  <a:lnTo>
                    <a:pt x="2970431" y="1427421"/>
                  </a:lnTo>
                  <a:lnTo>
                    <a:pt x="2972705" y="1426028"/>
                  </a:lnTo>
                  <a:lnTo>
                    <a:pt x="2973816" y="1424813"/>
                  </a:lnTo>
                  <a:lnTo>
                    <a:pt x="2974305" y="1421453"/>
                  </a:lnTo>
                  <a:lnTo>
                    <a:pt x="2974198" y="1421133"/>
                  </a:lnTo>
                  <a:lnTo>
                    <a:pt x="2974000" y="1420332"/>
                  </a:lnTo>
                  <a:lnTo>
                    <a:pt x="2973808" y="1419356"/>
                  </a:lnTo>
                  <a:lnTo>
                    <a:pt x="2973719" y="1418500"/>
                  </a:lnTo>
                  <a:lnTo>
                    <a:pt x="2972255" y="1417969"/>
                  </a:lnTo>
                  <a:lnTo>
                    <a:pt x="2971128" y="1418772"/>
                  </a:lnTo>
                  <a:lnTo>
                    <a:pt x="2970014" y="1419079"/>
                  </a:lnTo>
                  <a:lnTo>
                    <a:pt x="2968592" y="1417040"/>
                  </a:lnTo>
                  <a:lnTo>
                    <a:pt x="2968172" y="1414348"/>
                  </a:lnTo>
                  <a:lnTo>
                    <a:pt x="2969502" y="1413268"/>
                  </a:lnTo>
                  <a:lnTo>
                    <a:pt x="2971301" y="1412582"/>
                  </a:lnTo>
                  <a:lnTo>
                    <a:pt x="2972290" y="1411050"/>
                  </a:lnTo>
                  <a:lnTo>
                    <a:pt x="2970988" y="1409474"/>
                  </a:lnTo>
                  <a:lnTo>
                    <a:pt x="2970039" y="1410009"/>
                  </a:lnTo>
                  <a:lnTo>
                    <a:pt x="2969175" y="1411396"/>
                  </a:lnTo>
                  <a:lnTo>
                    <a:pt x="2968148" y="1412405"/>
                  </a:lnTo>
                  <a:lnTo>
                    <a:pt x="2961026" y="1414715"/>
                  </a:lnTo>
                  <a:lnTo>
                    <a:pt x="2960812" y="1414069"/>
                  </a:lnTo>
                  <a:lnTo>
                    <a:pt x="2961797" y="1412279"/>
                  </a:lnTo>
                  <a:lnTo>
                    <a:pt x="2962199" y="1411153"/>
                  </a:lnTo>
                  <a:lnTo>
                    <a:pt x="2962296" y="1409594"/>
                  </a:lnTo>
                  <a:lnTo>
                    <a:pt x="2960489" y="1410421"/>
                  </a:lnTo>
                  <a:lnTo>
                    <a:pt x="2959696" y="1411219"/>
                  </a:lnTo>
                  <a:lnTo>
                    <a:pt x="2959133" y="1412256"/>
                  </a:lnTo>
                  <a:lnTo>
                    <a:pt x="2958661" y="1414678"/>
                  </a:lnTo>
                  <a:lnTo>
                    <a:pt x="2958257" y="1415662"/>
                  </a:lnTo>
                  <a:lnTo>
                    <a:pt x="2956062" y="1414699"/>
                  </a:lnTo>
                  <a:lnTo>
                    <a:pt x="2952553" y="1415442"/>
                  </a:lnTo>
                  <a:lnTo>
                    <a:pt x="2951638" y="1415048"/>
                  </a:lnTo>
                  <a:lnTo>
                    <a:pt x="2951486" y="1412143"/>
                  </a:lnTo>
                  <a:lnTo>
                    <a:pt x="2956350" y="1405991"/>
                  </a:lnTo>
                  <a:lnTo>
                    <a:pt x="2959644" y="1403554"/>
                  </a:lnTo>
                  <a:lnTo>
                    <a:pt x="2960193" y="1400796"/>
                  </a:lnTo>
                  <a:lnTo>
                    <a:pt x="2957198" y="1402452"/>
                  </a:lnTo>
                  <a:lnTo>
                    <a:pt x="2952907" y="1407320"/>
                  </a:lnTo>
                  <a:lnTo>
                    <a:pt x="2952464" y="1408452"/>
                  </a:lnTo>
                  <a:lnTo>
                    <a:pt x="2951880" y="1409119"/>
                  </a:lnTo>
                  <a:lnTo>
                    <a:pt x="2950224" y="1409731"/>
                  </a:lnTo>
                  <a:lnTo>
                    <a:pt x="2949893" y="1410872"/>
                  </a:lnTo>
                  <a:lnTo>
                    <a:pt x="2949072" y="1412201"/>
                  </a:lnTo>
                  <a:lnTo>
                    <a:pt x="2944566" y="1414910"/>
                  </a:lnTo>
                  <a:lnTo>
                    <a:pt x="2944485" y="1416977"/>
                  </a:lnTo>
                  <a:lnTo>
                    <a:pt x="2940703" y="1420456"/>
                  </a:lnTo>
                  <a:lnTo>
                    <a:pt x="2941938" y="1420670"/>
                  </a:lnTo>
                  <a:lnTo>
                    <a:pt x="2942489" y="1420512"/>
                  </a:lnTo>
                  <a:lnTo>
                    <a:pt x="2943962" y="1418595"/>
                  </a:lnTo>
                  <a:lnTo>
                    <a:pt x="2944593" y="1418411"/>
                  </a:lnTo>
                  <a:lnTo>
                    <a:pt x="2945351" y="1418997"/>
                  </a:lnTo>
                  <a:lnTo>
                    <a:pt x="2945095" y="1419791"/>
                  </a:lnTo>
                  <a:lnTo>
                    <a:pt x="2946031" y="1420485"/>
                  </a:lnTo>
                  <a:lnTo>
                    <a:pt x="2947688" y="1420894"/>
                  </a:lnTo>
                  <a:lnTo>
                    <a:pt x="2948730" y="1421843"/>
                  </a:lnTo>
                  <a:lnTo>
                    <a:pt x="2948051" y="1422062"/>
                  </a:lnTo>
                  <a:lnTo>
                    <a:pt x="2945805" y="1421982"/>
                  </a:lnTo>
                  <a:lnTo>
                    <a:pt x="2946618" y="1424541"/>
                  </a:lnTo>
                  <a:lnTo>
                    <a:pt x="2946254" y="1426823"/>
                  </a:lnTo>
                  <a:lnTo>
                    <a:pt x="2945253" y="1428381"/>
                  </a:lnTo>
                  <a:lnTo>
                    <a:pt x="2944159" y="1428752"/>
                  </a:lnTo>
                  <a:lnTo>
                    <a:pt x="2942747" y="1427489"/>
                  </a:lnTo>
                  <a:lnTo>
                    <a:pt x="2941549" y="1425348"/>
                  </a:lnTo>
                  <a:lnTo>
                    <a:pt x="2940355" y="1422968"/>
                  </a:lnTo>
                  <a:lnTo>
                    <a:pt x="2938967" y="1420998"/>
                  </a:lnTo>
                  <a:lnTo>
                    <a:pt x="2938487" y="1417725"/>
                  </a:lnTo>
                  <a:lnTo>
                    <a:pt x="2936896" y="1413108"/>
                  </a:lnTo>
                  <a:lnTo>
                    <a:pt x="2935013" y="1408713"/>
                  </a:lnTo>
                  <a:lnTo>
                    <a:pt x="2933916" y="1406019"/>
                  </a:lnTo>
                  <a:lnTo>
                    <a:pt x="2932772" y="1403526"/>
                  </a:lnTo>
                  <a:lnTo>
                    <a:pt x="2932309" y="1401063"/>
                  </a:lnTo>
                  <a:lnTo>
                    <a:pt x="2932067" y="1398647"/>
                  </a:lnTo>
                  <a:lnTo>
                    <a:pt x="2931577" y="1396244"/>
                  </a:lnTo>
                  <a:lnTo>
                    <a:pt x="2930570" y="1393289"/>
                  </a:lnTo>
                  <a:lnTo>
                    <a:pt x="2929693" y="1391123"/>
                  </a:lnTo>
                  <a:lnTo>
                    <a:pt x="2927495" y="1386929"/>
                  </a:lnTo>
                  <a:lnTo>
                    <a:pt x="2926986" y="1383680"/>
                  </a:lnTo>
                  <a:lnTo>
                    <a:pt x="2925646" y="1382086"/>
                  </a:lnTo>
                  <a:lnTo>
                    <a:pt x="2923883" y="1381071"/>
                  </a:lnTo>
                  <a:lnTo>
                    <a:pt x="2922102" y="1379559"/>
                  </a:lnTo>
                  <a:lnTo>
                    <a:pt x="2921020" y="1378177"/>
                  </a:lnTo>
                  <a:lnTo>
                    <a:pt x="2920665" y="1377929"/>
                  </a:lnTo>
                  <a:lnTo>
                    <a:pt x="2920485" y="1378348"/>
                  </a:lnTo>
                  <a:lnTo>
                    <a:pt x="2919928" y="1378990"/>
                  </a:lnTo>
                  <a:lnTo>
                    <a:pt x="2919103" y="1379036"/>
                  </a:lnTo>
                  <a:lnTo>
                    <a:pt x="2917601" y="1377839"/>
                  </a:lnTo>
                  <a:lnTo>
                    <a:pt x="2916965" y="1377631"/>
                  </a:lnTo>
                  <a:lnTo>
                    <a:pt x="2915720" y="1378759"/>
                  </a:lnTo>
                  <a:lnTo>
                    <a:pt x="2913696" y="1382644"/>
                  </a:lnTo>
                  <a:lnTo>
                    <a:pt x="2912556" y="1383741"/>
                  </a:lnTo>
                  <a:lnTo>
                    <a:pt x="2911931" y="1383509"/>
                  </a:lnTo>
                  <a:lnTo>
                    <a:pt x="2909343" y="1381529"/>
                  </a:lnTo>
                  <a:lnTo>
                    <a:pt x="2907827" y="1381294"/>
                  </a:lnTo>
                  <a:lnTo>
                    <a:pt x="2906453" y="1381627"/>
                  </a:lnTo>
                  <a:lnTo>
                    <a:pt x="2906676" y="1382340"/>
                  </a:lnTo>
                  <a:lnTo>
                    <a:pt x="2907336" y="1382627"/>
                  </a:lnTo>
                  <a:lnTo>
                    <a:pt x="2908844" y="1383697"/>
                  </a:lnTo>
                  <a:lnTo>
                    <a:pt x="2909413" y="1383849"/>
                  </a:lnTo>
                  <a:lnTo>
                    <a:pt x="2909689" y="1384248"/>
                  </a:lnTo>
                  <a:lnTo>
                    <a:pt x="2909821" y="1385286"/>
                  </a:lnTo>
                  <a:lnTo>
                    <a:pt x="2909844" y="1386347"/>
                  </a:lnTo>
                  <a:lnTo>
                    <a:pt x="2909800" y="1386843"/>
                  </a:lnTo>
                  <a:lnTo>
                    <a:pt x="2907480" y="1387268"/>
                  </a:lnTo>
                  <a:lnTo>
                    <a:pt x="2906309" y="1386722"/>
                  </a:lnTo>
                  <a:lnTo>
                    <a:pt x="2906139" y="1384843"/>
                  </a:lnTo>
                  <a:lnTo>
                    <a:pt x="2903972" y="1386346"/>
                  </a:lnTo>
                  <a:lnTo>
                    <a:pt x="2903755" y="1386769"/>
                  </a:lnTo>
                  <a:lnTo>
                    <a:pt x="2903711" y="1388332"/>
                  </a:lnTo>
                  <a:lnTo>
                    <a:pt x="2903527" y="1388740"/>
                  </a:lnTo>
                  <a:lnTo>
                    <a:pt x="2902697" y="1388651"/>
                  </a:lnTo>
                  <a:lnTo>
                    <a:pt x="2900976" y="1387901"/>
                  </a:lnTo>
                  <a:lnTo>
                    <a:pt x="2900314" y="1388155"/>
                  </a:lnTo>
                  <a:lnTo>
                    <a:pt x="2900345" y="1387798"/>
                  </a:lnTo>
                  <a:lnTo>
                    <a:pt x="2900356" y="1386584"/>
                  </a:lnTo>
                  <a:lnTo>
                    <a:pt x="2898299" y="1384027"/>
                  </a:lnTo>
                  <a:lnTo>
                    <a:pt x="2896393" y="1382134"/>
                  </a:lnTo>
                  <a:lnTo>
                    <a:pt x="2892604" y="1379484"/>
                  </a:lnTo>
                  <a:lnTo>
                    <a:pt x="2892850" y="1379049"/>
                  </a:lnTo>
                  <a:lnTo>
                    <a:pt x="2893479" y="1378548"/>
                  </a:lnTo>
                  <a:lnTo>
                    <a:pt x="2893869" y="1378404"/>
                  </a:lnTo>
                  <a:lnTo>
                    <a:pt x="2894080" y="1378099"/>
                  </a:lnTo>
                  <a:lnTo>
                    <a:pt x="2894190" y="1376991"/>
                  </a:lnTo>
                  <a:lnTo>
                    <a:pt x="2894403" y="1376691"/>
                  </a:lnTo>
                  <a:lnTo>
                    <a:pt x="2895960" y="1376407"/>
                  </a:lnTo>
                  <a:lnTo>
                    <a:pt x="2896655" y="1375994"/>
                  </a:lnTo>
                  <a:lnTo>
                    <a:pt x="2897050" y="1375120"/>
                  </a:lnTo>
                  <a:lnTo>
                    <a:pt x="2893098" y="1374465"/>
                  </a:lnTo>
                  <a:lnTo>
                    <a:pt x="2891300" y="1374810"/>
                  </a:lnTo>
                  <a:lnTo>
                    <a:pt x="2890093" y="1376416"/>
                  </a:lnTo>
                  <a:lnTo>
                    <a:pt x="2890093" y="1377194"/>
                  </a:lnTo>
                  <a:lnTo>
                    <a:pt x="2890478" y="1377483"/>
                  </a:lnTo>
                  <a:lnTo>
                    <a:pt x="2891708" y="1379046"/>
                  </a:lnTo>
                  <a:lnTo>
                    <a:pt x="2891039" y="1379690"/>
                  </a:lnTo>
                  <a:lnTo>
                    <a:pt x="2886953" y="1376497"/>
                  </a:lnTo>
                  <a:lnTo>
                    <a:pt x="2886951" y="1375691"/>
                  </a:lnTo>
                  <a:lnTo>
                    <a:pt x="2887079" y="1374180"/>
                  </a:lnTo>
                  <a:lnTo>
                    <a:pt x="2887085" y="1373418"/>
                  </a:lnTo>
                  <a:lnTo>
                    <a:pt x="2885380" y="1374098"/>
                  </a:lnTo>
                  <a:lnTo>
                    <a:pt x="2884724" y="1373805"/>
                  </a:lnTo>
                  <a:lnTo>
                    <a:pt x="2881821" y="1369519"/>
                  </a:lnTo>
                  <a:lnTo>
                    <a:pt x="2881154" y="1368159"/>
                  </a:lnTo>
                  <a:lnTo>
                    <a:pt x="2880811" y="1366579"/>
                  </a:lnTo>
                  <a:lnTo>
                    <a:pt x="2879766" y="1366955"/>
                  </a:lnTo>
                  <a:lnTo>
                    <a:pt x="2877994" y="1368432"/>
                  </a:lnTo>
                  <a:lnTo>
                    <a:pt x="2876748" y="1367769"/>
                  </a:lnTo>
                  <a:lnTo>
                    <a:pt x="2875750" y="1365950"/>
                  </a:lnTo>
                  <a:lnTo>
                    <a:pt x="2875214" y="1365227"/>
                  </a:lnTo>
                  <a:lnTo>
                    <a:pt x="2874921" y="1365618"/>
                  </a:lnTo>
                  <a:lnTo>
                    <a:pt x="2874948" y="1366364"/>
                  </a:lnTo>
                  <a:lnTo>
                    <a:pt x="2875221" y="1368116"/>
                  </a:lnTo>
                  <a:lnTo>
                    <a:pt x="2875288" y="1369037"/>
                  </a:lnTo>
                  <a:lnTo>
                    <a:pt x="2876005" y="1369457"/>
                  </a:lnTo>
                  <a:lnTo>
                    <a:pt x="2876587" y="1370324"/>
                  </a:lnTo>
                  <a:lnTo>
                    <a:pt x="2877146" y="1371332"/>
                  </a:lnTo>
                  <a:lnTo>
                    <a:pt x="2877820" y="1372186"/>
                  </a:lnTo>
                  <a:lnTo>
                    <a:pt x="2876711" y="1372240"/>
                  </a:lnTo>
                  <a:lnTo>
                    <a:pt x="2875554" y="1371208"/>
                  </a:lnTo>
                  <a:lnTo>
                    <a:pt x="2874348" y="1369814"/>
                  </a:lnTo>
                  <a:lnTo>
                    <a:pt x="2873119" y="1368824"/>
                  </a:lnTo>
                  <a:lnTo>
                    <a:pt x="2872408" y="1368670"/>
                  </a:lnTo>
                  <a:lnTo>
                    <a:pt x="2870967" y="1369447"/>
                  </a:lnTo>
                  <a:lnTo>
                    <a:pt x="2870579" y="1369254"/>
                  </a:lnTo>
                  <a:lnTo>
                    <a:pt x="2868653" y="1367785"/>
                  </a:lnTo>
                  <a:lnTo>
                    <a:pt x="2869205" y="1366146"/>
                  </a:lnTo>
                  <a:lnTo>
                    <a:pt x="2868717" y="1366393"/>
                  </a:lnTo>
                  <a:lnTo>
                    <a:pt x="2868169" y="1366413"/>
                  </a:lnTo>
                  <a:lnTo>
                    <a:pt x="2867552" y="1366077"/>
                  </a:lnTo>
                  <a:lnTo>
                    <a:pt x="2866869" y="1365266"/>
                  </a:lnTo>
                  <a:lnTo>
                    <a:pt x="2867460" y="1365161"/>
                  </a:lnTo>
                  <a:lnTo>
                    <a:pt x="2867964" y="1364757"/>
                  </a:lnTo>
                  <a:lnTo>
                    <a:pt x="2868350" y="1364086"/>
                  </a:lnTo>
                  <a:lnTo>
                    <a:pt x="2868592" y="1363142"/>
                  </a:lnTo>
                  <a:lnTo>
                    <a:pt x="2868051" y="1362383"/>
                  </a:lnTo>
                  <a:lnTo>
                    <a:pt x="2867551" y="1361963"/>
                  </a:lnTo>
                  <a:lnTo>
                    <a:pt x="2867113" y="1361891"/>
                  </a:lnTo>
                  <a:lnTo>
                    <a:pt x="2866736" y="1362134"/>
                  </a:lnTo>
                  <a:lnTo>
                    <a:pt x="2866523" y="1361419"/>
                  </a:lnTo>
                  <a:lnTo>
                    <a:pt x="2871862" y="1359823"/>
                  </a:lnTo>
                  <a:lnTo>
                    <a:pt x="2873002" y="1357992"/>
                  </a:lnTo>
                  <a:lnTo>
                    <a:pt x="2872051" y="1357598"/>
                  </a:lnTo>
                  <a:lnTo>
                    <a:pt x="2870334" y="1358458"/>
                  </a:lnTo>
                  <a:lnTo>
                    <a:pt x="2869695" y="1358176"/>
                  </a:lnTo>
                  <a:lnTo>
                    <a:pt x="2869628" y="1358529"/>
                  </a:lnTo>
                  <a:lnTo>
                    <a:pt x="2869445" y="1358692"/>
                  </a:lnTo>
                  <a:lnTo>
                    <a:pt x="2869151" y="1358667"/>
                  </a:lnTo>
                  <a:lnTo>
                    <a:pt x="2868745" y="1358451"/>
                  </a:lnTo>
                  <a:lnTo>
                    <a:pt x="2868531" y="1357736"/>
                  </a:lnTo>
                  <a:lnTo>
                    <a:pt x="2869810" y="1356908"/>
                  </a:lnTo>
                  <a:lnTo>
                    <a:pt x="2871462" y="1352861"/>
                  </a:lnTo>
                  <a:lnTo>
                    <a:pt x="2872923" y="1352577"/>
                  </a:lnTo>
                  <a:lnTo>
                    <a:pt x="2873596" y="1353112"/>
                  </a:lnTo>
                  <a:lnTo>
                    <a:pt x="2874135" y="1353857"/>
                  </a:lnTo>
                  <a:lnTo>
                    <a:pt x="2874691" y="1354745"/>
                  </a:lnTo>
                  <a:lnTo>
                    <a:pt x="2875426" y="1355728"/>
                  </a:lnTo>
                  <a:lnTo>
                    <a:pt x="2876345" y="1356487"/>
                  </a:lnTo>
                  <a:lnTo>
                    <a:pt x="2877197" y="1356681"/>
                  </a:lnTo>
                  <a:lnTo>
                    <a:pt x="2878734" y="1356313"/>
                  </a:lnTo>
                  <a:lnTo>
                    <a:pt x="2876751" y="1355437"/>
                  </a:lnTo>
                  <a:lnTo>
                    <a:pt x="2875623" y="1354342"/>
                  </a:lnTo>
                  <a:lnTo>
                    <a:pt x="2874025" y="1351126"/>
                  </a:lnTo>
                  <a:lnTo>
                    <a:pt x="2872933" y="1349789"/>
                  </a:lnTo>
                  <a:lnTo>
                    <a:pt x="2871816" y="1348787"/>
                  </a:lnTo>
                  <a:lnTo>
                    <a:pt x="2871048" y="1348461"/>
                  </a:lnTo>
                  <a:lnTo>
                    <a:pt x="2870882" y="1348768"/>
                  </a:lnTo>
                  <a:lnTo>
                    <a:pt x="2870877" y="1349325"/>
                  </a:lnTo>
                  <a:lnTo>
                    <a:pt x="2870834" y="1349893"/>
                  </a:lnTo>
                  <a:lnTo>
                    <a:pt x="2870552" y="1350235"/>
                  </a:lnTo>
                  <a:lnTo>
                    <a:pt x="2868763" y="1350755"/>
                  </a:lnTo>
                  <a:lnTo>
                    <a:pt x="2867834" y="1350502"/>
                  </a:lnTo>
                  <a:lnTo>
                    <a:pt x="2866903" y="1349936"/>
                  </a:lnTo>
                  <a:lnTo>
                    <a:pt x="2865975" y="1348863"/>
                  </a:lnTo>
                  <a:lnTo>
                    <a:pt x="2865069" y="1347100"/>
                  </a:lnTo>
                  <a:lnTo>
                    <a:pt x="2865114" y="1346310"/>
                  </a:lnTo>
                  <a:lnTo>
                    <a:pt x="2864259" y="1345707"/>
                  </a:lnTo>
                  <a:lnTo>
                    <a:pt x="2863704" y="1345978"/>
                  </a:lnTo>
                  <a:lnTo>
                    <a:pt x="2861618" y="1350499"/>
                  </a:lnTo>
                  <a:lnTo>
                    <a:pt x="2861392" y="1351645"/>
                  </a:lnTo>
                  <a:lnTo>
                    <a:pt x="2861222" y="1352165"/>
                  </a:lnTo>
                  <a:lnTo>
                    <a:pt x="2860980" y="1352369"/>
                  </a:lnTo>
                  <a:lnTo>
                    <a:pt x="2860925" y="1352694"/>
                  </a:lnTo>
                  <a:lnTo>
                    <a:pt x="2861320" y="1353606"/>
                  </a:lnTo>
                  <a:lnTo>
                    <a:pt x="2862515" y="1354039"/>
                  </a:lnTo>
                  <a:lnTo>
                    <a:pt x="2865632" y="1351181"/>
                  </a:lnTo>
                  <a:lnTo>
                    <a:pt x="2865948" y="1351025"/>
                  </a:lnTo>
                  <a:lnTo>
                    <a:pt x="2866370" y="1351449"/>
                  </a:lnTo>
                  <a:lnTo>
                    <a:pt x="2866681" y="1352223"/>
                  </a:lnTo>
                  <a:lnTo>
                    <a:pt x="2866619" y="1352709"/>
                  </a:lnTo>
                  <a:lnTo>
                    <a:pt x="2866419" y="1353044"/>
                  </a:lnTo>
                  <a:lnTo>
                    <a:pt x="2866299" y="1353337"/>
                  </a:lnTo>
                  <a:lnTo>
                    <a:pt x="2866392" y="1354998"/>
                  </a:lnTo>
                  <a:lnTo>
                    <a:pt x="2866375" y="1355863"/>
                  </a:lnTo>
                  <a:lnTo>
                    <a:pt x="2866200" y="1356857"/>
                  </a:lnTo>
                  <a:lnTo>
                    <a:pt x="2865265" y="1359594"/>
                  </a:lnTo>
                  <a:lnTo>
                    <a:pt x="2865114" y="1360664"/>
                  </a:lnTo>
                  <a:lnTo>
                    <a:pt x="2865150" y="1361347"/>
                  </a:lnTo>
                  <a:lnTo>
                    <a:pt x="2865322" y="1362892"/>
                  </a:lnTo>
                  <a:lnTo>
                    <a:pt x="2865278" y="1363394"/>
                  </a:lnTo>
                  <a:lnTo>
                    <a:pt x="2864934" y="1363770"/>
                  </a:lnTo>
                  <a:lnTo>
                    <a:pt x="2864071" y="1363934"/>
                  </a:lnTo>
                  <a:lnTo>
                    <a:pt x="2863798" y="1364521"/>
                  </a:lnTo>
                  <a:lnTo>
                    <a:pt x="2865186" y="1364909"/>
                  </a:lnTo>
                  <a:lnTo>
                    <a:pt x="2865196" y="1365368"/>
                  </a:lnTo>
                  <a:lnTo>
                    <a:pt x="2865247" y="1365742"/>
                  </a:lnTo>
                  <a:lnTo>
                    <a:pt x="2865253" y="1366091"/>
                  </a:lnTo>
                  <a:lnTo>
                    <a:pt x="2865131" y="1366477"/>
                  </a:lnTo>
                  <a:lnTo>
                    <a:pt x="2866143" y="1368742"/>
                  </a:lnTo>
                  <a:lnTo>
                    <a:pt x="2866465" y="1369690"/>
                  </a:lnTo>
                  <a:lnTo>
                    <a:pt x="2866660" y="1370687"/>
                  </a:lnTo>
                  <a:lnTo>
                    <a:pt x="2866673" y="1372163"/>
                  </a:lnTo>
                  <a:lnTo>
                    <a:pt x="2866371" y="1372974"/>
                  </a:lnTo>
                  <a:lnTo>
                    <a:pt x="2866005" y="1373592"/>
                  </a:lnTo>
                  <a:lnTo>
                    <a:pt x="2865822" y="1374485"/>
                  </a:lnTo>
                  <a:lnTo>
                    <a:pt x="2865485" y="1375034"/>
                  </a:lnTo>
                  <a:lnTo>
                    <a:pt x="2864708" y="1374835"/>
                  </a:lnTo>
                  <a:lnTo>
                    <a:pt x="2863113" y="1373710"/>
                  </a:lnTo>
                  <a:lnTo>
                    <a:pt x="2862270" y="1373401"/>
                  </a:lnTo>
                  <a:lnTo>
                    <a:pt x="2860822" y="1373877"/>
                  </a:lnTo>
                  <a:lnTo>
                    <a:pt x="2859943" y="1373443"/>
                  </a:lnTo>
                  <a:lnTo>
                    <a:pt x="2860168" y="1372612"/>
                  </a:lnTo>
                  <a:lnTo>
                    <a:pt x="2860559" y="1372774"/>
                  </a:lnTo>
                  <a:lnTo>
                    <a:pt x="2860998" y="1373162"/>
                  </a:lnTo>
                  <a:lnTo>
                    <a:pt x="2861381" y="1373035"/>
                  </a:lnTo>
                  <a:lnTo>
                    <a:pt x="2861626" y="1372226"/>
                  </a:lnTo>
                  <a:lnTo>
                    <a:pt x="2861433" y="1371750"/>
                  </a:lnTo>
                  <a:lnTo>
                    <a:pt x="2861027" y="1371284"/>
                  </a:lnTo>
                  <a:lnTo>
                    <a:pt x="2860629" y="1370469"/>
                  </a:lnTo>
                  <a:lnTo>
                    <a:pt x="2860329" y="1368217"/>
                  </a:lnTo>
                  <a:lnTo>
                    <a:pt x="2860752" y="1366735"/>
                  </a:lnTo>
                  <a:lnTo>
                    <a:pt x="2861378" y="1365393"/>
                  </a:lnTo>
                  <a:lnTo>
                    <a:pt x="2861687" y="1363582"/>
                  </a:lnTo>
                  <a:lnTo>
                    <a:pt x="2861454" y="1363344"/>
                  </a:lnTo>
                  <a:lnTo>
                    <a:pt x="2861096" y="1362702"/>
                  </a:lnTo>
                  <a:lnTo>
                    <a:pt x="2860790" y="1362291"/>
                  </a:lnTo>
                  <a:lnTo>
                    <a:pt x="2860766" y="1361854"/>
                  </a:lnTo>
                  <a:lnTo>
                    <a:pt x="2860628" y="1360785"/>
                  </a:lnTo>
                  <a:lnTo>
                    <a:pt x="2859918" y="1361071"/>
                  </a:lnTo>
                  <a:lnTo>
                    <a:pt x="2858166" y="1363038"/>
                  </a:lnTo>
                  <a:lnTo>
                    <a:pt x="2858605" y="1363305"/>
                  </a:lnTo>
                  <a:lnTo>
                    <a:pt x="2859043" y="1363689"/>
                  </a:lnTo>
                  <a:lnTo>
                    <a:pt x="2859507" y="1364221"/>
                  </a:lnTo>
                  <a:lnTo>
                    <a:pt x="2860008" y="1364901"/>
                  </a:lnTo>
                  <a:lnTo>
                    <a:pt x="2859670" y="1366097"/>
                  </a:lnTo>
                  <a:lnTo>
                    <a:pt x="2859874" y="1367848"/>
                  </a:lnTo>
                  <a:lnTo>
                    <a:pt x="2859942" y="1369528"/>
                  </a:lnTo>
                  <a:lnTo>
                    <a:pt x="2859197" y="1370487"/>
                  </a:lnTo>
                  <a:lnTo>
                    <a:pt x="2858562" y="1370307"/>
                  </a:lnTo>
                  <a:lnTo>
                    <a:pt x="2857008" y="1369141"/>
                  </a:lnTo>
                  <a:lnTo>
                    <a:pt x="2856288" y="1368994"/>
                  </a:lnTo>
                  <a:lnTo>
                    <a:pt x="2855891" y="1369650"/>
                  </a:lnTo>
                  <a:lnTo>
                    <a:pt x="2856438" y="1370742"/>
                  </a:lnTo>
                  <a:lnTo>
                    <a:pt x="2857344" y="1371801"/>
                  </a:lnTo>
                  <a:lnTo>
                    <a:pt x="2858025" y="1372370"/>
                  </a:lnTo>
                  <a:lnTo>
                    <a:pt x="2858118" y="1374965"/>
                  </a:lnTo>
                  <a:lnTo>
                    <a:pt x="2857825" y="1375265"/>
                  </a:lnTo>
                  <a:lnTo>
                    <a:pt x="2856968" y="1375064"/>
                  </a:lnTo>
                  <a:lnTo>
                    <a:pt x="2855020" y="1373882"/>
                  </a:lnTo>
                  <a:lnTo>
                    <a:pt x="2854063" y="1373745"/>
                  </a:lnTo>
                  <a:lnTo>
                    <a:pt x="2853409" y="1375746"/>
                  </a:lnTo>
                  <a:lnTo>
                    <a:pt x="2852302" y="1377010"/>
                  </a:lnTo>
                  <a:lnTo>
                    <a:pt x="2852104" y="1377974"/>
                  </a:lnTo>
                  <a:lnTo>
                    <a:pt x="2852486" y="1379781"/>
                  </a:lnTo>
                  <a:lnTo>
                    <a:pt x="2853206" y="1381046"/>
                  </a:lnTo>
                  <a:lnTo>
                    <a:pt x="2854044" y="1381738"/>
                  </a:lnTo>
                  <a:lnTo>
                    <a:pt x="2858003" y="1382801"/>
                  </a:lnTo>
                  <a:lnTo>
                    <a:pt x="2858695" y="1383515"/>
                  </a:lnTo>
                  <a:lnTo>
                    <a:pt x="2859237" y="1384530"/>
                  </a:lnTo>
                  <a:lnTo>
                    <a:pt x="2859663" y="1384120"/>
                  </a:lnTo>
                  <a:lnTo>
                    <a:pt x="2859935" y="1383203"/>
                  </a:lnTo>
                  <a:lnTo>
                    <a:pt x="2860026" y="1382716"/>
                  </a:lnTo>
                  <a:lnTo>
                    <a:pt x="2861292" y="1381638"/>
                  </a:lnTo>
                  <a:lnTo>
                    <a:pt x="2862942" y="1381697"/>
                  </a:lnTo>
                  <a:lnTo>
                    <a:pt x="2864795" y="1382598"/>
                  </a:lnTo>
                  <a:lnTo>
                    <a:pt x="2866420" y="1384075"/>
                  </a:lnTo>
                  <a:lnTo>
                    <a:pt x="2868165" y="1385600"/>
                  </a:lnTo>
                  <a:lnTo>
                    <a:pt x="2870151" y="1386211"/>
                  </a:lnTo>
                  <a:lnTo>
                    <a:pt x="2871942" y="1385854"/>
                  </a:lnTo>
                  <a:lnTo>
                    <a:pt x="2873098" y="1384487"/>
                  </a:lnTo>
                  <a:lnTo>
                    <a:pt x="2872501" y="1382079"/>
                  </a:lnTo>
                  <a:lnTo>
                    <a:pt x="2873789" y="1381542"/>
                  </a:lnTo>
                  <a:lnTo>
                    <a:pt x="2876998" y="1382588"/>
                  </a:lnTo>
                  <a:lnTo>
                    <a:pt x="2878222" y="1383487"/>
                  </a:lnTo>
                  <a:lnTo>
                    <a:pt x="2879318" y="1384538"/>
                  </a:lnTo>
                  <a:lnTo>
                    <a:pt x="2882827" y="1388889"/>
                  </a:lnTo>
                  <a:lnTo>
                    <a:pt x="2888404" y="1394475"/>
                  </a:lnTo>
                  <a:lnTo>
                    <a:pt x="2889093" y="1395319"/>
                  </a:lnTo>
                  <a:lnTo>
                    <a:pt x="2889609" y="1396418"/>
                  </a:lnTo>
                  <a:lnTo>
                    <a:pt x="2890467" y="1399416"/>
                  </a:lnTo>
                  <a:lnTo>
                    <a:pt x="2890786" y="1400309"/>
                  </a:lnTo>
                  <a:lnTo>
                    <a:pt x="2891160" y="1400982"/>
                  </a:lnTo>
                  <a:lnTo>
                    <a:pt x="2891885" y="1401792"/>
                  </a:lnTo>
                  <a:lnTo>
                    <a:pt x="2892161" y="1402309"/>
                  </a:lnTo>
                  <a:lnTo>
                    <a:pt x="2892317" y="1402916"/>
                  </a:lnTo>
                  <a:lnTo>
                    <a:pt x="2892564" y="1404515"/>
                  </a:lnTo>
                  <a:lnTo>
                    <a:pt x="2892932" y="1405574"/>
                  </a:lnTo>
                  <a:lnTo>
                    <a:pt x="2893073" y="1406042"/>
                  </a:lnTo>
                  <a:lnTo>
                    <a:pt x="2893361" y="1406402"/>
                  </a:lnTo>
                  <a:lnTo>
                    <a:pt x="2894582" y="1407502"/>
                  </a:lnTo>
                  <a:lnTo>
                    <a:pt x="2895197" y="1407905"/>
                  </a:lnTo>
                  <a:lnTo>
                    <a:pt x="2895565" y="1408297"/>
                  </a:lnTo>
                  <a:lnTo>
                    <a:pt x="2895795" y="1408646"/>
                  </a:lnTo>
                  <a:lnTo>
                    <a:pt x="2895912" y="1408940"/>
                  </a:lnTo>
                  <a:lnTo>
                    <a:pt x="2896029" y="1409272"/>
                  </a:lnTo>
                  <a:lnTo>
                    <a:pt x="2896262" y="1409717"/>
                  </a:lnTo>
                  <a:lnTo>
                    <a:pt x="2897205" y="1411144"/>
                  </a:lnTo>
                  <a:lnTo>
                    <a:pt x="2897650" y="1411967"/>
                  </a:lnTo>
                  <a:lnTo>
                    <a:pt x="2898055" y="1413479"/>
                  </a:lnTo>
                  <a:lnTo>
                    <a:pt x="2898941" y="1415849"/>
                  </a:lnTo>
                  <a:lnTo>
                    <a:pt x="2899137" y="1416959"/>
                  </a:lnTo>
                  <a:lnTo>
                    <a:pt x="2899014" y="1420955"/>
                  </a:lnTo>
                  <a:lnTo>
                    <a:pt x="2898747" y="1422104"/>
                  </a:lnTo>
                  <a:lnTo>
                    <a:pt x="2898201" y="1423125"/>
                  </a:lnTo>
                  <a:lnTo>
                    <a:pt x="2897545" y="1423892"/>
                  </a:lnTo>
                  <a:lnTo>
                    <a:pt x="2896941" y="1424283"/>
                  </a:lnTo>
                  <a:lnTo>
                    <a:pt x="2896809" y="1424742"/>
                  </a:lnTo>
                  <a:lnTo>
                    <a:pt x="2897036" y="1426718"/>
                  </a:lnTo>
                  <a:lnTo>
                    <a:pt x="2897061" y="1427423"/>
                  </a:lnTo>
                  <a:lnTo>
                    <a:pt x="2896099" y="1427704"/>
                  </a:lnTo>
                  <a:lnTo>
                    <a:pt x="2895491" y="1427669"/>
                  </a:lnTo>
                  <a:lnTo>
                    <a:pt x="2894150" y="1427019"/>
                  </a:lnTo>
                  <a:lnTo>
                    <a:pt x="2893443" y="1426859"/>
                  </a:lnTo>
                  <a:lnTo>
                    <a:pt x="2883801" y="1430215"/>
                  </a:lnTo>
                  <a:lnTo>
                    <a:pt x="2874141" y="1433529"/>
                  </a:lnTo>
                  <a:lnTo>
                    <a:pt x="2866225" y="1439722"/>
                  </a:lnTo>
                  <a:lnTo>
                    <a:pt x="2864595" y="1438570"/>
                  </a:lnTo>
                  <a:lnTo>
                    <a:pt x="2863826" y="1437745"/>
                  </a:lnTo>
                  <a:lnTo>
                    <a:pt x="2862476" y="1437160"/>
                  </a:lnTo>
                  <a:lnTo>
                    <a:pt x="2861763" y="1436610"/>
                  </a:lnTo>
                  <a:lnTo>
                    <a:pt x="2861011" y="1435554"/>
                  </a:lnTo>
                  <a:lnTo>
                    <a:pt x="2859756" y="1433062"/>
                  </a:lnTo>
                  <a:lnTo>
                    <a:pt x="2859104" y="1431928"/>
                  </a:lnTo>
                  <a:lnTo>
                    <a:pt x="2858377" y="1431036"/>
                  </a:lnTo>
                  <a:lnTo>
                    <a:pt x="2857523" y="1430248"/>
                  </a:lnTo>
                  <a:lnTo>
                    <a:pt x="2856699" y="1429719"/>
                  </a:lnTo>
                  <a:lnTo>
                    <a:pt x="2856047" y="1429603"/>
                  </a:lnTo>
                  <a:lnTo>
                    <a:pt x="2855451" y="1429242"/>
                  </a:lnTo>
                  <a:lnTo>
                    <a:pt x="2854758" y="1428391"/>
                  </a:lnTo>
                  <a:lnTo>
                    <a:pt x="2854089" y="1427832"/>
                  </a:lnTo>
                  <a:lnTo>
                    <a:pt x="2853574" y="1428388"/>
                  </a:lnTo>
                  <a:lnTo>
                    <a:pt x="2852336" y="1431971"/>
                  </a:lnTo>
                  <a:lnTo>
                    <a:pt x="2851395" y="1432807"/>
                  </a:lnTo>
                  <a:lnTo>
                    <a:pt x="2850083" y="1432072"/>
                  </a:lnTo>
                  <a:lnTo>
                    <a:pt x="2849538" y="1430894"/>
                  </a:lnTo>
                  <a:lnTo>
                    <a:pt x="2849171" y="1430704"/>
                  </a:lnTo>
                  <a:lnTo>
                    <a:pt x="2849201" y="1429352"/>
                  </a:lnTo>
                  <a:lnTo>
                    <a:pt x="2849123" y="1427698"/>
                  </a:lnTo>
                  <a:lnTo>
                    <a:pt x="2847629" y="1427211"/>
                  </a:lnTo>
                  <a:lnTo>
                    <a:pt x="2842504" y="1427764"/>
                  </a:lnTo>
                  <a:lnTo>
                    <a:pt x="2841127" y="1428551"/>
                  </a:lnTo>
                  <a:lnTo>
                    <a:pt x="2840544" y="1429236"/>
                  </a:lnTo>
                  <a:lnTo>
                    <a:pt x="2840047" y="1430716"/>
                  </a:lnTo>
                  <a:lnTo>
                    <a:pt x="2839845" y="1430967"/>
                  </a:lnTo>
                  <a:lnTo>
                    <a:pt x="2837182" y="1431152"/>
                  </a:lnTo>
                  <a:lnTo>
                    <a:pt x="2829058" y="1427262"/>
                  </a:lnTo>
                  <a:lnTo>
                    <a:pt x="2818876" y="1428999"/>
                  </a:lnTo>
                  <a:lnTo>
                    <a:pt x="2815830" y="1427747"/>
                  </a:lnTo>
                  <a:lnTo>
                    <a:pt x="2814415" y="1428371"/>
                  </a:lnTo>
                  <a:lnTo>
                    <a:pt x="2813480" y="1429256"/>
                  </a:lnTo>
                  <a:lnTo>
                    <a:pt x="2812079" y="1429948"/>
                  </a:lnTo>
                  <a:lnTo>
                    <a:pt x="2810565" y="1429500"/>
                  </a:lnTo>
                  <a:lnTo>
                    <a:pt x="2809297" y="1426954"/>
                  </a:lnTo>
                  <a:lnTo>
                    <a:pt x="2808818" y="1426654"/>
                  </a:lnTo>
                  <a:lnTo>
                    <a:pt x="2806868" y="1428687"/>
                  </a:lnTo>
                  <a:lnTo>
                    <a:pt x="2806025" y="1428707"/>
                  </a:lnTo>
                  <a:lnTo>
                    <a:pt x="2804178" y="1428129"/>
                  </a:lnTo>
                  <a:lnTo>
                    <a:pt x="2790786" y="1430135"/>
                  </a:lnTo>
                  <a:lnTo>
                    <a:pt x="2788886" y="1429252"/>
                  </a:lnTo>
                  <a:lnTo>
                    <a:pt x="2785261" y="1428647"/>
                  </a:lnTo>
                  <a:lnTo>
                    <a:pt x="2784097" y="1428888"/>
                  </a:lnTo>
                  <a:lnTo>
                    <a:pt x="2783322" y="1429556"/>
                  </a:lnTo>
                  <a:lnTo>
                    <a:pt x="2783296" y="1430330"/>
                  </a:lnTo>
                  <a:lnTo>
                    <a:pt x="2783894" y="1431408"/>
                  </a:lnTo>
                  <a:lnTo>
                    <a:pt x="2784992" y="1432988"/>
                  </a:lnTo>
                  <a:lnTo>
                    <a:pt x="2787292" y="1434832"/>
                  </a:lnTo>
                  <a:lnTo>
                    <a:pt x="2791504" y="1434415"/>
                  </a:lnTo>
                  <a:lnTo>
                    <a:pt x="2793463" y="1435868"/>
                  </a:lnTo>
                  <a:lnTo>
                    <a:pt x="2796913" y="1438090"/>
                  </a:lnTo>
                  <a:lnTo>
                    <a:pt x="2797339" y="1438785"/>
                  </a:lnTo>
                  <a:lnTo>
                    <a:pt x="2797597" y="1439512"/>
                  </a:lnTo>
                  <a:lnTo>
                    <a:pt x="2797907" y="1440012"/>
                  </a:lnTo>
                  <a:lnTo>
                    <a:pt x="2798494" y="1440063"/>
                  </a:lnTo>
                  <a:lnTo>
                    <a:pt x="2799392" y="1438962"/>
                  </a:lnTo>
                  <a:lnTo>
                    <a:pt x="2800928" y="1435634"/>
                  </a:lnTo>
                  <a:lnTo>
                    <a:pt x="2802117" y="1435713"/>
                  </a:lnTo>
                  <a:lnTo>
                    <a:pt x="2807138" y="1438162"/>
                  </a:lnTo>
                  <a:lnTo>
                    <a:pt x="2808697" y="1439756"/>
                  </a:lnTo>
                  <a:lnTo>
                    <a:pt x="2809231" y="1440748"/>
                  </a:lnTo>
                  <a:lnTo>
                    <a:pt x="2810216" y="1443141"/>
                  </a:lnTo>
                  <a:lnTo>
                    <a:pt x="2810791" y="1444256"/>
                  </a:lnTo>
                  <a:lnTo>
                    <a:pt x="2811595" y="1445115"/>
                  </a:lnTo>
                  <a:lnTo>
                    <a:pt x="2813226" y="1445774"/>
                  </a:lnTo>
                  <a:lnTo>
                    <a:pt x="2814902" y="1447310"/>
                  </a:lnTo>
                  <a:lnTo>
                    <a:pt x="2817814" y="1448273"/>
                  </a:lnTo>
                  <a:lnTo>
                    <a:pt x="2825865" y="1455588"/>
                  </a:lnTo>
                  <a:lnTo>
                    <a:pt x="2827972" y="1456232"/>
                  </a:lnTo>
                  <a:lnTo>
                    <a:pt x="2828564" y="1457304"/>
                  </a:lnTo>
                  <a:lnTo>
                    <a:pt x="2828901" y="1458749"/>
                  </a:lnTo>
                  <a:lnTo>
                    <a:pt x="2828953" y="1460166"/>
                  </a:lnTo>
                  <a:lnTo>
                    <a:pt x="2828704" y="1461231"/>
                  </a:lnTo>
                  <a:lnTo>
                    <a:pt x="2827690" y="1463075"/>
                  </a:lnTo>
                  <a:lnTo>
                    <a:pt x="2824638" y="1465917"/>
                  </a:lnTo>
                  <a:lnTo>
                    <a:pt x="2823830" y="1466101"/>
                  </a:lnTo>
                  <a:lnTo>
                    <a:pt x="2823145" y="1465808"/>
                  </a:lnTo>
                  <a:lnTo>
                    <a:pt x="2822840" y="1465281"/>
                  </a:lnTo>
                  <a:lnTo>
                    <a:pt x="2822879" y="1464597"/>
                  </a:lnTo>
                  <a:lnTo>
                    <a:pt x="2823243" y="1463872"/>
                  </a:lnTo>
                  <a:lnTo>
                    <a:pt x="2817635" y="1461849"/>
                  </a:lnTo>
                  <a:lnTo>
                    <a:pt x="2815472" y="1459698"/>
                  </a:lnTo>
                  <a:lnTo>
                    <a:pt x="2813435" y="1456960"/>
                  </a:lnTo>
                  <a:lnTo>
                    <a:pt x="2812477" y="1456158"/>
                  </a:lnTo>
                  <a:lnTo>
                    <a:pt x="2810542" y="1456058"/>
                  </a:lnTo>
                  <a:lnTo>
                    <a:pt x="2808341" y="1455356"/>
                  </a:lnTo>
                  <a:lnTo>
                    <a:pt x="2807298" y="1454765"/>
                  </a:lnTo>
                  <a:lnTo>
                    <a:pt x="2805144" y="1452653"/>
                  </a:lnTo>
                  <a:lnTo>
                    <a:pt x="2804591" y="1452324"/>
                  </a:lnTo>
                  <a:lnTo>
                    <a:pt x="2803570" y="1451974"/>
                  </a:lnTo>
                  <a:lnTo>
                    <a:pt x="2800446" y="1449615"/>
                  </a:lnTo>
                  <a:lnTo>
                    <a:pt x="2798473" y="1448762"/>
                  </a:lnTo>
                  <a:lnTo>
                    <a:pt x="2796032" y="1449116"/>
                  </a:lnTo>
                  <a:lnTo>
                    <a:pt x="2794994" y="1448849"/>
                  </a:lnTo>
                  <a:lnTo>
                    <a:pt x="2794181" y="1447801"/>
                  </a:lnTo>
                  <a:lnTo>
                    <a:pt x="2793887" y="1446337"/>
                  </a:lnTo>
                  <a:lnTo>
                    <a:pt x="2794422" y="1444835"/>
                  </a:lnTo>
                  <a:lnTo>
                    <a:pt x="2793033" y="1444288"/>
                  </a:lnTo>
                  <a:lnTo>
                    <a:pt x="2788688" y="1446233"/>
                  </a:lnTo>
                  <a:lnTo>
                    <a:pt x="2787607" y="1446071"/>
                  </a:lnTo>
                  <a:lnTo>
                    <a:pt x="2780211" y="1440688"/>
                  </a:lnTo>
                  <a:lnTo>
                    <a:pt x="2779174" y="1440512"/>
                  </a:lnTo>
                  <a:lnTo>
                    <a:pt x="2778775" y="1440265"/>
                  </a:lnTo>
                  <a:lnTo>
                    <a:pt x="2778449" y="1439895"/>
                  </a:lnTo>
                  <a:lnTo>
                    <a:pt x="2778236" y="1439517"/>
                  </a:lnTo>
                  <a:lnTo>
                    <a:pt x="2778080" y="1439185"/>
                  </a:lnTo>
                  <a:lnTo>
                    <a:pt x="2777925" y="1438944"/>
                  </a:lnTo>
                  <a:lnTo>
                    <a:pt x="2770615" y="1434033"/>
                  </a:lnTo>
                  <a:lnTo>
                    <a:pt x="2768713" y="1433961"/>
                  </a:lnTo>
                  <a:lnTo>
                    <a:pt x="2767723" y="1433624"/>
                  </a:lnTo>
                  <a:lnTo>
                    <a:pt x="2765650" y="1431941"/>
                  </a:lnTo>
                  <a:lnTo>
                    <a:pt x="2764958" y="1431984"/>
                  </a:lnTo>
                  <a:lnTo>
                    <a:pt x="2763884" y="1432768"/>
                  </a:lnTo>
                  <a:lnTo>
                    <a:pt x="2763236" y="1432842"/>
                  </a:lnTo>
                  <a:lnTo>
                    <a:pt x="2761769" y="1431343"/>
                  </a:lnTo>
                  <a:lnTo>
                    <a:pt x="2760857" y="1430971"/>
                  </a:lnTo>
                  <a:lnTo>
                    <a:pt x="2757444" y="1430777"/>
                  </a:lnTo>
                  <a:lnTo>
                    <a:pt x="2756372" y="1430396"/>
                  </a:lnTo>
                  <a:lnTo>
                    <a:pt x="2755604" y="1429917"/>
                  </a:lnTo>
                  <a:lnTo>
                    <a:pt x="2754773" y="1429661"/>
                  </a:lnTo>
                  <a:lnTo>
                    <a:pt x="2753143" y="1430399"/>
                  </a:lnTo>
                  <a:lnTo>
                    <a:pt x="2752336" y="1429860"/>
                  </a:lnTo>
                  <a:lnTo>
                    <a:pt x="2750746" y="1428152"/>
                  </a:lnTo>
                  <a:lnTo>
                    <a:pt x="2740893" y="1425139"/>
                  </a:lnTo>
                  <a:lnTo>
                    <a:pt x="2737298" y="1422187"/>
                  </a:lnTo>
                  <a:lnTo>
                    <a:pt x="2735525" y="1421245"/>
                  </a:lnTo>
                  <a:lnTo>
                    <a:pt x="2733823" y="1420849"/>
                  </a:lnTo>
                  <a:lnTo>
                    <a:pt x="2732249" y="1420952"/>
                  </a:lnTo>
                  <a:lnTo>
                    <a:pt x="2740769" y="1427468"/>
                  </a:lnTo>
                  <a:lnTo>
                    <a:pt x="2741530" y="1427771"/>
                  </a:lnTo>
                  <a:lnTo>
                    <a:pt x="2741900" y="1428033"/>
                  </a:lnTo>
                  <a:lnTo>
                    <a:pt x="2742238" y="1428512"/>
                  </a:lnTo>
                  <a:lnTo>
                    <a:pt x="2742886" y="1429758"/>
                  </a:lnTo>
                  <a:lnTo>
                    <a:pt x="2743157" y="1430107"/>
                  </a:lnTo>
                  <a:lnTo>
                    <a:pt x="2744063" y="1430262"/>
                  </a:lnTo>
                  <a:lnTo>
                    <a:pt x="2745748" y="1429414"/>
                  </a:lnTo>
                  <a:lnTo>
                    <a:pt x="2746625" y="1429325"/>
                  </a:lnTo>
                  <a:lnTo>
                    <a:pt x="2749146" y="1430710"/>
                  </a:lnTo>
                  <a:lnTo>
                    <a:pt x="2766102" y="1435545"/>
                  </a:lnTo>
                  <a:lnTo>
                    <a:pt x="2771454" y="1439048"/>
                  </a:lnTo>
                  <a:lnTo>
                    <a:pt x="2774264" y="1439655"/>
                  </a:lnTo>
                  <a:lnTo>
                    <a:pt x="2778658" y="1444054"/>
                  </a:lnTo>
                  <a:lnTo>
                    <a:pt x="2778899" y="1444517"/>
                  </a:lnTo>
                  <a:lnTo>
                    <a:pt x="2779002" y="1445012"/>
                  </a:lnTo>
                  <a:lnTo>
                    <a:pt x="2779184" y="1445370"/>
                  </a:lnTo>
                  <a:lnTo>
                    <a:pt x="2779650" y="1445414"/>
                  </a:lnTo>
                  <a:lnTo>
                    <a:pt x="2780109" y="1445327"/>
                  </a:lnTo>
                  <a:lnTo>
                    <a:pt x="2780349" y="1445379"/>
                  </a:lnTo>
                  <a:lnTo>
                    <a:pt x="2782405" y="1447082"/>
                  </a:lnTo>
                  <a:lnTo>
                    <a:pt x="2783181" y="1447408"/>
                  </a:lnTo>
                  <a:lnTo>
                    <a:pt x="2786966" y="1447436"/>
                  </a:lnTo>
                  <a:lnTo>
                    <a:pt x="2788682" y="1448226"/>
                  </a:lnTo>
                  <a:lnTo>
                    <a:pt x="2790118" y="1449792"/>
                  </a:lnTo>
                  <a:lnTo>
                    <a:pt x="2788830" y="1453170"/>
                  </a:lnTo>
                  <a:lnTo>
                    <a:pt x="2789010" y="1453894"/>
                  </a:lnTo>
                  <a:lnTo>
                    <a:pt x="2789408" y="1454107"/>
                  </a:lnTo>
                  <a:lnTo>
                    <a:pt x="2790389" y="1455095"/>
                  </a:lnTo>
                  <a:lnTo>
                    <a:pt x="2790584" y="1455878"/>
                  </a:lnTo>
                  <a:lnTo>
                    <a:pt x="2789934" y="1456442"/>
                  </a:lnTo>
                  <a:lnTo>
                    <a:pt x="2787731" y="1455070"/>
                  </a:lnTo>
                  <a:lnTo>
                    <a:pt x="2787054" y="1455791"/>
                  </a:lnTo>
                  <a:lnTo>
                    <a:pt x="2786134" y="1456122"/>
                  </a:lnTo>
                  <a:lnTo>
                    <a:pt x="2786328" y="1456906"/>
                  </a:lnTo>
                  <a:lnTo>
                    <a:pt x="2786640" y="1458470"/>
                  </a:lnTo>
                  <a:lnTo>
                    <a:pt x="2783231" y="1461478"/>
                  </a:lnTo>
                  <a:lnTo>
                    <a:pt x="2782288" y="1459115"/>
                  </a:lnTo>
                  <a:lnTo>
                    <a:pt x="2781221" y="1458456"/>
                  </a:lnTo>
                  <a:lnTo>
                    <a:pt x="2780274" y="1458951"/>
                  </a:lnTo>
                  <a:lnTo>
                    <a:pt x="2779683" y="1460026"/>
                  </a:lnTo>
                  <a:lnTo>
                    <a:pt x="2779274" y="1462797"/>
                  </a:lnTo>
                  <a:lnTo>
                    <a:pt x="2779142" y="1463216"/>
                  </a:lnTo>
                  <a:lnTo>
                    <a:pt x="2778020" y="1463836"/>
                  </a:lnTo>
                  <a:lnTo>
                    <a:pt x="2777556" y="1464425"/>
                  </a:lnTo>
                  <a:lnTo>
                    <a:pt x="2777223" y="1465201"/>
                  </a:lnTo>
                  <a:lnTo>
                    <a:pt x="2777768" y="1465278"/>
                  </a:lnTo>
                  <a:lnTo>
                    <a:pt x="2778048" y="1465773"/>
                  </a:lnTo>
                  <a:lnTo>
                    <a:pt x="2778511" y="1468861"/>
                  </a:lnTo>
                  <a:lnTo>
                    <a:pt x="2778415" y="1469285"/>
                  </a:lnTo>
                  <a:lnTo>
                    <a:pt x="2773578" y="1468067"/>
                  </a:lnTo>
                  <a:lnTo>
                    <a:pt x="2771968" y="1468730"/>
                  </a:lnTo>
                  <a:lnTo>
                    <a:pt x="2771794" y="1468005"/>
                  </a:lnTo>
                  <a:lnTo>
                    <a:pt x="2772159" y="1467787"/>
                  </a:lnTo>
                  <a:lnTo>
                    <a:pt x="2772475" y="1467408"/>
                  </a:lnTo>
                  <a:lnTo>
                    <a:pt x="2772739" y="1466882"/>
                  </a:lnTo>
                  <a:lnTo>
                    <a:pt x="2772949" y="1466204"/>
                  </a:lnTo>
                  <a:lnTo>
                    <a:pt x="2772205" y="1465717"/>
                  </a:lnTo>
                  <a:lnTo>
                    <a:pt x="2771535" y="1465709"/>
                  </a:lnTo>
                  <a:lnTo>
                    <a:pt x="2770948" y="1466096"/>
                  </a:lnTo>
                  <a:lnTo>
                    <a:pt x="2770445" y="1466787"/>
                  </a:lnTo>
                  <a:lnTo>
                    <a:pt x="2770256" y="1465997"/>
                  </a:lnTo>
                  <a:lnTo>
                    <a:pt x="2771297" y="1465181"/>
                  </a:lnTo>
                  <a:lnTo>
                    <a:pt x="2773879" y="1465590"/>
                  </a:lnTo>
                  <a:lnTo>
                    <a:pt x="2774781" y="1464941"/>
                  </a:lnTo>
                  <a:lnTo>
                    <a:pt x="2769677" y="1463110"/>
                  </a:lnTo>
                  <a:lnTo>
                    <a:pt x="2767028" y="1463151"/>
                  </a:lnTo>
                  <a:lnTo>
                    <a:pt x="2766308" y="1465035"/>
                  </a:lnTo>
                  <a:lnTo>
                    <a:pt x="2765823" y="1465711"/>
                  </a:lnTo>
                  <a:lnTo>
                    <a:pt x="2757147" y="1462134"/>
                  </a:lnTo>
                  <a:lnTo>
                    <a:pt x="2756039" y="1460614"/>
                  </a:lnTo>
                  <a:lnTo>
                    <a:pt x="2754428" y="1459478"/>
                  </a:lnTo>
                  <a:lnTo>
                    <a:pt x="2753180" y="1459319"/>
                  </a:lnTo>
                  <a:lnTo>
                    <a:pt x="2753167" y="1460746"/>
                  </a:lnTo>
                  <a:lnTo>
                    <a:pt x="2751689" y="1460410"/>
                  </a:lnTo>
                  <a:lnTo>
                    <a:pt x="2748562" y="1458533"/>
                  </a:lnTo>
                  <a:lnTo>
                    <a:pt x="2745961" y="1457964"/>
                  </a:lnTo>
                  <a:lnTo>
                    <a:pt x="2741810" y="1454885"/>
                  </a:lnTo>
                  <a:lnTo>
                    <a:pt x="2741463" y="1454916"/>
                  </a:lnTo>
                  <a:lnTo>
                    <a:pt x="2741113" y="1455089"/>
                  </a:lnTo>
                  <a:lnTo>
                    <a:pt x="2740752" y="1455146"/>
                  </a:lnTo>
                  <a:lnTo>
                    <a:pt x="2740370" y="1454821"/>
                  </a:lnTo>
                  <a:lnTo>
                    <a:pt x="2740134" y="1454310"/>
                  </a:lnTo>
                  <a:lnTo>
                    <a:pt x="2739921" y="1453712"/>
                  </a:lnTo>
                  <a:lnTo>
                    <a:pt x="2739695" y="1453225"/>
                  </a:lnTo>
                  <a:lnTo>
                    <a:pt x="2739422" y="1453059"/>
                  </a:lnTo>
                  <a:lnTo>
                    <a:pt x="2736491" y="1454529"/>
                  </a:lnTo>
                  <a:lnTo>
                    <a:pt x="2736135" y="1454399"/>
                  </a:lnTo>
                  <a:lnTo>
                    <a:pt x="2735535" y="1453521"/>
                  </a:lnTo>
                  <a:lnTo>
                    <a:pt x="2735132" y="1453300"/>
                  </a:lnTo>
                  <a:lnTo>
                    <a:pt x="2734802" y="1453409"/>
                  </a:lnTo>
                  <a:lnTo>
                    <a:pt x="2732906" y="1455303"/>
                  </a:lnTo>
                  <a:lnTo>
                    <a:pt x="2732419" y="1455318"/>
                  </a:lnTo>
                  <a:lnTo>
                    <a:pt x="2731995" y="1454334"/>
                  </a:lnTo>
                  <a:lnTo>
                    <a:pt x="2731423" y="1454131"/>
                  </a:lnTo>
                  <a:lnTo>
                    <a:pt x="2729186" y="1458342"/>
                  </a:lnTo>
                  <a:lnTo>
                    <a:pt x="2724452" y="1460392"/>
                  </a:lnTo>
                  <a:lnTo>
                    <a:pt x="2721709" y="1463234"/>
                  </a:lnTo>
                  <a:lnTo>
                    <a:pt x="2718250" y="1464771"/>
                  </a:lnTo>
                  <a:lnTo>
                    <a:pt x="2704537" y="1464106"/>
                  </a:lnTo>
                  <a:lnTo>
                    <a:pt x="2703266" y="1463079"/>
                  </a:lnTo>
                  <a:lnTo>
                    <a:pt x="2702542" y="1463562"/>
                  </a:lnTo>
                  <a:lnTo>
                    <a:pt x="2691853" y="1465590"/>
                  </a:lnTo>
                  <a:lnTo>
                    <a:pt x="2685236" y="1464342"/>
                  </a:lnTo>
                  <a:lnTo>
                    <a:pt x="2679471" y="1465898"/>
                  </a:lnTo>
                  <a:lnTo>
                    <a:pt x="2677480" y="1464764"/>
                  </a:lnTo>
                  <a:lnTo>
                    <a:pt x="2674391" y="1464237"/>
                  </a:lnTo>
                  <a:lnTo>
                    <a:pt x="2673754" y="1463735"/>
                  </a:lnTo>
                  <a:lnTo>
                    <a:pt x="2672964" y="1462396"/>
                  </a:lnTo>
                  <a:lnTo>
                    <a:pt x="2671494" y="1459412"/>
                  </a:lnTo>
                  <a:lnTo>
                    <a:pt x="2673270" y="1457931"/>
                  </a:lnTo>
                  <a:lnTo>
                    <a:pt x="2673998" y="1456630"/>
                  </a:lnTo>
                  <a:lnTo>
                    <a:pt x="2673790" y="1455193"/>
                  </a:lnTo>
                  <a:lnTo>
                    <a:pt x="2672813" y="1454730"/>
                  </a:lnTo>
                  <a:lnTo>
                    <a:pt x="2671922" y="1455930"/>
                  </a:lnTo>
                  <a:lnTo>
                    <a:pt x="2670676" y="1459192"/>
                  </a:lnTo>
                  <a:lnTo>
                    <a:pt x="2668788" y="1461284"/>
                  </a:lnTo>
                  <a:lnTo>
                    <a:pt x="2661313" y="1460575"/>
                  </a:lnTo>
                  <a:lnTo>
                    <a:pt x="2660969" y="1460431"/>
                  </a:lnTo>
                  <a:lnTo>
                    <a:pt x="2660197" y="1459627"/>
                  </a:lnTo>
                  <a:lnTo>
                    <a:pt x="2659810" y="1459415"/>
                  </a:lnTo>
                  <a:lnTo>
                    <a:pt x="2659374" y="1459509"/>
                  </a:lnTo>
                  <a:lnTo>
                    <a:pt x="2658190" y="1460396"/>
                  </a:lnTo>
                  <a:lnTo>
                    <a:pt x="2656480" y="1460513"/>
                  </a:lnTo>
                  <a:lnTo>
                    <a:pt x="2653698" y="1459404"/>
                  </a:lnTo>
                  <a:lnTo>
                    <a:pt x="2652651" y="1459546"/>
                  </a:lnTo>
                  <a:lnTo>
                    <a:pt x="2650119" y="1461408"/>
                  </a:lnTo>
                  <a:lnTo>
                    <a:pt x="2647261" y="1460883"/>
                  </a:lnTo>
                  <a:lnTo>
                    <a:pt x="2637071" y="1463378"/>
                  </a:lnTo>
                  <a:lnTo>
                    <a:pt x="2635209" y="1464842"/>
                  </a:lnTo>
                  <a:lnTo>
                    <a:pt x="2634882" y="1466843"/>
                  </a:lnTo>
                  <a:lnTo>
                    <a:pt x="2636088" y="1469077"/>
                  </a:lnTo>
                  <a:lnTo>
                    <a:pt x="2637068" y="1468906"/>
                  </a:lnTo>
                  <a:lnTo>
                    <a:pt x="2638055" y="1467698"/>
                  </a:lnTo>
                  <a:lnTo>
                    <a:pt x="2644482" y="1464435"/>
                  </a:lnTo>
                  <a:lnTo>
                    <a:pt x="2647402" y="1465787"/>
                  </a:lnTo>
                  <a:lnTo>
                    <a:pt x="2649283" y="1465881"/>
                  </a:lnTo>
                  <a:lnTo>
                    <a:pt x="2652767" y="1467350"/>
                  </a:lnTo>
                  <a:lnTo>
                    <a:pt x="2655028" y="1467641"/>
                  </a:lnTo>
                  <a:lnTo>
                    <a:pt x="2659880" y="1470745"/>
                  </a:lnTo>
                  <a:lnTo>
                    <a:pt x="2659287" y="1471666"/>
                  </a:lnTo>
                  <a:lnTo>
                    <a:pt x="2646380" y="1470917"/>
                  </a:lnTo>
                  <a:lnTo>
                    <a:pt x="2641580" y="1474201"/>
                  </a:lnTo>
                  <a:lnTo>
                    <a:pt x="2639745" y="1474488"/>
                  </a:lnTo>
                  <a:lnTo>
                    <a:pt x="2629662" y="1469697"/>
                  </a:lnTo>
                  <a:lnTo>
                    <a:pt x="2619621" y="1464863"/>
                  </a:lnTo>
                  <a:lnTo>
                    <a:pt x="2608278" y="1453800"/>
                  </a:lnTo>
                  <a:lnTo>
                    <a:pt x="2607124" y="1453346"/>
                  </a:lnTo>
                  <a:lnTo>
                    <a:pt x="2606755" y="1452189"/>
                  </a:lnTo>
                  <a:lnTo>
                    <a:pt x="2606328" y="1449478"/>
                  </a:lnTo>
                  <a:lnTo>
                    <a:pt x="2605674" y="1446540"/>
                  </a:lnTo>
                  <a:lnTo>
                    <a:pt x="2604646" y="1444713"/>
                  </a:lnTo>
                  <a:lnTo>
                    <a:pt x="2605219" y="1443569"/>
                  </a:lnTo>
                  <a:lnTo>
                    <a:pt x="2605060" y="1441982"/>
                  </a:lnTo>
                  <a:lnTo>
                    <a:pt x="2604385" y="1440677"/>
                  </a:lnTo>
                  <a:lnTo>
                    <a:pt x="2603412" y="1440390"/>
                  </a:lnTo>
                  <a:lnTo>
                    <a:pt x="2603278" y="1439591"/>
                  </a:lnTo>
                  <a:lnTo>
                    <a:pt x="2603688" y="1438832"/>
                  </a:lnTo>
                  <a:lnTo>
                    <a:pt x="2604955" y="1433667"/>
                  </a:lnTo>
                  <a:lnTo>
                    <a:pt x="2605593" y="1432273"/>
                  </a:lnTo>
                  <a:lnTo>
                    <a:pt x="2609930" y="1429018"/>
                  </a:lnTo>
                  <a:lnTo>
                    <a:pt x="2611051" y="1427680"/>
                  </a:lnTo>
                  <a:lnTo>
                    <a:pt x="2611860" y="1425954"/>
                  </a:lnTo>
                  <a:lnTo>
                    <a:pt x="2611723" y="1424220"/>
                  </a:lnTo>
                  <a:lnTo>
                    <a:pt x="2610752" y="1422831"/>
                  </a:lnTo>
                  <a:lnTo>
                    <a:pt x="2609481" y="1421669"/>
                  </a:lnTo>
                  <a:lnTo>
                    <a:pt x="2608291" y="1421121"/>
                  </a:lnTo>
                  <a:lnTo>
                    <a:pt x="2607555" y="1421548"/>
                  </a:lnTo>
                  <a:lnTo>
                    <a:pt x="2609483" y="1423717"/>
                  </a:lnTo>
                  <a:lnTo>
                    <a:pt x="2610172" y="1424888"/>
                  </a:lnTo>
                  <a:lnTo>
                    <a:pt x="2609234" y="1426527"/>
                  </a:lnTo>
                  <a:lnTo>
                    <a:pt x="2608687" y="1427076"/>
                  </a:lnTo>
                  <a:lnTo>
                    <a:pt x="2608082" y="1427428"/>
                  </a:lnTo>
                  <a:lnTo>
                    <a:pt x="2608198" y="1427948"/>
                  </a:lnTo>
                  <a:lnTo>
                    <a:pt x="2608007" y="1428240"/>
                  </a:lnTo>
                  <a:lnTo>
                    <a:pt x="2606144" y="1429945"/>
                  </a:lnTo>
                  <a:lnTo>
                    <a:pt x="2605149" y="1431496"/>
                  </a:lnTo>
                  <a:lnTo>
                    <a:pt x="2603372" y="1432690"/>
                  </a:lnTo>
                  <a:lnTo>
                    <a:pt x="2602526" y="1432931"/>
                  </a:lnTo>
                  <a:lnTo>
                    <a:pt x="2601302" y="1436893"/>
                  </a:lnTo>
                  <a:lnTo>
                    <a:pt x="2601252" y="1437252"/>
                  </a:lnTo>
                  <a:lnTo>
                    <a:pt x="2601255" y="1437790"/>
                  </a:lnTo>
                  <a:lnTo>
                    <a:pt x="2601187" y="1438272"/>
                  </a:lnTo>
                  <a:lnTo>
                    <a:pt x="2600396" y="1438585"/>
                  </a:lnTo>
                  <a:lnTo>
                    <a:pt x="2600243" y="1439529"/>
                  </a:lnTo>
                  <a:lnTo>
                    <a:pt x="2600799" y="1441177"/>
                  </a:lnTo>
                  <a:lnTo>
                    <a:pt x="2601542" y="1442984"/>
                  </a:lnTo>
                  <a:lnTo>
                    <a:pt x="2602273" y="1444348"/>
                  </a:lnTo>
                  <a:lnTo>
                    <a:pt x="2594319" y="1445620"/>
                  </a:lnTo>
                  <a:lnTo>
                    <a:pt x="2593217" y="1444637"/>
                  </a:lnTo>
                  <a:lnTo>
                    <a:pt x="2592251" y="1442177"/>
                  </a:lnTo>
                  <a:lnTo>
                    <a:pt x="2593483" y="1440955"/>
                  </a:lnTo>
                  <a:lnTo>
                    <a:pt x="2596315" y="1439706"/>
                  </a:lnTo>
                  <a:lnTo>
                    <a:pt x="2597449" y="1438277"/>
                  </a:lnTo>
                  <a:lnTo>
                    <a:pt x="2595554" y="1437736"/>
                  </a:lnTo>
                  <a:lnTo>
                    <a:pt x="2591684" y="1439426"/>
                  </a:lnTo>
                  <a:lnTo>
                    <a:pt x="2589898" y="1437212"/>
                  </a:lnTo>
                  <a:lnTo>
                    <a:pt x="2592370" y="1436823"/>
                  </a:lnTo>
                  <a:lnTo>
                    <a:pt x="2591338" y="1435348"/>
                  </a:lnTo>
                  <a:lnTo>
                    <a:pt x="2588630" y="1435719"/>
                  </a:lnTo>
                  <a:lnTo>
                    <a:pt x="2587447" y="1434585"/>
                  </a:lnTo>
                  <a:lnTo>
                    <a:pt x="2588025" y="1433782"/>
                  </a:lnTo>
                  <a:lnTo>
                    <a:pt x="2589376" y="1432691"/>
                  </a:lnTo>
                  <a:lnTo>
                    <a:pt x="2589791" y="1431890"/>
                  </a:lnTo>
                  <a:lnTo>
                    <a:pt x="2589671" y="1431155"/>
                  </a:lnTo>
                  <a:lnTo>
                    <a:pt x="2587523" y="1430415"/>
                  </a:lnTo>
                  <a:lnTo>
                    <a:pt x="2585545" y="1431190"/>
                  </a:lnTo>
                  <a:lnTo>
                    <a:pt x="2582124" y="1434656"/>
                  </a:lnTo>
                  <a:lnTo>
                    <a:pt x="2582709" y="1437351"/>
                  </a:lnTo>
                  <a:lnTo>
                    <a:pt x="2581652" y="1438818"/>
                  </a:lnTo>
                  <a:lnTo>
                    <a:pt x="2578959" y="1440399"/>
                  </a:lnTo>
                  <a:lnTo>
                    <a:pt x="2579471" y="1441720"/>
                  </a:lnTo>
                  <a:lnTo>
                    <a:pt x="2579947" y="1441845"/>
                  </a:lnTo>
                  <a:lnTo>
                    <a:pt x="2580832" y="1440877"/>
                  </a:lnTo>
                  <a:lnTo>
                    <a:pt x="2586420" y="1440316"/>
                  </a:lnTo>
                  <a:lnTo>
                    <a:pt x="2587959" y="1441181"/>
                  </a:lnTo>
                  <a:lnTo>
                    <a:pt x="2589611" y="1443278"/>
                  </a:lnTo>
                  <a:lnTo>
                    <a:pt x="2589499" y="1444534"/>
                  </a:lnTo>
                  <a:lnTo>
                    <a:pt x="2589608" y="1445746"/>
                  </a:lnTo>
                  <a:lnTo>
                    <a:pt x="2589928" y="1446656"/>
                  </a:lnTo>
                  <a:lnTo>
                    <a:pt x="2590442" y="1446980"/>
                  </a:lnTo>
                  <a:lnTo>
                    <a:pt x="2590293" y="1447506"/>
                  </a:lnTo>
                  <a:lnTo>
                    <a:pt x="2590077" y="1449298"/>
                  </a:lnTo>
                  <a:lnTo>
                    <a:pt x="2590269" y="1449515"/>
                  </a:lnTo>
                  <a:lnTo>
                    <a:pt x="2590493" y="1449843"/>
                  </a:lnTo>
                  <a:lnTo>
                    <a:pt x="2590701" y="1450017"/>
                  </a:lnTo>
                  <a:lnTo>
                    <a:pt x="2589714" y="1450961"/>
                  </a:lnTo>
                  <a:lnTo>
                    <a:pt x="2573877" y="1449851"/>
                  </a:lnTo>
                  <a:lnTo>
                    <a:pt x="2571333" y="1448732"/>
                  </a:lnTo>
                  <a:lnTo>
                    <a:pt x="2560694" y="1449937"/>
                  </a:lnTo>
                  <a:lnTo>
                    <a:pt x="2560455" y="1450316"/>
                  </a:lnTo>
                  <a:lnTo>
                    <a:pt x="2560296" y="1451082"/>
                  </a:lnTo>
                  <a:lnTo>
                    <a:pt x="2560289" y="1451835"/>
                  </a:lnTo>
                  <a:lnTo>
                    <a:pt x="2560501" y="1452145"/>
                  </a:lnTo>
                  <a:lnTo>
                    <a:pt x="2566280" y="1452771"/>
                  </a:lnTo>
                  <a:lnTo>
                    <a:pt x="2567479" y="1453527"/>
                  </a:lnTo>
                  <a:lnTo>
                    <a:pt x="2567579" y="1454194"/>
                  </a:lnTo>
                  <a:lnTo>
                    <a:pt x="2562442" y="1458932"/>
                  </a:lnTo>
                  <a:lnTo>
                    <a:pt x="2559533" y="1460444"/>
                  </a:lnTo>
                  <a:lnTo>
                    <a:pt x="2556365" y="1459563"/>
                  </a:lnTo>
                  <a:lnTo>
                    <a:pt x="2556408" y="1459253"/>
                  </a:lnTo>
                  <a:lnTo>
                    <a:pt x="2556445" y="1458863"/>
                  </a:lnTo>
                  <a:lnTo>
                    <a:pt x="2556511" y="1458428"/>
                  </a:lnTo>
                  <a:lnTo>
                    <a:pt x="2556647" y="1458020"/>
                  </a:lnTo>
                  <a:lnTo>
                    <a:pt x="2555837" y="1457798"/>
                  </a:lnTo>
                  <a:lnTo>
                    <a:pt x="2552149" y="1455222"/>
                  </a:lnTo>
                  <a:lnTo>
                    <a:pt x="2547684" y="1455267"/>
                  </a:lnTo>
                  <a:lnTo>
                    <a:pt x="2545772" y="1453744"/>
                  </a:lnTo>
                  <a:lnTo>
                    <a:pt x="2543995" y="1453154"/>
                  </a:lnTo>
                  <a:lnTo>
                    <a:pt x="2543094" y="1452391"/>
                  </a:lnTo>
                  <a:lnTo>
                    <a:pt x="2544091" y="1450221"/>
                  </a:lnTo>
                  <a:lnTo>
                    <a:pt x="2544390" y="1449894"/>
                  </a:lnTo>
                  <a:lnTo>
                    <a:pt x="2545259" y="1449775"/>
                  </a:lnTo>
                  <a:lnTo>
                    <a:pt x="2545304" y="1450020"/>
                  </a:lnTo>
                  <a:lnTo>
                    <a:pt x="2545434" y="1451066"/>
                  </a:lnTo>
                  <a:lnTo>
                    <a:pt x="2545477" y="1451315"/>
                  </a:lnTo>
                  <a:lnTo>
                    <a:pt x="2546483" y="1451540"/>
                  </a:lnTo>
                  <a:lnTo>
                    <a:pt x="2549489" y="1450764"/>
                  </a:lnTo>
                  <a:lnTo>
                    <a:pt x="2550395" y="1451108"/>
                  </a:lnTo>
                  <a:lnTo>
                    <a:pt x="2553017" y="1454027"/>
                  </a:lnTo>
                  <a:lnTo>
                    <a:pt x="2554176" y="1454295"/>
                  </a:lnTo>
                  <a:lnTo>
                    <a:pt x="2555322" y="1453896"/>
                  </a:lnTo>
                  <a:lnTo>
                    <a:pt x="2557281" y="1451923"/>
                  </a:lnTo>
                  <a:lnTo>
                    <a:pt x="2556220" y="1450927"/>
                  </a:lnTo>
                  <a:lnTo>
                    <a:pt x="2554186" y="1450552"/>
                  </a:lnTo>
                  <a:lnTo>
                    <a:pt x="2546545" y="1444893"/>
                  </a:lnTo>
                  <a:lnTo>
                    <a:pt x="2538987" y="1442674"/>
                  </a:lnTo>
                  <a:lnTo>
                    <a:pt x="2536139" y="1440212"/>
                  </a:lnTo>
                  <a:lnTo>
                    <a:pt x="2535718" y="1440478"/>
                  </a:lnTo>
                  <a:lnTo>
                    <a:pt x="2535374" y="1441056"/>
                  </a:lnTo>
                  <a:lnTo>
                    <a:pt x="2534847" y="1441425"/>
                  </a:lnTo>
                  <a:lnTo>
                    <a:pt x="2525461" y="1440105"/>
                  </a:lnTo>
                  <a:lnTo>
                    <a:pt x="2522484" y="1438400"/>
                  </a:lnTo>
                  <a:lnTo>
                    <a:pt x="2516616" y="1432465"/>
                  </a:lnTo>
                  <a:lnTo>
                    <a:pt x="2515534" y="1430738"/>
                  </a:lnTo>
                  <a:lnTo>
                    <a:pt x="2511943" y="1423238"/>
                  </a:lnTo>
                  <a:lnTo>
                    <a:pt x="2511778" y="1422325"/>
                  </a:lnTo>
                  <a:lnTo>
                    <a:pt x="2511652" y="1421444"/>
                  </a:lnTo>
                  <a:lnTo>
                    <a:pt x="2511288" y="1420391"/>
                  </a:lnTo>
                  <a:lnTo>
                    <a:pt x="2510772" y="1419691"/>
                  </a:lnTo>
                  <a:lnTo>
                    <a:pt x="2509043" y="1418418"/>
                  </a:lnTo>
                  <a:lnTo>
                    <a:pt x="2508837" y="1417894"/>
                  </a:lnTo>
                  <a:lnTo>
                    <a:pt x="2508640" y="1417141"/>
                  </a:lnTo>
                  <a:lnTo>
                    <a:pt x="2508392" y="1416480"/>
                  </a:lnTo>
                  <a:lnTo>
                    <a:pt x="2508020" y="1416227"/>
                  </a:lnTo>
                  <a:lnTo>
                    <a:pt x="2507778" y="1416136"/>
                  </a:lnTo>
                  <a:lnTo>
                    <a:pt x="2506153" y="1414674"/>
                  </a:lnTo>
                  <a:lnTo>
                    <a:pt x="2504672" y="1413980"/>
                  </a:lnTo>
                  <a:lnTo>
                    <a:pt x="2499378" y="1409065"/>
                  </a:lnTo>
                  <a:lnTo>
                    <a:pt x="2497904" y="1406898"/>
                  </a:lnTo>
                  <a:lnTo>
                    <a:pt x="2496407" y="1404880"/>
                  </a:lnTo>
                  <a:lnTo>
                    <a:pt x="2493863" y="1398597"/>
                  </a:lnTo>
                  <a:lnTo>
                    <a:pt x="2492286" y="1395584"/>
                  </a:lnTo>
                  <a:lnTo>
                    <a:pt x="2492858" y="1393948"/>
                  </a:lnTo>
                  <a:lnTo>
                    <a:pt x="2493715" y="1393530"/>
                  </a:lnTo>
                  <a:lnTo>
                    <a:pt x="2494640" y="1393399"/>
                  </a:lnTo>
                  <a:lnTo>
                    <a:pt x="2496383" y="1391610"/>
                  </a:lnTo>
                  <a:lnTo>
                    <a:pt x="2500356" y="1390889"/>
                  </a:lnTo>
                  <a:lnTo>
                    <a:pt x="2500255" y="1390080"/>
                  </a:lnTo>
                  <a:lnTo>
                    <a:pt x="2500013" y="1390109"/>
                  </a:lnTo>
                  <a:lnTo>
                    <a:pt x="2499929" y="1389442"/>
                  </a:lnTo>
                  <a:lnTo>
                    <a:pt x="2500542" y="1388725"/>
                  </a:lnTo>
                  <a:lnTo>
                    <a:pt x="2500803" y="1388591"/>
                  </a:lnTo>
                  <a:lnTo>
                    <a:pt x="2500062" y="1387346"/>
                  </a:lnTo>
                  <a:lnTo>
                    <a:pt x="2499185" y="1386578"/>
                  </a:lnTo>
                  <a:lnTo>
                    <a:pt x="2495227" y="1384843"/>
                  </a:lnTo>
                  <a:lnTo>
                    <a:pt x="2489803" y="1379697"/>
                  </a:lnTo>
                  <a:lnTo>
                    <a:pt x="2488881" y="1379384"/>
                  </a:lnTo>
                  <a:lnTo>
                    <a:pt x="2488213" y="1378927"/>
                  </a:lnTo>
                  <a:lnTo>
                    <a:pt x="2486816" y="1376650"/>
                  </a:lnTo>
                  <a:lnTo>
                    <a:pt x="2486041" y="1376044"/>
                  </a:lnTo>
                  <a:lnTo>
                    <a:pt x="2497871" y="1376391"/>
                  </a:lnTo>
                  <a:lnTo>
                    <a:pt x="2498686" y="1377547"/>
                  </a:lnTo>
                  <a:lnTo>
                    <a:pt x="2498570" y="1377873"/>
                  </a:lnTo>
                  <a:lnTo>
                    <a:pt x="2498509" y="1378540"/>
                  </a:lnTo>
                  <a:lnTo>
                    <a:pt x="2498411" y="1379079"/>
                  </a:lnTo>
                  <a:lnTo>
                    <a:pt x="2500226" y="1380443"/>
                  </a:lnTo>
                  <a:lnTo>
                    <a:pt x="2501089" y="1380820"/>
                  </a:lnTo>
                  <a:lnTo>
                    <a:pt x="2502059" y="1380876"/>
                  </a:lnTo>
                  <a:lnTo>
                    <a:pt x="2509010" y="1377714"/>
                  </a:lnTo>
                  <a:lnTo>
                    <a:pt x="2509710" y="1377881"/>
                  </a:lnTo>
                  <a:lnTo>
                    <a:pt x="2510942" y="1378606"/>
                  </a:lnTo>
                  <a:lnTo>
                    <a:pt x="2512128" y="1378947"/>
                  </a:lnTo>
                  <a:lnTo>
                    <a:pt x="2513220" y="1378750"/>
                  </a:lnTo>
                  <a:lnTo>
                    <a:pt x="2515129" y="1377306"/>
                  </a:lnTo>
                  <a:lnTo>
                    <a:pt x="2518787" y="1376245"/>
                  </a:lnTo>
                  <a:lnTo>
                    <a:pt x="2519641" y="1376421"/>
                  </a:lnTo>
                  <a:lnTo>
                    <a:pt x="2521476" y="1377530"/>
                  </a:lnTo>
                  <a:lnTo>
                    <a:pt x="2525497" y="1377492"/>
                  </a:lnTo>
                  <a:lnTo>
                    <a:pt x="2527353" y="1378103"/>
                  </a:lnTo>
                  <a:lnTo>
                    <a:pt x="2528924" y="1379690"/>
                  </a:lnTo>
                  <a:lnTo>
                    <a:pt x="2529288" y="1380570"/>
                  </a:lnTo>
                  <a:lnTo>
                    <a:pt x="2529821" y="1382805"/>
                  </a:lnTo>
                  <a:lnTo>
                    <a:pt x="2530118" y="1383753"/>
                  </a:lnTo>
                  <a:lnTo>
                    <a:pt x="2530757" y="1384780"/>
                  </a:lnTo>
                  <a:lnTo>
                    <a:pt x="2531407" y="1385135"/>
                  </a:lnTo>
                  <a:lnTo>
                    <a:pt x="2547033" y="1385520"/>
                  </a:lnTo>
                  <a:lnTo>
                    <a:pt x="2549544" y="1383203"/>
                  </a:lnTo>
                  <a:lnTo>
                    <a:pt x="2550456" y="1382777"/>
                  </a:lnTo>
                  <a:lnTo>
                    <a:pt x="2552637" y="1382605"/>
                  </a:lnTo>
                  <a:lnTo>
                    <a:pt x="2553195" y="1382010"/>
                  </a:lnTo>
                  <a:lnTo>
                    <a:pt x="2553844" y="1381621"/>
                  </a:lnTo>
                  <a:lnTo>
                    <a:pt x="2556130" y="1381776"/>
                  </a:lnTo>
                  <a:lnTo>
                    <a:pt x="2557639" y="1382541"/>
                  </a:lnTo>
                  <a:lnTo>
                    <a:pt x="2559546" y="1381454"/>
                  </a:lnTo>
                  <a:lnTo>
                    <a:pt x="2565671" y="1381222"/>
                  </a:lnTo>
                  <a:lnTo>
                    <a:pt x="2564947" y="1381331"/>
                  </a:lnTo>
                  <a:lnTo>
                    <a:pt x="2565671" y="1381276"/>
                  </a:lnTo>
                  <a:lnTo>
                    <a:pt x="2565956" y="1380180"/>
                  </a:lnTo>
                  <a:lnTo>
                    <a:pt x="2566128" y="1377058"/>
                  </a:lnTo>
                  <a:lnTo>
                    <a:pt x="2566608" y="1375283"/>
                  </a:lnTo>
                  <a:lnTo>
                    <a:pt x="2567347" y="1374391"/>
                  </a:lnTo>
                  <a:lnTo>
                    <a:pt x="2569222" y="1373918"/>
                  </a:lnTo>
                  <a:lnTo>
                    <a:pt x="2575534" y="1375260"/>
                  </a:lnTo>
                  <a:lnTo>
                    <a:pt x="2576623" y="1375091"/>
                  </a:lnTo>
                  <a:lnTo>
                    <a:pt x="2577412" y="1374228"/>
                  </a:lnTo>
                  <a:lnTo>
                    <a:pt x="2575533" y="1373068"/>
                  </a:lnTo>
                  <a:lnTo>
                    <a:pt x="2565154" y="1371380"/>
                  </a:lnTo>
                  <a:lnTo>
                    <a:pt x="2565040" y="1370909"/>
                  </a:lnTo>
                  <a:lnTo>
                    <a:pt x="2564961" y="1370383"/>
                  </a:lnTo>
                  <a:lnTo>
                    <a:pt x="2564692" y="1370097"/>
                  </a:lnTo>
                  <a:lnTo>
                    <a:pt x="2564359" y="1370201"/>
                  </a:lnTo>
                  <a:lnTo>
                    <a:pt x="2563795" y="1370859"/>
                  </a:lnTo>
                  <a:lnTo>
                    <a:pt x="2563566" y="1371019"/>
                  </a:lnTo>
                  <a:lnTo>
                    <a:pt x="2562779" y="1370725"/>
                  </a:lnTo>
                  <a:lnTo>
                    <a:pt x="2562258" y="1370033"/>
                  </a:lnTo>
                  <a:lnTo>
                    <a:pt x="2561800" y="1369164"/>
                  </a:lnTo>
                  <a:lnTo>
                    <a:pt x="2561215" y="1368365"/>
                  </a:lnTo>
                  <a:lnTo>
                    <a:pt x="2558406" y="1368057"/>
                  </a:lnTo>
                  <a:lnTo>
                    <a:pt x="2557916" y="1367753"/>
                  </a:lnTo>
                  <a:lnTo>
                    <a:pt x="2556833" y="1366529"/>
                  </a:lnTo>
                  <a:lnTo>
                    <a:pt x="2552560" y="1364644"/>
                  </a:lnTo>
                  <a:lnTo>
                    <a:pt x="2551565" y="1364587"/>
                  </a:lnTo>
                  <a:lnTo>
                    <a:pt x="2551045" y="1363901"/>
                  </a:lnTo>
                  <a:lnTo>
                    <a:pt x="2548813" y="1362666"/>
                  </a:lnTo>
                  <a:lnTo>
                    <a:pt x="2544945" y="1358218"/>
                  </a:lnTo>
                  <a:lnTo>
                    <a:pt x="2544423" y="1357438"/>
                  </a:lnTo>
                  <a:lnTo>
                    <a:pt x="2544222" y="1356523"/>
                  </a:lnTo>
                  <a:lnTo>
                    <a:pt x="2544811" y="1354345"/>
                  </a:lnTo>
                  <a:lnTo>
                    <a:pt x="2544699" y="1353291"/>
                  </a:lnTo>
                  <a:lnTo>
                    <a:pt x="2544334" y="1352453"/>
                  </a:lnTo>
                  <a:lnTo>
                    <a:pt x="2543827" y="1352051"/>
                  </a:lnTo>
                  <a:lnTo>
                    <a:pt x="2544303" y="1350743"/>
                  </a:lnTo>
                  <a:lnTo>
                    <a:pt x="2544536" y="1350446"/>
                  </a:lnTo>
                  <a:lnTo>
                    <a:pt x="2542654" y="1348804"/>
                  </a:lnTo>
                  <a:lnTo>
                    <a:pt x="2540766" y="1349605"/>
                  </a:lnTo>
                  <a:lnTo>
                    <a:pt x="2537735" y="1353658"/>
                  </a:lnTo>
                  <a:lnTo>
                    <a:pt x="2536569" y="1356477"/>
                  </a:lnTo>
                  <a:lnTo>
                    <a:pt x="2536124" y="1356887"/>
                  </a:lnTo>
                  <a:lnTo>
                    <a:pt x="2535235" y="1356715"/>
                  </a:lnTo>
                  <a:lnTo>
                    <a:pt x="2532335" y="1355233"/>
                  </a:lnTo>
                  <a:lnTo>
                    <a:pt x="2520585" y="1355007"/>
                  </a:lnTo>
                  <a:lnTo>
                    <a:pt x="2517065" y="1356447"/>
                  </a:lnTo>
                  <a:lnTo>
                    <a:pt x="2502710" y="1354905"/>
                  </a:lnTo>
                  <a:lnTo>
                    <a:pt x="2488388" y="1353269"/>
                  </a:lnTo>
                  <a:lnTo>
                    <a:pt x="2474097" y="1351542"/>
                  </a:lnTo>
                  <a:lnTo>
                    <a:pt x="2472587" y="1350578"/>
                  </a:lnTo>
                  <a:lnTo>
                    <a:pt x="2471456" y="1349393"/>
                  </a:lnTo>
                  <a:lnTo>
                    <a:pt x="2470715" y="1348245"/>
                  </a:lnTo>
                  <a:lnTo>
                    <a:pt x="2470097" y="1346664"/>
                  </a:lnTo>
                  <a:lnTo>
                    <a:pt x="2469350" y="1344203"/>
                  </a:lnTo>
                  <a:lnTo>
                    <a:pt x="2469014" y="1343558"/>
                  </a:lnTo>
                  <a:lnTo>
                    <a:pt x="2468209" y="1343205"/>
                  </a:lnTo>
                  <a:lnTo>
                    <a:pt x="2467840" y="1342804"/>
                  </a:lnTo>
                  <a:lnTo>
                    <a:pt x="2467713" y="1342453"/>
                  </a:lnTo>
                  <a:lnTo>
                    <a:pt x="2467577" y="1341724"/>
                  </a:lnTo>
                  <a:lnTo>
                    <a:pt x="2466855" y="1339607"/>
                  </a:lnTo>
                  <a:lnTo>
                    <a:pt x="2466508" y="1338958"/>
                  </a:lnTo>
                  <a:lnTo>
                    <a:pt x="2465924" y="1338532"/>
                  </a:lnTo>
                  <a:lnTo>
                    <a:pt x="2466057" y="1337453"/>
                  </a:lnTo>
                  <a:lnTo>
                    <a:pt x="2466180" y="1337168"/>
                  </a:lnTo>
                  <a:lnTo>
                    <a:pt x="2466509" y="1336972"/>
                  </a:lnTo>
                  <a:lnTo>
                    <a:pt x="2466044" y="1334262"/>
                  </a:lnTo>
                  <a:lnTo>
                    <a:pt x="2465677" y="1333045"/>
                  </a:lnTo>
                  <a:lnTo>
                    <a:pt x="2464962" y="1331907"/>
                  </a:lnTo>
                  <a:lnTo>
                    <a:pt x="2466208" y="1331705"/>
                  </a:lnTo>
                  <a:lnTo>
                    <a:pt x="2466725" y="1331102"/>
                  </a:lnTo>
                  <a:lnTo>
                    <a:pt x="2466505" y="1329839"/>
                  </a:lnTo>
                  <a:lnTo>
                    <a:pt x="2465081" y="1326600"/>
                  </a:lnTo>
                  <a:lnTo>
                    <a:pt x="2464920" y="1325553"/>
                  </a:lnTo>
                  <a:lnTo>
                    <a:pt x="2463318" y="1324591"/>
                  </a:lnTo>
                  <a:lnTo>
                    <a:pt x="2462810" y="1323479"/>
                  </a:lnTo>
                  <a:lnTo>
                    <a:pt x="2462930" y="1322638"/>
                  </a:lnTo>
                  <a:lnTo>
                    <a:pt x="2464299" y="1321858"/>
                  </a:lnTo>
                  <a:lnTo>
                    <a:pt x="2464493" y="1321044"/>
                  </a:lnTo>
                  <a:lnTo>
                    <a:pt x="2464259" y="1320375"/>
                  </a:lnTo>
                  <a:lnTo>
                    <a:pt x="2463906" y="1319781"/>
                  </a:lnTo>
                  <a:lnTo>
                    <a:pt x="2463752" y="1319201"/>
                  </a:lnTo>
                  <a:lnTo>
                    <a:pt x="2464407" y="1316601"/>
                  </a:lnTo>
                  <a:lnTo>
                    <a:pt x="2466639" y="1313882"/>
                  </a:lnTo>
                  <a:lnTo>
                    <a:pt x="2467394" y="1311332"/>
                  </a:lnTo>
                  <a:lnTo>
                    <a:pt x="2467054" y="1310626"/>
                  </a:lnTo>
                  <a:lnTo>
                    <a:pt x="2468449" y="1309113"/>
                  </a:lnTo>
                  <a:lnTo>
                    <a:pt x="2468829" y="1307985"/>
                  </a:lnTo>
                  <a:lnTo>
                    <a:pt x="2468289" y="1306815"/>
                  </a:lnTo>
                  <a:lnTo>
                    <a:pt x="2468197" y="1306011"/>
                  </a:lnTo>
                  <a:lnTo>
                    <a:pt x="2468521" y="1305961"/>
                  </a:lnTo>
                  <a:lnTo>
                    <a:pt x="2469272" y="1305143"/>
                  </a:lnTo>
                  <a:lnTo>
                    <a:pt x="2469187" y="1304404"/>
                  </a:lnTo>
                  <a:lnTo>
                    <a:pt x="2468095" y="1304218"/>
                  </a:lnTo>
                  <a:lnTo>
                    <a:pt x="2466976" y="1303504"/>
                  </a:lnTo>
                  <a:lnTo>
                    <a:pt x="2464815" y="1301150"/>
                  </a:lnTo>
                  <a:lnTo>
                    <a:pt x="2465076" y="1300837"/>
                  </a:lnTo>
                  <a:lnTo>
                    <a:pt x="2465786" y="1299557"/>
                  </a:lnTo>
                  <a:lnTo>
                    <a:pt x="2465135" y="1298916"/>
                  </a:lnTo>
                  <a:lnTo>
                    <a:pt x="2463832" y="1299254"/>
                  </a:lnTo>
                  <a:lnTo>
                    <a:pt x="2463224" y="1298679"/>
                  </a:lnTo>
                  <a:lnTo>
                    <a:pt x="2462923" y="1297706"/>
                  </a:lnTo>
                  <a:lnTo>
                    <a:pt x="2462850" y="1296806"/>
                  </a:lnTo>
                  <a:lnTo>
                    <a:pt x="2462844" y="1296018"/>
                  </a:lnTo>
                  <a:lnTo>
                    <a:pt x="2462736" y="1295412"/>
                  </a:lnTo>
                  <a:lnTo>
                    <a:pt x="2462238" y="1294825"/>
                  </a:lnTo>
                  <a:lnTo>
                    <a:pt x="2460945" y="1293954"/>
                  </a:lnTo>
                  <a:lnTo>
                    <a:pt x="2460586" y="1292955"/>
                  </a:lnTo>
                  <a:lnTo>
                    <a:pt x="2460291" y="1291598"/>
                  </a:lnTo>
                  <a:lnTo>
                    <a:pt x="2459892" y="1291240"/>
                  </a:lnTo>
                  <a:lnTo>
                    <a:pt x="2459428" y="1291237"/>
                  </a:lnTo>
                  <a:lnTo>
                    <a:pt x="2456928" y="1289137"/>
                  </a:lnTo>
                  <a:lnTo>
                    <a:pt x="2456307" y="1287832"/>
                  </a:lnTo>
                  <a:lnTo>
                    <a:pt x="2456754" y="1285897"/>
                  </a:lnTo>
                  <a:lnTo>
                    <a:pt x="2457047" y="1285532"/>
                  </a:lnTo>
                  <a:lnTo>
                    <a:pt x="2457385" y="1285394"/>
                  </a:lnTo>
                  <a:lnTo>
                    <a:pt x="2458104" y="1285379"/>
                  </a:lnTo>
                  <a:lnTo>
                    <a:pt x="2458287" y="1285213"/>
                  </a:lnTo>
                  <a:lnTo>
                    <a:pt x="2458291" y="1284843"/>
                  </a:lnTo>
                  <a:lnTo>
                    <a:pt x="2458273" y="1284360"/>
                  </a:lnTo>
                  <a:lnTo>
                    <a:pt x="2458379" y="1283854"/>
                  </a:lnTo>
                  <a:lnTo>
                    <a:pt x="2459256" y="1281339"/>
                  </a:lnTo>
                  <a:lnTo>
                    <a:pt x="2459676" y="1280732"/>
                  </a:lnTo>
                  <a:lnTo>
                    <a:pt x="2459191" y="1279084"/>
                  </a:lnTo>
                  <a:lnTo>
                    <a:pt x="2458967" y="1278570"/>
                  </a:lnTo>
                  <a:lnTo>
                    <a:pt x="2459343" y="1277781"/>
                  </a:lnTo>
                  <a:lnTo>
                    <a:pt x="2459010" y="1277069"/>
                  </a:lnTo>
                  <a:lnTo>
                    <a:pt x="2460001" y="1275400"/>
                  </a:lnTo>
                  <a:lnTo>
                    <a:pt x="2458695" y="1272697"/>
                  </a:lnTo>
                  <a:lnTo>
                    <a:pt x="2458820" y="1271949"/>
                  </a:lnTo>
                  <a:lnTo>
                    <a:pt x="2465868" y="1265269"/>
                  </a:lnTo>
                  <a:lnTo>
                    <a:pt x="2466695" y="1264949"/>
                  </a:lnTo>
                  <a:lnTo>
                    <a:pt x="2467440" y="1265386"/>
                  </a:lnTo>
                  <a:lnTo>
                    <a:pt x="2468255" y="1266176"/>
                  </a:lnTo>
                  <a:lnTo>
                    <a:pt x="2468976" y="1266264"/>
                  </a:lnTo>
                  <a:lnTo>
                    <a:pt x="2469439" y="1264639"/>
                  </a:lnTo>
                  <a:lnTo>
                    <a:pt x="2469206" y="1263396"/>
                  </a:lnTo>
                  <a:lnTo>
                    <a:pt x="2470993" y="1261892"/>
                  </a:lnTo>
                  <a:lnTo>
                    <a:pt x="2471515" y="1260594"/>
                  </a:lnTo>
                  <a:lnTo>
                    <a:pt x="2471046" y="1258816"/>
                  </a:lnTo>
                  <a:lnTo>
                    <a:pt x="2469915" y="1258336"/>
                  </a:lnTo>
                  <a:lnTo>
                    <a:pt x="2467823" y="1258779"/>
                  </a:lnTo>
                  <a:lnTo>
                    <a:pt x="2468029" y="1258756"/>
                  </a:lnTo>
                  <a:lnTo>
                    <a:pt x="2465106" y="1261320"/>
                  </a:lnTo>
                  <a:lnTo>
                    <a:pt x="2464356" y="1261199"/>
                  </a:lnTo>
                  <a:lnTo>
                    <a:pt x="2462833" y="1259730"/>
                  </a:lnTo>
                  <a:lnTo>
                    <a:pt x="2460425" y="1258847"/>
                  </a:lnTo>
                  <a:lnTo>
                    <a:pt x="2460315" y="1258281"/>
                  </a:lnTo>
                  <a:lnTo>
                    <a:pt x="2460195" y="1256513"/>
                  </a:lnTo>
                  <a:lnTo>
                    <a:pt x="2460088" y="1255902"/>
                  </a:lnTo>
                  <a:lnTo>
                    <a:pt x="2459477" y="1254508"/>
                  </a:lnTo>
                  <a:lnTo>
                    <a:pt x="2458878" y="1253444"/>
                  </a:lnTo>
                  <a:lnTo>
                    <a:pt x="2457531" y="1251766"/>
                  </a:lnTo>
                  <a:lnTo>
                    <a:pt x="2458274" y="1250937"/>
                  </a:lnTo>
                  <a:lnTo>
                    <a:pt x="2458369" y="1250241"/>
                  </a:lnTo>
                  <a:lnTo>
                    <a:pt x="2457249" y="1246428"/>
                  </a:lnTo>
                  <a:lnTo>
                    <a:pt x="2457103" y="1245804"/>
                  </a:lnTo>
                  <a:lnTo>
                    <a:pt x="2457001" y="1243474"/>
                  </a:lnTo>
                  <a:lnTo>
                    <a:pt x="2457250" y="1242009"/>
                  </a:lnTo>
                  <a:lnTo>
                    <a:pt x="2458073" y="1239315"/>
                  </a:lnTo>
                  <a:lnTo>
                    <a:pt x="2458450" y="1238459"/>
                  </a:lnTo>
                  <a:lnTo>
                    <a:pt x="2459575" y="1237400"/>
                  </a:lnTo>
                  <a:lnTo>
                    <a:pt x="2459925" y="1236431"/>
                  </a:lnTo>
                  <a:lnTo>
                    <a:pt x="2460017" y="1235566"/>
                  </a:lnTo>
                  <a:lnTo>
                    <a:pt x="2459943" y="1235343"/>
                  </a:lnTo>
                  <a:lnTo>
                    <a:pt x="2459701" y="1235326"/>
                  </a:lnTo>
                  <a:lnTo>
                    <a:pt x="2457654" y="1234260"/>
                  </a:lnTo>
                  <a:lnTo>
                    <a:pt x="2457106" y="1233373"/>
                  </a:lnTo>
                  <a:lnTo>
                    <a:pt x="2457290" y="1231496"/>
                  </a:lnTo>
                  <a:lnTo>
                    <a:pt x="2457405" y="1231969"/>
                  </a:lnTo>
                  <a:lnTo>
                    <a:pt x="2457915" y="1232932"/>
                  </a:lnTo>
                  <a:lnTo>
                    <a:pt x="2458219" y="1233183"/>
                  </a:lnTo>
                  <a:lnTo>
                    <a:pt x="2459237" y="1233361"/>
                  </a:lnTo>
                  <a:lnTo>
                    <a:pt x="2461248" y="1233101"/>
                  </a:lnTo>
                  <a:lnTo>
                    <a:pt x="2461299" y="1232610"/>
                  </a:lnTo>
                  <a:lnTo>
                    <a:pt x="2458436" y="1232745"/>
                  </a:lnTo>
                  <a:lnTo>
                    <a:pt x="2458029" y="1232546"/>
                  </a:lnTo>
                  <a:lnTo>
                    <a:pt x="2457726" y="1231760"/>
                  </a:lnTo>
                  <a:lnTo>
                    <a:pt x="2457649" y="1230785"/>
                  </a:lnTo>
                  <a:lnTo>
                    <a:pt x="2458030" y="1230240"/>
                  </a:lnTo>
                  <a:lnTo>
                    <a:pt x="2459926" y="1229425"/>
                  </a:lnTo>
                  <a:lnTo>
                    <a:pt x="2460294" y="1228653"/>
                  </a:lnTo>
                  <a:lnTo>
                    <a:pt x="2460510" y="1227668"/>
                  </a:lnTo>
                  <a:lnTo>
                    <a:pt x="2460603" y="1226642"/>
                  </a:lnTo>
                  <a:lnTo>
                    <a:pt x="2460558" y="1224074"/>
                  </a:lnTo>
                  <a:lnTo>
                    <a:pt x="2460479" y="1222587"/>
                  </a:lnTo>
                  <a:lnTo>
                    <a:pt x="2460375" y="1221780"/>
                  </a:lnTo>
                  <a:lnTo>
                    <a:pt x="2459987" y="1220658"/>
                  </a:lnTo>
                  <a:lnTo>
                    <a:pt x="2459703" y="1219461"/>
                  </a:lnTo>
                  <a:lnTo>
                    <a:pt x="2459527" y="1218225"/>
                  </a:lnTo>
                  <a:lnTo>
                    <a:pt x="2459476" y="1216993"/>
                  </a:lnTo>
                  <a:lnTo>
                    <a:pt x="2460011" y="1212829"/>
                  </a:lnTo>
                  <a:lnTo>
                    <a:pt x="2460470" y="1211637"/>
                  </a:lnTo>
                  <a:lnTo>
                    <a:pt x="2461201" y="1210710"/>
                  </a:lnTo>
                  <a:lnTo>
                    <a:pt x="2462007" y="1210102"/>
                  </a:lnTo>
                  <a:lnTo>
                    <a:pt x="2462691" y="1209913"/>
                  </a:lnTo>
                  <a:lnTo>
                    <a:pt x="2464413" y="1211212"/>
                  </a:lnTo>
                  <a:lnTo>
                    <a:pt x="2465324" y="1211589"/>
                  </a:lnTo>
                  <a:lnTo>
                    <a:pt x="2465851" y="1210700"/>
                  </a:lnTo>
                  <a:lnTo>
                    <a:pt x="2466284" y="1208913"/>
                  </a:lnTo>
                  <a:lnTo>
                    <a:pt x="2466173" y="1207964"/>
                  </a:lnTo>
                  <a:lnTo>
                    <a:pt x="2465459" y="1206604"/>
                  </a:lnTo>
                  <a:lnTo>
                    <a:pt x="2466025" y="1205777"/>
                  </a:lnTo>
                  <a:lnTo>
                    <a:pt x="2467767" y="1206123"/>
                  </a:lnTo>
                  <a:lnTo>
                    <a:pt x="2468506" y="1205502"/>
                  </a:lnTo>
                  <a:lnTo>
                    <a:pt x="2467315" y="1203864"/>
                  </a:lnTo>
                  <a:lnTo>
                    <a:pt x="2464905" y="1202504"/>
                  </a:lnTo>
                  <a:lnTo>
                    <a:pt x="2463990" y="1199983"/>
                  </a:lnTo>
                  <a:lnTo>
                    <a:pt x="2464139" y="1199031"/>
                  </a:lnTo>
                  <a:lnTo>
                    <a:pt x="2464168" y="1197726"/>
                  </a:lnTo>
                  <a:lnTo>
                    <a:pt x="2464251" y="1196417"/>
                  </a:lnTo>
                  <a:lnTo>
                    <a:pt x="2464558" y="1195433"/>
                  </a:lnTo>
                  <a:lnTo>
                    <a:pt x="2463623" y="1193328"/>
                  </a:lnTo>
                  <a:lnTo>
                    <a:pt x="2463342" y="1192581"/>
                  </a:lnTo>
                  <a:lnTo>
                    <a:pt x="2464037" y="1193022"/>
                  </a:lnTo>
                  <a:lnTo>
                    <a:pt x="2465850" y="1193039"/>
                  </a:lnTo>
                  <a:lnTo>
                    <a:pt x="2466555" y="1193335"/>
                  </a:lnTo>
                  <a:lnTo>
                    <a:pt x="2468557" y="1194967"/>
                  </a:lnTo>
                  <a:lnTo>
                    <a:pt x="2469240" y="1195101"/>
                  </a:lnTo>
                  <a:lnTo>
                    <a:pt x="2470499" y="1194654"/>
                  </a:lnTo>
                  <a:lnTo>
                    <a:pt x="2471197" y="1194655"/>
                  </a:lnTo>
                  <a:lnTo>
                    <a:pt x="2472433" y="1195617"/>
                  </a:lnTo>
                  <a:lnTo>
                    <a:pt x="2473009" y="1195802"/>
                  </a:lnTo>
                  <a:lnTo>
                    <a:pt x="2473507" y="1195128"/>
                  </a:lnTo>
                  <a:lnTo>
                    <a:pt x="2473268" y="1194591"/>
                  </a:lnTo>
                  <a:lnTo>
                    <a:pt x="2472772" y="1192971"/>
                  </a:lnTo>
                  <a:lnTo>
                    <a:pt x="2473108" y="1192743"/>
                  </a:lnTo>
                  <a:lnTo>
                    <a:pt x="2473400" y="1192410"/>
                  </a:lnTo>
                  <a:lnTo>
                    <a:pt x="2473658" y="1191951"/>
                  </a:lnTo>
                  <a:lnTo>
                    <a:pt x="2473904" y="1191338"/>
                  </a:lnTo>
                  <a:lnTo>
                    <a:pt x="2473208" y="1191257"/>
                  </a:lnTo>
                  <a:lnTo>
                    <a:pt x="2471085" y="1190178"/>
                  </a:lnTo>
                  <a:lnTo>
                    <a:pt x="2469697" y="1190209"/>
                  </a:lnTo>
                  <a:lnTo>
                    <a:pt x="2469015" y="1189822"/>
                  </a:lnTo>
                  <a:lnTo>
                    <a:pt x="2468325" y="1188635"/>
                  </a:lnTo>
                  <a:lnTo>
                    <a:pt x="2468125" y="1187816"/>
                  </a:lnTo>
                  <a:lnTo>
                    <a:pt x="2468197" y="1187180"/>
                  </a:lnTo>
                  <a:lnTo>
                    <a:pt x="2468391" y="1186622"/>
                  </a:lnTo>
                  <a:lnTo>
                    <a:pt x="2468545" y="1186003"/>
                  </a:lnTo>
                  <a:lnTo>
                    <a:pt x="2468572" y="1186013"/>
                  </a:lnTo>
                  <a:lnTo>
                    <a:pt x="2468826" y="1184634"/>
                  </a:lnTo>
                  <a:lnTo>
                    <a:pt x="2468800" y="1184476"/>
                  </a:lnTo>
                  <a:lnTo>
                    <a:pt x="2470033" y="1183011"/>
                  </a:lnTo>
                  <a:lnTo>
                    <a:pt x="2470410" y="1181916"/>
                  </a:lnTo>
                  <a:lnTo>
                    <a:pt x="2469884" y="1180539"/>
                  </a:lnTo>
                  <a:lnTo>
                    <a:pt x="2470512" y="1178838"/>
                  </a:lnTo>
                  <a:lnTo>
                    <a:pt x="2470621" y="1177685"/>
                  </a:lnTo>
                  <a:lnTo>
                    <a:pt x="2470402" y="1175992"/>
                  </a:lnTo>
                  <a:lnTo>
                    <a:pt x="2469977" y="1174916"/>
                  </a:lnTo>
                  <a:lnTo>
                    <a:pt x="2468737" y="1173768"/>
                  </a:lnTo>
                  <a:lnTo>
                    <a:pt x="2468160" y="1172901"/>
                  </a:lnTo>
                  <a:lnTo>
                    <a:pt x="2467825" y="1171511"/>
                  </a:lnTo>
                  <a:lnTo>
                    <a:pt x="2467872" y="1170112"/>
                  </a:lnTo>
                  <a:lnTo>
                    <a:pt x="2468158" y="1168875"/>
                  </a:lnTo>
                  <a:lnTo>
                    <a:pt x="2468540" y="1167992"/>
                  </a:lnTo>
                  <a:lnTo>
                    <a:pt x="2469190" y="1167140"/>
                  </a:lnTo>
                  <a:lnTo>
                    <a:pt x="2469889" y="1166641"/>
                  </a:lnTo>
                  <a:lnTo>
                    <a:pt x="2470647" y="1166524"/>
                  </a:lnTo>
                  <a:lnTo>
                    <a:pt x="2471474" y="1166825"/>
                  </a:lnTo>
                  <a:lnTo>
                    <a:pt x="2471443" y="1167296"/>
                  </a:lnTo>
                  <a:lnTo>
                    <a:pt x="2471372" y="1167501"/>
                  </a:lnTo>
                  <a:lnTo>
                    <a:pt x="2471141" y="1167680"/>
                  </a:lnTo>
                  <a:lnTo>
                    <a:pt x="2471778" y="1167781"/>
                  </a:lnTo>
                  <a:lnTo>
                    <a:pt x="2472012" y="1167388"/>
                  </a:lnTo>
                  <a:lnTo>
                    <a:pt x="2471822" y="1166703"/>
                  </a:lnTo>
                  <a:lnTo>
                    <a:pt x="2471188" y="1165920"/>
                  </a:lnTo>
                  <a:lnTo>
                    <a:pt x="2468486" y="1164195"/>
                  </a:lnTo>
                  <a:lnTo>
                    <a:pt x="2468722" y="1164166"/>
                  </a:lnTo>
                  <a:lnTo>
                    <a:pt x="2468402" y="1163528"/>
                  </a:lnTo>
                  <a:lnTo>
                    <a:pt x="2468626" y="1162477"/>
                  </a:lnTo>
                  <a:lnTo>
                    <a:pt x="2469271" y="1161286"/>
                  </a:lnTo>
                  <a:lnTo>
                    <a:pt x="2469565" y="1160400"/>
                  </a:lnTo>
                  <a:lnTo>
                    <a:pt x="2469660" y="1159547"/>
                  </a:lnTo>
                  <a:lnTo>
                    <a:pt x="2469678" y="1157513"/>
                  </a:lnTo>
                  <a:lnTo>
                    <a:pt x="2469739" y="1156571"/>
                  </a:lnTo>
                  <a:lnTo>
                    <a:pt x="2470280" y="1154625"/>
                  </a:lnTo>
                  <a:lnTo>
                    <a:pt x="2471082" y="1153718"/>
                  </a:lnTo>
                  <a:lnTo>
                    <a:pt x="2472980" y="1152506"/>
                  </a:lnTo>
                  <a:lnTo>
                    <a:pt x="2472530" y="1152557"/>
                  </a:lnTo>
                  <a:lnTo>
                    <a:pt x="2471138" y="1151920"/>
                  </a:lnTo>
                  <a:lnTo>
                    <a:pt x="2471221" y="1150698"/>
                  </a:lnTo>
                  <a:lnTo>
                    <a:pt x="2471437" y="1149460"/>
                  </a:lnTo>
                  <a:lnTo>
                    <a:pt x="2471766" y="1148480"/>
                  </a:lnTo>
                  <a:lnTo>
                    <a:pt x="2472730" y="1147734"/>
                  </a:lnTo>
                  <a:lnTo>
                    <a:pt x="2472908" y="1147097"/>
                  </a:lnTo>
                  <a:lnTo>
                    <a:pt x="2472968" y="1146328"/>
                  </a:lnTo>
                  <a:lnTo>
                    <a:pt x="2473163" y="1145622"/>
                  </a:lnTo>
                  <a:lnTo>
                    <a:pt x="2474651" y="1144543"/>
                  </a:lnTo>
                  <a:lnTo>
                    <a:pt x="2478069" y="1145226"/>
                  </a:lnTo>
                  <a:lnTo>
                    <a:pt x="2479525" y="1144147"/>
                  </a:lnTo>
                  <a:lnTo>
                    <a:pt x="2478762" y="1143365"/>
                  </a:lnTo>
                  <a:lnTo>
                    <a:pt x="2477223" y="1143799"/>
                  </a:lnTo>
                  <a:lnTo>
                    <a:pt x="2476445" y="1143575"/>
                  </a:lnTo>
                  <a:lnTo>
                    <a:pt x="2474585" y="1142131"/>
                  </a:lnTo>
                  <a:lnTo>
                    <a:pt x="2473879" y="1141052"/>
                  </a:lnTo>
                  <a:lnTo>
                    <a:pt x="2476139" y="1136604"/>
                  </a:lnTo>
                  <a:lnTo>
                    <a:pt x="2477404" y="1135121"/>
                  </a:lnTo>
                  <a:lnTo>
                    <a:pt x="2478994" y="1134426"/>
                  </a:lnTo>
                  <a:lnTo>
                    <a:pt x="2479361" y="1134616"/>
                  </a:lnTo>
                  <a:lnTo>
                    <a:pt x="2480085" y="1135548"/>
                  </a:lnTo>
                  <a:lnTo>
                    <a:pt x="2480490" y="1135733"/>
                  </a:lnTo>
                  <a:lnTo>
                    <a:pt x="2482728" y="1135447"/>
                  </a:lnTo>
                  <a:lnTo>
                    <a:pt x="2486051" y="1136328"/>
                  </a:lnTo>
                  <a:lnTo>
                    <a:pt x="2486899" y="1135655"/>
                  </a:lnTo>
                  <a:lnTo>
                    <a:pt x="2485842" y="1134656"/>
                  </a:lnTo>
                  <a:lnTo>
                    <a:pt x="2479671" y="1132454"/>
                  </a:lnTo>
                  <a:lnTo>
                    <a:pt x="2478710" y="1131467"/>
                  </a:lnTo>
                  <a:lnTo>
                    <a:pt x="2479024" y="1129880"/>
                  </a:lnTo>
                  <a:lnTo>
                    <a:pt x="2480599" y="1127745"/>
                  </a:lnTo>
                  <a:lnTo>
                    <a:pt x="2481160" y="1126290"/>
                  </a:lnTo>
                  <a:lnTo>
                    <a:pt x="2481878" y="1123514"/>
                  </a:lnTo>
                  <a:lnTo>
                    <a:pt x="2482758" y="1121158"/>
                  </a:lnTo>
                  <a:lnTo>
                    <a:pt x="2485389" y="1117417"/>
                  </a:lnTo>
                  <a:lnTo>
                    <a:pt x="2487437" y="1116366"/>
                  </a:lnTo>
                  <a:lnTo>
                    <a:pt x="2487985" y="1115709"/>
                  </a:lnTo>
                  <a:lnTo>
                    <a:pt x="2488144" y="1114845"/>
                  </a:lnTo>
                  <a:lnTo>
                    <a:pt x="2488130" y="1114134"/>
                  </a:lnTo>
                  <a:lnTo>
                    <a:pt x="2488213" y="1113248"/>
                  </a:lnTo>
                  <a:lnTo>
                    <a:pt x="2488354" y="1112498"/>
                  </a:lnTo>
                  <a:lnTo>
                    <a:pt x="2488779" y="1111727"/>
                  </a:lnTo>
                  <a:lnTo>
                    <a:pt x="2489687" y="1109019"/>
                  </a:lnTo>
                  <a:lnTo>
                    <a:pt x="2500488" y="1093243"/>
                  </a:lnTo>
                  <a:lnTo>
                    <a:pt x="2504356" y="1089603"/>
                  </a:lnTo>
                  <a:lnTo>
                    <a:pt x="2506539" y="1085684"/>
                  </a:lnTo>
                  <a:lnTo>
                    <a:pt x="2511615" y="1082690"/>
                  </a:lnTo>
                  <a:lnTo>
                    <a:pt x="2515736" y="1078979"/>
                  </a:lnTo>
                  <a:lnTo>
                    <a:pt x="2519780" y="1077831"/>
                  </a:lnTo>
                  <a:lnTo>
                    <a:pt x="2524182" y="1073594"/>
                  </a:lnTo>
                  <a:lnTo>
                    <a:pt x="2531680" y="1070648"/>
                  </a:lnTo>
                  <a:lnTo>
                    <a:pt x="2536037" y="1066801"/>
                  </a:lnTo>
                  <a:lnTo>
                    <a:pt x="2540575" y="1065191"/>
                  </a:lnTo>
                  <a:lnTo>
                    <a:pt x="2546268" y="1065116"/>
                  </a:lnTo>
                  <a:lnTo>
                    <a:pt x="2556789" y="1062498"/>
                  </a:lnTo>
                  <a:lnTo>
                    <a:pt x="2565368" y="1063525"/>
                  </a:lnTo>
                  <a:lnTo>
                    <a:pt x="2579925" y="1062392"/>
                  </a:lnTo>
                  <a:lnTo>
                    <a:pt x="2580675" y="1061277"/>
                  </a:lnTo>
                  <a:lnTo>
                    <a:pt x="2581550" y="1061910"/>
                  </a:lnTo>
                  <a:lnTo>
                    <a:pt x="2585042" y="1062129"/>
                  </a:lnTo>
                  <a:lnTo>
                    <a:pt x="2593095" y="1067655"/>
                  </a:lnTo>
                  <a:lnTo>
                    <a:pt x="2594545" y="1067714"/>
                  </a:lnTo>
                  <a:lnTo>
                    <a:pt x="2594306" y="1068503"/>
                  </a:lnTo>
                  <a:lnTo>
                    <a:pt x="2594061" y="1071659"/>
                  </a:lnTo>
                  <a:lnTo>
                    <a:pt x="2593872" y="1072317"/>
                  </a:lnTo>
                  <a:lnTo>
                    <a:pt x="2593370" y="1073494"/>
                  </a:lnTo>
                  <a:lnTo>
                    <a:pt x="2592732" y="1076643"/>
                  </a:lnTo>
                  <a:lnTo>
                    <a:pt x="2586328" y="1085719"/>
                  </a:lnTo>
                  <a:lnTo>
                    <a:pt x="2579850" y="1094774"/>
                  </a:lnTo>
                  <a:lnTo>
                    <a:pt x="2577527" y="1095829"/>
                  </a:lnTo>
                  <a:lnTo>
                    <a:pt x="2576949" y="1096743"/>
                  </a:lnTo>
                  <a:lnTo>
                    <a:pt x="2575383" y="1103120"/>
                  </a:lnTo>
                  <a:lnTo>
                    <a:pt x="2573360" y="1105013"/>
                  </a:lnTo>
                  <a:lnTo>
                    <a:pt x="2567158" y="1121655"/>
                  </a:lnTo>
                  <a:lnTo>
                    <a:pt x="2565414" y="1129609"/>
                  </a:lnTo>
                  <a:lnTo>
                    <a:pt x="2564269" y="1139132"/>
                  </a:lnTo>
                  <a:lnTo>
                    <a:pt x="2563725" y="1141325"/>
                  </a:lnTo>
                  <a:lnTo>
                    <a:pt x="2562554" y="1142990"/>
                  </a:lnTo>
                  <a:lnTo>
                    <a:pt x="2562725" y="1144231"/>
                  </a:lnTo>
                  <a:lnTo>
                    <a:pt x="2563153" y="1145447"/>
                  </a:lnTo>
                  <a:lnTo>
                    <a:pt x="2563398" y="1146038"/>
                  </a:lnTo>
                  <a:lnTo>
                    <a:pt x="2563335" y="1147216"/>
                  </a:lnTo>
                  <a:lnTo>
                    <a:pt x="2563091" y="1147921"/>
                  </a:lnTo>
                  <a:lnTo>
                    <a:pt x="2562430" y="1149207"/>
                  </a:lnTo>
                  <a:lnTo>
                    <a:pt x="2562668" y="1150900"/>
                  </a:lnTo>
                  <a:lnTo>
                    <a:pt x="2561484" y="1153754"/>
                  </a:lnTo>
                  <a:lnTo>
                    <a:pt x="2561082" y="1155526"/>
                  </a:lnTo>
                  <a:lnTo>
                    <a:pt x="2559925" y="1160814"/>
                  </a:lnTo>
                  <a:lnTo>
                    <a:pt x="2556579" y="1168512"/>
                  </a:lnTo>
                  <a:lnTo>
                    <a:pt x="2555527" y="1173821"/>
                  </a:lnTo>
                  <a:lnTo>
                    <a:pt x="2555268" y="1176163"/>
                  </a:lnTo>
                  <a:lnTo>
                    <a:pt x="2555264" y="1177266"/>
                  </a:lnTo>
                  <a:lnTo>
                    <a:pt x="2555834" y="1182272"/>
                  </a:lnTo>
                  <a:lnTo>
                    <a:pt x="2555866" y="1183163"/>
                  </a:lnTo>
                  <a:lnTo>
                    <a:pt x="2555552" y="1185339"/>
                  </a:lnTo>
                  <a:lnTo>
                    <a:pt x="2555558" y="1186602"/>
                  </a:lnTo>
                  <a:lnTo>
                    <a:pt x="2555884" y="1188118"/>
                  </a:lnTo>
                  <a:lnTo>
                    <a:pt x="2558265" y="1191428"/>
                  </a:lnTo>
                  <a:lnTo>
                    <a:pt x="2557710" y="1193145"/>
                  </a:lnTo>
                  <a:lnTo>
                    <a:pt x="2558934" y="1195395"/>
                  </a:lnTo>
                  <a:lnTo>
                    <a:pt x="2573012" y="1208790"/>
                  </a:lnTo>
                  <a:lnTo>
                    <a:pt x="2575656" y="1212471"/>
                  </a:lnTo>
                  <a:lnTo>
                    <a:pt x="2577273" y="1217024"/>
                  </a:lnTo>
                  <a:lnTo>
                    <a:pt x="2577429" y="1220078"/>
                  </a:lnTo>
                  <a:lnTo>
                    <a:pt x="2576909" y="1221962"/>
                  </a:lnTo>
                  <a:lnTo>
                    <a:pt x="2576161" y="1223430"/>
                  </a:lnTo>
                  <a:lnTo>
                    <a:pt x="2575631" y="1225247"/>
                  </a:lnTo>
                  <a:lnTo>
                    <a:pt x="2575253" y="1227192"/>
                  </a:lnTo>
                  <a:lnTo>
                    <a:pt x="2574243" y="1230453"/>
                  </a:lnTo>
                  <a:lnTo>
                    <a:pt x="2573865" y="1232356"/>
                  </a:lnTo>
                  <a:lnTo>
                    <a:pt x="2573772" y="1233682"/>
                  </a:lnTo>
                  <a:lnTo>
                    <a:pt x="2573834" y="1234703"/>
                  </a:lnTo>
                  <a:lnTo>
                    <a:pt x="2574127" y="1237209"/>
                  </a:lnTo>
                  <a:lnTo>
                    <a:pt x="2574213" y="1241714"/>
                  </a:lnTo>
                  <a:lnTo>
                    <a:pt x="2574547" y="1242875"/>
                  </a:lnTo>
                  <a:lnTo>
                    <a:pt x="2575407" y="1244496"/>
                  </a:lnTo>
                  <a:lnTo>
                    <a:pt x="2575735" y="1245290"/>
                  </a:lnTo>
                  <a:lnTo>
                    <a:pt x="2576043" y="1249764"/>
                  </a:lnTo>
                  <a:lnTo>
                    <a:pt x="2576639" y="1251348"/>
                  </a:lnTo>
                  <a:lnTo>
                    <a:pt x="2576994" y="1252680"/>
                  </a:lnTo>
                  <a:lnTo>
                    <a:pt x="2577508" y="1255549"/>
                  </a:lnTo>
                  <a:lnTo>
                    <a:pt x="2577860" y="1257057"/>
                  </a:lnTo>
                  <a:lnTo>
                    <a:pt x="2578679" y="1259907"/>
                  </a:lnTo>
                  <a:lnTo>
                    <a:pt x="2578943" y="1261025"/>
                  </a:lnTo>
                  <a:lnTo>
                    <a:pt x="2579605" y="1262612"/>
                  </a:lnTo>
                  <a:lnTo>
                    <a:pt x="2580610" y="1263253"/>
                  </a:lnTo>
                  <a:lnTo>
                    <a:pt x="2581650" y="1263564"/>
                  </a:lnTo>
                  <a:lnTo>
                    <a:pt x="2582433" y="1264210"/>
                  </a:lnTo>
                  <a:lnTo>
                    <a:pt x="2582782" y="1265292"/>
                  </a:lnTo>
                  <a:lnTo>
                    <a:pt x="2582994" y="1266599"/>
                  </a:lnTo>
                  <a:lnTo>
                    <a:pt x="2583368" y="1268046"/>
                  </a:lnTo>
                  <a:lnTo>
                    <a:pt x="2584200" y="1269563"/>
                  </a:lnTo>
                  <a:lnTo>
                    <a:pt x="2586545" y="1272510"/>
                  </a:lnTo>
                  <a:lnTo>
                    <a:pt x="2587245" y="1273645"/>
                  </a:lnTo>
                  <a:lnTo>
                    <a:pt x="2589971" y="1278965"/>
                  </a:lnTo>
                  <a:lnTo>
                    <a:pt x="2592983" y="1283709"/>
                  </a:lnTo>
                  <a:lnTo>
                    <a:pt x="2593728" y="1284674"/>
                  </a:lnTo>
                  <a:lnTo>
                    <a:pt x="2594603" y="1285194"/>
                  </a:lnTo>
                  <a:lnTo>
                    <a:pt x="2596237" y="1285484"/>
                  </a:lnTo>
                  <a:lnTo>
                    <a:pt x="2596890" y="1286315"/>
                  </a:lnTo>
                  <a:lnTo>
                    <a:pt x="2597787" y="1287640"/>
                  </a:lnTo>
                  <a:lnTo>
                    <a:pt x="2599562" y="1288627"/>
                  </a:lnTo>
                  <a:lnTo>
                    <a:pt x="2600495" y="1289913"/>
                  </a:lnTo>
                  <a:lnTo>
                    <a:pt x="2601256" y="1291211"/>
                  </a:lnTo>
                  <a:lnTo>
                    <a:pt x="2604838" y="1295280"/>
                  </a:lnTo>
                  <a:lnTo>
                    <a:pt x="2605846" y="1296034"/>
                  </a:lnTo>
                  <a:lnTo>
                    <a:pt x="2606831" y="1296455"/>
                  </a:lnTo>
                  <a:lnTo>
                    <a:pt x="2607802" y="1296486"/>
                  </a:lnTo>
                  <a:lnTo>
                    <a:pt x="2608163" y="1296729"/>
                  </a:lnTo>
                  <a:lnTo>
                    <a:pt x="2609554" y="1298102"/>
                  </a:lnTo>
                  <a:lnTo>
                    <a:pt x="2609820" y="1299558"/>
                  </a:lnTo>
                  <a:lnTo>
                    <a:pt x="2610000" y="1300210"/>
                  </a:lnTo>
                  <a:lnTo>
                    <a:pt x="2610255" y="1300722"/>
                  </a:lnTo>
                  <a:lnTo>
                    <a:pt x="2612240" y="1302728"/>
                  </a:lnTo>
                  <a:lnTo>
                    <a:pt x="2616159" y="1304863"/>
                  </a:lnTo>
                  <a:lnTo>
                    <a:pt x="2618121" y="1306796"/>
                  </a:lnTo>
                  <a:lnTo>
                    <a:pt x="2618720" y="1307850"/>
                  </a:lnTo>
                  <a:lnTo>
                    <a:pt x="2619269" y="1309011"/>
                  </a:lnTo>
                  <a:lnTo>
                    <a:pt x="2619831" y="1309928"/>
                  </a:lnTo>
                  <a:lnTo>
                    <a:pt x="2620459" y="1310223"/>
                  </a:lnTo>
                  <a:lnTo>
                    <a:pt x="2622194" y="1309152"/>
                  </a:lnTo>
                  <a:lnTo>
                    <a:pt x="2622581" y="1309374"/>
                  </a:lnTo>
                  <a:lnTo>
                    <a:pt x="2622773" y="1310019"/>
                  </a:lnTo>
                  <a:lnTo>
                    <a:pt x="2622893" y="1310750"/>
                  </a:lnTo>
                  <a:lnTo>
                    <a:pt x="2623076" y="1311261"/>
                  </a:lnTo>
                  <a:lnTo>
                    <a:pt x="2623970" y="1311990"/>
                  </a:lnTo>
                  <a:lnTo>
                    <a:pt x="2624646" y="1312042"/>
                  </a:lnTo>
                  <a:lnTo>
                    <a:pt x="2626020" y="1311479"/>
                  </a:lnTo>
                  <a:lnTo>
                    <a:pt x="2626488" y="1311745"/>
                  </a:lnTo>
                  <a:lnTo>
                    <a:pt x="2627384" y="1313144"/>
                  </a:lnTo>
                  <a:lnTo>
                    <a:pt x="2627953" y="1313390"/>
                  </a:lnTo>
                  <a:lnTo>
                    <a:pt x="2629271" y="1313128"/>
                  </a:lnTo>
                  <a:lnTo>
                    <a:pt x="2629996" y="1313229"/>
                  </a:lnTo>
                  <a:lnTo>
                    <a:pt x="2630801" y="1313692"/>
                  </a:lnTo>
                  <a:lnTo>
                    <a:pt x="2630882" y="1313907"/>
                  </a:lnTo>
                  <a:lnTo>
                    <a:pt x="2630980" y="1314322"/>
                  </a:lnTo>
                  <a:lnTo>
                    <a:pt x="2631124" y="1314777"/>
                  </a:lnTo>
                  <a:lnTo>
                    <a:pt x="2631336" y="1315098"/>
                  </a:lnTo>
                  <a:lnTo>
                    <a:pt x="2631872" y="1315427"/>
                  </a:lnTo>
                  <a:lnTo>
                    <a:pt x="2637459" y="1314791"/>
                  </a:lnTo>
                  <a:lnTo>
                    <a:pt x="2639939" y="1315684"/>
                  </a:lnTo>
                  <a:lnTo>
                    <a:pt x="2640465" y="1316189"/>
                  </a:lnTo>
                  <a:lnTo>
                    <a:pt x="2641111" y="1317045"/>
                  </a:lnTo>
                  <a:lnTo>
                    <a:pt x="2641724" y="1318174"/>
                  </a:lnTo>
                  <a:lnTo>
                    <a:pt x="2642146" y="1319501"/>
                  </a:lnTo>
                  <a:lnTo>
                    <a:pt x="2642229" y="1320676"/>
                  </a:lnTo>
                  <a:lnTo>
                    <a:pt x="2641821" y="1321998"/>
                  </a:lnTo>
                  <a:lnTo>
                    <a:pt x="2641916" y="1323252"/>
                  </a:lnTo>
                  <a:lnTo>
                    <a:pt x="2642258" y="1324599"/>
                  </a:lnTo>
                  <a:lnTo>
                    <a:pt x="2642538" y="1324759"/>
                  </a:lnTo>
                  <a:lnTo>
                    <a:pt x="2642912" y="1324376"/>
                  </a:lnTo>
                  <a:lnTo>
                    <a:pt x="2643539" y="1324085"/>
                  </a:lnTo>
                  <a:lnTo>
                    <a:pt x="2644237" y="1324313"/>
                  </a:lnTo>
                  <a:lnTo>
                    <a:pt x="2644807" y="1324962"/>
                  </a:lnTo>
                  <a:lnTo>
                    <a:pt x="2645945" y="1327064"/>
                  </a:lnTo>
                  <a:lnTo>
                    <a:pt x="2647133" y="1330081"/>
                  </a:lnTo>
                  <a:lnTo>
                    <a:pt x="2646649" y="1331334"/>
                  </a:lnTo>
                  <a:lnTo>
                    <a:pt x="2634623" y="1331030"/>
                  </a:lnTo>
                  <a:lnTo>
                    <a:pt x="2632083" y="1333113"/>
                  </a:lnTo>
                  <a:lnTo>
                    <a:pt x="2633072" y="1334459"/>
                  </a:lnTo>
                  <a:lnTo>
                    <a:pt x="2633998" y="1334391"/>
                  </a:lnTo>
                  <a:lnTo>
                    <a:pt x="2635797" y="1333183"/>
                  </a:lnTo>
                  <a:lnTo>
                    <a:pt x="2635951" y="1333979"/>
                  </a:lnTo>
                  <a:lnTo>
                    <a:pt x="2634992" y="1334671"/>
                  </a:lnTo>
                  <a:lnTo>
                    <a:pt x="2633233" y="1336849"/>
                  </a:lnTo>
                  <a:lnTo>
                    <a:pt x="2632213" y="1337623"/>
                  </a:lnTo>
                  <a:lnTo>
                    <a:pt x="2627870" y="1337436"/>
                  </a:lnTo>
                  <a:lnTo>
                    <a:pt x="2626787" y="1338614"/>
                  </a:lnTo>
                  <a:lnTo>
                    <a:pt x="2626432" y="1340237"/>
                  </a:lnTo>
                  <a:lnTo>
                    <a:pt x="2627166" y="1340325"/>
                  </a:lnTo>
                  <a:lnTo>
                    <a:pt x="2628301" y="1339934"/>
                  </a:lnTo>
                  <a:lnTo>
                    <a:pt x="2629145" y="1340114"/>
                  </a:lnTo>
                  <a:lnTo>
                    <a:pt x="2629694" y="1341996"/>
                  </a:lnTo>
                  <a:lnTo>
                    <a:pt x="2629356" y="1343332"/>
                  </a:lnTo>
                  <a:lnTo>
                    <a:pt x="2628707" y="1343748"/>
                  </a:lnTo>
                  <a:lnTo>
                    <a:pt x="2628323" y="1342871"/>
                  </a:lnTo>
                  <a:lnTo>
                    <a:pt x="2627345" y="1342072"/>
                  </a:lnTo>
                  <a:lnTo>
                    <a:pt x="2626849" y="1342305"/>
                  </a:lnTo>
                  <a:lnTo>
                    <a:pt x="2626615" y="1343397"/>
                  </a:lnTo>
                  <a:lnTo>
                    <a:pt x="2626415" y="1345140"/>
                  </a:lnTo>
                  <a:lnTo>
                    <a:pt x="2625902" y="1345891"/>
                  </a:lnTo>
                  <a:lnTo>
                    <a:pt x="2624936" y="1345947"/>
                  </a:lnTo>
                  <a:lnTo>
                    <a:pt x="2618917" y="1343804"/>
                  </a:lnTo>
                  <a:lnTo>
                    <a:pt x="2618080" y="1344084"/>
                  </a:lnTo>
                  <a:lnTo>
                    <a:pt x="2616017" y="1346652"/>
                  </a:lnTo>
                  <a:lnTo>
                    <a:pt x="2614596" y="1346901"/>
                  </a:lnTo>
                  <a:lnTo>
                    <a:pt x="2613249" y="1348315"/>
                  </a:lnTo>
                  <a:lnTo>
                    <a:pt x="2612062" y="1348036"/>
                  </a:lnTo>
                  <a:lnTo>
                    <a:pt x="2610972" y="1348379"/>
                  </a:lnTo>
                  <a:lnTo>
                    <a:pt x="2610066" y="1349192"/>
                  </a:lnTo>
                  <a:lnTo>
                    <a:pt x="2609824" y="1350403"/>
                  </a:lnTo>
                  <a:lnTo>
                    <a:pt x="2609081" y="1352541"/>
                  </a:lnTo>
                  <a:lnTo>
                    <a:pt x="2604680" y="1357623"/>
                  </a:lnTo>
                  <a:lnTo>
                    <a:pt x="2603160" y="1358676"/>
                  </a:lnTo>
                  <a:lnTo>
                    <a:pt x="2603320" y="1359162"/>
                  </a:lnTo>
                  <a:lnTo>
                    <a:pt x="2603639" y="1360406"/>
                  </a:lnTo>
                  <a:lnTo>
                    <a:pt x="2603796" y="1360901"/>
                  </a:lnTo>
                  <a:lnTo>
                    <a:pt x="2600689" y="1363967"/>
                  </a:lnTo>
                  <a:lnTo>
                    <a:pt x="2599519" y="1364567"/>
                  </a:lnTo>
                  <a:lnTo>
                    <a:pt x="2598010" y="1364634"/>
                  </a:lnTo>
                  <a:lnTo>
                    <a:pt x="2597586" y="1364889"/>
                  </a:lnTo>
                  <a:lnTo>
                    <a:pt x="2597452" y="1365235"/>
                  </a:lnTo>
                  <a:lnTo>
                    <a:pt x="2597302" y="1366221"/>
                  </a:lnTo>
                  <a:lnTo>
                    <a:pt x="2597132" y="1366536"/>
                  </a:lnTo>
                  <a:lnTo>
                    <a:pt x="2594479" y="1366974"/>
                  </a:lnTo>
                  <a:lnTo>
                    <a:pt x="2584347" y="1372730"/>
                  </a:lnTo>
                  <a:lnTo>
                    <a:pt x="2584025" y="1373872"/>
                  </a:lnTo>
                  <a:lnTo>
                    <a:pt x="2583806" y="1373907"/>
                  </a:lnTo>
                  <a:lnTo>
                    <a:pt x="2589723" y="1374533"/>
                  </a:lnTo>
                  <a:lnTo>
                    <a:pt x="2602436" y="1369129"/>
                  </a:lnTo>
                  <a:lnTo>
                    <a:pt x="2603348" y="1367988"/>
                  </a:lnTo>
                  <a:lnTo>
                    <a:pt x="2604321" y="1367244"/>
                  </a:lnTo>
                  <a:lnTo>
                    <a:pt x="2604924" y="1365582"/>
                  </a:lnTo>
                  <a:lnTo>
                    <a:pt x="2606017" y="1364669"/>
                  </a:lnTo>
                  <a:lnTo>
                    <a:pt x="2607226" y="1362818"/>
                  </a:lnTo>
                  <a:lnTo>
                    <a:pt x="2614505" y="1356149"/>
                  </a:lnTo>
                  <a:lnTo>
                    <a:pt x="2616146" y="1351858"/>
                  </a:lnTo>
                  <a:lnTo>
                    <a:pt x="2617729" y="1350680"/>
                  </a:lnTo>
                  <a:lnTo>
                    <a:pt x="2625406" y="1348641"/>
                  </a:lnTo>
                  <a:lnTo>
                    <a:pt x="2625872" y="1348206"/>
                  </a:lnTo>
                  <a:lnTo>
                    <a:pt x="2626565" y="1346663"/>
                  </a:lnTo>
                  <a:lnTo>
                    <a:pt x="2627105" y="1346160"/>
                  </a:lnTo>
                  <a:lnTo>
                    <a:pt x="2637617" y="1346521"/>
                  </a:lnTo>
                  <a:lnTo>
                    <a:pt x="2637641" y="1347049"/>
                  </a:lnTo>
                  <a:lnTo>
                    <a:pt x="2637613" y="1347063"/>
                  </a:lnTo>
                  <a:lnTo>
                    <a:pt x="2637542" y="1347292"/>
                  </a:lnTo>
                  <a:lnTo>
                    <a:pt x="2638283" y="1347881"/>
                  </a:lnTo>
                  <a:lnTo>
                    <a:pt x="2638690" y="1347458"/>
                  </a:lnTo>
                  <a:lnTo>
                    <a:pt x="2638954" y="1346674"/>
                  </a:lnTo>
                  <a:lnTo>
                    <a:pt x="2639262" y="1346215"/>
                  </a:lnTo>
                  <a:lnTo>
                    <a:pt x="2641192" y="1345855"/>
                  </a:lnTo>
                  <a:lnTo>
                    <a:pt x="2640208" y="1344759"/>
                  </a:lnTo>
                  <a:lnTo>
                    <a:pt x="2639782" y="1344098"/>
                  </a:lnTo>
                  <a:lnTo>
                    <a:pt x="2639407" y="1343100"/>
                  </a:lnTo>
                  <a:lnTo>
                    <a:pt x="2643691" y="1344600"/>
                  </a:lnTo>
                  <a:lnTo>
                    <a:pt x="2644458" y="1343733"/>
                  </a:lnTo>
                  <a:lnTo>
                    <a:pt x="2643298" y="1342663"/>
                  </a:lnTo>
                  <a:lnTo>
                    <a:pt x="2642760" y="1342421"/>
                  </a:lnTo>
                  <a:lnTo>
                    <a:pt x="2642245" y="1342568"/>
                  </a:lnTo>
                  <a:lnTo>
                    <a:pt x="2642115" y="1341902"/>
                  </a:lnTo>
                  <a:lnTo>
                    <a:pt x="2644384" y="1340625"/>
                  </a:lnTo>
                  <a:lnTo>
                    <a:pt x="2645158" y="1340948"/>
                  </a:lnTo>
                  <a:lnTo>
                    <a:pt x="2646396" y="1342436"/>
                  </a:lnTo>
                  <a:lnTo>
                    <a:pt x="2646892" y="1342649"/>
                  </a:lnTo>
                  <a:lnTo>
                    <a:pt x="2647331" y="1342015"/>
                  </a:lnTo>
                  <a:lnTo>
                    <a:pt x="2647761" y="1341996"/>
                  </a:lnTo>
                  <a:lnTo>
                    <a:pt x="2648469" y="1342728"/>
                  </a:lnTo>
                  <a:lnTo>
                    <a:pt x="2649164" y="1343759"/>
                  </a:lnTo>
                  <a:lnTo>
                    <a:pt x="2649549" y="1344651"/>
                  </a:lnTo>
                  <a:lnTo>
                    <a:pt x="2649678" y="1345800"/>
                  </a:lnTo>
                  <a:lnTo>
                    <a:pt x="2649634" y="1347938"/>
                  </a:lnTo>
                  <a:lnTo>
                    <a:pt x="2649654" y="1348796"/>
                  </a:lnTo>
                  <a:lnTo>
                    <a:pt x="2650271" y="1352564"/>
                  </a:lnTo>
                  <a:lnTo>
                    <a:pt x="2650287" y="1353224"/>
                  </a:lnTo>
                  <a:lnTo>
                    <a:pt x="2649708" y="1353122"/>
                  </a:lnTo>
                  <a:lnTo>
                    <a:pt x="2646793" y="1350509"/>
                  </a:lnTo>
                  <a:lnTo>
                    <a:pt x="2645904" y="1350136"/>
                  </a:lnTo>
                  <a:lnTo>
                    <a:pt x="2640547" y="1352788"/>
                  </a:lnTo>
                  <a:lnTo>
                    <a:pt x="2640688" y="1353520"/>
                  </a:lnTo>
                  <a:lnTo>
                    <a:pt x="2647302" y="1353102"/>
                  </a:lnTo>
                  <a:lnTo>
                    <a:pt x="2647370" y="1354479"/>
                  </a:lnTo>
                  <a:lnTo>
                    <a:pt x="2647305" y="1355564"/>
                  </a:lnTo>
                  <a:lnTo>
                    <a:pt x="2647037" y="1355981"/>
                  </a:lnTo>
                  <a:lnTo>
                    <a:pt x="2646494" y="1355384"/>
                  </a:lnTo>
                  <a:lnTo>
                    <a:pt x="2646347" y="1355881"/>
                  </a:lnTo>
                  <a:lnTo>
                    <a:pt x="2646176" y="1356274"/>
                  </a:lnTo>
                  <a:lnTo>
                    <a:pt x="2646491" y="1357352"/>
                  </a:lnTo>
                  <a:lnTo>
                    <a:pt x="2646604" y="1358458"/>
                  </a:lnTo>
                  <a:lnTo>
                    <a:pt x="2647792" y="1358414"/>
                  </a:lnTo>
                  <a:lnTo>
                    <a:pt x="2649019" y="1359364"/>
                  </a:lnTo>
                  <a:lnTo>
                    <a:pt x="2649932" y="1361225"/>
                  </a:lnTo>
                  <a:lnTo>
                    <a:pt x="2650171" y="1363914"/>
                  </a:lnTo>
                  <a:lnTo>
                    <a:pt x="2649938" y="1364847"/>
                  </a:lnTo>
                  <a:lnTo>
                    <a:pt x="2649569" y="1365774"/>
                  </a:lnTo>
                  <a:lnTo>
                    <a:pt x="2649358" y="1366937"/>
                  </a:lnTo>
                  <a:lnTo>
                    <a:pt x="2649598" y="1368566"/>
                  </a:lnTo>
                  <a:lnTo>
                    <a:pt x="2650260" y="1369695"/>
                  </a:lnTo>
                  <a:lnTo>
                    <a:pt x="2651048" y="1369704"/>
                  </a:lnTo>
                  <a:lnTo>
                    <a:pt x="2652395" y="1368856"/>
                  </a:lnTo>
                  <a:lnTo>
                    <a:pt x="2656096" y="1368149"/>
                  </a:lnTo>
                  <a:lnTo>
                    <a:pt x="2656092" y="1367549"/>
                  </a:lnTo>
                  <a:lnTo>
                    <a:pt x="2655941" y="1366251"/>
                  </a:lnTo>
                  <a:lnTo>
                    <a:pt x="2655865" y="1364939"/>
                  </a:lnTo>
                  <a:lnTo>
                    <a:pt x="2656085" y="1364300"/>
                  </a:lnTo>
                  <a:lnTo>
                    <a:pt x="2656668" y="1363759"/>
                  </a:lnTo>
                  <a:lnTo>
                    <a:pt x="2656689" y="1362708"/>
                  </a:lnTo>
                  <a:lnTo>
                    <a:pt x="2656100" y="1360094"/>
                  </a:lnTo>
                  <a:lnTo>
                    <a:pt x="2655566" y="1358861"/>
                  </a:lnTo>
                  <a:lnTo>
                    <a:pt x="2654929" y="1358374"/>
                  </a:lnTo>
                  <a:lnTo>
                    <a:pt x="2654505" y="1357778"/>
                  </a:lnTo>
                  <a:lnTo>
                    <a:pt x="2654613" y="1356245"/>
                  </a:lnTo>
                  <a:lnTo>
                    <a:pt x="2652975" y="1354565"/>
                  </a:lnTo>
                  <a:lnTo>
                    <a:pt x="2652295" y="1353490"/>
                  </a:lnTo>
                  <a:lnTo>
                    <a:pt x="2651681" y="1351442"/>
                  </a:lnTo>
                  <a:lnTo>
                    <a:pt x="2651493" y="1349884"/>
                  </a:lnTo>
                  <a:lnTo>
                    <a:pt x="2651511" y="1346739"/>
                  </a:lnTo>
                  <a:lnTo>
                    <a:pt x="2651445" y="1345425"/>
                  </a:lnTo>
                  <a:lnTo>
                    <a:pt x="2650769" y="1341790"/>
                  </a:lnTo>
                  <a:lnTo>
                    <a:pt x="2650696" y="1340676"/>
                  </a:lnTo>
                  <a:lnTo>
                    <a:pt x="2650991" y="1339455"/>
                  </a:lnTo>
                  <a:lnTo>
                    <a:pt x="2651815" y="1338226"/>
                  </a:lnTo>
                  <a:lnTo>
                    <a:pt x="2653748" y="1337044"/>
                  </a:lnTo>
                  <a:lnTo>
                    <a:pt x="2654445" y="1335685"/>
                  </a:lnTo>
                  <a:lnTo>
                    <a:pt x="2650466" y="1332514"/>
                  </a:lnTo>
                  <a:lnTo>
                    <a:pt x="2648450" y="1329707"/>
                  </a:lnTo>
                  <a:lnTo>
                    <a:pt x="2648141" y="1326300"/>
                  </a:lnTo>
                  <a:lnTo>
                    <a:pt x="2648143" y="1320869"/>
                  </a:lnTo>
                  <a:lnTo>
                    <a:pt x="2648446" y="1319430"/>
                  </a:lnTo>
                  <a:lnTo>
                    <a:pt x="2647169" y="1316643"/>
                  </a:lnTo>
                  <a:lnTo>
                    <a:pt x="2647573" y="1314700"/>
                  </a:lnTo>
                  <a:lnTo>
                    <a:pt x="2648708" y="1313551"/>
                  </a:lnTo>
                  <a:lnTo>
                    <a:pt x="2652313" y="1312149"/>
                  </a:lnTo>
                  <a:lnTo>
                    <a:pt x="2653571" y="1310714"/>
                  </a:lnTo>
                  <a:lnTo>
                    <a:pt x="2653711" y="1308104"/>
                  </a:lnTo>
                  <a:lnTo>
                    <a:pt x="2653069" y="1305907"/>
                  </a:lnTo>
                  <a:lnTo>
                    <a:pt x="2651351" y="1301634"/>
                  </a:lnTo>
                  <a:lnTo>
                    <a:pt x="2650736" y="1299560"/>
                  </a:lnTo>
                  <a:lnTo>
                    <a:pt x="2650052" y="1298877"/>
                  </a:lnTo>
                  <a:lnTo>
                    <a:pt x="2648754" y="1298326"/>
                  </a:lnTo>
                  <a:lnTo>
                    <a:pt x="2647331" y="1297015"/>
                  </a:lnTo>
                  <a:lnTo>
                    <a:pt x="2646266" y="1294026"/>
                  </a:lnTo>
                  <a:lnTo>
                    <a:pt x="2646430" y="1292947"/>
                  </a:lnTo>
                  <a:lnTo>
                    <a:pt x="2647359" y="1289952"/>
                  </a:lnTo>
                  <a:lnTo>
                    <a:pt x="2646329" y="1288162"/>
                  </a:lnTo>
                  <a:lnTo>
                    <a:pt x="2645867" y="1287512"/>
                  </a:lnTo>
                  <a:lnTo>
                    <a:pt x="2645375" y="1287310"/>
                  </a:lnTo>
                  <a:lnTo>
                    <a:pt x="2642915" y="1287030"/>
                  </a:lnTo>
                  <a:lnTo>
                    <a:pt x="2637742" y="1288784"/>
                  </a:lnTo>
                  <a:lnTo>
                    <a:pt x="2638066" y="1289615"/>
                  </a:lnTo>
                  <a:lnTo>
                    <a:pt x="2638394" y="1290211"/>
                  </a:lnTo>
                  <a:lnTo>
                    <a:pt x="2638731" y="1290580"/>
                  </a:lnTo>
                  <a:lnTo>
                    <a:pt x="2639088" y="1290728"/>
                  </a:lnTo>
                  <a:lnTo>
                    <a:pt x="2639105" y="1292448"/>
                  </a:lnTo>
                  <a:lnTo>
                    <a:pt x="2638646" y="1293249"/>
                  </a:lnTo>
                  <a:lnTo>
                    <a:pt x="2637940" y="1293429"/>
                  </a:lnTo>
                  <a:lnTo>
                    <a:pt x="2624815" y="1291972"/>
                  </a:lnTo>
                  <a:lnTo>
                    <a:pt x="2622092" y="1290550"/>
                  </a:lnTo>
                  <a:lnTo>
                    <a:pt x="2616309" y="1283500"/>
                  </a:lnTo>
                  <a:lnTo>
                    <a:pt x="2613584" y="1282620"/>
                  </a:lnTo>
                  <a:lnTo>
                    <a:pt x="2613677" y="1281847"/>
                  </a:lnTo>
                  <a:lnTo>
                    <a:pt x="2613061" y="1281414"/>
                  </a:lnTo>
                  <a:lnTo>
                    <a:pt x="2611961" y="1281287"/>
                  </a:lnTo>
                  <a:lnTo>
                    <a:pt x="2611337" y="1280765"/>
                  </a:lnTo>
                  <a:lnTo>
                    <a:pt x="2615488" y="1278917"/>
                  </a:lnTo>
                  <a:lnTo>
                    <a:pt x="2615840" y="1278344"/>
                  </a:lnTo>
                  <a:lnTo>
                    <a:pt x="2615767" y="1277425"/>
                  </a:lnTo>
                  <a:lnTo>
                    <a:pt x="2615081" y="1275929"/>
                  </a:lnTo>
                  <a:lnTo>
                    <a:pt x="2614421" y="1274978"/>
                  </a:lnTo>
                  <a:lnTo>
                    <a:pt x="2613183" y="1273833"/>
                  </a:lnTo>
                  <a:lnTo>
                    <a:pt x="2610628" y="1270387"/>
                  </a:lnTo>
                  <a:lnTo>
                    <a:pt x="2609974" y="1269682"/>
                  </a:lnTo>
                  <a:lnTo>
                    <a:pt x="2610072" y="1268840"/>
                  </a:lnTo>
                  <a:lnTo>
                    <a:pt x="2609363" y="1268356"/>
                  </a:lnTo>
                  <a:lnTo>
                    <a:pt x="2606484" y="1267449"/>
                  </a:lnTo>
                  <a:lnTo>
                    <a:pt x="2602738" y="1264966"/>
                  </a:lnTo>
                  <a:lnTo>
                    <a:pt x="2592906" y="1262754"/>
                  </a:lnTo>
                  <a:lnTo>
                    <a:pt x="2592021" y="1261792"/>
                  </a:lnTo>
                  <a:lnTo>
                    <a:pt x="2591552" y="1260453"/>
                  </a:lnTo>
                  <a:lnTo>
                    <a:pt x="2591345" y="1259661"/>
                  </a:lnTo>
                  <a:lnTo>
                    <a:pt x="2591444" y="1259289"/>
                  </a:lnTo>
                  <a:lnTo>
                    <a:pt x="2591952" y="1259229"/>
                  </a:lnTo>
                  <a:lnTo>
                    <a:pt x="2592207" y="1259508"/>
                  </a:lnTo>
                  <a:lnTo>
                    <a:pt x="2592425" y="1260253"/>
                  </a:lnTo>
                  <a:lnTo>
                    <a:pt x="2592859" y="1261256"/>
                  </a:lnTo>
                  <a:lnTo>
                    <a:pt x="2593595" y="1262006"/>
                  </a:lnTo>
                  <a:lnTo>
                    <a:pt x="2594376" y="1262428"/>
                  </a:lnTo>
                  <a:lnTo>
                    <a:pt x="2594953" y="1262454"/>
                  </a:lnTo>
                  <a:lnTo>
                    <a:pt x="2594542" y="1261316"/>
                  </a:lnTo>
                  <a:lnTo>
                    <a:pt x="2593837" y="1260418"/>
                  </a:lnTo>
                  <a:lnTo>
                    <a:pt x="2593649" y="1260419"/>
                  </a:lnTo>
                  <a:lnTo>
                    <a:pt x="2593544" y="1259129"/>
                  </a:lnTo>
                  <a:lnTo>
                    <a:pt x="2593389" y="1258445"/>
                  </a:lnTo>
                  <a:lnTo>
                    <a:pt x="2593120" y="1257490"/>
                  </a:lnTo>
                  <a:lnTo>
                    <a:pt x="2593740" y="1257468"/>
                  </a:lnTo>
                  <a:lnTo>
                    <a:pt x="2594332" y="1257685"/>
                  </a:lnTo>
                  <a:lnTo>
                    <a:pt x="2594889" y="1257709"/>
                  </a:lnTo>
                  <a:lnTo>
                    <a:pt x="2595388" y="1257096"/>
                  </a:lnTo>
                  <a:lnTo>
                    <a:pt x="2595164" y="1257135"/>
                  </a:lnTo>
                  <a:lnTo>
                    <a:pt x="2596855" y="1256809"/>
                  </a:lnTo>
                  <a:lnTo>
                    <a:pt x="2602394" y="1258131"/>
                  </a:lnTo>
                  <a:lnTo>
                    <a:pt x="2601650" y="1257157"/>
                  </a:lnTo>
                  <a:lnTo>
                    <a:pt x="2600365" y="1256759"/>
                  </a:lnTo>
                  <a:lnTo>
                    <a:pt x="2599800" y="1255500"/>
                  </a:lnTo>
                  <a:lnTo>
                    <a:pt x="2600915" y="1253859"/>
                  </a:lnTo>
                  <a:lnTo>
                    <a:pt x="2605021" y="1252385"/>
                  </a:lnTo>
                  <a:lnTo>
                    <a:pt x="2606398" y="1252233"/>
                  </a:lnTo>
                  <a:lnTo>
                    <a:pt x="2606815" y="1251856"/>
                  </a:lnTo>
                  <a:lnTo>
                    <a:pt x="2608044" y="1249753"/>
                  </a:lnTo>
                  <a:lnTo>
                    <a:pt x="2608408" y="1249426"/>
                  </a:lnTo>
                  <a:lnTo>
                    <a:pt x="2608366" y="1248772"/>
                  </a:lnTo>
                  <a:lnTo>
                    <a:pt x="2607592" y="1247423"/>
                  </a:lnTo>
                  <a:lnTo>
                    <a:pt x="2606105" y="1245319"/>
                  </a:lnTo>
                  <a:lnTo>
                    <a:pt x="2605968" y="1244588"/>
                  </a:lnTo>
                  <a:lnTo>
                    <a:pt x="2608448" y="1244139"/>
                  </a:lnTo>
                  <a:lnTo>
                    <a:pt x="2609399" y="1242962"/>
                  </a:lnTo>
                  <a:lnTo>
                    <a:pt x="2609907" y="1242635"/>
                  </a:lnTo>
                  <a:lnTo>
                    <a:pt x="2610581" y="1242994"/>
                  </a:lnTo>
                  <a:lnTo>
                    <a:pt x="2609767" y="1241414"/>
                  </a:lnTo>
                  <a:lnTo>
                    <a:pt x="2608480" y="1240095"/>
                  </a:lnTo>
                  <a:lnTo>
                    <a:pt x="2607132" y="1239296"/>
                  </a:lnTo>
                  <a:lnTo>
                    <a:pt x="2606129" y="1239270"/>
                  </a:lnTo>
                  <a:lnTo>
                    <a:pt x="2605966" y="1236842"/>
                  </a:lnTo>
                  <a:lnTo>
                    <a:pt x="2605587" y="1235057"/>
                  </a:lnTo>
                  <a:lnTo>
                    <a:pt x="2604893" y="1233792"/>
                  </a:lnTo>
                  <a:lnTo>
                    <a:pt x="2603770" y="1232901"/>
                  </a:lnTo>
                  <a:lnTo>
                    <a:pt x="2604618" y="1232410"/>
                  </a:lnTo>
                  <a:lnTo>
                    <a:pt x="2607097" y="1234098"/>
                  </a:lnTo>
                  <a:lnTo>
                    <a:pt x="2608229" y="1234289"/>
                  </a:lnTo>
                  <a:lnTo>
                    <a:pt x="2607398" y="1232450"/>
                  </a:lnTo>
                  <a:lnTo>
                    <a:pt x="2606548" y="1231466"/>
                  </a:lnTo>
                  <a:lnTo>
                    <a:pt x="2605691" y="1231095"/>
                  </a:lnTo>
                  <a:lnTo>
                    <a:pt x="2604846" y="1231127"/>
                  </a:lnTo>
                  <a:lnTo>
                    <a:pt x="2605343" y="1229367"/>
                  </a:lnTo>
                  <a:lnTo>
                    <a:pt x="2606643" y="1229261"/>
                  </a:lnTo>
                  <a:lnTo>
                    <a:pt x="2609345" y="1230307"/>
                  </a:lnTo>
                  <a:lnTo>
                    <a:pt x="2609964" y="1230099"/>
                  </a:lnTo>
                  <a:lnTo>
                    <a:pt x="2611293" y="1228503"/>
                  </a:lnTo>
                  <a:lnTo>
                    <a:pt x="2611946" y="1228437"/>
                  </a:lnTo>
                  <a:lnTo>
                    <a:pt x="2613294" y="1228917"/>
                  </a:lnTo>
                  <a:lnTo>
                    <a:pt x="2613916" y="1228775"/>
                  </a:lnTo>
                  <a:lnTo>
                    <a:pt x="2613374" y="1229564"/>
                  </a:lnTo>
                  <a:lnTo>
                    <a:pt x="2613902" y="1230858"/>
                  </a:lnTo>
                  <a:lnTo>
                    <a:pt x="2614428" y="1231076"/>
                  </a:lnTo>
                  <a:lnTo>
                    <a:pt x="2614908" y="1230635"/>
                  </a:lnTo>
                  <a:lnTo>
                    <a:pt x="2615304" y="1229962"/>
                  </a:lnTo>
                  <a:lnTo>
                    <a:pt x="2615162" y="1229232"/>
                  </a:lnTo>
                  <a:lnTo>
                    <a:pt x="2614941" y="1229273"/>
                  </a:lnTo>
                  <a:lnTo>
                    <a:pt x="2615178" y="1228310"/>
                  </a:lnTo>
                  <a:lnTo>
                    <a:pt x="2615852" y="1228035"/>
                  </a:lnTo>
                  <a:lnTo>
                    <a:pt x="2617392" y="1228126"/>
                  </a:lnTo>
                  <a:lnTo>
                    <a:pt x="2617941" y="1228334"/>
                  </a:lnTo>
                  <a:lnTo>
                    <a:pt x="2618313" y="1228967"/>
                  </a:lnTo>
                  <a:lnTo>
                    <a:pt x="2618363" y="1229719"/>
                  </a:lnTo>
                  <a:lnTo>
                    <a:pt x="2617940" y="1230294"/>
                  </a:lnTo>
                  <a:lnTo>
                    <a:pt x="2618070" y="1230959"/>
                  </a:lnTo>
                  <a:lnTo>
                    <a:pt x="2619347" y="1230634"/>
                  </a:lnTo>
                  <a:lnTo>
                    <a:pt x="2619724" y="1229914"/>
                  </a:lnTo>
                  <a:lnTo>
                    <a:pt x="2619433" y="1228432"/>
                  </a:lnTo>
                  <a:lnTo>
                    <a:pt x="2620015" y="1227930"/>
                  </a:lnTo>
                  <a:lnTo>
                    <a:pt x="2620668" y="1228118"/>
                  </a:lnTo>
                  <a:lnTo>
                    <a:pt x="2621354" y="1228529"/>
                  </a:lnTo>
                  <a:lnTo>
                    <a:pt x="2622884" y="1228901"/>
                  </a:lnTo>
                  <a:lnTo>
                    <a:pt x="2624641" y="1230172"/>
                  </a:lnTo>
                  <a:lnTo>
                    <a:pt x="2625414" y="1230394"/>
                  </a:lnTo>
                  <a:lnTo>
                    <a:pt x="2625873" y="1230360"/>
                  </a:lnTo>
                  <a:lnTo>
                    <a:pt x="2626451" y="1230584"/>
                  </a:lnTo>
                  <a:lnTo>
                    <a:pt x="2627028" y="1231248"/>
                  </a:lnTo>
                  <a:lnTo>
                    <a:pt x="2627483" y="1232609"/>
                  </a:lnTo>
                  <a:lnTo>
                    <a:pt x="2627847" y="1233239"/>
                  </a:lnTo>
                  <a:lnTo>
                    <a:pt x="2633921" y="1237429"/>
                  </a:lnTo>
                  <a:lnTo>
                    <a:pt x="2636541" y="1237608"/>
                  </a:lnTo>
                  <a:lnTo>
                    <a:pt x="2637832" y="1238587"/>
                  </a:lnTo>
                  <a:lnTo>
                    <a:pt x="2638442" y="1238847"/>
                  </a:lnTo>
                  <a:lnTo>
                    <a:pt x="2639661" y="1238837"/>
                  </a:lnTo>
                  <a:lnTo>
                    <a:pt x="2640304" y="1239239"/>
                  </a:lnTo>
                  <a:lnTo>
                    <a:pt x="2642123" y="1241250"/>
                  </a:lnTo>
                  <a:lnTo>
                    <a:pt x="2642526" y="1241450"/>
                  </a:lnTo>
                  <a:lnTo>
                    <a:pt x="2642906" y="1241826"/>
                  </a:lnTo>
                  <a:lnTo>
                    <a:pt x="2643997" y="1243818"/>
                  </a:lnTo>
                  <a:lnTo>
                    <a:pt x="2644465" y="1244538"/>
                  </a:lnTo>
                  <a:lnTo>
                    <a:pt x="2644963" y="1244859"/>
                  </a:lnTo>
                  <a:lnTo>
                    <a:pt x="2646354" y="1244541"/>
                  </a:lnTo>
                  <a:lnTo>
                    <a:pt x="2646696" y="1244713"/>
                  </a:lnTo>
                  <a:lnTo>
                    <a:pt x="2647394" y="1245612"/>
                  </a:lnTo>
                  <a:lnTo>
                    <a:pt x="2648268" y="1246029"/>
                  </a:lnTo>
                  <a:lnTo>
                    <a:pt x="2649581" y="1247338"/>
                  </a:lnTo>
                  <a:lnTo>
                    <a:pt x="2650160" y="1247574"/>
                  </a:lnTo>
                  <a:lnTo>
                    <a:pt x="2650864" y="1248530"/>
                  </a:lnTo>
                  <a:lnTo>
                    <a:pt x="2651722" y="1250852"/>
                  </a:lnTo>
                  <a:lnTo>
                    <a:pt x="2652543" y="1253389"/>
                  </a:lnTo>
                  <a:lnTo>
                    <a:pt x="2653128" y="1254976"/>
                  </a:lnTo>
                  <a:lnTo>
                    <a:pt x="2654231" y="1256313"/>
                  </a:lnTo>
                  <a:lnTo>
                    <a:pt x="2654989" y="1256200"/>
                  </a:lnTo>
                  <a:lnTo>
                    <a:pt x="2655110" y="1254751"/>
                  </a:lnTo>
                  <a:lnTo>
                    <a:pt x="2654307" y="1252106"/>
                  </a:lnTo>
                  <a:lnTo>
                    <a:pt x="2654514" y="1251956"/>
                  </a:lnTo>
                  <a:lnTo>
                    <a:pt x="2654620" y="1251694"/>
                  </a:lnTo>
                  <a:lnTo>
                    <a:pt x="2654698" y="1251407"/>
                  </a:lnTo>
                  <a:lnTo>
                    <a:pt x="2654819" y="1251184"/>
                  </a:lnTo>
                  <a:lnTo>
                    <a:pt x="2654379" y="1250514"/>
                  </a:lnTo>
                  <a:lnTo>
                    <a:pt x="2653535" y="1248953"/>
                  </a:lnTo>
                  <a:lnTo>
                    <a:pt x="2653074" y="1248504"/>
                  </a:lnTo>
                  <a:lnTo>
                    <a:pt x="2653690" y="1246860"/>
                  </a:lnTo>
                  <a:lnTo>
                    <a:pt x="2653108" y="1246630"/>
                  </a:lnTo>
                  <a:lnTo>
                    <a:pt x="2650307" y="1244127"/>
                  </a:lnTo>
                  <a:lnTo>
                    <a:pt x="2647790" y="1243499"/>
                  </a:lnTo>
                  <a:lnTo>
                    <a:pt x="2647137" y="1243002"/>
                  </a:lnTo>
                  <a:lnTo>
                    <a:pt x="2646627" y="1242449"/>
                  </a:lnTo>
                  <a:lnTo>
                    <a:pt x="2644466" y="1239050"/>
                  </a:lnTo>
                  <a:lnTo>
                    <a:pt x="2643958" y="1238483"/>
                  </a:lnTo>
                  <a:lnTo>
                    <a:pt x="2643396" y="1238246"/>
                  </a:lnTo>
                  <a:lnTo>
                    <a:pt x="2643856" y="1237491"/>
                  </a:lnTo>
                  <a:lnTo>
                    <a:pt x="2644216" y="1236565"/>
                  </a:lnTo>
                  <a:lnTo>
                    <a:pt x="2640488" y="1236416"/>
                  </a:lnTo>
                  <a:lnTo>
                    <a:pt x="2636603" y="1234969"/>
                  </a:lnTo>
                  <a:lnTo>
                    <a:pt x="2635816" y="1234436"/>
                  </a:lnTo>
                  <a:lnTo>
                    <a:pt x="2629973" y="1228692"/>
                  </a:lnTo>
                  <a:lnTo>
                    <a:pt x="2631251" y="1228548"/>
                  </a:lnTo>
                  <a:lnTo>
                    <a:pt x="2631834" y="1228250"/>
                  </a:lnTo>
                  <a:lnTo>
                    <a:pt x="2632299" y="1227550"/>
                  </a:lnTo>
                  <a:lnTo>
                    <a:pt x="2631569" y="1226898"/>
                  </a:lnTo>
                  <a:lnTo>
                    <a:pt x="2630833" y="1226833"/>
                  </a:lnTo>
                  <a:lnTo>
                    <a:pt x="2629455" y="1227276"/>
                  </a:lnTo>
                  <a:lnTo>
                    <a:pt x="2628878" y="1227140"/>
                  </a:lnTo>
                  <a:lnTo>
                    <a:pt x="2626997" y="1225544"/>
                  </a:lnTo>
                  <a:lnTo>
                    <a:pt x="2623536" y="1224358"/>
                  </a:lnTo>
                  <a:lnTo>
                    <a:pt x="2622386" y="1223333"/>
                  </a:lnTo>
                  <a:lnTo>
                    <a:pt x="2622708" y="1222514"/>
                  </a:lnTo>
                  <a:lnTo>
                    <a:pt x="2623750" y="1221089"/>
                  </a:lnTo>
                  <a:lnTo>
                    <a:pt x="2623891" y="1220430"/>
                  </a:lnTo>
                  <a:lnTo>
                    <a:pt x="2623924" y="1219735"/>
                  </a:lnTo>
                  <a:lnTo>
                    <a:pt x="2625069" y="1215564"/>
                  </a:lnTo>
                  <a:lnTo>
                    <a:pt x="2626009" y="1214882"/>
                  </a:lnTo>
                  <a:lnTo>
                    <a:pt x="2633108" y="1214379"/>
                  </a:lnTo>
                  <a:lnTo>
                    <a:pt x="2634245" y="1213844"/>
                  </a:lnTo>
                  <a:lnTo>
                    <a:pt x="2636962" y="1210584"/>
                  </a:lnTo>
                  <a:lnTo>
                    <a:pt x="2636055" y="1210154"/>
                  </a:lnTo>
                  <a:lnTo>
                    <a:pt x="2633933" y="1212777"/>
                  </a:lnTo>
                  <a:lnTo>
                    <a:pt x="2624210" y="1213267"/>
                  </a:lnTo>
                  <a:lnTo>
                    <a:pt x="2623218" y="1214860"/>
                  </a:lnTo>
                  <a:lnTo>
                    <a:pt x="2622805" y="1214217"/>
                  </a:lnTo>
                  <a:lnTo>
                    <a:pt x="2622531" y="1213368"/>
                  </a:lnTo>
                  <a:lnTo>
                    <a:pt x="2622053" y="1211222"/>
                  </a:lnTo>
                  <a:lnTo>
                    <a:pt x="2622738" y="1210739"/>
                  </a:lnTo>
                  <a:lnTo>
                    <a:pt x="2623594" y="1210490"/>
                  </a:lnTo>
                  <a:lnTo>
                    <a:pt x="2624291" y="1209918"/>
                  </a:lnTo>
                  <a:lnTo>
                    <a:pt x="2624513" y="1208477"/>
                  </a:lnTo>
                  <a:lnTo>
                    <a:pt x="2624050" y="1208566"/>
                  </a:lnTo>
                  <a:lnTo>
                    <a:pt x="2624338" y="1205750"/>
                  </a:lnTo>
                  <a:lnTo>
                    <a:pt x="2624309" y="1204313"/>
                  </a:lnTo>
                  <a:lnTo>
                    <a:pt x="2623938" y="1204249"/>
                  </a:lnTo>
                  <a:lnTo>
                    <a:pt x="2622743" y="1206346"/>
                  </a:lnTo>
                  <a:lnTo>
                    <a:pt x="2620858" y="1207474"/>
                  </a:lnTo>
                  <a:lnTo>
                    <a:pt x="2617397" y="1212108"/>
                  </a:lnTo>
                  <a:lnTo>
                    <a:pt x="2617636" y="1212739"/>
                  </a:lnTo>
                  <a:lnTo>
                    <a:pt x="2618174" y="1214387"/>
                  </a:lnTo>
                  <a:lnTo>
                    <a:pt x="2618408" y="1215009"/>
                  </a:lnTo>
                  <a:lnTo>
                    <a:pt x="2616131" y="1215232"/>
                  </a:lnTo>
                  <a:lnTo>
                    <a:pt x="2615592" y="1215919"/>
                  </a:lnTo>
                  <a:lnTo>
                    <a:pt x="2615133" y="1217617"/>
                  </a:lnTo>
                  <a:lnTo>
                    <a:pt x="2614799" y="1217923"/>
                  </a:lnTo>
                  <a:lnTo>
                    <a:pt x="2614230" y="1217309"/>
                  </a:lnTo>
                  <a:lnTo>
                    <a:pt x="2614122" y="1216208"/>
                  </a:lnTo>
                  <a:lnTo>
                    <a:pt x="2614140" y="1215393"/>
                  </a:lnTo>
                  <a:lnTo>
                    <a:pt x="2614315" y="1214924"/>
                  </a:lnTo>
                  <a:lnTo>
                    <a:pt x="2614678" y="1214887"/>
                  </a:lnTo>
                  <a:lnTo>
                    <a:pt x="2614548" y="1214222"/>
                  </a:lnTo>
                  <a:lnTo>
                    <a:pt x="2606668" y="1212901"/>
                  </a:lnTo>
                  <a:lnTo>
                    <a:pt x="2602372" y="1209541"/>
                  </a:lnTo>
                  <a:lnTo>
                    <a:pt x="2600115" y="1208506"/>
                  </a:lnTo>
                  <a:lnTo>
                    <a:pt x="2598684" y="1206496"/>
                  </a:lnTo>
                  <a:lnTo>
                    <a:pt x="2598345" y="1205846"/>
                  </a:lnTo>
                  <a:lnTo>
                    <a:pt x="2597819" y="1204394"/>
                  </a:lnTo>
                  <a:lnTo>
                    <a:pt x="2597208" y="1202943"/>
                  </a:lnTo>
                  <a:lnTo>
                    <a:pt x="2596636" y="1202340"/>
                  </a:lnTo>
                  <a:lnTo>
                    <a:pt x="2596350" y="1202130"/>
                  </a:lnTo>
                  <a:lnTo>
                    <a:pt x="2595862" y="1201592"/>
                  </a:lnTo>
                  <a:lnTo>
                    <a:pt x="2595380" y="1200937"/>
                  </a:lnTo>
                  <a:lnTo>
                    <a:pt x="2595111" y="1200350"/>
                  </a:lnTo>
                  <a:lnTo>
                    <a:pt x="2595082" y="1199330"/>
                  </a:lnTo>
                  <a:lnTo>
                    <a:pt x="2595377" y="1198899"/>
                  </a:lnTo>
                  <a:lnTo>
                    <a:pt x="2598612" y="1197421"/>
                  </a:lnTo>
                  <a:lnTo>
                    <a:pt x="2599214" y="1196519"/>
                  </a:lnTo>
                  <a:lnTo>
                    <a:pt x="2599088" y="1195853"/>
                  </a:lnTo>
                  <a:lnTo>
                    <a:pt x="2595633" y="1196132"/>
                  </a:lnTo>
                  <a:lnTo>
                    <a:pt x="2593678" y="1195287"/>
                  </a:lnTo>
                  <a:lnTo>
                    <a:pt x="2590615" y="1191277"/>
                  </a:lnTo>
                  <a:lnTo>
                    <a:pt x="2590414" y="1190895"/>
                  </a:lnTo>
                  <a:lnTo>
                    <a:pt x="2590321" y="1190021"/>
                  </a:lnTo>
                  <a:lnTo>
                    <a:pt x="2590364" y="1188665"/>
                  </a:lnTo>
                  <a:lnTo>
                    <a:pt x="2590297" y="1187934"/>
                  </a:lnTo>
                  <a:lnTo>
                    <a:pt x="2589897" y="1185132"/>
                  </a:lnTo>
                  <a:lnTo>
                    <a:pt x="2589615" y="1183878"/>
                  </a:lnTo>
                  <a:lnTo>
                    <a:pt x="2589058" y="1182493"/>
                  </a:lnTo>
                  <a:lnTo>
                    <a:pt x="2589277" y="1182454"/>
                  </a:lnTo>
                  <a:lnTo>
                    <a:pt x="2588932" y="1181837"/>
                  </a:lnTo>
                  <a:lnTo>
                    <a:pt x="2588202" y="1180317"/>
                  </a:lnTo>
                  <a:lnTo>
                    <a:pt x="2588310" y="1179389"/>
                  </a:lnTo>
                  <a:lnTo>
                    <a:pt x="2588324" y="1178461"/>
                  </a:lnTo>
                  <a:lnTo>
                    <a:pt x="2588220" y="1177535"/>
                  </a:lnTo>
                  <a:lnTo>
                    <a:pt x="2587972" y="1176653"/>
                  </a:lnTo>
                  <a:lnTo>
                    <a:pt x="2588190" y="1176614"/>
                  </a:lnTo>
                  <a:lnTo>
                    <a:pt x="2587856" y="1175091"/>
                  </a:lnTo>
                  <a:lnTo>
                    <a:pt x="2587857" y="1173584"/>
                  </a:lnTo>
                  <a:lnTo>
                    <a:pt x="2587971" y="1172076"/>
                  </a:lnTo>
                  <a:lnTo>
                    <a:pt x="2587978" y="1170546"/>
                  </a:lnTo>
                  <a:lnTo>
                    <a:pt x="2587400" y="1168931"/>
                  </a:lnTo>
                  <a:lnTo>
                    <a:pt x="2587369" y="1167777"/>
                  </a:lnTo>
                  <a:lnTo>
                    <a:pt x="2587526" y="1166804"/>
                  </a:lnTo>
                  <a:lnTo>
                    <a:pt x="2587498" y="1165694"/>
                  </a:lnTo>
                  <a:lnTo>
                    <a:pt x="2586987" y="1164243"/>
                  </a:lnTo>
                  <a:lnTo>
                    <a:pt x="2586463" y="1163892"/>
                  </a:lnTo>
                  <a:lnTo>
                    <a:pt x="2586109" y="1163469"/>
                  </a:lnTo>
                  <a:lnTo>
                    <a:pt x="2586107" y="1161833"/>
                  </a:lnTo>
                  <a:lnTo>
                    <a:pt x="2586411" y="1160812"/>
                  </a:lnTo>
                  <a:lnTo>
                    <a:pt x="2587432" y="1158511"/>
                  </a:lnTo>
                  <a:lnTo>
                    <a:pt x="2587511" y="1157323"/>
                  </a:lnTo>
                  <a:lnTo>
                    <a:pt x="2587502" y="1155544"/>
                  </a:lnTo>
                  <a:lnTo>
                    <a:pt x="2588053" y="1154424"/>
                  </a:lnTo>
                  <a:lnTo>
                    <a:pt x="2588831" y="1153824"/>
                  </a:lnTo>
                  <a:lnTo>
                    <a:pt x="2596207" y="1153959"/>
                  </a:lnTo>
                  <a:lnTo>
                    <a:pt x="2601526" y="1154618"/>
                  </a:lnTo>
                  <a:lnTo>
                    <a:pt x="2610096" y="1158491"/>
                  </a:lnTo>
                  <a:lnTo>
                    <a:pt x="2625984" y="1161820"/>
                  </a:lnTo>
                  <a:lnTo>
                    <a:pt x="2629345" y="1164279"/>
                  </a:lnTo>
                  <a:lnTo>
                    <a:pt x="2631627" y="1164878"/>
                  </a:lnTo>
                  <a:lnTo>
                    <a:pt x="2633478" y="1166078"/>
                  </a:lnTo>
                  <a:lnTo>
                    <a:pt x="2637747" y="1166323"/>
                  </a:lnTo>
                  <a:lnTo>
                    <a:pt x="2642839" y="1168588"/>
                  </a:lnTo>
                  <a:lnTo>
                    <a:pt x="2643849" y="1167348"/>
                  </a:lnTo>
                  <a:lnTo>
                    <a:pt x="2639187" y="1165052"/>
                  </a:lnTo>
                  <a:lnTo>
                    <a:pt x="2633832" y="1164624"/>
                  </a:lnTo>
                  <a:lnTo>
                    <a:pt x="2619487" y="1156025"/>
                  </a:lnTo>
                  <a:lnTo>
                    <a:pt x="2616194" y="1155932"/>
                  </a:lnTo>
                  <a:lnTo>
                    <a:pt x="2608883" y="1151633"/>
                  </a:lnTo>
                  <a:lnTo>
                    <a:pt x="2607911" y="1151697"/>
                  </a:lnTo>
                  <a:lnTo>
                    <a:pt x="2602934" y="1150301"/>
                  </a:lnTo>
                  <a:lnTo>
                    <a:pt x="2603121" y="1150157"/>
                  </a:lnTo>
                  <a:lnTo>
                    <a:pt x="2603660" y="1149475"/>
                  </a:lnTo>
                  <a:lnTo>
                    <a:pt x="2602500" y="1146815"/>
                  </a:lnTo>
                  <a:lnTo>
                    <a:pt x="2601037" y="1145307"/>
                  </a:lnTo>
                  <a:lnTo>
                    <a:pt x="2599772" y="1145323"/>
                  </a:lnTo>
                  <a:lnTo>
                    <a:pt x="2599193" y="1147219"/>
                  </a:lnTo>
                  <a:lnTo>
                    <a:pt x="2599797" y="1147930"/>
                  </a:lnTo>
                  <a:lnTo>
                    <a:pt x="2588075" y="1148510"/>
                  </a:lnTo>
                  <a:lnTo>
                    <a:pt x="2588054" y="1146805"/>
                  </a:lnTo>
                  <a:lnTo>
                    <a:pt x="2588587" y="1138899"/>
                  </a:lnTo>
                  <a:lnTo>
                    <a:pt x="2588917" y="1136905"/>
                  </a:lnTo>
                  <a:lnTo>
                    <a:pt x="2589449" y="1135570"/>
                  </a:lnTo>
                  <a:lnTo>
                    <a:pt x="2590214" y="1135497"/>
                  </a:lnTo>
                  <a:lnTo>
                    <a:pt x="2590839" y="1136152"/>
                  </a:lnTo>
                  <a:lnTo>
                    <a:pt x="2591298" y="1136878"/>
                  </a:lnTo>
                  <a:lnTo>
                    <a:pt x="2592375" y="1139079"/>
                  </a:lnTo>
                  <a:lnTo>
                    <a:pt x="2592965" y="1139987"/>
                  </a:lnTo>
                  <a:lnTo>
                    <a:pt x="2597663" y="1143046"/>
                  </a:lnTo>
                  <a:lnTo>
                    <a:pt x="2600422" y="1143283"/>
                  </a:lnTo>
                  <a:lnTo>
                    <a:pt x="2599270" y="1141364"/>
                  </a:lnTo>
                  <a:lnTo>
                    <a:pt x="2596427" y="1137631"/>
                  </a:lnTo>
                  <a:lnTo>
                    <a:pt x="2595573" y="1135467"/>
                  </a:lnTo>
                  <a:lnTo>
                    <a:pt x="2596819" y="1133276"/>
                  </a:lnTo>
                  <a:lnTo>
                    <a:pt x="2601602" y="1133755"/>
                  </a:lnTo>
                  <a:lnTo>
                    <a:pt x="2606999" y="1136539"/>
                  </a:lnTo>
                  <a:lnTo>
                    <a:pt x="2611973" y="1137229"/>
                  </a:lnTo>
                  <a:lnTo>
                    <a:pt x="2621049" y="1138195"/>
                  </a:lnTo>
                  <a:lnTo>
                    <a:pt x="2629607" y="1138129"/>
                  </a:lnTo>
                  <a:lnTo>
                    <a:pt x="2635886" y="1137951"/>
                  </a:lnTo>
                  <a:lnTo>
                    <a:pt x="2640305" y="1137148"/>
                  </a:lnTo>
                  <a:lnTo>
                    <a:pt x="2646140" y="1140507"/>
                  </a:lnTo>
                  <a:lnTo>
                    <a:pt x="2647726" y="1140556"/>
                  </a:lnTo>
                  <a:lnTo>
                    <a:pt x="2648512" y="1141177"/>
                  </a:lnTo>
                  <a:lnTo>
                    <a:pt x="2647317" y="1139479"/>
                  </a:lnTo>
                  <a:lnTo>
                    <a:pt x="2642906" y="1137038"/>
                  </a:lnTo>
                  <a:lnTo>
                    <a:pt x="2642941" y="1136270"/>
                  </a:lnTo>
                  <a:lnTo>
                    <a:pt x="2642151" y="1135649"/>
                  </a:lnTo>
                  <a:lnTo>
                    <a:pt x="2637848" y="1134633"/>
                  </a:lnTo>
                  <a:lnTo>
                    <a:pt x="2630043" y="1135496"/>
                  </a:lnTo>
                  <a:lnTo>
                    <a:pt x="2627212" y="1133993"/>
                  </a:lnTo>
                  <a:lnTo>
                    <a:pt x="2618851" y="1132777"/>
                  </a:lnTo>
                  <a:lnTo>
                    <a:pt x="2616455" y="1133322"/>
                  </a:lnTo>
                  <a:lnTo>
                    <a:pt x="2600480" y="1126575"/>
                  </a:lnTo>
                  <a:lnTo>
                    <a:pt x="2597648" y="1127150"/>
                  </a:lnTo>
                  <a:lnTo>
                    <a:pt x="2596104" y="1126764"/>
                  </a:lnTo>
                  <a:lnTo>
                    <a:pt x="2594556" y="1124595"/>
                  </a:lnTo>
                  <a:lnTo>
                    <a:pt x="2594859" y="1123395"/>
                  </a:lnTo>
                  <a:lnTo>
                    <a:pt x="2595075" y="1121972"/>
                  </a:lnTo>
                  <a:lnTo>
                    <a:pt x="2595097" y="1120239"/>
                  </a:lnTo>
                  <a:lnTo>
                    <a:pt x="2594823" y="1118129"/>
                  </a:lnTo>
                  <a:lnTo>
                    <a:pt x="2594692" y="1115925"/>
                  </a:lnTo>
                  <a:lnTo>
                    <a:pt x="2595124" y="1114466"/>
                  </a:lnTo>
                  <a:lnTo>
                    <a:pt x="2602214" y="1105675"/>
                  </a:lnTo>
                  <a:lnTo>
                    <a:pt x="2603385" y="1105242"/>
                  </a:lnTo>
                  <a:lnTo>
                    <a:pt x="2604693" y="1105827"/>
                  </a:lnTo>
                  <a:lnTo>
                    <a:pt x="2605653" y="1106926"/>
                  </a:lnTo>
                  <a:lnTo>
                    <a:pt x="2608211" y="1111473"/>
                  </a:lnTo>
                  <a:lnTo>
                    <a:pt x="2609361" y="1113017"/>
                  </a:lnTo>
                  <a:lnTo>
                    <a:pt x="2610466" y="1113942"/>
                  </a:lnTo>
                  <a:lnTo>
                    <a:pt x="2611525" y="1114357"/>
                  </a:lnTo>
                  <a:lnTo>
                    <a:pt x="2612534" y="1114347"/>
                  </a:lnTo>
                  <a:lnTo>
                    <a:pt x="2614563" y="1115612"/>
                  </a:lnTo>
                  <a:lnTo>
                    <a:pt x="2617018" y="1118482"/>
                  </a:lnTo>
                  <a:lnTo>
                    <a:pt x="2619326" y="1120559"/>
                  </a:lnTo>
                  <a:lnTo>
                    <a:pt x="2620906" y="1119493"/>
                  </a:lnTo>
                  <a:lnTo>
                    <a:pt x="2619023" y="1116959"/>
                  </a:lnTo>
                  <a:lnTo>
                    <a:pt x="2611796" y="1111241"/>
                  </a:lnTo>
                  <a:lnTo>
                    <a:pt x="2610717" y="1109945"/>
                  </a:lnTo>
                  <a:lnTo>
                    <a:pt x="2610323" y="1108345"/>
                  </a:lnTo>
                  <a:lnTo>
                    <a:pt x="2610052" y="1106820"/>
                  </a:lnTo>
                  <a:lnTo>
                    <a:pt x="2609228" y="1105714"/>
                  </a:lnTo>
                  <a:lnTo>
                    <a:pt x="2608264" y="1104834"/>
                  </a:lnTo>
                  <a:lnTo>
                    <a:pt x="2607568" y="1103969"/>
                  </a:lnTo>
                  <a:lnTo>
                    <a:pt x="2608833" y="1101624"/>
                  </a:lnTo>
                  <a:lnTo>
                    <a:pt x="2618574" y="1093007"/>
                  </a:lnTo>
                  <a:lnTo>
                    <a:pt x="2620285" y="1092271"/>
                  </a:lnTo>
                  <a:lnTo>
                    <a:pt x="2633482" y="1094162"/>
                  </a:lnTo>
                  <a:lnTo>
                    <a:pt x="2634311" y="1094843"/>
                  </a:lnTo>
                  <a:lnTo>
                    <a:pt x="2635441" y="1096166"/>
                  </a:lnTo>
                  <a:lnTo>
                    <a:pt x="2636143" y="1097501"/>
                  </a:lnTo>
                  <a:lnTo>
                    <a:pt x="2635695" y="1098257"/>
                  </a:lnTo>
                  <a:lnTo>
                    <a:pt x="2637043" y="1100958"/>
                  </a:lnTo>
                  <a:lnTo>
                    <a:pt x="2638154" y="1103479"/>
                  </a:lnTo>
                  <a:lnTo>
                    <a:pt x="2639294" y="1105650"/>
                  </a:lnTo>
                  <a:lnTo>
                    <a:pt x="2640718" y="1107280"/>
                  </a:lnTo>
                  <a:lnTo>
                    <a:pt x="2641508" y="1107642"/>
                  </a:lnTo>
                  <a:lnTo>
                    <a:pt x="2642034" y="1107322"/>
                  </a:lnTo>
                  <a:lnTo>
                    <a:pt x="2642157" y="1106323"/>
                  </a:lnTo>
                  <a:lnTo>
                    <a:pt x="2641729" y="1104635"/>
                  </a:lnTo>
                  <a:lnTo>
                    <a:pt x="2640809" y="1102794"/>
                  </a:lnTo>
                  <a:lnTo>
                    <a:pt x="2640087" y="1102096"/>
                  </a:lnTo>
                  <a:lnTo>
                    <a:pt x="2639490" y="1101291"/>
                  </a:lnTo>
                  <a:lnTo>
                    <a:pt x="2638939" y="1099081"/>
                  </a:lnTo>
                  <a:lnTo>
                    <a:pt x="2638735" y="1097243"/>
                  </a:lnTo>
                  <a:lnTo>
                    <a:pt x="2638660" y="1095905"/>
                  </a:lnTo>
                  <a:lnTo>
                    <a:pt x="2638404" y="1094602"/>
                  </a:lnTo>
                  <a:lnTo>
                    <a:pt x="2637665" y="1092862"/>
                  </a:lnTo>
                  <a:lnTo>
                    <a:pt x="2636541" y="1091291"/>
                  </a:lnTo>
                  <a:lnTo>
                    <a:pt x="2624982" y="1088282"/>
                  </a:lnTo>
                  <a:lnTo>
                    <a:pt x="2625253" y="1086206"/>
                  </a:lnTo>
                  <a:lnTo>
                    <a:pt x="2633988" y="1076375"/>
                  </a:lnTo>
                  <a:lnTo>
                    <a:pt x="2636736" y="1075282"/>
                  </a:lnTo>
                  <a:lnTo>
                    <a:pt x="2641421" y="1069408"/>
                  </a:lnTo>
                  <a:lnTo>
                    <a:pt x="2646659" y="1065611"/>
                  </a:lnTo>
                  <a:lnTo>
                    <a:pt x="2647673" y="1065441"/>
                  </a:lnTo>
                  <a:lnTo>
                    <a:pt x="2650276" y="1066792"/>
                  </a:lnTo>
                  <a:lnTo>
                    <a:pt x="2650834" y="1065570"/>
                  </a:lnTo>
                  <a:lnTo>
                    <a:pt x="2651203" y="1063401"/>
                  </a:lnTo>
                  <a:lnTo>
                    <a:pt x="2653632" y="1059581"/>
                  </a:lnTo>
                  <a:lnTo>
                    <a:pt x="2654074" y="1057349"/>
                  </a:lnTo>
                  <a:lnTo>
                    <a:pt x="2654262" y="1056744"/>
                  </a:lnTo>
                  <a:lnTo>
                    <a:pt x="2654879" y="1056023"/>
                  </a:lnTo>
                  <a:lnTo>
                    <a:pt x="2666632" y="1054018"/>
                  </a:lnTo>
                  <a:lnTo>
                    <a:pt x="2678137" y="1050498"/>
                  </a:lnTo>
                  <a:lnTo>
                    <a:pt x="2683744" y="1050952"/>
                  </a:lnTo>
                  <a:close/>
                  <a:moveTo>
                    <a:pt x="746312" y="1030326"/>
                  </a:moveTo>
                  <a:lnTo>
                    <a:pt x="748253" y="1030999"/>
                  </a:lnTo>
                  <a:lnTo>
                    <a:pt x="748892" y="1032134"/>
                  </a:lnTo>
                  <a:lnTo>
                    <a:pt x="749553" y="1035399"/>
                  </a:lnTo>
                  <a:lnTo>
                    <a:pt x="750849" y="1037399"/>
                  </a:lnTo>
                  <a:lnTo>
                    <a:pt x="751285" y="1038718"/>
                  </a:lnTo>
                  <a:lnTo>
                    <a:pt x="751397" y="1040329"/>
                  </a:lnTo>
                  <a:lnTo>
                    <a:pt x="751050" y="1042056"/>
                  </a:lnTo>
                  <a:lnTo>
                    <a:pt x="749060" y="1042413"/>
                  </a:lnTo>
                  <a:lnTo>
                    <a:pt x="747200" y="1039816"/>
                  </a:lnTo>
                  <a:lnTo>
                    <a:pt x="745965" y="1038926"/>
                  </a:lnTo>
                  <a:lnTo>
                    <a:pt x="744654" y="1039175"/>
                  </a:lnTo>
                  <a:lnTo>
                    <a:pt x="741528" y="1040713"/>
                  </a:lnTo>
                  <a:lnTo>
                    <a:pt x="740176" y="1041141"/>
                  </a:lnTo>
                  <a:lnTo>
                    <a:pt x="739255" y="1040627"/>
                  </a:lnTo>
                  <a:lnTo>
                    <a:pt x="738670" y="1039264"/>
                  </a:lnTo>
                  <a:lnTo>
                    <a:pt x="738417" y="1037519"/>
                  </a:lnTo>
                  <a:lnTo>
                    <a:pt x="738468" y="1035871"/>
                  </a:lnTo>
                  <a:lnTo>
                    <a:pt x="738744" y="1034983"/>
                  </a:lnTo>
                  <a:lnTo>
                    <a:pt x="739117" y="1034059"/>
                  </a:lnTo>
                  <a:lnTo>
                    <a:pt x="739175" y="1033428"/>
                  </a:lnTo>
                  <a:lnTo>
                    <a:pt x="738515" y="1033430"/>
                  </a:lnTo>
                  <a:lnTo>
                    <a:pt x="737689" y="1033611"/>
                  </a:lnTo>
                  <a:lnTo>
                    <a:pt x="736975" y="1033546"/>
                  </a:lnTo>
                  <a:lnTo>
                    <a:pt x="736414" y="1033264"/>
                  </a:lnTo>
                  <a:lnTo>
                    <a:pt x="736020" y="1032815"/>
                  </a:lnTo>
                  <a:lnTo>
                    <a:pt x="737554" y="1032115"/>
                  </a:lnTo>
                  <a:lnTo>
                    <a:pt x="743617" y="1030462"/>
                  </a:lnTo>
                  <a:close/>
                  <a:moveTo>
                    <a:pt x="2795920" y="1026156"/>
                  </a:moveTo>
                  <a:lnTo>
                    <a:pt x="2796752" y="1026259"/>
                  </a:lnTo>
                  <a:lnTo>
                    <a:pt x="2798611" y="1027246"/>
                  </a:lnTo>
                  <a:lnTo>
                    <a:pt x="2800839" y="1027509"/>
                  </a:lnTo>
                  <a:lnTo>
                    <a:pt x="2805991" y="1029807"/>
                  </a:lnTo>
                  <a:lnTo>
                    <a:pt x="2820509" y="1030946"/>
                  </a:lnTo>
                  <a:lnTo>
                    <a:pt x="2821405" y="1031451"/>
                  </a:lnTo>
                  <a:lnTo>
                    <a:pt x="2824210" y="1034056"/>
                  </a:lnTo>
                  <a:lnTo>
                    <a:pt x="2825223" y="1034570"/>
                  </a:lnTo>
                  <a:lnTo>
                    <a:pt x="2828523" y="1033955"/>
                  </a:lnTo>
                  <a:lnTo>
                    <a:pt x="2828864" y="1034283"/>
                  </a:lnTo>
                  <a:lnTo>
                    <a:pt x="2829171" y="1034715"/>
                  </a:lnTo>
                  <a:lnTo>
                    <a:pt x="2829499" y="1035094"/>
                  </a:lnTo>
                  <a:lnTo>
                    <a:pt x="2831017" y="1036180"/>
                  </a:lnTo>
                  <a:lnTo>
                    <a:pt x="2831604" y="1036754"/>
                  </a:lnTo>
                  <a:lnTo>
                    <a:pt x="2831578" y="1037080"/>
                  </a:lnTo>
                  <a:lnTo>
                    <a:pt x="2831662" y="1037780"/>
                  </a:lnTo>
                  <a:lnTo>
                    <a:pt x="2831681" y="1038296"/>
                  </a:lnTo>
                  <a:lnTo>
                    <a:pt x="2834782" y="1041274"/>
                  </a:lnTo>
                  <a:lnTo>
                    <a:pt x="2837693" y="1043392"/>
                  </a:lnTo>
                  <a:lnTo>
                    <a:pt x="2837443" y="1044412"/>
                  </a:lnTo>
                  <a:lnTo>
                    <a:pt x="2837380" y="1045058"/>
                  </a:lnTo>
                  <a:lnTo>
                    <a:pt x="2837402" y="1045899"/>
                  </a:lnTo>
                  <a:lnTo>
                    <a:pt x="2838983" y="1047984"/>
                  </a:lnTo>
                  <a:lnTo>
                    <a:pt x="2844206" y="1050156"/>
                  </a:lnTo>
                  <a:lnTo>
                    <a:pt x="2845523" y="1048728"/>
                  </a:lnTo>
                  <a:lnTo>
                    <a:pt x="2847053" y="1048620"/>
                  </a:lnTo>
                  <a:lnTo>
                    <a:pt x="2848737" y="1049167"/>
                  </a:lnTo>
                  <a:lnTo>
                    <a:pt x="2848544" y="1048768"/>
                  </a:lnTo>
                  <a:lnTo>
                    <a:pt x="2848577" y="1048519"/>
                  </a:lnTo>
                  <a:lnTo>
                    <a:pt x="2848792" y="1048402"/>
                  </a:lnTo>
                  <a:lnTo>
                    <a:pt x="2849549" y="1048408"/>
                  </a:lnTo>
                  <a:lnTo>
                    <a:pt x="2849942" y="1048554"/>
                  </a:lnTo>
                  <a:lnTo>
                    <a:pt x="2850373" y="1049036"/>
                  </a:lnTo>
                  <a:lnTo>
                    <a:pt x="2850888" y="1050096"/>
                  </a:lnTo>
                  <a:lnTo>
                    <a:pt x="2849714" y="1051340"/>
                  </a:lnTo>
                  <a:lnTo>
                    <a:pt x="2851151" y="1053291"/>
                  </a:lnTo>
                  <a:lnTo>
                    <a:pt x="2852800" y="1054638"/>
                  </a:lnTo>
                  <a:lnTo>
                    <a:pt x="2855776" y="1056324"/>
                  </a:lnTo>
                  <a:lnTo>
                    <a:pt x="2857538" y="1057898"/>
                  </a:lnTo>
                  <a:lnTo>
                    <a:pt x="2857978" y="1059440"/>
                  </a:lnTo>
                  <a:lnTo>
                    <a:pt x="2857792" y="1063493"/>
                  </a:lnTo>
                  <a:lnTo>
                    <a:pt x="2858514" y="1063557"/>
                  </a:lnTo>
                  <a:lnTo>
                    <a:pt x="2862633" y="1066547"/>
                  </a:lnTo>
                  <a:lnTo>
                    <a:pt x="2863799" y="1066942"/>
                  </a:lnTo>
                  <a:lnTo>
                    <a:pt x="2865335" y="1066801"/>
                  </a:lnTo>
                  <a:lnTo>
                    <a:pt x="2867356" y="1067249"/>
                  </a:lnTo>
                  <a:lnTo>
                    <a:pt x="2871114" y="1066807"/>
                  </a:lnTo>
                  <a:lnTo>
                    <a:pt x="2872282" y="1067410"/>
                  </a:lnTo>
                  <a:lnTo>
                    <a:pt x="2872131" y="1068769"/>
                  </a:lnTo>
                  <a:lnTo>
                    <a:pt x="2871183" y="1070169"/>
                  </a:lnTo>
                  <a:lnTo>
                    <a:pt x="2871225" y="1071626"/>
                  </a:lnTo>
                  <a:lnTo>
                    <a:pt x="2871649" y="1071942"/>
                  </a:lnTo>
                  <a:lnTo>
                    <a:pt x="2872058" y="1072132"/>
                  </a:lnTo>
                  <a:lnTo>
                    <a:pt x="2872431" y="1072155"/>
                  </a:lnTo>
                  <a:lnTo>
                    <a:pt x="2872748" y="1071973"/>
                  </a:lnTo>
                  <a:lnTo>
                    <a:pt x="2872836" y="1073077"/>
                  </a:lnTo>
                  <a:lnTo>
                    <a:pt x="2872672" y="1073695"/>
                  </a:lnTo>
                  <a:lnTo>
                    <a:pt x="2872029" y="1074499"/>
                  </a:lnTo>
                  <a:lnTo>
                    <a:pt x="2872803" y="1075531"/>
                  </a:lnTo>
                  <a:lnTo>
                    <a:pt x="2874321" y="1076447"/>
                  </a:lnTo>
                  <a:lnTo>
                    <a:pt x="2875126" y="1077387"/>
                  </a:lnTo>
                  <a:lnTo>
                    <a:pt x="2874158" y="1079661"/>
                  </a:lnTo>
                  <a:lnTo>
                    <a:pt x="2874059" y="1080969"/>
                  </a:lnTo>
                  <a:lnTo>
                    <a:pt x="2877024" y="1082989"/>
                  </a:lnTo>
                  <a:lnTo>
                    <a:pt x="2881625" y="1081716"/>
                  </a:lnTo>
                  <a:lnTo>
                    <a:pt x="2884884" y="1085219"/>
                  </a:lnTo>
                  <a:lnTo>
                    <a:pt x="2884459" y="1085881"/>
                  </a:lnTo>
                  <a:lnTo>
                    <a:pt x="2884120" y="1086917"/>
                  </a:lnTo>
                  <a:lnTo>
                    <a:pt x="2884272" y="1088062"/>
                  </a:lnTo>
                  <a:lnTo>
                    <a:pt x="2885310" y="1089016"/>
                  </a:lnTo>
                  <a:lnTo>
                    <a:pt x="2884861" y="1091535"/>
                  </a:lnTo>
                  <a:lnTo>
                    <a:pt x="2882309" y="1093517"/>
                  </a:lnTo>
                  <a:lnTo>
                    <a:pt x="2880055" y="1096659"/>
                  </a:lnTo>
                  <a:lnTo>
                    <a:pt x="2869158" y="1099150"/>
                  </a:lnTo>
                  <a:lnTo>
                    <a:pt x="2866494" y="1098322"/>
                  </a:lnTo>
                  <a:lnTo>
                    <a:pt x="2865283" y="1098731"/>
                  </a:lnTo>
                  <a:lnTo>
                    <a:pt x="2864190" y="1100055"/>
                  </a:lnTo>
                  <a:lnTo>
                    <a:pt x="2856136" y="1101389"/>
                  </a:lnTo>
                  <a:lnTo>
                    <a:pt x="2848080" y="1102690"/>
                  </a:lnTo>
                  <a:lnTo>
                    <a:pt x="2843973" y="1100927"/>
                  </a:lnTo>
                  <a:lnTo>
                    <a:pt x="2834313" y="1103260"/>
                  </a:lnTo>
                  <a:lnTo>
                    <a:pt x="2824644" y="1105545"/>
                  </a:lnTo>
                  <a:lnTo>
                    <a:pt x="2822496" y="1106901"/>
                  </a:lnTo>
                  <a:lnTo>
                    <a:pt x="2820528" y="1106432"/>
                  </a:lnTo>
                  <a:lnTo>
                    <a:pt x="2807550" y="1115597"/>
                  </a:lnTo>
                  <a:lnTo>
                    <a:pt x="2806162" y="1118508"/>
                  </a:lnTo>
                  <a:lnTo>
                    <a:pt x="2801876" y="1122005"/>
                  </a:lnTo>
                  <a:lnTo>
                    <a:pt x="2800179" y="1124664"/>
                  </a:lnTo>
                  <a:lnTo>
                    <a:pt x="2794131" y="1130643"/>
                  </a:lnTo>
                  <a:lnTo>
                    <a:pt x="2787822" y="1133901"/>
                  </a:lnTo>
                  <a:lnTo>
                    <a:pt x="2781736" y="1133575"/>
                  </a:lnTo>
                  <a:lnTo>
                    <a:pt x="2771432" y="1128144"/>
                  </a:lnTo>
                  <a:lnTo>
                    <a:pt x="2767250" y="1127687"/>
                  </a:lnTo>
                  <a:lnTo>
                    <a:pt x="2765993" y="1126942"/>
                  </a:lnTo>
                  <a:lnTo>
                    <a:pt x="2764886" y="1125649"/>
                  </a:lnTo>
                  <a:lnTo>
                    <a:pt x="2762825" y="1121258"/>
                  </a:lnTo>
                  <a:lnTo>
                    <a:pt x="2762287" y="1120615"/>
                  </a:lnTo>
                  <a:lnTo>
                    <a:pt x="2761957" y="1120327"/>
                  </a:lnTo>
                  <a:lnTo>
                    <a:pt x="2761007" y="1118794"/>
                  </a:lnTo>
                  <a:lnTo>
                    <a:pt x="2760605" y="1118265"/>
                  </a:lnTo>
                  <a:lnTo>
                    <a:pt x="2758629" y="1116143"/>
                  </a:lnTo>
                  <a:lnTo>
                    <a:pt x="2757857" y="1115012"/>
                  </a:lnTo>
                  <a:lnTo>
                    <a:pt x="2755512" y="1110751"/>
                  </a:lnTo>
                  <a:lnTo>
                    <a:pt x="2754737" y="1109602"/>
                  </a:lnTo>
                  <a:lnTo>
                    <a:pt x="2754307" y="1108841"/>
                  </a:lnTo>
                  <a:lnTo>
                    <a:pt x="2754130" y="1107800"/>
                  </a:lnTo>
                  <a:lnTo>
                    <a:pt x="2754042" y="1103433"/>
                  </a:lnTo>
                  <a:lnTo>
                    <a:pt x="2753699" y="1100449"/>
                  </a:lnTo>
                  <a:lnTo>
                    <a:pt x="2753123" y="1099999"/>
                  </a:lnTo>
                  <a:lnTo>
                    <a:pt x="2751976" y="1099442"/>
                  </a:lnTo>
                  <a:lnTo>
                    <a:pt x="2751439" y="1098756"/>
                  </a:lnTo>
                  <a:lnTo>
                    <a:pt x="2751098" y="1097939"/>
                  </a:lnTo>
                  <a:lnTo>
                    <a:pt x="2750816" y="1096973"/>
                  </a:lnTo>
                  <a:lnTo>
                    <a:pt x="2750693" y="1096156"/>
                  </a:lnTo>
                  <a:lnTo>
                    <a:pt x="2750817" y="1095765"/>
                  </a:lnTo>
                  <a:lnTo>
                    <a:pt x="2751687" y="1095107"/>
                  </a:lnTo>
                  <a:lnTo>
                    <a:pt x="2751955" y="1093802"/>
                  </a:lnTo>
                  <a:lnTo>
                    <a:pt x="2751466" y="1092015"/>
                  </a:lnTo>
                  <a:lnTo>
                    <a:pt x="2750045" y="1089880"/>
                  </a:lnTo>
                  <a:lnTo>
                    <a:pt x="2749110" y="1089054"/>
                  </a:lnTo>
                  <a:lnTo>
                    <a:pt x="2746529" y="1087897"/>
                  </a:lnTo>
                  <a:lnTo>
                    <a:pt x="2745228" y="1087908"/>
                  </a:lnTo>
                  <a:lnTo>
                    <a:pt x="2742725" y="1090058"/>
                  </a:lnTo>
                  <a:lnTo>
                    <a:pt x="2739948" y="1088795"/>
                  </a:lnTo>
                  <a:lnTo>
                    <a:pt x="2736541" y="1089658"/>
                  </a:lnTo>
                  <a:lnTo>
                    <a:pt x="2731134" y="1088698"/>
                  </a:lnTo>
                  <a:lnTo>
                    <a:pt x="2729295" y="1089169"/>
                  </a:lnTo>
                  <a:lnTo>
                    <a:pt x="2728395" y="1088703"/>
                  </a:lnTo>
                  <a:lnTo>
                    <a:pt x="2727222" y="1087062"/>
                  </a:lnTo>
                  <a:lnTo>
                    <a:pt x="2726684" y="1086469"/>
                  </a:lnTo>
                  <a:lnTo>
                    <a:pt x="2725457" y="1085680"/>
                  </a:lnTo>
                  <a:lnTo>
                    <a:pt x="2724972" y="1084991"/>
                  </a:lnTo>
                  <a:lnTo>
                    <a:pt x="2724552" y="1083736"/>
                  </a:lnTo>
                  <a:lnTo>
                    <a:pt x="2724504" y="1082943"/>
                  </a:lnTo>
                  <a:lnTo>
                    <a:pt x="2724604" y="1082216"/>
                  </a:lnTo>
                  <a:lnTo>
                    <a:pt x="2724622" y="1081172"/>
                  </a:lnTo>
                  <a:lnTo>
                    <a:pt x="2722588" y="1079392"/>
                  </a:lnTo>
                  <a:lnTo>
                    <a:pt x="2722956" y="1077897"/>
                  </a:lnTo>
                  <a:lnTo>
                    <a:pt x="2722910" y="1077378"/>
                  </a:lnTo>
                  <a:lnTo>
                    <a:pt x="2722621" y="1076318"/>
                  </a:lnTo>
                  <a:lnTo>
                    <a:pt x="2721982" y="1074460"/>
                  </a:lnTo>
                  <a:lnTo>
                    <a:pt x="2721530" y="1073428"/>
                  </a:lnTo>
                  <a:lnTo>
                    <a:pt x="2721285" y="1072476"/>
                  </a:lnTo>
                  <a:lnTo>
                    <a:pt x="2721309" y="1069170"/>
                  </a:lnTo>
                  <a:lnTo>
                    <a:pt x="2721427" y="1068004"/>
                  </a:lnTo>
                  <a:lnTo>
                    <a:pt x="2721785" y="1067316"/>
                  </a:lnTo>
                  <a:lnTo>
                    <a:pt x="2722542" y="1067045"/>
                  </a:lnTo>
                  <a:lnTo>
                    <a:pt x="2725208" y="1067750"/>
                  </a:lnTo>
                  <a:lnTo>
                    <a:pt x="2725631" y="1067016"/>
                  </a:lnTo>
                  <a:lnTo>
                    <a:pt x="2724796" y="1066200"/>
                  </a:lnTo>
                  <a:lnTo>
                    <a:pt x="2722563" y="1065510"/>
                  </a:lnTo>
                  <a:lnTo>
                    <a:pt x="2722051" y="1065080"/>
                  </a:lnTo>
                  <a:lnTo>
                    <a:pt x="2719132" y="1061908"/>
                  </a:lnTo>
                  <a:lnTo>
                    <a:pt x="2718728" y="1061248"/>
                  </a:lnTo>
                  <a:lnTo>
                    <a:pt x="2717725" y="1059013"/>
                  </a:lnTo>
                  <a:lnTo>
                    <a:pt x="2717731" y="1058948"/>
                  </a:lnTo>
                  <a:lnTo>
                    <a:pt x="2717104" y="1057385"/>
                  </a:lnTo>
                  <a:lnTo>
                    <a:pt x="2717026" y="1057309"/>
                  </a:lnTo>
                  <a:lnTo>
                    <a:pt x="2716860" y="1056995"/>
                  </a:lnTo>
                  <a:lnTo>
                    <a:pt x="2715937" y="1055710"/>
                  </a:lnTo>
                  <a:lnTo>
                    <a:pt x="2717378" y="1053483"/>
                  </a:lnTo>
                  <a:lnTo>
                    <a:pt x="2717130" y="1048274"/>
                  </a:lnTo>
                  <a:lnTo>
                    <a:pt x="2715610" y="1043081"/>
                  </a:lnTo>
                  <a:lnTo>
                    <a:pt x="2713242" y="1040909"/>
                  </a:lnTo>
                  <a:lnTo>
                    <a:pt x="2713065" y="1040259"/>
                  </a:lnTo>
                  <a:lnTo>
                    <a:pt x="2715330" y="1039528"/>
                  </a:lnTo>
                  <a:lnTo>
                    <a:pt x="2715883" y="1038683"/>
                  </a:lnTo>
                  <a:lnTo>
                    <a:pt x="2716266" y="1038730"/>
                  </a:lnTo>
                  <a:lnTo>
                    <a:pt x="2718525" y="1037991"/>
                  </a:lnTo>
                  <a:lnTo>
                    <a:pt x="2721374" y="1035700"/>
                  </a:lnTo>
                  <a:lnTo>
                    <a:pt x="2724710" y="1034704"/>
                  </a:lnTo>
                  <a:lnTo>
                    <a:pt x="2728446" y="1035356"/>
                  </a:lnTo>
                  <a:lnTo>
                    <a:pt x="2736421" y="1040071"/>
                  </a:lnTo>
                  <a:lnTo>
                    <a:pt x="2737122" y="1039948"/>
                  </a:lnTo>
                  <a:lnTo>
                    <a:pt x="2737656" y="1039242"/>
                  </a:lnTo>
                  <a:lnTo>
                    <a:pt x="2737764" y="1038519"/>
                  </a:lnTo>
                  <a:lnTo>
                    <a:pt x="2737619" y="1036795"/>
                  </a:lnTo>
                  <a:lnTo>
                    <a:pt x="2737763" y="1035915"/>
                  </a:lnTo>
                  <a:lnTo>
                    <a:pt x="2738388" y="1035455"/>
                  </a:lnTo>
                  <a:lnTo>
                    <a:pt x="2739324" y="1035911"/>
                  </a:lnTo>
                  <a:lnTo>
                    <a:pt x="2741240" y="1037346"/>
                  </a:lnTo>
                  <a:lnTo>
                    <a:pt x="2751146" y="1038017"/>
                  </a:lnTo>
                  <a:lnTo>
                    <a:pt x="2752839" y="1039129"/>
                  </a:lnTo>
                  <a:lnTo>
                    <a:pt x="2758320" y="1041063"/>
                  </a:lnTo>
                  <a:lnTo>
                    <a:pt x="2772400" y="1037010"/>
                  </a:lnTo>
                  <a:lnTo>
                    <a:pt x="2772887" y="1036573"/>
                  </a:lnTo>
                  <a:lnTo>
                    <a:pt x="2773628" y="1034129"/>
                  </a:lnTo>
                  <a:lnTo>
                    <a:pt x="2775185" y="1032674"/>
                  </a:lnTo>
                  <a:lnTo>
                    <a:pt x="2776202" y="1032439"/>
                  </a:lnTo>
                  <a:lnTo>
                    <a:pt x="2777923" y="1033114"/>
                  </a:lnTo>
                  <a:lnTo>
                    <a:pt x="2786933" y="1029657"/>
                  </a:lnTo>
                  <a:close/>
                  <a:moveTo>
                    <a:pt x="2210689" y="1006350"/>
                  </a:moveTo>
                  <a:lnTo>
                    <a:pt x="2213251" y="1006537"/>
                  </a:lnTo>
                  <a:lnTo>
                    <a:pt x="2215981" y="1009181"/>
                  </a:lnTo>
                  <a:lnTo>
                    <a:pt x="2216420" y="1009935"/>
                  </a:lnTo>
                  <a:lnTo>
                    <a:pt x="2216142" y="1011725"/>
                  </a:lnTo>
                  <a:lnTo>
                    <a:pt x="2215498" y="1013610"/>
                  </a:lnTo>
                  <a:lnTo>
                    <a:pt x="2212932" y="1019194"/>
                  </a:lnTo>
                  <a:lnTo>
                    <a:pt x="2212371" y="1019622"/>
                  </a:lnTo>
                  <a:lnTo>
                    <a:pt x="2210733" y="1019173"/>
                  </a:lnTo>
                  <a:lnTo>
                    <a:pt x="2209724" y="1019834"/>
                  </a:lnTo>
                  <a:lnTo>
                    <a:pt x="2205262" y="1024796"/>
                  </a:lnTo>
                  <a:lnTo>
                    <a:pt x="2204009" y="1025087"/>
                  </a:lnTo>
                  <a:lnTo>
                    <a:pt x="2203571" y="1024807"/>
                  </a:lnTo>
                  <a:lnTo>
                    <a:pt x="2202714" y="1023754"/>
                  </a:lnTo>
                  <a:lnTo>
                    <a:pt x="2202326" y="1023514"/>
                  </a:lnTo>
                  <a:lnTo>
                    <a:pt x="2201380" y="1023027"/>
                  </a:lnTo>
                  <a:lnTo>
                    <a:pt x="2200885" y="1022340"/>
                  </a:lnTo>
                  <a:lnTo>
                    <a:pt x="2200659" y="1021264"/>
                  </a:lnTo>
                  <a:lnTo>
                    <a:pt x="2201809" y="1018257"/>
                  </a:lnTo>
                  <a:lnTo>
                    <a:pt x="2205437" y="1015395"/>
                  </a:lnTo>
                  <a:lnTo>
                    <a:pt x="2205881" y="1014266"/>
                  </a:lnTo>
                  <a:lnTo>
                    <a:pt x="2205963" y="1012426"/>
                  </a:lnTo>
                  <a:lnTo>
                    <a:pt x="2208204" y="1010768"/>
                  </a:lnTo>
                  <a:lnTo>
                    <a:pt x="2209045" y="1009457"/>
                  </a:lnTo>
                  <a:lnTo>
                    <a:pt x="2208450" y="1009450"/>
                  </a:lnTo>
                  <a:lnTo>
                    <a:pt x="2209381" y="1007153"/>
                  </a:lnTo>
                  <a:close/>
                  <a:moveTo>
                    <a:pt x="2265768" y="1004750"/>
                  </a:moveTo>
                  <a:lnTo>
                    <a:pt x="2267843" y="1005740"/>
                  </a:lnTo>
                  <a:lnTo>
                    <a:pt x="2269893" y="1007630"/>
                  </a:lnTo>
                  <a:lnTo>
                    <a:pt x="2271742" y="1010273"/>
                  </a:lnTo>
                  <a:lnTo>
                    <a:pt x="2274658" y="1015324"/>
                  </a:lnTo>
                  <a:lnTo>
                    <a:pt x="2275055" y="1018009"/>
                  </a:lnTo>
                  <a:lnTo>
                    <a:pt x="2273405" y="1020300"/>
                  </a:lnTo>
                  <a:lnTo>
                    <a:pt x="2272364" y="1020554"/>
                  </a:lnTo>
                  <a:lnTo>
                    <a:pt x="2261502" y="1016801"/>
                  </a:lnTo>
                  <a:lnTo>
                    <a:pt x="2259735" y="1014593"/>
                  </a:lnTo>
                  <a:lnTo>
                    <a:pt x="2257810" y="1013352"/>
                  </a:lnTo>
                  <a:lnTo>
                    <a:pt x="2256960" y="1011590"/>
                  </a:lnTo>
                  <a:lnTo>
                    <a:pt x="2258514" y="1009938"/>
                  </a:lnTo>
                  <a:lnTo>
                    <a:pt x="2259099" y="1009663"/>
                  </a:lnTo>
                  <a:lnTo>
                    <a:pt x="2260311" y="1010716"/>
                  </a:lnTo>
                  <a:lnTo>
                    <a:pt x="2260949" y="1010851"/>
                  </a:lnTo>
                  <a:lnTo>
                    <a:pt x="2260335" y="1007931"/>
                  </a:lnTo>
                  <a:lnTo>
                    <a:pt x="2261461" y="1006008"/>
                  </a:lnTo>
                  <a:lnTo>
                    <a:pt x="2263057" y="1004996"/>
                  </a:lnTo>
                  <a:close/>
                  <a:moveTo>
                    <a:pt x="693643" y="985880"/>
                  </a:moveTo>
                  <a:lnTo>
                    <a:pt x="693707" y="986707"/>
                  </a:lnTo>
                  <a:lnTo>
                    <a:pt x="695932" y="989362"/>
                  </a:lnTo>
                  <a:lnTo>
                    <a:pt x="695618" y="989596"/>
                  </a:lnTo>
                  <a:lnTo>
                    <a:pt x="695530" y="989688"/>
                  </a:lnTo>
                  <a:lnTo>
                    <a:pt x="695462" y="989724"/>
                  </a:lnTo>
                  <a:lnTo>
                    <a:pt x="695185" y="989806"/>
                  </a:lnTo>
                  <a:lnTo>
                    <a:pt x="695198" y="990684"/>
                  </a:lnTo>
                  <a:lnTo>
                    <a:pt x="695565" y="991253"/>
                  </a:lnTo>
                  <a:lnTo>
                    <a:pt x="696651" y="992060"/>
                  </a:lnTo>
                  <a:lnTo>
                    <a:pt x="696861" y="991648"/>
                  </a:lnTo>
                  <a:lnTo>
                    <a:pt x="696966" y="991335"/>
                  </a:lnTo>
                  <a:lnTo>
                    <a:pt x="698009" y="991500"/>
                  </a:lnTo>
                  <a:lnTo>
                    <a:pt x="701451" y="997604"/>
                  </a:lnTo>
                  <a:lnTo>
                    <a:pt x="707205" y="1004642"/>
                  </a:lnTo>
                  <a:lnTo>
                    <a:pt x="712272" y="1009250"/>
                  </a:lnTo>
                  <a:lnTo>
                    <a:pt x="715686" y="1009271"/>
                  </a:lnTo>
                  <a:lnTo>
                    <a:pt x="722624" y="1014696"/>
                  </a:lnTo>
                  <a:lnTo>
                    <a:pt x="728829" y="1025323"/>
                  </a:lnTo>
                  <a:lnTo>
                    <a:pt x="728898" y="1025839"/>
                  </a:lnTo>
                  <a:lnTo>
                    <a:pt x="726191" y="1022457"/>
                  </a:lnTo>
                  <a:lnTo>
                    <a:pt x="725272" y="1019926"/>
                  </a:lnTo>
                  <a:lnTo>
                    <a:pt x="725010" y="1021832"/>
                  </a:lnTo>
                  <a:lnTo>
                    <a:pt x="725598" y="1023891"/>
                  </a:lnTo>
                  <a:lnTo>
                    <a:pt x="733294" y="1034491"/>
                  </a:lnTo>
                  <a:lnTo>
                    <a:pt x="733075" y="1037733"/>
                  </a:lnTo>
                  <a:lnTo>
                    <a:pt x="733387" y="1038456"/>
                  </a:lnTo>
                  <a:lnTo>
                    <a:pt x="737579" y="1042336"/>
                  </a:lnTo>
                  <a:lnTo>
                    <a:pt x="737569" y="1044409"/>
                  </a:lnTo>
                  <a:lnTo>
                    <a:pt x="736279" y="1049710"/>
                  </a:lnTo>
                  <a:lnTo>
                    <a:pt x="735944" y="1051161"/>
                  </a:lnTo>
                  <a:lnTo>
                    <a:pt x="735627" y="1053745"/>
                  </a:lnTo>
                  <a:lnTo>
                    <a:pt x="735680" y="1055990"/>
                  </a:lnTo>
                  <a:lnTo>
                    <a:pt x="737995" y="1064569"/>
                  </a:lnTo>
                  <a:lnTo>
                    <a:pt x="737257" y="1068039"/>
                  </a:lnTo>
                  <a:lnTo>
                    <a:pt x="737047" y="1071973"/>
                  </a:lnTo>
                  <a:lnTo>
                    <a:pt x="736657" y="1074155"/>
                  </a:lnTo>
                  <a:lnTo>
                    <a:pt x="735086" y="1077854"/>
                  </a:lnTo>
                  <a:lnTo>
                    <a:pt x="734854" y="1078507"/>
                  </a:lnTo>
                  <a:lnTo>
                    <a:pt x="735155" y="1078952"/>
                  </a:lnTo>
                  <a:lnTo>
                    <a:pt x="735753" y="1078795"/>
                  </a:lnTo>
                  <a:lnTo>
                    <a:pt x="736440" y="1078445"/>
                  </a:lnTo>
                  <a:lnTo>
                    <a:pt x="737020" y="1078297"/>
                  </a:lnTo>
                  <a:lnTo>
                    <a:pt x="737510" y="1078490"/>
                  </a:lnTo>
                  <a:lnTo>
                    <a:pt x="738655" y="1079592"/>
                  </a:lnTo>
                  <a:lnTo>
                    <a:pt x="738186" y="1080183"/>
                  </a:lnTo>
                  <a:lnTo>
                    <a:pt x="737573" y="1079698"/>
                  </a:lnTo>
                  <a:lnTo>
                    <a:pt x="737591" y="1080423"/>
                  </a:lnTo>
                  <a:lnTo>
                    <a:pt x="737963" y="1081834"/>
                  </a:lnTo>
                  <a:lnTo>
                    <a:pt x="738808" y="1082810"/>
                  </a:lnTo>
                  <a:lnTo>
                    <a:pt x="739069" y="1082884"/>
                  </a:lnTo>
                  <a:lnTo>
                    <a:pt x="739289" y="1082675"/>
                  </a:lnTo>
                  <a:lnTo>
                    <a:pt x="739587" y="1082223"/>
                  </a:lnTo>
                  <a:lnTo>
                    <a:pt x="739892" y="1081817"/>
                  </a:lnTo>
                  <a:lnTo>
                    <a:pt x="740147" y="1081733"/>
                  </a:lnTo>
                  <a:lnTo>
                    <a:pt x="741192" y="1081841"/>
                  </a:lnTo>
                  <a:lnTo>
                    <a:pt x="742309" y="1080965"/>
                  </a:lnTo>
                  <a:lnTo>
                    <a:pt x="743503" y="1079680"/>
                  </a:lnTo>
                  <a:lnTo>
                    <a:pt x="744775" y="1078571"/>
                  </a:lnTo>
                  <a:lnTo>
                    <a:pt x="744324" y="1078267"/>
                  </a:lnTo>
                  <a:lnTo>
                    <a:pt x="743699" y="1078221"/>
                  </a:lnTo>
                  <a:lnTo>
                    <a:pt x="742183" y="1078531"/>
                  </a:lnTo>
                  <a:lnTo>
                    <a:pt x="744150" y="1077563"/>
                  </a:lnTo>
                  <a:lnTo>
                    <a:pt x="745758" y="1077784"/>
                  </a:lnTo>
                  <a:lnTo>
                    <a:pt x="746457" y="1078946"/>
                  </a:lnTo>
                  <a:lnTo>
                    <a:pt x="745686" y="1080815"/>
                  </a:lnTo>
                  <a:lnTo>
                    <a:pt x="743829" y="1083368"/>
                  </a:lnTo>
                  <a:lnTo>
                    <a:pt x="742973" y="1085066"/>
                  </a:lnTo>
                  <a:lnTo>
                    <a:pt x="742653" y="1086519"/>
                  </a:lnTo>
                  <a:lnTo>
                    <a:pt x="742065" y="1092538"/>
                  </a:lnTo>
                  <a:lnTo>
                    <a:pt x="743101" y="1099397"/>
                  </a:lnTo>
                  <a:lnTo>
                    <a:pt x="746688" y="1108927"/>
                  </a:lnTo>
                  <a:lnTo>
                    <a:pt x="752362" y="1123735"/>
                  </a:lnTo>
                  <a:lnTo>
                    <a:pt x="755058" y="1126152"/>
                  </a:lnTo>
                  <a:lnTo>
                    <a:pt x="755599" y="1128104"/>
                  </a:lnTo>
                  <a:lnTo>
                    <a:pt x="754111" y="1126972"/>
                  </a:lnTo>
                  <a:lnTo>
                    <a:pt x="753612" y="1127625"/>
                  </a:lnTo>
                  <a:lnTo>
                    <a:pt x="756270" y="1132487"/>
                  </a:lnTo>
                  <a:lnTo>
                    <a:pt x="757016" y="1136410"/>
                  </a:lnTo>
                  <a:lnTo>
                    <a:pt x="757823" y="1137435"/>
                  </a:lnTo>
                  <a:lnTo>
                    <a:pt x="762311" y="1139871"/>
                  </a:lnTo>
                  <a:lnTo>
                    <a:pt x="763971" y="1142061"/>
                  </a:lnTo>
                  <a:lnTo>
                    <a:pt x="763954" y="1142498"/>
                  </a:lnTo>
                  <a:lnTo>
                    <a:pt x="763482" y="1144080"/>
                  </a:lnTo>
                  <a:lnTo>
                    <a:pt x="763563" y="1144584"/>
                  </a:lnTo>
                  <a:lnTo>
                    <a:pt x="764873" y="1146484"/>
                  </a:lnTo>
                  <a:lnTo>
                    <a:pt x="766024" y="1151696"/>
                  </a:lnTo>
                  <a:lnTo>
                    <a:pt x="767089" y="1153882"/>
                  </a:lnTo>
                  <a:lnTo>
                    <a:pt x="769454" y="1156074"/>
                  </a:lnTo>
                  <a:lnTo>
                    <a:pt x="770286" y="1156254"/>
                  </a:lnTo>
                  <a:lnTo>
                    <a:pt x="770909" y="1156012"/>
                  </a:lnTo>
                  <a:lnTo>
                    <a:pt x="771603" y="1155588"/>
                  </a:lnTo>
                  <a:lnTo>
                    <a:pt x="772302" y="1155283"/>
                  </a:lnTo>
                  <a:lnTo>
                    <a:pt x="772934" y="1155399"/>
                  </a:lnTo>
                  <a:lnTo>
                    <a:pt x="774890" y="1157698"/>
                  </a:lnTo>
                  <a:lnTo>
                    <a:pt x="774886" y="1157032"/>
                  </a:lnTo>
                  <a:lnTo>
                    <a:pt x="774853" y="1156817"/>
                  </a:lnTo>
                  <a:lnTo>
                    <a:pt x="775342" y="1156157"/>
                  </a:lnTo>
                  <a:lnTo>
                    <a:pt x="777163" y="1156267"/>
                  </a:lnTo>
                  <a:lnTo>
                    <a:pt x="778247" y="1157529"/>
                  </a:lnTo>
                  <a:lnTo>
                    <a:pt x="778511" y="1158086"/>
                  </a:lnTo>
                  <a:lnTo>
                    <a:pt x="779043" y="1159218"/>
                  </a:lnTo>
                  <a:lnTo>
                    <a:pt x="783419" y="1164895"/>
                  </a:lnTo>
                  <a:lnTo>
                    <a:pt x="788735" y="1168917"/>
                  </a:lnTo>
                  <a:lnTo>
                    <a:pt x="792325" y="1176289"/>
                  </a:lnTo>
                  <a:lnTo>
                    <a:pt x="792366" y="1178079"/>
                  </a:lnTo>
                  <a:lnTo>
                    <a:pt x="793630" y="1181123"/>
                  </a:lnTo>
                  <a:lnTo>
                    <a:pt x="793418" y="1182053"/>
                  </a:lnTo>
                  <a:lnTo>
                    <a:pt x="792774" y="1183840"/>
                  </a:lnTo>
                  <a:lnTo>
                    <a:pt x="792757" y="1185523"/>
                  </a:lnTo>
                  <a:lnTo>
                    <a:pt x="793131" y="1187084"/>
                  </a:lnTo>
                  <a:lnTo>
                    <a:pt x="794476" y="1189696"/>
                  </a:lnTo>
                  <a:lnTo>
                    <a:pt x="797701" y="1193056"/>
                  </a:lnTo>
                  <a:lnTo>
                    <a:pt x="797634" y="1195184"/>
                  </a:lnTo>
                  <a:lnTo>
                    <a:pt x="797405" y="1196056"/>
                  </a:lnTo>
                  <a:lnTo>
                    <a:pt x="797124" y="1197663"/>
                  </a:lnTo>
                  <a:lnTo>
                    <a:pt x="797076" y="1198954"/>
                  </a:lnTo>
                  <a:lnTo>
                    <a:pt x="797262" y="1199863"/>
                  </a:lnTo>
                  <a:lnTo>
                    <a:pt x="797426" y="1200122"/>
                  </a:lnTo>
                  <a:lnTo>
                    <a:pt x="797476" y="1200531"/>
                  </a:lnTo>
                  <a:lnTo>
                    <a:pt x="797101" y="1201156"/>
                  </a:lnTo>
                  <a:lnTo>
                    <a:pt x="796639" y="1201775"/>
                  </a:lnTo>
                  <a:lnTo>
                    <a:pt x="796425" y="1202173"/>
                  </a:lnTo>
                  <a:lnTo>
                    <a:pt x="796972" y="1203502"/>
                  </a:lnTo>
                  <a:lnTo>
                    <a:pt x="800619" y="1204300"/>
                  </a:lnTo>
                  <a:lnTo>
                    <a:pt x="801434" y="1205540"/>
                  </a:lnTo>
                  <a:lnTo>
                    <a:pt x="802391" y="1208893"/>
                  </a:lnTo>
                  <a:lnTo>
                    <a:pt x="803479" y="1209920"/>
                  </a:lnTo>
                  <a:lnTo>
                    <a:pt x="803810" y="1208541"/>
                  </a:lnTo>
                  <a:lnTo>
                    <a:pt x="802758" y="1207488"/>
                  </a:lnTo>
                  <a:lnTo>
                    <a:pt x="803186" y="1206110"/>
                  </a:lnTo>
                  <a:lnTo>
                    <a:pt x="803464" y="1206125"/>
                  </a:lnTo>
                  <a:lnTo>
                    <a:pt x="804296" y="1205976"/>
                  </a:lnTo>
                  <a:lnTo>
                    <a:pt x="803560" y="1205057"/>
                  </a:lnTo>
                  <a:lnTo>
                    <a:pt x="803150" y="1202050"/>
                  </a:lnTo>
                  <a:lnTo>
                    <a:pt x="802131" y="1200111"/>
                  </a:lnTo>
                  <a:lnTo>
                    <a:pt x="802357" y="1198864"/>
                  </a:lnTo>
                  <a:lnTo>
                    <a:pt x="803773" y="1195292"/>
                  </a:lnTo>
                  <a:lnTo>
                    <a:pt x="804114" y="1194622"/>
                  </a:lnTo>
                  <a:lnTo>
                    <a:pt x="804234" y="1194036"/>
                  </a:lnTo>
                  <a:lnTo>
                    <a:pt x="803555" y="1193026"/>
                  </a:lnTo>
                  <a:lnTo>
                    <a:pt x="803209" y="1191571"/>
                  </a:lnTo>
                  <a:lnTo>
                    <a:pt x="802448" y="1190226"/>
                  </a:lnTo>
                  <a:lnTo>
                    <a:pt x="802532" y="1188866"/>
                  </a:lnTo>
                  <a:lnTo>
                    <a:pt x="803047" y="1187162"/>
                  </a:lnTo>
                  <a:lnTo>
                    <a:pt x="803920" y="1185250"/>
                  </a:lnTo>
                  <a:lnTo>
                    <a:pt x="808706" y="1189572"/>
                  </a:lnTo>
                  <a:lnTo>
                    <a:pt x="807478" y="1186689"/>
                  </a:lnTo>
                  <a:lnTo>
                    <a:pt x="802750" y="1182542"/>
                  </a:lnTo>
                  <a:lnTo>
                    <a:pt x="803102" y="1178190"/>
                  </a:lnTo>
                  <a:lnTo>
                    <a:pt x="803928" y="1177915"/>
                  </a:lnTo>
                  <a:lnTo>
                    <a:pt x="804968" y="1177070"/>
                  </a:lnTo>
                  <a:lnTo>
                    <a:pt x="797549" y="1172831"/>
                  </a:lnTo>
                  <a:lnTo>
                    <a:pt x="796404" y="1171524"/>
                  </a:lnTo>
                  <a:lnTo>
                    <a:pt x="794770" y="1164765"/>
                  </a:lnTo>
                  <a:lnTo>
                    <a:pt x="796301" y="1163415"/>
                  </a:lnTo>
                  <a:lnTo>
                    <a:pt x="797146" y="1163716"/>
                  </a:lnTo>
                  <a:lnTo>
                    <a:pt x="798264" y="1165356"/>
                  </a:lnTo>
                  <a:lnTo>
                    <a:pt x="798666" y="1164804"/>
                  </a:lnTo>
                  <a:lnTo>
                    <a:pt x="798839" y="1161229"/>
                  </a:lnTo>
                  <a:lnTo>
                    <a:pt x="799640" y="1159027"/>
                  </a:lnTo>
                  <a:lnTo>
                    <a:pt x="801522" y="1157022"/>
                  </a:lnTo>
                  <a:lnTo>
                    <a:pt x="802886" y="1156957"/>
                  </a:lnTo>
                  <a:lnTo>
                    <a:pt x="803471" y="1158626"/>
                  </a:lnTo>
                  <a:lnTo>
                    <a:pt x="803679" y="1162843"/>
                  </a:lnTo>
                  <a:lnTo>
                    <a:pt x="804976" y="1166199"/>
                  </a:lnTo>
                  <a:lnTo>
                    <a:pt x="807761" y="1168198"/>
                  </a:lnTo>
                  <a:lnTo>
                    <a:pt x="811417" y="1168910"/>
                  </a:lnTo>
                  <a:lnTo>
                    <a:pt x="815327" y="1168420"/>
                  </a:lnTo>
                  <a:lnTo>
                    <a:pt x="808869" y="1165757"/>
                  </a:lnTo>
                  <a:lnTo>
                    <a:pt x="808792" y="1165044"/>
                  </a:lnTo>
                  <a:lnTo>
                    <a:pt x="809097" y="1164302"/>
                  </a:lnTo>
                  <a:lnTo>
                    <a:pt x="809832" y="1163056"/>
                  </a:lnTo>
                  <a:lnTo>
                    <a:pt x="810096" y="1162318"/>
                  </a:lnTo>
                  <a:lnTo>
                    <a:pt x="810215" y="1160757"/>
                  </a:lnTo>
                  <a:lnTo>
                    <a:pt x="806897" y="1153721"/>
                  </a:lnTo>
                  <a:lnTo>
                    <a:pt x="807141" y="1152257"/>
                  </a:lnTo>
                  <a:lnTo>
                    <a:pt x="810260" y="1147080"/>
                  </a:lnTo>
                  <a:lnTo>
                    <a:pt x="811727" y="1144225"/>
                  </a:lnTo>
                  <a:lnTo>
                    <a:pt x="812736" y="1142462"/>
                  </a:lnTo>
                  <a:lnTo>
                    <a:pt x="813748" y="1141162"/>
                  </a:lnTo>
                  <a:lnTo>
                    <a:pt x="816877" y="1139072"/>
                  </a:lnTo>
                  <a:lnTo>
                    <a:pt x="817934" y="1140174"/>
                  </a:lnTo>
                  <a:lnTo>
                    <a:pt x="818106" y="1145228"/>
                  </a:lnTo>
                  <a:lnTo>
                    <a:pt x="818489" y="1146350"/>
                  </a:lnTo>
                  <a:lnTo>
                    <a:pt x="818530" y="1146927"/>
                  </a:lnTo>
                  <a:lnTo>
                    <a:pt x="817991" y="1149413"/>
                  </a:lnTo>
                  <a:lnTo>
                    <a:pt x="819283" y="1158354"/>
                  </a:lnTo>
                  <a:lnTo>
                    <a:pt x="822288" y="1161820"/>
                  </a:lnTo>
                  <a:lnTo>
                    <a:pt x="822993" y="1164545"/>
                  </a:lnTo>
                  <a:lnTo>
                    <a:pt x="823663" y="1162467"/>
                  </a:lnTo>
                  <a:lnTo>
                    <a:pt x="823129" y="1160369"/>
                  </a:lnTo>
                  <a:lnTo>
                    <a:pt x="820309" y="1156601"/>
                  </a:lnTo>
                  <a:lnTo>
                    <a:pt x="819904" y="1155037"/>
                  </a:lnTo>
                  <a:lnTo>
                    <a:pt x="820340" y="1140648"/>
                  </a:lnTo>
                  <a:lnTo>
                    <a:pt x="821664" y="1137586"/>
                  </a:lnTo>
                  <a:lnTo>
                    <a:pt x="823411" y="1136318"/>
                  </a:lnTo>
                  <a:lnTo>
                    <a:pt x="825281" y="1135928"/>
                  </a:lnTo>
                  <a:lnTo>
                    <a:pt x="826905" y="1136113"/>
                  </a:lnTo>
                  <a:lnTo>
                    <a:pt x="829167" y="1137230"/>
                  </a:lnTo>
                  <a:lnTo>
                    <a:pt x="829599" y="1137888"/>
                  </a:lnTo>
                  <a:lnTo>
                    <a:pt x="829553" y="1138998"/>
                  </a:lnTo>
                  <a:lnTo>
                    <a:pt x="829469" y="1139434"/>
                  </a:lnTo>
                  <a:lnTo>
                    <a:pt x="829403" y="1140199"/>
                  </a:lnTo>
                  <a:lnTo>
                    <a:pt x="829267" y="1140730"/>
                  </a:lnTo>
                  <a:lnTo>
                    <a:pt x="828967" y="1141306"/>
                  </a:lnTo>
                  <a:lnTo>
                    <a:pt x="828118" y="1142425"/>
                  </a:lnTo>
                  <a:lnTo>
                    <a:pt x="827822" y="1142936"/>
                  </a:lnTo>
                  <a:lnTo>
                    <a:pt x="827299" y="1144603"/>
                  </a:lnTo>
                  <a:lnTo>
                    <a:pt x="826533" y="1148557"/>
                  </a:lnTo>
                  <a:lnTo>
                    <a:pt x="826637" y="1149491"/>
                  </a:lnTo>
                  <a:lnTo>
                    <a:pt x="827580" y="1148858"/>
                  </a:lnTo>
                  <a:lnTo>
                    <a:pt x="828605" y="1146612"/>
                  </a:lnTo>
                  <a:lnTo>
                    <a:pt x="830011" y="1142571"/>
                  </a:lnTo>
                  <a:lnTo>
                    <a:pt x="830677" y="1141116"/>
                  </a:lnTo>
                  <a:lnTo>
                    <a:pt x="831179" y="1140195"/>
                  </a:lnTo>
                  <a:lnTo>
                    <a:pt x="831643" y="1139617"/>
                  </a:lnTo>
                  <a:lnTo>
                    <a:pt x="832474" y="1139191"/>
                  </a:lnTo>
                  <a:lnTo>
                    <a:pt x="833329" y="1139002"/>
                  </a:lnTo>
                  <a:lnTo>
                    <a:pt x="834024" y="1139102"/>
                  </a:lnTo>
                  <a:lnTo>
                    <a:pt x="835280" y="1140864"/>
                  </a:lnTo>
                  <a:lnTo>
                    <a:pt x="836587" y="1141785"/>
                  </a:lnTo>
                  <a:lnTo>
                    <a:pt x="837547" y="1143068"/>
                  </a:lnTo>
                  <a:lnTo>
                    <a:pt x="837183" y="1147460"/>
                  </a:lnTo>
                  <a:lnTo>
                    <a:pt x="837587" y="1149176"/>
                  </a:lnTo>
                  <a:lnTo>
                    <a:pt x="840970" y="1155187"/>
                  </a:lnTo>
                  <a:lnTo>
                    <a:pt x="841314" y="1155313"/>
                  </a:lnTo>
                  <a:lnTo>
                    <a:pt x="841663" y="1155082"/>
                  </a:lnTo>
                  <a:lnTo>
                    <a:pt x="842022" y="1154561"/>
                  </a:lnTo>
                  <a:lnTo>
                    <a:pt x="842343" y="1154041"/>
                  </a:lnTo>
                  <a:lnTo>
                    <a:pt x="842521" y="1153596"/>
                  </a:lnTo>
                  <a:lnTo>
                    <a:pt x="842445" y="1153323"/>
                  </a:lnTo>
                  <a:lnTo>
                    <a:pt x="842138" y="1152853"/>
                  </a:lnTo>
                  <a:lnTo>
                    <a:pt x="841918" y="1152034"/>
                  </a:lnTo>
                  <a:lnTo>
                    <a:pt x="841830" y="1151083"/>
                  </a:lnTo>
                  <a:lnTo>
                    <a:pt x="841933" y="1150200"/>
                  </a:lnTo>
                  <a:lnTo>
                    <a:pt x="842354" y="1149031"/>
                  </a:lnTo>
                  <a:lnTo>
                    <a:pt x="842776" y="1148428"/>
                  </a:lnTo>
                  <a:lnTo>
                    <a:pt x="843276" y="1147891"/>
                  </a:lnTo>
                  <a:lnTo>
                    <a:pt x="843927" y="1146913"/>
                  </a:lnTo>
                  <a:lnTo>
                    <a:pt x="844868" y="1145171"/>
                  </a:lnTo>
                  <a:lnTo>
                    <a:pt x="845113" y="1144575"/>
                  </a:lnTo>
                  <a:lnTo>
                    <a:pt x="845360" y="1143784"/>
                  </a:lnTo>
                  <a:lnTo>
                    <a:pt x="846691" y="1140576"/>
                  </a:lnTo>
                  <a:lnTo>
                    <a:pt x="846766" y="1140052"/>
                  </a:lnTo>
                  <a:lnTo>
                    <a:pt x="847341" y="1139119"/>
                  </a:lnTo>
                  <a:lnTo>
                    <a:pt x="848114" y="1138121"/>
                  </a:lnTo>
                  <a:lnTo>
                    <a:pt x="848774" y="1137434"/>
                  </a:lnTo>
                  <a:lnTo>
                    <a:pt x="849622" y="1137044"/>
                  </a:lnTo>
                  <a:lnTo>
                    <a:pt x="852154" y="1137147"/>
                  </a:lnTo>
                  <a:lnTo>
                    <a:pt x="855503" y="1136084"/>
                  </a:lnTo>
                  <a:lnTo>
                    <a:pt x="856562" y="1136472"/>
                  </a:lnTo>
                  <a:lnTo>
                    <a:pt x="855825" y="1138723"/>
                  </a:lnTo>
                  <a:lnTo>
                    <a:pt x="856772" y="1137952"/>
                  </a:lnTo>
                  <a:lnTo>
                    <a:pt x="857486" y="1137648"/>
                  </a:lnTo>
                  <a:lnTo>
                    <a:pt x="858064" y="1137687"/>
                  </a:lnTo>
                  <a:lnTo>
                    <a:pt x="858608" y="1137926"/>
                  </a:lnTo>
                  <a:lnTo>
                    <a:pt x="858415" y="1137791"/>
                  </a:lnTo>
                  <a:lnTo>
                    <a:pt x="859784" y="1137897"/>
                  </a:lnTo>
                  <a:lnTo>
                    <a:pt x="860870" y="1140055"/>
                  </a:lnTo>
                  <a:lnTo>
                    <a:pt x="861619" y="1140869"/>
                  </a:lnTo>
                  <a:lnTo>
                    <a:pt x="864250" y="1140874"/>
                  </a:lnTo>
                  <a:lnTo>
                    <a:pt x="865433" y="1141202"/>
                  </a:lnTo>
                  <a:lnTo>
                    <a:pt x="866118" y="1143123"/>
                  </a:lnTo>
                  <a:lnTo>
                    <a:pt x="866768" y="1142711"/>
                  </a:lnTo>
                  <a:lnTo>
                    <a:pt x="867779" y="1141579"/>
                  </a:lnTo>
                  <a:lnTo>
                    <a:pt x="867964" y="1142133"/>
                  </a:lnTo>
                  <a:lnTo>
                    <a:pt x="867751" y="1142838"/>
                  </a:lnTo>
                  <a:lnTo>
                    <a:pt x="867441" y="1143529"/>
                  </a:lnTo>
                  <a:lnTo>
                    <a:pt x="867329" y="1144019"/>
                  </a:lnTo>
                  <a:lnTo>
                    <a:pt x="868094" y="1145107"/>
                  </a:lnTo>
                  <a:lnTo>
                    <a:pt x="871614" y="1146991"/>
                  </a:lnTo>
                  <a:lnTo>
                    <a:pt x="872965" y="1152190"/>
                  </a:lnTo>
                  <a:lnTo>
                    <a:pt x="874338" y="1154017"/>
                  </a:lnTo>
                  <a:lnTo>
                    <a:pt x="877259" y="1153157"/>
                  </a:lnTo>
                  <a:lnTo>
                    <a:pt x="879580" y="1150442"/>
                  </a:lnTo>
                  <a:lnTo>
                    <a:pt x="879735" y="1147971"/>
                  </a:lnTo>
                  <a:lnTo>
                    <a:pt x="878250" y="1146797"/>
                  </a:lnTo>
                  <a:lnTo>
                    <a:pt x="875665" y="1147957"/>
                  </a:lnTo>
                  <a:lnTo>
                    <a:pt x="875308" y="1149133"/>
                  </a:lnTo>
                  <a:lnTo>
                    <a:pt x="875230" y="1149487"/>
                  </a:lnTo>
                  <a:lnTo>
                    <a:pt x="874307" y="1149744"/>
                  </a:lnTo>
                  <a:lnTo>
                    <a:pt x="874045" y="1149062"/>
                  </a:lnTo>
                  <a:lnTo>
                    <a:pt x="874158" y="1146917"/>
                  </a:lnTo>
                  <a:lnTo>
                    <a:pt x="875162" y="1146172"/>
                  </a:lnTo>
                  <a:lnTo>
                    <a:pt x="875463" y="1145987"/>
                  </a:lnTo>
                  <a:lnTo>
                    <a:pt x="875006" y="1145230"/>
                  </a:lnTo>
                  <a:lnTo>
                    <a:pt x="875926" y="1143903"/>
                  </a:lnTo>
                  <a:lnTo>
                    <a:pt x="877267" y="1142671"/>
                  </a:lnTo>
                  <a:lnTo>
                    <a:pt x="878077" y="1142222"/>
                  </a:lnTo>
                  <a:lnTo>
                    <a:pt x="878377" y="1142690"/>
                  </a:lnTo>
                  <a:lnTo>
                    <a:pt x="878429" y="1143969"/>
                  </a:lnTo>
                  <a:lnTo>
                    <a:pt x="878668" y="1144548"/>
                  </a:lnTo>
                  <a:lnTo>
                    <a:pt x="879143" y="1144766"/>
                  </a:lnTo>
                  <a:lnTo>
                    <a:pt x="880343" y="1144786"/>
                  </a:lnTo>
                  <a:lnTo>
                    <a:pt x="880818" y="1145025"/>
                  </a:lnTo>
                  <a:lnTo>
                    <a:pt x="881450" y="1142805"/>
                  </a:lnTo>
                  <a:lnTo>
                    <a:pt x="881834" y="1142514"/>
                  </a:lnTo>
                  <a:lnTo>
                    <a:pt x="883294" y="1141657"/>
                  </a:lnTo>
                  <a:lnTo>
                    <a:pt x="884676" y="1141431"/>
                  </a:lnTo>
                  <a:lnTo>
                    <a:pt x="885989" y="1140483"/>
                  </a:lnTo>
                  <a:lnTo>
                    <a:pt x="888676" y="1138053"/>
                  </a:lnTo>
                  <a:lnTo>
                    <a:pt x="889796" y="1136140"/>
                  </a:lnTo>
                  <a:lnTo>
                    <a:pt x="890473" y="1133276"/>
                  </a:lnTo>
                  <a:lnTo>
                    <a:pt x="891206" y="1128343"/>
                  </a:lnTo>
                  <a:lnTo>
                    <a:pt x="892046" y="1128251"/>
                  </a:lnTo>
                  <a:lnTo>
                    <a:pt x="892354" y="1128905"/>
                  </a:lnTo>
                  <a:lnTo>
                    <a:pt x="892506" y="1129804"/>
                  </a:lnTo>
                  <a:lnTo>
                    <a:pt x="892853" y="1130472"/>
                  </a:lnTo>
                  <a:lnTo>
                    <a:pt x="893606" y="1130625"/>
                  </a:lnTo>
                  <a:lnTo>
                    <a:pt x="895290" y="1130529"/>
                  </a:lnTo>
                  <a:lnTo>
                    <a:pt x="896007" y="1131596"/>
                  </a:lnTo>
                  <a:lnTo>
                    <a:pt x="896602" y="1131689"/>
                  </a:lnTo>
                  <a:lnTo>
                    <a:pt x="896769" y="1132015"/>
                  </a:lnTo>
                  <a:lnTo>
                    <a:pt x="895864" y="1133368"/>
                  </a:lnTo>
                  <a:lnTo>
                    <a:pt x="894973" y="1134372"/>
                  </a:lnTo>
                  <a:lnTo>
                    <a:pt x="894295" y="1134859"/>
                  </a:lnTo>
                  <a:lnTo>
                    <a:pt x="893706" y="1135037"/>
                  </a:lnTo>
                  <a:lnTo>
                    <a:pt x="893077" y="1135101"/>
                  </a:lnTo>
                  <a:lnTo>
                    <a:pt x="893153" y="1136256"/>
                  </a:lnTo>
                  <a:lnTo>
                    <a:pt x="896185" y="1137086"/>
                  </a:lnTo>
                  <a:lnTo>
                    <a:pt x="897094" y="1137847"/>
                  </a:lnTo>
                  <a:lnTo>
                    <a:pt x="896947" y="1139272"/>
                  </a:lnTo>
                  <a:lnTo>
                    <a:pt x="896491" y="1140909"/>
                  </a:lnTo>
                  <a:lnTo>
                    <a:pt x="896283" y="1142334"/>
                  </a:lnTo>
                  <a:lnTo>
                    <a:pt x="896862" y="1143151"/>
                  </a:lnTo>
                  <a:lnTo>
                    <a:pt x="896397" y="1143827"/>
                  </a:lnTo>
                  <a:lnTo>
                    <a:pt x="894116" y="1143967"/>
                  </a:lnTo>
                  <a:lnTo>
                    <a:pt x="892731" y="1144477"/>
                  </a:lnTo>
                  <a:lnTo>
                    <a:pt x="891092" y="1145682"/>
                  </a:lnTo>
                  <a:lnTo>
                    <a:pt x="890001" y="1146924"/>
                  </a:lnTo>
                  <a:lnTo>
                    <a:pt x="890513" y="1147046"/>
                  </a:lnTo>
                  <a:lnTo>
                    <a:pt x="891705" y="1146763"/>
                  </a:lnTo>
                  <a:lnTo>
                    <a:pt x="892676" y="1146762"/>
                  </a:lnTo>
                  <a:lnTo>
                    <a:pt x="892673" y="1147334"/>
                  </a:lnTo>
                  <a:lnTo>
                    <a:pt x="891592" y="1149164"/>
                  </a:lnTo>
                  <a:lnTo>
                    <a:pt x="891571" y="1149731"/>
                  </a:lnTo>
                  <a:lnTo>
                    <a:pt x="891752" y="1150266"/>
                  </a:lnTo>
                  <a:lnTo>
                    <a:pt x="891568" y="1151962"/>
                  </a:lnTo>
                  <a:lnTo>
                    <a:pt x="891734" y="1152487"/>
                  </a:lnTo>
                  <a:lnTo>
                    <a:pt x="892925" y="1152721"/>
                  </a:lnTo>
                  <a:lnTo>
                    <a:pt x="894283" y="1152548"/>
                  </a:lnTo>
                  <a:lnTo>
                    <a:pt x="895490" y="1152651"/>
                  </a:lnTo>
                  <a:lnTo>
                    <a:pt x="896225" y="1153706"/>
                  </a:lnTo>
                  <a:lnTo>
                    <a:pt x="895288" y="1154582"/>
                  </a:lnTo>
                  <a:lnTo>
                    <a:pt x="894486" y="1154933"/>
                  </a:lnTo>
                  <a:lnTo>
                    <a:pt x="893028" y="1155180"/>
                  </a:lnTo>
                  <a:lnTo>
                    <a:pt x="894718" y="1156324"/>
                  </a:lnTo>
                  <a:lnTo>
                    <a:pt x="894972" y="1156836"/>
                  </a:lnTo>
                  <a:lnTo>
                    <a:pt x="895003" y="1157356"/>
                  </a:lnTo>
                  <a:lnTo>
                    <a:pt x="894961" y="1157857"/>
                  </a:lnTo>
                  <a:lnTo>
                    <a:pt x="894974" y="1158315"/>
                  </a:lnTo>
                  <a:lnTo>
                    <a:pt x="895365" y="1159115"/>
                  </a:lnTo>
                  <a:lnTo>
                    <a:pt x="896154" y="1159825"/>
                  </a:lnTo>
                  <a:lnTo>
                    <a:pt x="897250" y="1160175"/>
                  </a:lnTo>
                  <a:lnTo>
                    <a:pt x="898551" y="1159899"/>
                  </a:lnTo>
                  <a:lnTo>
                    <a:pt x="898574" y="1159526"/>
                  </a:lnTo>
                  <a:lnTo>
                    <a:pt x="898753" y="1158625"/>
                  </a:lnTo>
                  <a:lnTo>
                    <a:pt x="898772" y="1158244"/>
                  </a:lnTo>
                  <a:lnTo>
                    <a:pt x="899835" y="1158029"/>
                  </a:lnTo>
                  <a:lnTo>
                    <a:pt x="901206" y="1158865"/>
                  </a:lnTo>
                  <a:lnTo>
                    <a:pt x="902226" y="1158664"/>
                  </a:lnTo>
                  <a:lnTo>
                    <a:pt x="902120" y="1158366"/>
                  </a:lnTo>
                  <a:lnTo>
                    <a:pt x="902009" y="1157698"/>
                  </a:lnTo>
                  <a:lnTo>
                    <a:pt x="901816" y="1157476"/>
                  </a:lnTo>
                  <a:lnTo>
                    <a:pt x="902738" y="1156573"/>
                  </a:lnTo>
                  <a:lnTo>
                    <a:pt x="903499" y="1156209"/>
                  </a:lnTo>
                  <a:lnTo>
                    <a:pt x="904099" y="1156272"/>
                  </a:lnTo>
                  <a:lnTo>
                    <a:pt x="904520" y="1156663"/>
                  </a:lnTo>
                  <a:lnTo>
                    <a:pt x="904213" y="1156953"/>
                  </a:lnTo>
                  <a:lnTo>
                    <a:pt x="903943" y="1157096"/>
                  </a:lnTo>
                  <a:lnTo>
                    <a:pt x="903602" y="1158033"/>
                  </a:lnTo>
                  <a:lnTo>
                    <a:pt x="903449" y="1158783"/>
                  </a:lnTo>
                  <a:lnTo>
                    <a:pt x="903485" y="1159337"/>
                  </a:lnTo>
                  <a:lnTo>
                    <a:pt x="903723" y="1159668"/>
                  </a:lnTo>
                  <a:lnTo>
                    <a:pt x="902705" y="1160568"/>
                  </a:lnTo>
                  <a:lnTo>
                    <a:pt x="901717" y="1160245"/>
                  </a:lnTo>
                  <a:lnTo>
                    <a:pt x="900944" y="1161011"/>
                  </a:lnTo>
                  <a:lnTo>
                    <a:pt x="900668" y="1161570"/>
                  </a:lnTo>
                  <a:lnTo>
                    <a:pt x="900151" y="1162984"/>
                  </a:lnTo>
                  <a:lnTo>
                    <a:pt x="899873" y="1163510"/>
                  </a:lnTo>
                  <a:lnTo>
                    <a:pt x="899243" y="1164265"/>
                  </a:lnTo>
                  <a:lnTo>
                    <a:pt x="899036" y="1164373"/>
                  </a:lnTo>
                  <a:lnTo>
                    <a:pt x="898860" y="1164336"/>
                  </a:lnTo>
                  <a:lnTo>
                    <a:pt x="896439" y="1165902"/>
                  </a:lnTo>
                  <a:lnTo>
                    <a:pt x="894636" y="1166716"/>
                  </a:lnTo>
                  <a:lnTo>
                    <a:pt x="884545" y="1169063"/>
                  </a:lnTo>
                  <a:lnTo>
                    <a:pt x="880198" y="1171231"/>
                  </a:lnTo>
                  <a:lnTo>
                    <a:pt x="877011" y="1175310"/>
                  </a:lnTo>
                  <a:lnTo>
                    <a:pt x="874853" y="1173844"/>
                  </a:lnTo>
                  <a:lnTo>
                    <a:pt x="874277" y="1173892"/>
                  </a:lnTo>
                  <a:lnTo>
                    <a:pt x="872658" y="1174715"/>
                  </a:lnTo>
                  <a:lnTo>
                    <a:pt x="872115" y="1174796"/>
                  </a:lnTo>
                  <a:lnTo>
                    <a:pt x="871592" y="1174999"/>
                  </a:lnTo>
                  <a:lnTo>
                    <a:pt x="870913" y="1175800"/>
                  </a:lnTo>
                  <a:lnTo>
                    <a:pt x="870205" y="1176560"/>
                  </a:lnTo>
                  <a:lnTo>
                    <a:pt x="869565" y="1176700"/>
                  </a:lnTo>
                  <a:lnTo>
                    <a:pt x="869027" y="1176647"/>
                  </a:lnTo>
                  <a:lnTo>
                    <a:pt x="868313" y="1176991"/>
                  </a:lnTo>
                  <a:lnTo>
                    <a:pt x="867499" y="1177608"/>
                  </a:lnTo>
                  <a:lnTo>
                    <a:pt x="866670" y="1178372"/>
                  </a:lnTo>
                  <a:lnTo>
                    <a:pt x="865950" y="1179189"/>
                  </a:lnTo>
                  <a:lnTo>
                    <a:pt x="865736" y="1179662"/>
                  </a:lnTo>
                  <a:lnTo>
                    <a:pt x="865564" y="1180099"/>
                  </a:lnTo>
                  <a:lnTo>
                    <a:pt x="864966" y="1180846"/>
                  </a:lnTo>
                  <a:lnTo>
                    <a:pt x="864221" y="1181576"/>
                  </a:lnTo>
                  <a:lnTo>
                    <a:pt x="863818" y="1181839"/>
                  </a:lnTo>
                  <a:lnTo>
                    <a:pt x="862800" y="1182202"/>
                  </a:lnTo>
                  <a:lnTo>
                    <a:pt x="861305" y="1183809"/>
                  </a:lnTo>
                  <a:lnTo>
                    <a:pt x="861881" y="1183725"/>
                  </a:lnTo>
                  <a:lnTo>
                    <a:pt x="862718" y="1184231"/>
                  </a:lnTo>
                  <a:lnTo>
                    <a:pt x="863228" y="1184297"/>
                  </a:lnTo>
                  <a:lnTo>
                    <a:pt x="864399" y="1183847"/>
                  </a:lnTo>
                  <a:lnTo>
                    <a:pt x="865333" y="1183084"/>
                  </a:lnTo>
                  <a:lnTo>
                    <a:pt x="867531" y="1180772"/>
                  </a:lnTo>
                  <a:lnTo>
                    <a:pt x="870103" y="1178796"/>
                  </a:lnTo>
                  <a:lnTo>
                    <a:pt x="872411" y="1177813"/>
                  </a:lnTo>
                  <a:lnTo>
                    <a:pt x="874376" y="1177700"/>
                  </a:lnTo>
                  <a:lnTo>
                    <a:pt x="878651" y="1179718"/>
                  </a:lnTo>
                  <a:lnTo>
                    <a:pt x="880914" y="1179488"/>
                  </a:lnTo>
                  <a:lnTo>
                    <a:pt x="882700" y="1180141"/>
                  </a:lnTo>
                  <a:lnTo>
                    <a:pt x="884036" y="1179646"/>
                  </a:lnTo>
                  <a:lnTo>
                    <a:pt x="885356" y="1178562"/>
                  </a:lnTo>
                  <a:lnTo>
                    <a:pt x="885961" y="1177737"/>
                  </a:lnTo>
                  <a:lnTo>
                    <a:pt x="886474" y="1177104"/>
                  </a:lnTo>
                  <a:lnTo>
                    <a:pt x="887535" y="1176559"/>
                  </a:lnTo>
                  <a:lnTo>
                    <a:pt x="888148" y="1176517"/>
                  </a:lnTo>
                  <a:lnTo>
                    <a:pt x="889466" y="1177440"/>
                  </a:lnTo>
                  <a:lnTo>
                    <a:pt x="890029" y="1177549"/>
                  </a:lnTo>
                  <a:lnTo>
                    <a:pt x="891490" y="1177254"/>
                  </a:lnTo>
                  <a:lnTo>
                    <a:pt x="892104" y="1177321"/>
                  </a:lnTo>
                  <a:lnTo>
                    <a:pt x="891764" y="1177680"/>
                  </a:lnTo>
                  <a:lnTo>
                    <a:pt x="890957" y="1178645"/>
                  </a:lnTo>
                  <a:lnTo>
                    <a:pt x="890606" y="1179025"/>
                  </a:lnTo>
                  <a:lnTo>
                    <a:pt x="892125" y="1179999"/>
                  </a:lnTo>
                  <a:lnTo>
                    <a:pt x="893061" y="1180107"/>
                  </a:lnTo>
                  <a:lnTo>
                    <a:pt x="894277" y="1179680"/>
                  </a:lnTo>
                  <a:lnTo>
                    <a:pt x="894228" y="1178617"/>
                  </a:lnTo>
                  <a:lnTo>
                    <a:pt x="894019" y="1177696"/>
                  </a:lnTo>
                  <a:lnTo>
                    <a:pt x="896186" y="1176206"/>
                  </a:lnTo>
                  <a:lnTo>
                    <a:pt x="898098" y="1176054"/>
                  </a:lnTo>
                  <a:lnTo>
                    <a:pt x="904571" y="1177906"/>
                  </a:lnTo>
                  <a:lnTo>
                    <a:pt x="910859" y="1182550"/>
                  </a:lnTo>
                  <a:lnTo>
                    <a:pt x="910979" y="1183015"/>
                  </a:lnTo>
                  <a:lnTo>
                    <a:pt x="910804" y="1184064"/>
                  </a:lnTo>
                  <a:lnTo>
                    <a:pt x="911009" y="1184451"/>
                  </a:lnTo>
                  <a:lnTo>
                    <a:pt x="911437" y="1184567"/>
                  </a:lnTo>
                  <a:lnTo>
                    <a:pt x="911833" y="1184386"/>
                  </a:lnTo>
                  <a:lnTo>
                    <a:pt x="912266" y="1184092"/>
                  </a:lnTo>
                  <a:lnTo>
                    <a:pt x="912828" y="1183845"/>
                  </a:lnTo>
                  <a:lnTo>
                    <a:pt x="918095" y="1183210"/>
                  </a:lnTo>
                  <a:lnTo>
                    <a:pt x="918284" y="1183376"/>
                  </a:lnTo>
                  <a:lnTo>
                    <a:pt x="918219" y="1184019"/>
                  </a:lnTo>
                  <a:lnTo>
                    <a:pt x="918317" y="1184517"/>
                  </a:lnTo>
                  <a:lnTo>
                    <a:pt x="918537" y="1184881"/>
                  </a:lnTo>
                  <a:lnTo>
                    <a:pt x="918849" y="1185090"/>
                  </a:lnTo>
                  <a:lnTo>
                    <a:pt x="919458" y="1183716"/>
                  </a:lnTo>
                  <a:lnTo>
                    <a:pt x="920325" y="1182205"/>
                  </a:lnTo>
                  <a:lnTo>
                    <a:pt x="921295" y="1181115"/>
                  </a:lnTo>
                  <a:lnTo>
                    <a:pt x="922199" y="1180999"/>
                  </a:lnTo>
                  <a:lnTo>
                    <a:pt x="923224" y="1181102"/>
                  </a:lnTo>
                  <a:lnTo>
                    <a:pt x="924164" y="1180404"/>
                  </a:lnTo>
                  <a:lnTo>
                    <a:pt x="925143" y="1179518"/>
                  </a:lnTo>
                  <a:lnTo>
                    <a:pt x="926260" y="1179074"/>
                  </a:lnTo>
                  <a:lnTo>
                    <a:pt x="926300" y="1178042"/>
                  </a:lnTo>
                  <a:lnTo>
                    <a:pt x="927021" y="1177148"/>
                  </a:lnTo>
                  <a:lnTo>
                    <a:pt x="928862" y="1175834"/>
                  </a:lnTo>
                  <a:lnTo>
                    <a:pt x="929856" y="1174696"/>
                  </a:lnTo>
                  <a:lnTo>
                    <a:pt x="930189" y="1173565"/>
                  </a:lnTo>
                  <a:lnTo>
                    <a:pt x="930150" y="1171742"/>
                  </a:lnTo>
                  <a:lnTo>
                    <a:pt x="931979" y="1170014"/>
                  </a:lnTo>
                  <a:lnTo>
                    <a:pt x="934115" y="1168743"/>
                  </a:lnTo>
                  <a:lnTo>
                    <a:pt x="937599" y="1167530"/>
                  </a:lnTo>
                  <a:lnTo>
                    <a:pt x="941256" y="1169903"/>
                  </a:lnTo>
                  <a:lnTo>
                    <a:pt x="940748" y="1170118"/>
                  </a:lnTo>
                  <a:lnTo>
                    <a:pt x="940208" y="1170414"/>
                  </a:lnTo>
                  <a:lnTo>
                    <a:pt x="939659" y="1170790"/>
                  </a:lnTo>
                  <a:lnTo>
                    <a:pt x="939136" y="1171220"/>
                  </a:lnTo>
                  <a:lnTo>
                    <a:pt x="941361" y="1172996"/>
                  </a:lnTo>
                  <a:lnTo>
                    <a:pt x="942249" y="1172834"/>
                  </a:lnTo>
                  <a:lnTo>
                    <a:pt x="943527" y="1172144"/>
                  </a:lnTo>
                  <a:lnTo>
                    <a:pt x="944230" y="1172268"/>
                  </a:lnTo>
                  <a:lnTo>
                    <a:pt x="945887" y="1174107"/>
                  </a:lnTo>
                  <a:lnTo>
                    <a:pt x="946495" y="1176943"/>
                  </a:lnTo>
                  <a:lnTo>
                    <a:pt x="947123" y="1177495"/>
                  </a:lnTo>
                  <a:lnTo>
                    <a:pt x="952597" y="1179079"/>
                  </a:lnTo>
                  <a:lnTo>
                    <a:pt x="954544" y="1178599"/>
                  </a:lnTo>
                  <a:lnTo>
                    <a:pt x="956517" y="1176622"/>
                  </a:lnTo>
                  <a:lnTo>
                    <a:pt x="956354" y="1175583"/>
                  </a:lnTo>
                  <a:lnTo>
                    <a:pt x="951001" y="1176177"/>
                  </a:lnTo>
                  <a:lnTo>
                    <a:pt x="951812" y="1175675"/>
                  </a:lnTo>
                  <a:lnTo>
                    <a:pt x="952564" y="1175331"/>
                  </a:lnTo>
                  <a:lnTo>
                    <a:pt x="953305" y="1174811"/>
                  </a:lnTo>
                  <a:lnTo>
                    <a:pt x="954086" y="1173779"/>
                  </a:lnTo>
                  <a:lnTo>
                    <a:pt x="954446" y="1172718"/>
                  </a:lnTo>
                  <a:lnTo>
                    <a:pt x="954190" y="1172107"/>
                  </a:lnTo>
                  <a:lnTo>
                    <a:pt x="953526" y="1171985"/>
                  </a:lnTo>
                  <a:lnTo>
                    <a:pt x="951894" y="1172722"/>
                  </a:lnTo>
                  <a:lnTo>
                    <a:pt x="950924" y="1172802"/>
                  </a:lnTo>
                  <a:lnTo>
                    <a:pt x="949521" y="1172550"/>
                  </a:lnTo>
                  <a:lnTo>
                    <a:pt x="949174" y="1172610"/>
                  </a:lnTo>
                  <a:lnTo>
                    <a:pt x="948147" y="1173180"/>
                  </a:lnTo>
                  <a:lnTo>
                    <a:pt x="947740" y="1173196"/>
                  </a:lnTo>
                  <a:lnTo>
                    <a:pt x="947033" y="1172580"/>
                  </a:lnTo>
                  <a:lnTo>
                    <a:pt x="946583" y="1171642"/>
                  </a:lnTo>
                  <a:lnTo>
                    <a:pt x="947257" y="1171073"/>
                  </a:lnTo>
                  <a:lnTo>
                    <a:pt x="947962" y="1170675"/>
                  </a:lnTo>
                  <a:lnTo>
                    <a:pt x="948610" y="1170490"/>
                  </a:lnTo>
                  <a:lnTo>
                    <a:pt x="949106" y="1170586"/>
                  </a:lnTo>
                  <a:lnTo>
                    <a:pt x="950985" y="1169109"/>
                  </a:lnTo>
                  <a:lnTo>
                    <a:pt x="953212" y="1166882"/>
                  </a:lnTo>
                  <a:lnTo>
                    <a:pt x="958668" y="1169148"/>
                  </a:lnTo>
                  <a:lnTo>
                    <a:pt x="961091" y="1168808"/>
                  </a:lnTo>
                  <a:lnTo>
                    <a:pt x="962483" y="1168968"/>
                  </a:lnTo>
                  <a:lnTo>
                    <a:pt x="963629" y="1169448"/>
                  </a:lnTo>
                  <a:lnTo>
                    <a:pt x="964023" y="1170229"/>
                  </a:lnTo>
                  <a:lnTo>
                    <a:pt x="963135" y="1169770"/>
                  </a:lnTo>
                  <a:lnTo>
                    <a:pt x="959570" y="1170059"/>
                  </a:lnTo>
                  <a:lnTo>
                    <a:pt x="956411" y="1168774"/>
                  </a:lnTo>
                  <a:lnTo>
                    <a:pt x="955248" y="1168188"/>
                  </a:lnTo>
                  <a:lnTo>
                    <a:pt x="954838" y="1168819"/>
                  </a:lnTo>
                  <a:lnTo>
                    <a:pt x="960910" y="1172697"/>
                  </a:lnTo>
                  <a:lnTo>
                    <a:pt x="960310" y="1173324"/>
                  </a:lnTo>
                  <a:lnTo>
                    <a:pt x="959753" y="1173761"/>
                  </a:lnTo>
                  <a:lnTo>
                    <a:pt x="959245" y="1174011"/>
                  </a:lnTo>
                  <a:lnTo>
                    <a:pt x="958785" y="1174100"/>
                  </a:lnTo>
                  <a:lnTo>
                    <a:pt x="960139" y="1175774"/>
                  </a:lnTo>
                  <a:lnTo>
                    <a:pt x="960415" y="1175806"/>
                  </a:lnTo>
                  <a:lnTo>
                    <a:pt x="961180" y="1175704"/>
                  </a:lnTo>
                  <a:lnTo>
                    <a:pt x="961375" y="1175748"/>
                  </a:lnTo>
                  <a:lnTo>
                    <a:pt x="961358" y="1176087"/>
                  </a:lnTo>
                  <a:lnTo>
                    <a:pt x="961082" y="1177026"/>
                  </a:lnTo>
                  <a:lnTo>
                    <a:pt x="961945" y="1179657"/>
                  </a:lnTo>
                  <a:lnTo>
                    <a:pt x="962863" y="1180223"/>
                  </a:lnTo>
                  <a:lnTo>
                    <a:pt x="964700" y="1178666"/>
                  </a:lnTo>
                  <a:lnTo>
                    <a:pt x="965263" y="1177698"/>
                  </a:lnTo>
                  <a:lnTo>
                    <a:pt x="966461" y="1177320"/>
                  </a:lnTo>
                  <a:lnTo>
                    <a:pt x="970414" y="1178110"/>
                  </a:lnTo>
                  <a:lnTo>
                    <a:pt x="971724" y="1177998"/>
                  </a:lnTo>
                  <a:lnTo>
                    <a:pt x="974416" y="1176733"/>
                  </a:lnTo>
                  <a:lnTo>
                    <a:pt x="977232" y="1178562"/>
                  </a:lnTo>
                  <a:lnTo>
                    <a:pt x="978261" y="1178372"/>
                  </a:lnTo>
                  <a:lnTo>
                    <a:pt x="980998" y="1177263"/>
                  </a:lnTo>
                  <a:lnTo>
                    <a:pt x="982280" y="1176400"/>
                  </a:lnTo>
                  <a:lnTo>
                    <a:pt x="982941" y="1174781"/>
                  </a:lnTo>
                  <a:lnTo>
                    <a:pt x="983984" y="1174201"/>
                  </a:lnTo>
                  <a:lnTo>
                    <a:pt x="986003" y="1174289"/>
                  </a:lnTo>
                  <a:lnTo>
                    <a:pt x="990427" y="1173023"/>
                  </a:lnTo>
                  <a:lnTo>
                    <a:pt x="996932" y="1174477"/>
                  </a:lnTo>
                  <a:lnTo>
                    <a:pt x="998930" y="1173390"/>
                  </a:lnTo>
                  <a:lnTo>
                    <a:pt x="998692" y="1173306"/>
                  </a:lnTo>
                  <a:lnTo>
                    <a:pt x="998311" y="1172940"/>
                  </a:lnTo>
                  <a:lnTo>
                    <a:pt x="998067" y="1172857"/>
                  </a:lnTo>
                  <a:lnTo>
                    <a:pt x="999412" y="1171289"/>
                  </a:lnTo>
                  <a:lnTo>
                    <a:pt x="1000893" y="1169898"/>
                  </a:lnTo>
                  <a:lnTo>
                    <a:pt x="1002100" y="1169238"/>
                  </a:lnTo>
                  <a:lnTo>
                    <a:pt x="1002613" y="1169881"/>
                  </a:lnTo>
                  <a:lnTo>
                    <a:pt x="1003084" y="1171264"/>
                  </a:lnTo>
                  <a:lnTo>
                    <a:pt x="1005165" y="1172732"/>
                  </a:lnTo>
                  <a:lnTo>
                    <a:pt x="1005763" y="1173981"/>
                  </a:lnTo>
                  <a:lnTo>
                    <a:pt x="1005741" y="1175150"/>
                  </a:lnTo>
                  <a:lnTo>
                    <a:pt x="1005465" y="1176865"/>
                  </a:lnTo>
                  <a:lnTo>
                    <a:pt x="1004919" y="1178787"/>
                  </a:lnTo>
                  <a:lnTo>
                    <a:pt x="1004084" y="1180559"/>
                  </a:lnTo>
                  <a:lnTo>
                    <a:pt x="1003507" y="1181246"/>
                  </a:lnTo>
                  <a:lnTo>
                    <a:pt x="1002273" y="1182206"/>
                  </a:lnTo>
                  <a:lnTo>
                    <a:pt x="1001667" y="1183001"/>
                  </a:lnTo>
                  <a:lnTo>
                    <a:pt x="1001164" y="1184110"/>
                  </a:lnTo>
                  <a:lnTo>
                    <a:pt x="1000987" y="1184988"/>
                  </a:lnTo>
                  <a:lnTo>
                    <a:pt x="1001110" y="1186265"/>
                  </a:lnTo>
                  <a:lnTo>
                    <a:pt x="1003752" y="1184039"/>
                  </a:lnTo>
                  <a:lnTo>
                    <a:pt x="1004595" y="1183112"/>
                  </a:lnTo>
                  <a:lnTo>
                    <a:pt x="1003804" y="1182534"/>
                  </a:lnTo>
                  <a:lnTo>
                    <a:pt x="1003490" y="1182436"/>
                  </a:lnTo>
                  <a:lnTo>
                    <a:pt x="1005364" y="1180865"/>
                  </a:lnTo>
                  <a:lnTo>
                    <a:pt x="1006281" y="1180737"/>
                  </a:lnTo>
                  <a:lnTo>
                    <a:pt x="1007531" y="1182187"/>
                  </a:lnTo>
                  <a:lnTo>
                    <a:pt x="1008334" y="1181943"/>
                  </a:lnTo>
                  <a:lnTo>
                    <a:pt x="1009434" y="1180894"/>
                  </a:lnTo>
                  <a:lnTo>
                    <a:pt x="1011621" y="1178520"/>
                  </a:lnTo>
                  <a:lnTo>
                    <a:pt x="1014253" y="1176407"/>
                  </a:lnTo>
                  <a:lnTo>
                    <a:pt x="1015636" y="1175069"/>
                  </a:lnTo>
                  <a:lnTo>
                    <a:pt x="1016910" y="1173381"/>
                  </a:lnTo>
                  <a:lnTo>
                    <a:pt x="1017968" y="1172420"/>
                  </a:lnTo>
                  <a:lnTo>
                    <a:pt x="1020108" y="1172620"/>
                  </a:lnTo>
                  <a:lnTo>
                    <a:pt x="1021271" y="1172079"/>
                  </a:lnTo>
                  <a:lnTo>
                    <a:pt x="1020968" y="1170985"/>
                  </a:lnTo>
                  <a:lnTo>
                    <a:pt x="1018829" y="1170865"/>
                  </a:lnTo>
                  <a:lnTo>
                    <a:pt x="1018232" y="1170235"/>
                  </a:lnTo>
                  <a:lnTo>
                    <a:pt x="1019117" y="1170003"/>
                  </a:lnTo>
                  <a:lnTo>
                    <a:pt x="1023594" y="1167255"/>
                  </a:lnTo>
                  <a:lnTo>
                    <a:pt x="1025606" y="1166397"/>
                  </a:lnTo>
                  <a:lnTo>
                    <a:pt x="1026717" y="1165645"/>
                  </a:lnTo>
                  <a:lnTo>
                    <a:pt x="1025976" y="1166829"/>
                  </a:lnTo>
                  <a:lnTo>
                    <a:pt x="1025221" y="1167314"/>
                  </a:lnTo>
                  <a:lnTo>
                    <a:pt x="1024583" y="1167576"/>
                  </a:lnTo>
                  <a:lnTo>
                    <a:pt x="1024184" y="1168099"/>
                  </a:lnTo>
                  <a:lnTo>
                    <a:pt x="1024246" y="1168999"/>
                  </a:lnTo>
                  <a:lnTo>
                    <a:pt x="1025110" y="1168612"/>
                  </a:lnTo>
                  <a:lnTo>
                    <a:pt x="1026217" y="1167843"/>
                  </a:lnTo>
                  <a:lnTo>
                    <a:pt x="1027018" y="1167574"/>
                  </a:lnTo>
                  <a:lnTo>
                    <a:pt x="1027666" y="1167772"/>
                  </a:lnTo>
                  <a:lnTo>
                    <a:pt x="1029515" y="1167336"/>
                  </a:lnTo>
                  <a:lnTo>
                    <a:pt x="1030651" y="1167833"/>
                  </a:lnTo>
                  <a:lnTo>
                    <a:pt x="1031188" y="1167749"/>
                  </a:lnTo>
                  <a:lnTo>
                    <a:pt x="1031629" y="1166772"/>
                  </a:lnTo>
                  <a:lnTo>
                    <a:pt x="1032567" y="1166135"/>
                  </a:lnTo>
                  <a:lnTo>
                    <a:pt x="1033212" y="1166068"/>
                  </a:lnTo>
                  <a:lnTo>
                    <a:pt x="1033596" y="1166456"/>
                  </a:lnTo>
                  <a:lnTo>
                    <a:pt x="1033731" y="1167232"/>
                  </a:lnTo>
                  <a:lnTo>
                    <a:pt x="1031491" y="1168945"/>
                  </a:lnTo>
                  <a:lnTo>
                    <a:pt x="1030416" y="1169937"/>
                  </a:lnTo>
                  <a:lnTo>
                    <a:pt x="1029908" y="1171068"/>
                  </a:lnTo>
                  <a:lnTo>
                    <a:pt x="1030522" y="1171464"/>
                  </a:lnTo>
                  <a:lnTo>
                    <a:pt x="1031971" y="1171337"/>
                  </a:lnTo>
                  <a:lnTo>
                    <a:pt x="1033507" y="1170756"/>
                  </a:lnTo>
                  <a:lnTo>
                    <a:pt x="1034376" y="1169811"/>
                  </a:lnTo>
                  <a:lnTo>
                    <a:pt x="1035001" y="1168240"/>
                  </a:lnTo>
                  <a:lnTo>
                    <a:pt x="1035802" y="1167213"/>
                  </a:lnTo>
                  <a:lnTo>
                    <a:pt x="1036539" y="1166976"/>
                  </a:lnTo>
                  <a:lnTo>
                    <a:pt x="1036948" y="1167811"/>
                  </a:lnTo>
                  <a:lnTo>
                    <a:pt x="1037538" y="1168320"/>
                  </a:lnTo>
                  <a:lnTo>
                    <a:pt x="1038743" y="1168338"/>
                  </a:lnTo>
                  <a:lnTo>
                    <a:pt x="1039930" y="1167848"/>
                  </a:lnTo>
                  <a:lnTo>
                    <a:pt x="1040474" y="1166824"/>
                  </a:lnTo>
                  <a:lnTo>
                    <a:pt x="1041682" y="1165966"/>
                  </a:lnTo>
                  <a:lnTo>
                    <a:pt x="1042723" y="1166134"/>
                  </a:lnTo>
                  <a:lnTo>
                    <a:pt x="1044288" y="1167354"/>
                  </a:lnTo>
                  <a:lnTo>
                    <a:pt x="1043244" y="1167617"/>
                  </a:lnTo>
                  <a:lnTo>
                    <a:pt x="1042004" y="1167586"/>
                  </a:lnTo>
                  <a:lnTo>
                    <a:pt x="1040616" y="1167988"/>
                  </a:lnTo>
                  <a:lnTo>
                    <a:pt x="1039146" y="1169533"/>
                  </a:lnTo>
                  <a:lnTo>
                    <a:pt x="1038327" y="1171514"/>
                  </a:lnTo>
                  <a:lnTo>
                    <a:pt x="1038447" y="1172852"/>
                  </a:lnTo>
                  <a:lnTo>
                    <a:pt x="1039253" y="1173177"/>
                  </a:lnTo>
                  <a:lnTo>
                    <a:pt x="1040504" y="1172089"/>
                  </a:lnTo>
                  <a:lnTo>
                    <a:pt x="1039566" y="1170727"/>
                  </a:lnTo>
                  <a:lnTo>
                    <a:pt x="1040878" y="1169941"/>
                  </a:lnTo>
                  <a:lnTo>
                    <a:pt x="1041674" y="1170255"/>
                  </a:lnTo>
                  <a:lnTo>
                    <a:pt x="1042802" y="1171713"/>
                  </a:lnTo>
                  <a:lnTo>
                    <a:pt x="1043398" y="1171781"/>
                  </a:lnTo>
                  <a:lnTo>
                    <a:pt x="1044173" y="1171471"/>
                  </a:lnTo>
                  <a:lnTo>
                    <a:pt x="1044875" y="1170775"/>
                  </a:lnTo>
                  <a:lnTo>
                    <a:pt x="1045253" y="1169673"/>
                  </a:lnTo>
                  <a:lnTo>
                    <a:pt x="1046173" y="1169662"/>
                  </a:lnTo>
                  <a:lnTo>
                    <a:pt x="1045457" y="1173170"/>
                  </a:lnTo>
                  <a:lnTo>
                    <a:pt x="1046641" y="1173196"/>
                  </a:lnTo>
                  <a:lnTo>
                    <a:pt x="1045315" y="1175016"/>
                  </a:lnTo>
                  <a:lnTo>
                    <a:pt x="1044849" y="1176024"/>
                  </a:lnTo>
                  <a:lnTo>
                    <a:pt x="1045062" y="1176582"/>
                  </a:lnTo>
                  <a:lnTo>
                    <a:pt x="1045761" y="1177043"/>
                  </a:lnTo>
                  <a:lnTo>
                    <a:pt x="1043902" y="1177533"/>
                  </a:lnTo>
                  <a:lnTo>
                    <a:pt x="1043104" y="1178080"/>
                  </a:lnTo>
                  <a:lnTo>
                    <a:pt x="1043500" y="1178824"/>
                  </a:lnTo>
                  <a:lnTo>
                    <a:pt x="1045920" y="1179746"/>
                  </a:lnTo>
                  <a:lnTo>
                    <a:pt x="1046922" y="1179741"/>
                  </a:lnTo>
                  <a:lnTo>
                    <a:pt x="1049230" y="1179112"/>
                  </a:lnTo>
                  <a:lnTo>
                    <a:pt x="1049914" y="1179494"/>
                  </a:lnTo>
                  <a:lnTo>
                    <a:pt x="1048006" y="1181097"/>
                  </a:lnTo>
                  <a:lnTo>
                    <a:pt x="1047054" y="1182036"/>
                  </a:lnTo>
                  <a:lnTo>
                    <a:pt x="1046282" y="1183056"/>
                  </a:lnTo>
                  <a:lnTo>
                    <a:pt x="1046034" y="1184032"/>
                  </a:lnTo>
                  <a:lnTo>
                    <a:pt x="1046949" y="1183777"/>
                  </a:lnTo>
                  <a:lnTo>
                    <a:pt x="1048220" y="1182998"/>
                  </a:lnTo>
                  <a:lnTo>
                    <a:pt x="1051732" y="1180233"/>
                  </a:lnTo>
                  <a:lnTo>
                    <a:pt x="1052261" y="1180003"/>
                  </a:lnTo>
                  <a:lnTo>
                    <a:pt x="1052584" y="1180618"/>
                  </a:lnTo>
                  <a:lnTo>
                    <a:pt x="1052215" y="1181486"/>
                  </a:lnTo>
                  <a:lnTo>
                    <a:pt x="1051387" y="1182416"/>
                  </a:lnTo>
                  <a:lnTo>
                    <a:pt x="1050329" y="1183211"/>
                  </a:lnTo>
                  <a:lnTo>
                    <a:pt x="1051914" y="1183639"/>
                  </a:lnTo>
                  <a:lnTo>
                    <a:pt x="1055530" y="1183350"/>
                  </a:lnTo>
                  <a:lnTo>
                    <a:pt x="1056283" y="1183651"/>
                  </a:lnTo>
                  <a:lnTo>
                    <a:pt x="1056655" y="1184397"/>
                  </a:lnTo>
                  <a:lnTo>
                    <a:pt x="1054494" y="1185025"/>
                  </a:lnTo>
                  <a:lnTo>
                    <a:pt x="1053495" y="1185534"/>
                  </a:lnTo>
                  <a:lnTo>
                    <a:pt x="1053601" y="1186078"/>
                  </a:lnTo>
                  <a:lnTo>
                    <a:pt x="1055486" y="1186573"/>
                  </a:lnTo>
                  <a:lnTo>
                    <a:pt x="1057465" y="1186521"/>
                  </a:lnTo>
                  <a:lnTo>
                    <a:pt x="1057565" y="1186124"/>
                  </a:lnTo>
                  <a:lnTo>
                    <a:pt x="1057673" y="1185825"/>
                  </a:lnTo>
                  <a:lnTo>
                    <a:pt x="1057959" y="1185158"/>
                  </a:lnTo>
                  <a:lnTo>
                    <a:pt x="1059157" y="1185017"/>
                  </a:lnTo>
                  <a:lnTo>
                    <a:pt x="1059503" y="1185110"/>
                  </a:lnTo>
                  <a:lnTo>
                    <a:pt x="1060866" y="1182394"/>
                  </a:lnTo>
                  <a:lnTo>
                    <a:pt x="1062534" y="1180912"/>
                  </a:lnTo>
                  <a:lnTo>
                    <a:pt x="1065889" y="1179261"/>
                  </a:lnTo>
                  <a:lnTo>
                    <a:pt x="1065972" y="1178487"/>
                  </a:lnTo>
                  <a:lnTo>
                    <a:pt x="1065905" y="1177890"/>
                  </a:lnTo>
                  <a:lnTo>
                    <a:pt x="1065704" y="1177447"/>
                  </a:lnTo>
                  <a:lnTo>
                    <a:pt x="1065388" y="1177159"/>
                  </a:lnTo>
                  <a:lnTo>
                    <a:pt x="1065772" y="1176513"/>
                  </a:lnTo>
                  <a:lnTo>
                    <a:pt x="1066243" y="1176845"/>
                  </a:lnTo>
                  <a:lnTo>
                    <a:pt x="1066852" y="1176604"/>
                  </a:lnTo>
                  <a:lnTo>
                    <a:pt x="1067600" y="1175962"/>
                  </a:lnTo>
                  <a:lnTo>
                    <a:pt x="1068485" y="1175100"/>
                  </a:lnTo>
                  <a:lnTo>
                    <a:pt x="1069059" y="1174968"/>
                  </a:lnTo>
                  <a:lnTo>
                    <a:pt x="1069986" y="1176065"/>
                  </a:lnTo>
                  <a:lnTo>
                    <a:pt x="1070780" y="1175956"/>
                  </a:lnTo>
                  <a:lnTo>
                    <a:pt x="1070951" y="1174298"/>
                  </a:lnTo>
                  <a:lnTo>
                    <a:pt x="1072034" y="1173302"/>
                  </a:lnTo>
                  <a:lnTo>
                    <a:pt x="1073433" y="1172892"/>
                  </a:lnTo>
                  <a:lnTo>
                    <a:pt x="1074530" y="1173000"/>
                  </a:lnTo>
                  <a:lnTo>
                    <a:pt x="1074184" y="1173586"/>
                  </a:lnTo>
                  <a:lnTo>
                    <a:pt x="1073987" y="1173472"/>
                  </a:lnTo>
                  <a:lnTo>
                    <a:pt x="1073605" y="1174119"/>
                  </a:lnTo>
                  <a:lnTo>
                    <a:pt x="1074295" y="1174378"/>
                  </a:lnTo>
                  <a:lnTo>
                    <a:pt x="1074307" y="1175207"/>
                  </a:lnTo>
                  <a:lnTo>
                    <a:pt x="1073697" y="1176435"/>
                  </a:lnTo>
                  <a:lnTo>
                    <a:pt x="1072508" y="1177902"/>
                  </a:lnTo>
                  <a:lnTo>
                    <a:pt x="1072983" y="1178052"/>
                  </a:lnTo>
                  <a:lnTo>
                    <a:pt x="1073319" y="1178432"/>
                  </a:lnTo>
                  <a:lnTo>
                    <a:pt x="1073441" y="1179091"/>
                  </a:lnTo>
                  <a:lnTo>
                    <a:pt x="1073283" y="1180080"/>
                  </a:lnTo>
                  <a:lnTo>
                    <a:pt x="1072959" y="1181194"/>
                  </a:lnTo>
                  <a:lnTo>
                    <a:pt x="1072973" y="1181552"/>
                  </a:lnTo>
                  <a:lnTo>
                    <a:pt x="1071318" y="1183066"/>
                  </a:lnTo>
                  <a:lnTo>
                    <a:pt x="1070634" y="1183487"/>
                  </a:lnTo>
                  <a:lnTo>
                    <a:pt x="1070115" y="1183446"/>
                  </a:lnTo>
                  <a:lnTo>
                    <a:pt x="1070780" y="1184495"/>
                  </a:lnTo>
                  <a:lnTo>
                    <a:pt x="1072950" y="1185069"/>
                  </a:lnTo>
                  <a:lnTo>
                    <a:pt x="1073501" y="1186186"/>
                  </a:lnTo>
                  <a:lnTo>
                    <a:pt x="1072852" y="1186757"/>
                  </a:lnTo>
                  <a:lnTo>
                    <a:pt x="1073096" y="1187625"/>
                  </a:lnTo>
                  <a:lnTo>
                    <a:pt x="1074511" y="1187783"/>
                  </a:lnTo>
                  <a:lnTo>
                    <a:pt x="1074646" y="1188654"/>
                  </a:lnTo>
                  <a:lnTo>
                    <a:pt x="1073391" y="1189500"/>
                  </a:lnTo>
                  <a:lnTo>
                    <a:pt x="1072384" y="1189939"/>
                  </a:lnTo>
                  <a:lnTo>
                    <a:pt x="1071600" y="1190618"/>
                  </a:lnTo>
                  <a:lnTo>
                    <a:pt x="1070989" y="1192216"/>
                  </a:lnTo>
                  <a:lnTo>
                    <a:pt x="1071101" y="1193750"/>
                  </a:lnTo>
                  <a:lnTo>
                    <a:pt x="1072435" y="1192716"/>
                  </a:lnTo>
                  <a:lnTo>
                    <a:pt x="1074058" y="1191007"/>
                  </a:lnTo>
                  <a:lnTo>
                    <a:pt x="1075034" y="1190531"/>
                  </a:lnTo>
                  <a:lnTo>
                    <a:pt x="1074758" y="1191996"/>
                  </a:lnTo>
                  <a:lnTo>
                    <a:pt x="1073456" y="1193858"/>
                  </a:lnTo>
                  <a:lnTo>
                    <a:pt x="1071868" y="1195525"/>
                  </a:lnTo>
                  <a:lnTo>
                    <a:pt x="1070735" y="1196391"/>
                  </a:lnTo>
                  <a:lnTo>
                    <a:pt x="1069369" y="1197056"/>
                  </a:lnTo>
                  <a:lnTo>
                    <a:pt x="1068787" y="1197218"/>
                  </a:lnTo>
                  <a:lnTo>
                    <a:pt x="1068263" y="1197102"/>
                  </a:lnTo>
                  <a:lnTo>
                    <a:pt x="1067173" y="1196414"/>
                  </a:lnTo>
                  <a:lnTo>
                    <a:pt x="1066462" y="1196269"/>
                  </a:lnTo>
                  <a:lnTo>
                    <a:pt x="1065651" y="1196545"/>
                  </a:lnTo>
                  <a:lnTo>
                    <a:pt x="1066766" y="1198146"/>
                  </a:lnTo>
                  <a:lnTo>
                    <a:pt x="1066880" y="1198985"/>
                  </a:lnTo>
                  <a:lnTo>
                    <a:pt x="1065698" y="1199482"/>
                  </a:lnTo>
                  <a:lnTo>
                    <a:pt x="1063536" y="1199693"/>
                  </a:lnTo>
                  <a:lnTo>
                    <a:pt x="1061351" y="1200768"/>
                  </a:lnTo>
                  <a:lnTo>
                    <a:pt x="1056773" y="1200489"/>
                  </a:lnTo>
                  <a:lnTo>
                    <a:pt x="1054399" y="1201223"/>
                  </a:lnTo>
                  <a:lnTo>
                    <a:pt x="1038103" y="1202771"/>
                  </a:lnTo>
                  <a:lnTo>
                    <a:pt x="1034873" y="1202069"/>
                  </a:lnTo>
                  <a:lnTo>
                    <a:pt x="1031401" y="1202494"/>
                  </a:lnTo>
                  <a:lnTo>
                    <a:pt x="1030369" y="1202107"/>
                  </a:lnTo>
                  <a:lnTo>
                    <a:pt x="1030918" y="1200934"/>
                  </a:lnTo>
                  <a:lnTo>
                    <a:pt x="1030275" y="1200714"/>
                  </a:lnTo>
                  <a:lnTo>
                    <a:pt x="1029097" y="1201047"/>
                  </a:lnTo>
                  <a:lnTo>
                    <a:pt x="1028043" y="1201525"/>
                  </a:lnTo>
                  <a:lnTo>
                    <a:pt x="1025484" y="1203128"/>
                  </a:lnTo>
                  <a:lnTo>
                    <a:pt x="1024462" y="1203490"/>
                  </a:lnTo>
                  <a:lnTo>
                    <a:pt x="1023021" y="1203117"/>
                  </a:lnTo>
                  <a:lnTo>
                    <a:pt x="1022530" y="1203247"/>
                  </a:lnTo>
                  <a:lnTo>
                    <a:pt x="1021960" y="1203579"/>
                  </a:lnTo>
                  <a:lnTo>
                    <a:pt x="1021249" y="1204119"/>
                  </a:lnTo>
                  <a:lnTo>
                    <a:pt x="1019896" y="1202881"/>
                  </a:lnTo>
                  <a:lnTo>
                    <a:pt x="1019448" y="1203015"/>
                  </a:lnTo>
                  <a:lnTo>
                    <a:pt x="1018096" y="1204011"/>
                  </a:lnTo>
                  <a:lnTo>
                    <a:pt x="1017094" y="1204319"/>
                  </a:lnTo>
                  <a:lnTo>
                    <a:pt x="1016608" y="1205077"/>
                  </a:lnTo>
                  <a:lnTo>
                    <a:pt x="1016312" y="1205838"/>
                  </a:lnTo>
                  <a:lnTo>
                    <a:pt x="1016355" y="1206004"/>
                  </a:lnTo>
                  <a:lnTo>
                    <a:pt x="1015102" y="1207539"/>
                  </a:lnTo>
                  <a:lnTo>
                    <a:pt x="1014257" y="1208410"/>
                  </a:lnTo>
                  <a:lnTo>
                    <a:pt x="1013489" y="1208812"/>
                  </a:lnTo>
                  <a:lnTo>
                    <a:pt x="1010026" y="1208768"/>
                  </a:lnTo>
                  <a:lnTo>
                    <a:pt x="1006375" y="1207519"/>
                  </a:lnTo>
                  <a:lnTo>
                    <a:pt x="1005370" y="1207808"/>
                  </a:lnTo>
                  <a:lnTo>
                    <a:pt x="1003625" y="1209620"/>
                  </a:lnTo>
                  <a:lnTo>
                    <a:pt x="1001277" y="1211173"/>
                  </a:lnTo>
                  <a:lnTo>
                    <a:pt x="1000223" y="1212168"/>
                  </a:lnTo>
                  <a:lnTo>
                    <a:pt x="1000071" y="1212954"/>
                  </a:lnTo>
                  <a:lnTo>
                    <a:pt x="999429" y="1213393"/>
                  </a:lnTo>
                  <a:lnTo>
                    <a:pt x="998197" y="1213501"/>
                  </a:lnTo>
                  <a:lnTo>
                    <a:pt x="996693" y="1214177"/>
                  </a:lnTo>
                  <a:lnTo>
                    <a:pt x="995682" y="1214465"/>
                  </a:lnTo>
                  <a:lnTo>
                    <a:pt x="994764" y="1215129"/>
                  </a:lnTo>
                  <a:lnTo>
                    <a:pt x="994064" y="1215329"/>
                  </a:lnTo>
                  <a:lnTo>
                    <a:pt x="994037" y="1212883"/>
                  </a:lnTo>
                  <a:lnTo>
                    <a:pt x="993265" y="1211493"/>
                  </a:lnTo>
                  <a:lnTo>
                    <a:pt x="993132" y="1210434"/>
                  </a:lnTo>
                  <a:lnTo>
                    <a:pt x="993387" y="1209232"/>
                  </a:lnTo>
                  <a:lnTo>
                    <a:pt x="993800" y="1208655"/>
                  </a:lnTo>
                  <a:lnTo>
                    <a:pt x="994300" y="1208158"/>
                  </a:lnTo>
                  <a:lnTo>
                    <a:pt x="994830" y="1207144"/>
                  </a:lnTo>
                  <a:lnTo>
                    <a:pt x="995113" y="1205949"/>
                  </a:lnTo>
                  <a:lnTo>
                    <a:pt x="994739" y="1205863"/>
                  </a:lnTo>
                  <a:lnTo>
                    <a:pt x="994021" y="1206197"/>
                  </a:lnTo>
                  <a:lnTo>
                    <a:pt x="993283" y="1206203"/>
                  </a:lnTo>
                  <a:lnTo>
                    <a:pt x="990883" y="1204347"/>
                  </a:lnTo>
                  <a:lnTo>
                    <a:pt x="989904" y="1204583"/>
                  </a:lnTo>
                  <a:lnTo>
                    <a:pt x="987644" y="1205736"/>
                  </a:lnTo>
                  <a:lnTo>
                    <a:pt x="985966" y="1205543"/>
                  </a:lnTo>
                  <a:lnTo>
                    <a:pt x="983348" y="1203653"/>
                  </a:lnTo>
                  <a:lnTo>
                    <a:pt x="983110" y="1204295"/>
                  </a:lnTo>
                  <a:lnTo>
                    <a:pt x="982401" y="1205909"/>
                  </a:lnTo>
                  <a:lnTo>
                    <a:pt x="982162" y="1206529"/>
                  </a:lnTo>
                  <a:lnTo>
                    <a:pt x="980168" y="1205303"/>
                  </a:lnTo>
                  <a:lnTo>
                    <a:pt x="980013" y="1204944"/>
                  </a:lnTo>
                  <a:lnTo>
                    <a:pt x="980247" y="1203874"/>
                  </a:lnTo>
                  <a:lnTo>
                    <a:pt x="980120" y="1203433"/>
                  </a:lnTo>
                  <a:lnTo>
                    <a:pt x="979366" y="1203199"/>
                  </a:lnTo>
                  <a:lnTo>
                    <a:pt x="977210" y="1203721"/>
                  </a:lnTo>
                  <a:lnTo>
                    <a:pt x="976297" y="1203714"/>
                  </a:lnTo>
                  <a:lnTo>
                    <a:pt x="975988" y="1203455"/>
                  </a:lnTo>
                  <a:lnTo>
                    <a:pt x="975614" y="1202628"/>
                  </a:lnTo>
                  <a:lnTo>
                    <a:pt x="975345" y="1202325"/>
                  </a:lnTo>
                  <a:lnTo>
                    <a:pt x="974968" y="1202218"/>
                  </a:lnTo>
                  <a:lnTo>
                    <a:pt x="974150" y="1202270"/>
                  </a:lnTo>
                  <a:lnTo>
                    <a:pt x="973748" y="1202136"/>
                  </a:lnTo>
                  <a:lnTo>
                    <a:pt x="971362" y="1199855"/>
                  </a:lnTo>
                  <a:lnTo>
                    <a:pt x="971206" y="1200506"/>
                  </a:lnTo>
                  <a:lnTo>
                    <a:pt x="970912" y="1201410"/>
                  </a:lnTo>
                  <a:lnTo>
                    <a:pt x="970467" y="1202387"/>
                  </a:lnTo>
                  <a:lnTo>
                    <a:pt x="969854" y="1203261"/>
                  </a:lnTo>
                  <a:lnTo>
                    <a:pt x="969049" y="1203867"/>
                  </a:lnTo>
                  <a:lnTo>
                    <a:pt x="968955" y="1203303"/>
                  </a:lnTo>
                  <a:lnTo>
                    <a:pt x="969325" y="1201155"/>
                  </a:lnTo>
                  <a:lnTo>
                    <a:pt x="968921" y="1199569"/>
                  </a:lnTo>
                  <a:lnTo>
                    <a:pt x="967981" y="1198766"/>
                  </a:lnTo>
                  <a:lnTo>
                    <a:pt x="965167" y="1198561"/>
                  </a:lnTo>
                  <a:lnTo>
                    <a:pt x="961712" y="1199150"/>
                  </a:lnTo>
                  <a:lnTo>
                    <a:pt x="960860" y="1198875"/>
                  </a:lnTo>
                  <a:lnTo>
                    <a:pt x="959660" y="1197682"/>
                  </a:lnTo>
                  <a:lnTo>
                    <a:pt x="958850" y="1197353"/>
                  </a:lnTo>
                  <a:lnTo>
                    <a:pt x="957354" y="1197624"/>
                  </a:lnTo>
                  <a:lnTo>
                    <a:pt x="952574" y="1200503"/>
                  </a:lnTo>
                  <a:lnTo>
                    <a:pt x="952850" y="1201714"/>
                  </a:lnTo>
                  <a:lnTo>
                    <a:pt x="952571" y="1202741"/>
                  </a:lnTo>
                  <a:lnTo>
                    <a:pt x="951874" y="1203286"/>
                  </a:lnTo>
                  <a:lnTo>
                    <a:pt x="950127" y="1203068"/>
                  </a:lnTo>
                  <a:lnTo>
                    <a:pt x="949294" y="1203691"/>
                  </a:lnTo>
                  <a:lnTo>
                    <a:pt x="948661" y="1204722"/>
                  </a:lnTo>
                  <a:lnTo>
                    <a:pt x="948494" y="1205920"/>
                  </a:lnTo>
                  <a:lnTo>
                    <a:pt x="947682" y="1205380"/>
                  </a:lnTo>
                  <a:lnTo>
                    <a:pt x="947194" y="1205321"/>
                  </a:lnTo>
                  <a:lnTo>
                    <a:pt x="946532" y="1205570"/>
                  </a:lnTo>
                  <a:lnTo>
                    <a:pt x="946977" y="1208378"/>
                  </a:lnTo>
                  <a:lnTo>
                    <a:pt x="946871" y="1209424"/>
                  </a:lnTo>
                  <a:lnTo>
                    <a:pt x="944260" y="1210974"/>
                  </a:lnTo>
                  <a:lnTo>
                    <a:pt x="934443" y="1210711"/>
                  </a:lnTo>
                  <a:lnTo>
                    <a:pt x="933568" y="1211221"/>
                  </a:lnTo>
                  <a:lnTo>
                    <a:pt x="933092" y="1212389"/>
                  </a:lnTo>
                  <a:lnTo>
                    <a:pt x="932176" y="1215592"/>
                  </a:lnTo>
                  <a:lnTo>
                    <a:pt x="931636" y="1216677"/>
                  </a:lnTo>
                  <a:lnTo>
                    <a:pt x="930792" y="1217069"/>
                  </a:lnTo>
                  <a:lnTo>
                    <a:pt x="930682" y="1215931"/>
                  </a:lnTo>
                  <a:lnTo>
                    <a:pt x="931063" y="1214167"/>
                  </a:lnTo>
                  <a:lnTo>
                    <a:pt x="931686" y="1212699"/>
                  </a:lnTo>
                  <a:lnTo>
                    <a:pt x="932017" y="1212001"/>
                  </a:lnTo>
                  <a:lnTo>
                    <a:pt x="932300" y="1211150"/>
                  </a:lnTo>
                  <a:lnTo>
                    <a:pt x="932468" y="1210424"/>
                  </a:lnTo>
                  <a:lnTo>
                    <a:pt x="932471" y="1210076"/>
                  </a:lnTo>
                  <a:lnTo>
                    <a:pt x="930525" y="1209726"/>
                  </a:lnTo>
                  <a:lnTo>
                    <a:pt x="929637" y="1210578"/>
                  </a:lnTo>
                  <a:lnTo>
                    <a:pt x="929046" y="1211556"/>
                  </a:lnTo>
                  <a:lnTo>
                    <a:pt x="928430" y="1212794"/>
                  </a:lnTo>
                  <a:lnTo>
                    <a:pt x="927463" y="1214463"/>
                  </a:lnTo>
                  <a:lnTo>
                    <a:pt x="926724" y="1214766"/>
                  </a:lnTo>
                  <a:lnTo>
                    <a:pt x="925717" y="1214676"/>
                  </a:lnTo>
                  <a:lnTo>
                    <a:pt x="924789" y="1214975"/>
                  </a:lnTo>
                  <a:lnTo>
                    <a:pt x="924281" y="1216448"/>
                  </a:lnTo>
                  <a:lnTo>
                    <a:pt x="923151" y="1217745"/>
                  </a:lnTo>
                  <a:lnTo>
                    <a:pt x="921075" y="1220688"/>
                  </a:lnTo>
                  <a:lnTo>
                    <a:pt x="919889" y="1221743"/>
                  </a:lnTo>
                  <a:lnTo>
                    <a:pt x="921546" y="1218655"/>
                  </a:lnTo>
                  <a:lnTo>
                    <a:pt x="923809" y="1215002"/>
                  </a:lnTo>
                  <a:lnTo>
                    <a:pt x="925683" y="1211462"/>
                  </a:lnTo>
                  <a:lnTo>
                    <a:pt x="926171" y="1208726"/>
                  </a:lnTo>
                  <a:lnTo>
                    <a:pt x="925820" y="1208154"/>
                  </a:lnTo>
                  <a:lnTo>
                    <a:pt x="925167" y="1207639"/>
                  </a:lnTo>
                  <a:lnTo>
                    <a:pt x="923737" y="1207162"/>
                  </a:lnTo>
                  <a:lnTo>
                    <a:pt x="923006" y="1207459"/>
                  </a:lnTo>
                  <a:lnTo>
                    <a:pt x="921149" y="1208581"/>
                  </a:lnTo>
                  <a:lnTo>
                    <a:pt x="920545" y="1208688"/>
                  </a:lnTo>
                  <a:lnTo>
                    <a:pt x="918882" y="1207695"/>
                  </a:lnTo>
                  <a:lnTo>
                    <a:pt x="916833" y="1207183"/>
                  </a:lnTo>
                  <a:lnTo>
                    <a:pt x="915591" y="1209025"/>
                  </a:lnTo>
                  <a:lnTo>
                    <a:pt x="914378" y="1209170"/>
                  </a:lnTo>
                  <a:lnTo>
                    <a:pt x="913064" y="1209039"/>
                  </a:lnTo>
                  <a:lnTo>
                    <a:pt x="911537" y="1210020"/>
                  </a:lnTo>
                  <a:lnTo>
                    <a:pt x="911942" y="1210837"/>
                  </a:lnTo>
                  <a:lnTo>
                    <a:pt x="910683" y="1212221"/>
                  </a:lnTo>
                  <a:lnTo>
                    <a:pt x="907253" y="1214857"/>
                  </a:lnTo>
                  <a:lnTo>
                    <a:pt x="906518" y="1215202"/>
                  </a:lnTo>
                  <a:lnTo>
                    <a:pt x="905685" y="1215420"/>
                  </a:lnTo>
                  <a:lnTo>
                    <a:pt x="904855" y="1215886"/>
                  </a:lnTo>
                  <a:lnTo>
                    <a:pt x="904139" y="1216949"/>
                  </a:lnTo>
                  <a:lnTo>
                    <a:pt x="904124" y="1217890"/>
                  </a:lnTo>
                  <a:lnTo>
                    <a:pt x="904764" y="1218493"/>
                  </a:lnTo>
                  <a:lnTo>
                    <a:pt x="906210" y="1219110"/>
                  </a:lnTo>
                  <a:lnTo>
                    <a:pt x="905294" y="1219493"/>
                  </a:lnTo>
                  <a:lnTo>
                    <a:pt x="903487" y="1219875"/>
                  </a:lnTo>
                  <a:lnTo>
                    <a:pt x="902534" y="1220394"/>
                  </a:lnTo>
                  <a:lnTo>
                    <a:pt x="901826" y="1221073"/>
                  </a:lnTo>
                  <a:lnTo>
                    <a:pt x="899600" y="1223864"/>
                  </a:lnTo>
                  <a:lnTo>
                    <a:pt x="899406" y="1224903"/>
                  </a:lnTo>
                  <a:lnTo>
                    <a:pt x="898827" y="1226402"/>
                  </a:lnTo>
                  <a:lnTo>
                    <a:pt x="898072" y="1227969"/>
                  </a:lnTo>
                  <a:lnTo>
                    <a:pt x="897355" y="1229213"/>
                  </a:lnTo>
                  <a:lnTo>
                    <a:pt x="896425" y="1229860"/>
                  </a:lnTo>
                  <a:lnTo>
                    <a:pt x="895912" y="1229110"/>
                  </a:lnTo>
                  <a:lnTo>
                    <a:pt x="896260" y="1227476"/>
                  </a:lnTo>
                  <a:lnTo>
                    <a:pt x="897920" y="1225461"/>
                  </a:lnTo>
                  <a:lnTo>
                    <a:pt x="897920" y="1224921"/>
                  </a:lnTo>
                  <a:lnTo>
                    <a:pt x="898273" y="1223001"/>
                  </a:lnTo>
                  <a:lnTo>
                    <a:pt x="900054" y="1221712"/>
                  </a:lnTo>
                  <a:lnTo>
                    <a:pt x="900873" y="1220865"/>
                  </a:lnTo>
                  <a:lnTo>
                    <a:pt x="901203" y="1219979"/>
                  </a:lnTo>
                  <a:lnTo>
                    <a:pt x="900789" y="1219602"/>
                  </a:lnTo>
                  <a:lnTo>
                    <a:pt x="898794" y="1220865"/>
                  </a:lnTo>
                  <a:lnTo>
                    <a:pt x="897973" y="1221009"/>
                  </a:lnTo>
                  <a:lnTo>
                    <a:pt x="896571" y="1220439"/>
                  </a:lnTo>
                  <a:lnTo>
                    <a:pt x="896227" y="1219871"/>
                  </a:lnTo>
                  <a:lnTo>
                    <a:pt x="895634" y="1217536"/>
                  </a:lnTo>
                  <a:lnTo>
                    <a:pt x="895066" y="1217239"/>
                  </a:lnTo>
                  <a:lnTo>
                    <a:pt x="894764" y="1217428"/>
                  </a:lnTo>
                  <a:lnTo>
                    <a:pt x="894382" y="1217852"/>
                  </a:lnTo>
                  <a:lnTo>
                    <a:pt x="893988" y="1218339"/>
                  </a:lnTo>
                  <a:lnTo>
                    <a:pt x="893656" y="1218695"/>
                  </a:lnTo>
                  <a:lnTo>
                    <a:pt x="893120" y="1218896"/>
                  </a:lnTo>
                  <a:lnTo>
                    <a:pt x="892670" y="1218713"/>
                  </a:lnTo>
                  <a:lnTo>
                    <a:pt x="891989" y="1218086"/>
                  </a:lnTo>
                  <a:lnTo>
                    <a:pt x="891470" y="1217895"/>
                  </a:lnTo>
                  <a:lnTo>
                    <a:pt x="890644" y="1217879"/>
                  </a:lnTo>
                  <a:lnTo>
                    <a:pt x="889698" y="1218212"/>
                  </a:lnTo>
                  <a:lnTo>
                    <a:pt x="888800" y="1219102"/>
                  </a:lnTo>
                  <a:lnTo>
                    <a:pt x="888430" y="1219578"/>
                  </a:lnTo>
                  <a:lnTo>
                    <a:pt x="887778" y="1220216"/>
                  </a:lnTo>
                  <a:lnTo>
                    <a:pt x="887502" y="1220534"/>
                  </a:lnTo>
                  <a:lnTo>
                    <a:pt x="887227" y="1221093"/>
                  </a:lnTo>
                  <a:lnTo>
                    <a:pt x="886822" y="1222388"/>
                  </a:lnTo>
                  <a:lnTo>
                    <a:pt x="886696" y="1222707"/>
                  </a:lnTo>
                  <a:lnTo>
                    <a:pt x="885818" y="1223498"/>
                  </a:lnTo>
                  <a:lnTo>
                    <a:pt x="885256" y="1223643"/>
                  </a:lnTo>
                  <a:lnTo>
                    <a:pt x="884720" y="1223544"/>
                  </a:lnTo>
                  <a:lnTo>
                    <a:pt x="883921" y="1223587"/>
                  </a:lnTo>
                  <a:lnTo>
                    <a:pt x="883833" y="1224397"/>
                  </a:lnTo>
                  <a:lnTo>
                    <a:pt x="884007" y="1226334"/>
                  </a:lnTo>
                  <a:lnTo>
                    <a:pt x="881749" y="1228402"/>
                  </a:lnTo>
                  <a:lnTo>
                    <a:pt x="881041" y="1228886"/>
                  </a:lnTo>
                  <a:lnTo>
                    <a:pt x="880144" y="1229213"/>
                  </a:lnTo>
                  <a:lnTo>
                    <a:pt x="878649" y="1229216"/>
                  </a:lnTo>
                  <a:lnTo>
                    <a:pt x="877778" y="1229443"/>
                  </a:lnTo>
                  <a:lnTo>
                    <a:pt x="875910" y="1230628"/>
                  </a:lnTo>
                  <a:lnTo>
                    <a:pt x="875022" y="1231009"/>
                  </a:lnTo>
                  <a:lnTo>
                    <a:pt x="874314" y="1230767"/>
                  </a:lnTo>
                  <a:lnTo>
                    <a:pt x="873999" y="1230221"/>
                  </a:lnTo>
                  <a:lnTo>
                    <a:pt x="873858" y="1229419"/>
                  </a:lnTo>
                  <a:lnTo>
                    <a:pt x="873976" y="1228417"/>
                  </a:lnTo>
                  <a:lnTo>
                    <a:pt x="874449" y="1227247"/>
                  </a:lnTo>
                  <a:lnTo>
                    <a:pt x="875400" y="1227601"/>
                  </a:lnTo>
                  <a:lnTo>
                    <a:pt x="876391" y="1227160"/>
                  </a:lnTo>
                  <a:lnTo>
                    <a:pt x="876826" y="1226368"/>
                  </a:lnTo>
                  <a:lnTo>
                    <a:pt x="876126" y="1225647"/>
                  </a:lnTo>
                  <a:lnTo>
                    <a:pt x="872214" y="1225768"/>
                  </a:lnTo>
                  <a:lnTo>
                    <a:pt x="871758" y="1226998"/>
                  </a:lnTo>
                  <a:lnTo>
                    <a:pt x="871435" y="1228086"/>
                  </a:lnTo>
                  <a:lnTo>
                    <a:pt x="871304" y="1229036"/>
                  </a:lnTo>
                  <a:lnTo>
                    <a:pt x="871436" y="1229849"/>
                  </a:lnTo>
                  <a:lnTo>
                    <a:pt x="870081" y="1230001"/>
                  </a:lnTo>
                  <a:lnTo>
                    <a:pt x="869235" y="1229597"/>
                  </a:lnTo>
                  <a:lnTo>
                    <a:pt x="868420" y="1229960"/>
                  </a:lnTo>
                  <a:lnTo>
                    <a:pt x="867157" y="1232424"/>
                  </a:lnTo>
                  <a:lnTo>
                    <a:pt x="866665" y="1234098"/>
                  </a:lnTo>
                  <a:lnTo>
                    <a:pt x="866590" y="1235532"/>
                  </a:lnTo>
                  <a:lnTo>
                    <a:pt x="867081" y="1237786"/>
                  </a:lnTo>
                  <a:lnTo>
                    <a:pt x="868494" y="1240524"/>
                  </a:lnTo>
                  <a:lnTo>
                    <a:pt x="868548" y="1241300"/>
                  </a:lnTo>
                  <a:lnTo>
                    <a:pt x="868496" y="1242168"/>
                  </a:lnTo>
                  <a:lnTo>
                    <a:pt x="868561" y="1242951"/>
                  </a:lnTo>
                  <a:lnTo>
                    <a:pt x="870383" y="1245082"/>
                  </a:lnTo>
                  <a:lnTo>
                    <a:pt x="870662" y="1246343"/>
                  </a:lnTo>
                  <a:lnTo>
                    <a:pt x="869852" y="1247720"/>
                  </a:lnTo>
                  <a:lnTo>
                    <a:pt x="871015" y="1248472"/>
                  </a:lnTo>
                  <a:lnTo>
                    <a:pt x="873290" y="1252743"/>
                  </a:lnTo>
                  <a:lnTo>
                    <a:pt x="877168" y="1254553"/>
                  </a:lnTo>
                  <a:lnTo>
                    <a:pt x="878019" y="1255822"/>
                  </a:lnTo>
                  <a:lnTo>
                    <a:pt x="878465" y="1255140"/>
                  </a:lnTo>
                  <a:lnTo>
                    <a:pt x="878420" y="1253432"/>
                  </a:lnTo>
                  <a:lnTo>
                    <a:pt x="877884" y="1252282"/>
                  </a:lnTo>
                  <a:lnTo>
                    <a:pt x="875894" y="1250761"/>
                  </a:lnTo>
                  <a:lnTo>
                    <a:pt x="876595" y="1252128"/>
                  </a:lnTo>
                  <a:lnTo>
                    <a:pt x="876148" y="1252809"/>
                  </a:lnTo>
                  <a:lnTo>
                    <a:pt x="872366" y="1248215"/>
                  </a:lnTo>
                  <a:lnTo>
                    <a:pt x="872543" y="1247693"/>
                  </a:lnTo>
                  <a:lnTo>
                    <a:pt x="872891" y="1247064"/>
                  </a:lnTo>
                  <a:lnTo>
                    <a:pt x="873058" y="1246221"/>
                  </a:lnTo>
                  <a:lnTo>
                    <a:pt x="872952" y="1245358"/>
                  </a:lnTo>
                  <a:lnTo>
                    <a:pt x="872730" y="1244655"/>
                  </a:lnTo>
                  <a:lnTo>
                    <a:pt x="872384" y="1244085"/>
                  </a:lnTo>
                  <a:lnTo>
                    <a:pt x="871884" y="1243655"/>
                  </a:lnTo>
                  <a:lnTo>
                    <a:pt x="871285" y="1242232"/>
                  </a:lnTo>
                  <a:lnTo>
                    <a:pt x="872044" y="1240688"/>
                  </a:lnTo>
                  <a:lnTo>
                    <a:pt x="873120" y="1239850"/>
                  </a:lnTo>
                  <a:lnTo>
                    <a:pt x="873446" y="1240590"/>
                  </a:lnTo>
                  <a:lnTo>
                    <a:pt x="873308" y="1242065"/>
                  </a:lnTo>
                  <a:lnTo>
                    <a:pt x="873548" y="1243332"/>
                  </a:lnTo>
                  <a:lnTo>
                    <a:pt x="874128" y="1244274"/>
                  </a:lnTo>
                  <a:lnTo>
                    <a:pt x="875012" y="1244805"/>
                  </a:lnTo>
                  <a:lnTo>
                    <a:pt x="875253" y="1243287"/>
                  </a:lnTo>
                  <a:lnTo>
                    <a:pt x="873927" y="1239142"/>
                  </a:lnTo>
                  <a:lnTo>
                    <a:pt x="873283" y="1238112"/>
                  </a:lnTo>
                  <a:lnTo>
                    <a:pt x="870731" y="1237816"/>
                  </a:lnTo>
                  <a:lnTo>
                    <a:pt x="870326" y="1236320"/>
                  </a:lnTo>
                  <a:lnTo>
                    <a:pt x="870776" y="1235645"/>
                  </a:lnTo>
                  <a:lnTo>
                    <a:pt x="871010" y="1235676"/>
                  </a:lnTo>
                  <a:lnTo>
                    <a:pt x="871826" y="1235510"/>
                  </a:lnTo>
                  <a:lnTo>
                    <a:pt x="872068" y="1234349"/>
                  </a:lnTo>
                  <a:lnTo>
                    <a:pt x="872104" y="1233578"/>
                  </a:lnTo>
                  <a:lnTo>
                    <a:pt x="871953" y="1231911"/>
                  </a:lnTo>
                  <a:lnTo>
                    <a:pt x="872774" y="1231948"/>
                  </a:lnTo>
                  <a:lnTo>
                    <a:pt x="874813" y="1232895"/>
                  </a:lnTo>
                  <a:lnTo>
                    <a:pt x="877421" y="1232937"/>
                  </a:lnTo>
                  <a:lnTo>
                    <a:pt x="878130" y="1233279"/>
                  </a:lnTo>
                  <a:lnTo>
                    <a:pt x="878518" y="1233840"/>
                  </a:lnTo>
                  <a:lnTo>
                    <a:pt x="878735" y="1234625"/>
                  </a:lnTo>
                  <a:lnTo>
                    <a:pt x="878887" y="1236473"/>
                  </a:lnTo>
                  <a:lnTo>
                    <a:pt x="878811" y="1236980"/>
                  </a:lnTo>
                  <a:lnTo>
                    <a:pt x="878407" y="1238253"/>
                  </a:lnTo>
                  <a:lnTo>
                    <a:pt x="878311" y="1238796"/>
                  </a:lnTo>
                  <a:lnTo>
                    <a:pt x="878460" y="1239236"/>
                  </a:lnTo>
                  <a:lnTo>
                    <a:pt x="879080" y="1239781"/>
                  </a:lnTo>
                  <a:lnTo>
                    <a:pt x="879199" y="1240351"/>
                  </a:lnTo>
                  <a:lnTo>
                    <a:pt x="878595" y="1240782"/>
                  </a:lnTo>
                  <a:lnTo>
                    <a:pt x="878697" y="1241560"/>
                  </a:lnTo>
                  <a:lnTo>
                    <a:pt x="879011" y="1242050"/>
                  </a:lnTo>
                  <a:lnTo>
                    <a:pt x="879956" y="1242640"/>
                  </a:lnTo>
                  <a:lnTo>
                    <a:pt x="880393" y="1241640"/>
                  </a:lnTo>
                  <a:lnTo>
                    <a:pt x="880538" y="1241226"/>
                  </a:lnTo>
                  <a:lnTo>
                    <a:pt x="882202" y="1241232"/>
                  </a:lnTo>
                  <a:lnTo>
                    <a:pt x="883349" y="1244920"/>
                  </a:lnTo>
                  <a:lnTo>
                    <a:pt x="884426" y="1245551"/>
                  </a:lnTo>
                  <a:lnTo>
                    <a:pt x="885101" y="1242778"/>
                  </a:lnTo>
                  <a:lnTo>
                    <a:pt x="885740" y="1241049"/>
                  </a:lnTo>
                  <a:lnTo>
                    <a:pt x="886605" y="1239800"/>
                  </a:lnTo>
                  <a:lnTo>
                    <a:pt x="887637" y="1239840"/>
                  </a:lnTo>
                  <a:lnTo>
                    <a:pt x="888525" y="1241176"/>
                  </a:lnTo>
                  <a:lnTo>
                    <a:pt x="889078" y="1243008"/>
                  </a:lnTo>
                  <a:lnTo>
                    <a:pt x="889078" y="1246019"/>
                  </a:lnTo>
                  <a:lnTo>
                    <a:pt x="890200" y="1248068"/>
                  </a:lnTo>
                  <a:lnTo>
                    <a:pt x="890299" y="1251081"/>
                  </a:lnTo>
                  <a:lnTo>
                    <a:pt x="891184" y="1250884"/>
                  </a:lnTo>
                  <a:lnTo>
                    <a:pt x="891959" y="1249561"/>
                  </a:lnTo>
                  <a:lnTo>
                    <a:pt x="891757" y="1247538"/>
                  </a:lnTo>
                  <a:lnTo>
                    <a:pt x="892134" y="1246959"/>
                  </a:lnTo>
                  <a:lnTo>
                    <a:pt x="893743" y="1247240"/>
                  </a:lnTo>
                  <a:lnTo>
                    <a:pt x="898128" y="1254198"/>
                  </a:lnTo>
                  <a:lnTo>
                    <a:pt x="899153" y="1254844"/>
                  </a:lnTo>
                  <a:lnTo>
                    <a:pt x="900140" y="1254299"/>
                  </a:lnTo>
                  <a:lnTo>
                    <a:pt x="901193" y="1252840"/>
                  </a:lnTo>
                  <a:lnTo>
                    <a:pt x="901868" y="1252373"/>
                  </a:lnTo>
                  <a:lnTo>
                    <a:pt x="902443" y="1252554"/>
                  </a:lnTo>
                  <a:lnTo>
                    <a:pt x="903177" y="1253076"/>
                  </a:lnTo>
                  <a:lnTo>
                    <a:pt x="903665" y="1252818"/>
                  </a:lnTo>
                  <a:lnTo>
                    <a:pt x="904013" y="1252716"/>
                  </a:lnTo>
                  <a:lnTo>
                    <a:pt x="904872" y="1252010"/>
                  </a:lnTo>
                  <a:lnTo>
                    <a:pt x="905243" y="1251662"/>
                  </a:lnTo>
                  <a:lnTo>
                    <a:pt x="905701" y="1251120"/>
                  </a:lnTo>
                  <a:lnTo>
                    <a:pt x="904808" y="1245324"/>
                  </a:lnTo>
                  <a:lnTo>
                    <a:pt x="903810" y="1242829"/>
                  </a:lnTo>
                  <a:lnTo>
                    <a:pt x="902065" y="1243434"/>
                  </a:lnTo>
                  <a:lnTo>
                    <a:pt x="903936" y="1247394"/>
                  </a:lnTo>
                  <a:lnTo>
                    <a:pt x="902585" y="1247551"/>
                  </a:lnTo>
                  <a:lnTo>
                    <a:pt x="901888" y="1246765"/>
                  </a:lnTo>
                  <a:lnTo>
                    <a:pt x="901044" y="1244568"/>
                  </a:lnTo>
                  <a:lnTo>
                    <a:pt x="900558" y="1244165"/>
                  </a:lnTo>
                  <a:lnTo>
                    <a:pt x="899842" y="1243961"/>
                  </a:lnTo>
                  <a:lnTo>
                    <a:pt x="898946" y="1244035"/>
                  </a:lnTo>
                  <a:lnTo>
                    <a:pt x="897930" y="1244436"/>
                  </a:lnTo>
                  <a:lnTo>
                    <a:pt x="897038" y="1246500"/>
                  </a:lnTo>
                  <a:lnTo>
                    <a:pt x="895403" y="1246790"/>
                  </a:lnTo>
                  <a:lnTo>
                    <a:pt x="893741" y="1246167"/>
                  </a:lnTo>
                  <a:lnTo>
                    <a:pt x="892302" y="1244983"/>
                  </a:lnTo>
                  <a:lnTo>
                    <a:pt x="891994" y="1244271"/>
                  </a:lnTo>
                  <a:lnTo>
                    <a:pt x="892256" y="1243400"/>
                  </a:lnTo>
                  <a:lnTo>
                    <a:pt x="893513" y="1242404"/>
                  </a:lnTo>
                  <a:lnTo>
                    <a:pt x="894316" y="1242373"/>
                  </a:lnTo>
                  <a:lnTo>
                    <a:pt x="894767" y="1242974"/>
                  </a:lnTo>
                  <a:lnTo>
                    <a:pt x="895348" y="1243349"/>
                  </a:lnTo>
                  <a:lnTo>
                    <a:pt x="896531" y="1242640"/>
                  </a:lnTo>
                  <a:lnTo>
                    <a:pt x="895723" y="1241842"/>
                  </a:lnTo>
                  <a:lnTo>
                    <a:pt x="894850" y="1240232"/>
                  </a:lnTo>
                  <a:lnTo>
                    <a:pt x="894346" y="1238364"/>
                  </a:lnTo>
                  <a:lnTo>
                    <a:pt x="894643" y="1236790"/>
                  </a:lnTo>
                  <a:lnTo>
                    <a:pt x="896327" y="1235755"/>
                  </a:lnTo>
                  <a:lnTo>
                    <a:pt x="897881" y="1236792"/>
                  </a:lnTo>
                  <a:lnTo>
                    <a:pt x="900145" y="1239521"/>
                  </a:lnTo>
                  <a:lnTo>
                    <a:pt x="900445" y="1237347"/>
                  </a:lnTo>
                  <a:lnTo>
                    <a:pt x="900032" y="1235088"/>
                  </a:lnTo>
                  <a:lnTo>
                    <a:pt x="899221" y="1233188"/>
                  </a:lnTo>
                  <a:lnTo>
                    <a:pt x="898333" y="1232090"/>
                  </a:lnTo>
                  <a:lnTo>
                    <a:pt x="897980" y="1230468"/>
                  </a:lnTo>
                  <a:lnTo>
                    <a:pt x="898912" y="1227996"/>
                  </a:lnTo>
                  <a:lnTo>
                    <a:pt x="900537" y="1225941"/>
                  </a:lnTo>
                  <a:lnTo>
                    <a:pt x="902255" y="1225586"/>
                  </a:lnTo>
                  <a:lnTo>
                    <a:pt x="902644" y="1224456"/>
                  </a:lnTo>
                  <a:lnTo>
                    <a:pt x="902514" y="1223886"/>
                  </a:lnTo>
                  <a:lnTo>
                    <a:pt x="901551" y="1223335"/>
                  </a:lnTo>
                  <a:lnTo>
                    <a:pt x="902860" y="1222145"/>
                  </a:lnTo>
                  <a:lnTo>
                    <a:pt x="904208" y="1221721"/>
                  </a:lnTo>
                  <a:lnTo>
                    <a:pt x="906263" y="1221914"/>
                  </a:lnTo>
                  <a:lnTo>
                    <a:pt x="910485" y="1224639"/>
                  </a:lnTo>
                  <a:lnTo>
                    <a:pt x="911291" y="1224562"/>
                  </a:lnTo>
                  <a:lnTo>
                    <a:pt x="915433" y="1222867"/>
                  </a:lnTo>
                  <a:lnTo>
                    <a:pt x="916698" y="1222742"/>
                  </a:lnTo>
                  <a:lnTo>
                    <a:pt x="918274" y="1223523"/>
                  </a:lnTo>
                  <a:lnTo>
                    <a:pt x="919553" y="1223230"/>
                  </a:lnTo>
                  <a:lnTo>
                    <a:pt x="920696" y="1222600"/>
                  </a:lnTo>
                  <a:lnTo>
                    <a:pt x="921969" y="1221691"/>
                  </a:lnTo>
                  <a:lnTo>
                    <a:pt x="922594" y="1220995"/>
                  </a:lnTo>
                  <a:lnTo>
                    <a:pt x="923032" y="1220201"/>
                  </a:lnTo>
                  <a:lnTo>
                    <a:pt x="923269" y="1219571"/>
                  </a:lnTo>
                  <a:lnTo>
                    <a:pt x="923293" y="1219379"/>
                  </a:lnTo>
                  <a:lnTo>
                    <a:pt x="924456" y="1218192"/>
                  </a:lnTo>
                  <a:lnTo>
                    <a:pt x="926102" y="1216815"/>
                  </a:lnTo>
                  <a:lnTo>
                    <a:pt x="927194" y="1216257"/>
                  </a:lnTo>
                  <a:lnTo>
                    <a:pt x="926696" y="1217534"/>
                  </a:lnTo>
                  <a:lnTo>
                    <a:pt x="923240" y="1222040"/>
                  </a:lnTo>
                  <a:lnTo>
                    <a:pt x="922443" y="1222934"/>
                  </a:lnTo>
                  <a:lnTo>
                    <a:pt x="922181" y="1223155"/>
                  </a:lnTo>
                  <a:lnTo>
                    <a:pt x="921973" y="1223400"/>
                  </a:lnTo>
                  <a:lnTo>
                    <a:pt x="921548" y="1224058"/>
                  </a:lnTo>
                  <a:lnTo>
                    <a:pt x="921010" y="1224714"/>
                  </a:lnTo>
                  <a:lnTo>
                    <a:pt x="920727" y="1224741"/>
                  </a:lnTo>
                  <a:lnTo>
                    <a:pt x="920522" y="1224573"/>
                  </a:lnTo>
                  <a:lnTo>
                    <a:pt x="920231" y="1224642"/>
                  </a:lnTo>
                  <a:lnTo>
                    <a:pt x="919526" y="1225154"/>
                  </a:lnTo>
                  <a:lnTo>
                    <a:pt x="919055" y="1225432"/>
                  </a:lnTo>
                  <a:lnTo>
                    <a:pt x="918605" y="1225825"/>
                  </a:lnTo>
                  <a:lnTo>
                    <a:pt x="917974" y="1226682"/>
                  </a:lnTo>
                  <a:lnTo>
                    <a:pt x="921224" y="1226318"/>
                  </a:lnTo>
                  <a:lnTo>
                    <a:pt x="923285" y="1225325"/>
                  </a:lnTo>
                  <a:lnTo>
                    <a:pt x="925393" y="1222983"/>
                  </a:lnTo>
                  <a:lnTo>
                    <a:pt x="926069" y="1222054"/>
                  </a:lnTo>
                  <a:lnTo>
                    <a:pt x="928113" y="1219574"/>
                  </a:lnTo>
                  <a:lnTo>
                    <a:pt x="928804" y="1218877"/>
                  </a:lnTo>
                  <a:lnTo>
                    <a:pt x="929800" y="1218460"/>
                  </a:lnTo>
                  <a:lnTo>
                    <a:pt x="930573" y="1218622"/>
                  </a:lnTo>
                  <a:lnTo>
                    <a:pt x="930659" y="1219389"/>
                  </a:lnTo>
                  <a:lnTo>
                    <a:pt x="929638" y="1220746"/>
                  </a:lnTo>
                  <a:lnTo>
                    <a:pt x="929123" y="1221724"/>
                  </a:lnTo>
                  <a:lnTo>
                    <a:pt x="928314" y="1222038"/>
                  </a:lnTo>
                  <a:lnTo>
                    <a:pt x="927467" y="1221934"/>
                  </a:lnTo>
                  <a:lnTo>
                    <a:pt x="926849" y="1221647"/>
                  </a:lnTo>
                  <a:lnTo>
                    <a:pt x="927561" y="1223789"/>
                  </a:lnTo>
                  <a:lnTo>
                    <a:pt x="928010" y="1224250"/>
                  </a:lnTo>
                  <a:lnTo>
                    <a:pt x="928472" y="1224097"/>
                  </a:lnTo>
                  <a:lnTo>
                    <a:pt x="930779" y="1222362"/>
                  </a:lnTo>
                  <a:lnTo>
                    <a:pt x="931381" y="1222128"/>
                  </a:lnTo>
                  <a:lnTo>
                    <a:pt x="932088" y="1222004"/>
                  </a:lnTo>
                  <a:lnTo>
                    <a:pt x="932676" y="1222070"/>
                  </a:lnTo>
                  <a:lnTo>
                    <a:pt x="932939" y="1222395"/>
                  </a:lnTo>
                  <a:lnTo>
                    <a:pt x="932711" y="1223237"/>
                  </a:lnTo>
                  <a:lnTo>
                    <a:pt x="932113" y="1223866"/>
                  </a:lnTo>
                  <a:lnTo>
                    <a:pt x="930668" y="1224965"/>
                  </a:lnTo>
                  <a:lnTo>
                    <a:pt x="928336" y="1227263"/>
                  </a:lnTo>
                  <a:lnTo>
                    <a:pt x="927651" y="1228255"/>
                  </a:lnTo>
                  <a:lnTo>
                    <a:pt x="928642" y="1228125"/>
                  </a:lnTo>
                  <a:lnTo>
                    <a:pt x="929667" y="1227370"/>
                  </a:lnTo>
                  <a:lnTo>
                    <a:pt x="933862" y="1223425"/>
                  </a:lnTo>
                  <a:lnTo>
                    <a:pt x="934262" y="1222300"/>
                  </a:lnTo>
                  <a:lnTo>
                    <a:pt x="934711" y="1221556"/>
                  </a:lnTo>
                  <a:lnTo>
                    <a:pt x="935247" y="1221057"/>
                  </a:lnTo>
                  <a:lnTo>
                    <a:pt x="935894" y="1220714"/>
                  </a:lnTo>
                  <a:lnTo>
                    <a:pt x="936321" y="1220608"/>
                  </a:lnTo>
                  <a:lnTo>
                    <a:pt x="936695" y="1220659"/>
                  </a:lnTo>
                  <a:lnTo>
                    <a:pt x="936993" y="1220842"/>
                  </a:lnTo>
                  <a:lnTo>
                    <a:pt x="937211" y="1221102"/>
                  </a:lnTo>
                  <a:lnTo>
                    <a:pt x="937216" y="1221476"/>
                  </a:lnTo>
                  <a:lnTo>
                    <a:pt x="936972" y="1221910"/>
                  </a:lnTo>
                  <a:lnTo>
                    <a:pt x="936694" y="1222301"/>
                  </a:lnTo>
                  <a:lnTo>
                    <a:pt x="936588" y="1222562"/>
                  </a:lnTo>
                  <a:lnTo>
                    <a:pt x="937530" y="1223358"/>
                  </a:lnTo>
                  <a:lnTo>
                    <a:pt x="940606" y="1222596"/>
                  </a:lnTo>
                  <a:lnTo>
                    <a:pt x="941726" y="1223079"/>
                  </a:lnTo>
                  <a:lnTo>
                    <a:pt x="942171" y="1223438"/>
                  </a:lnTo>
                  <a:lnTo>
                    <a:pt x="943007" y="1223483"/>
                  </a:lnTo>
                  <a:lnTo>
                    <a:pt x="943932" y="1222889"/>
                  </a:lnTo>
                  <a:lnTo>
                    <a:pt x="944781" y="1221424"/>
                  </a:lnTo>
                  <a:lnTo>
                    <a:pt x="945656" y="1221370"/>
                  </a:lnTo>
                  <a:lnTo>
                    <a:pt x="948200" y="1219645"/>
                  </a:lnTo>
                  <a:lnTo>
                    <a:pt x="949264" y="1219720"/>
                  </a:lnTo>
                  <a:lnTo>
                    <a:pt x="948020" y="1220701"/>
                  </a:lnTo>
                  <a:lnTo>
                    <a:pt x="946928" y="1221348"/>
                  </a:lnTo>
                  <a:lnTo>
                    <a:pt x="946377" y="1221922"/>
                  </a:lnTo>
                  <a:lnTo>
                    <a:pt x="946774" y="1222674"/>
                  </a:lnTo>
                  <a:lnTo>
                    <a:pt x="947276" y="1222861"/>
                  </a:lnTo>
                  <a:lnTo>
                    <a:pt x="947787" y="1222663"/>
                  </a:lnTo>
                  <a:lnTo>
                    <a:pt x="948283" y="1222307"/>
                  </a:lnTo>
                  <a:lnTo>
                    <a:pt x="948738" y="1222053"/>
                  </a:lnTo>
                  <a:lnTo>
                    <a:pt x="950614" y="1221531"/>
                  </a:lnTo>
                  <a:lnTo>
                    <a:pt x="951724" y="1221005"/>
                  </a:lnTo>
                  <a:lnTo>
                    <a:pt x="956344" y="1217279"/>
                  </a:lnTo>
                  <a:lnTo>
                    <a:pt x="959421" y="1215434"/>
                  </a:lnTo>
                  <a:lnTo>
                    <a:pt x="959182" y="1214752"/>
                  </a:lnTo>
                  <a:lnTo>
                    <a:pt x="958399" y="1214550"/>
                  </a:lnTo>
                  <a:lnTo>
                    <a:pt x="953863" y="1214895"/>
                  </a:lnTo>
                  <a:lnTo>
                    <a:pt x="953465" y="1214820"/>
                  </a:lnTo>
                  <a:lnTo>
                    <a:pt x="953791" y="1214111"/>
                  </a:lnTo>
                  <a:lnTo>
                    <a:pt x="954568" y="1213181"/>
                  </a:lnTo>
                  <a:lnTo>
                    <a:pt x="954774" y="1212533"/>
                  </a:lnTo>
                  <a:lnTo>
                    <a:pt x="954732" y="1212095"/>
                  </a:lnTo>
                  <a:lnTo>
                    <a:pt x="954285" y="1210859"/>
                  </a:lnTo>
                  <a:lnTo>
                    <a:pt x="953713" y="1210278"/>
                  </a:lnTo>
                  <a:lnTo>
                    <a:pt x="951626" y="1210670"/>
                  </a:lnTo>
                  <a:lnTo>
                    <a:pt x="951435" y="1209471"/>
                  </a:lnTo>
                  <a:lnTo>
                    <a:pt x="954744" y="1208905"/>
                  </a:lnTo>
                  <a:lnTo>
                    <a:pt x="956290" y="1209171"/>
                  </a:lnTo>
                  <a:lnTo>
                    <a:pt x="956862" y="1210211"/>
                  </a:lnTo>
                  <a:lnTo>
                    <a:pt x="956184" y="1210754"/>
                  </a:lnTo>
                  <a:lnTo>
                    <a:pt x="956943" y="1211128"/>
                  </a:lnTo>
                  <a:lnTo>
                    <a:pt x="958984" y="1211061"/>
                  </a:lnTo>
                  <a:lnTo>
                    <a:pt x="959878" y="1211287"/>
                  </a:lnTo>
                  <a:lnTo>
                    <a:pt x="963267" y="1214204"/>
                  </a:lnTo>
                  <a:lnTo>
                    <a:pt x="963515" y="1211700"/>
                  </a:lnTo>
                  <a:lnTo>
                    <a:pt x="964491" y="1210377"/>
                  </a:lnTo>
                  <a:lnTo>
                    <a:pt x="965837" y="1210012"/>
                  </a:lnTo>
                  <a:lnTo>
                    <a:pt x="967167" y="1210437"/>
                  </a:lnTo>
                  <a:lnTo>
                    <a:pt x="967639" y="1210956"/>
                  </a:lnTo>
                  <a:lnTo>
                    <a:pt x="968556" y="1213141"/>
                  </a:lnTo>
                  <a:lnTo>
                    <a:pt x="970485" y="1214933"/>
                  </a:lnTo>
                  <a:lnTo>
                    <a:pt x="970801" y="1215897"/>
                  </a:lnTo>
                  <a:lnTo>
                    <a:pt x="970761" y="1217955"/>
                  </a:lnTo>
                  <a:lnTo>
                    <a:pt x="970028" y="1218313"/>
                  </a:lnTo>
                  <a:lnTo>
                    <a:pt x="968662" y="1218475"/>
                  </a:lnTo>
                  <a:lnTo>
                    <a:pt x="966728" y="1219965"/>
                  </a:lnTo>
                  <a:lnTo>
                    <a:pt x="966124" y="1220923"/>
                  </a:lnTo>
                  <a:lnTo>
                    <a:pt x="965237" y="1222960"/>
                  </a:lnTo>
                  <a:lnTo>
                    <a:pt x="964557" y="1223924"/>
                  </a:lnTo>
                  <a:lnTo>
                    <a:pt x="963848" y="1224391"/>
                  </a:lnTo>
                  <a:lnTo>
                    <a:pt x="962966" y="1224652"/>
                  </a:lnTo>
                  <a:lnTo>
                    <a:pt x="961571" y="1224721"/>
                  </a:lnTo>
                  <a:lnTo>
                    <a:pt x="962143" y="1225464"/>
                  </a:lnTo>
                  <a:lnTo>
                    <a:pt x="963884" y="1225444"/>
                  </a:lnTo>
                  <a:lnTo>
                    <a:pt x="965966" y="1224893"/>
                  </a:lnTo>
                  <a:lnTo>
                    <a:pt x="967567" y="1224017"/>
                  </a:lnTo>
                  <a:lnTo>
                    <a:pt x="969328" y="1222010"/>
                  </a:lnTo>
                  <a:lnTo>
                    <a:pt x="970359" y="1220421"/>
                  </a:lnTo>
                  <a:lnTo>
                    <a:pt x="971136" y="1219784"/>
                  </a:lnTo>
                  <a:lnTo>
                    <a:pt x="972125" y="1220639"/>
                  </a:lnTo>
                  <a:lnTo>
                    <a:pt x="973411" y="1217105"/>
                  </a:lnTo>
                  <a:lnTo>
                    <a:pt x="973865" y="1217295"/>
                  </a:lnTo>
                  <a:lnTo>
                    <a:pt x="974221" y="1217624"/>
                  </a:lnTo>
                  <a:lnTo>
                    <a:pt x="974473" y="1218078"/>
                  </a:lnTo>
                  <a:lnTo>
                    <a:pt x="974616" y="1218643"/>
                  </a:lnTo>
                  <a:lnTo>
                    <a:pt x="974975" y="1218066"/>
                  </a:lnTo>
                  <a:lnTo>
                    <a:pt x="975201" y="1217175"/>
                  </a:lnTo>
                  <a:lnTo>
                    <a:pt x="975653" y="1216434"/>
                  </a:lnTo>
                  <a:lnTo>
                    <a:pt x="976261" y="1215771"/>
                  </a:lnTo>
                  <a:lnTo>
                    <a:pt x="976920" y="1215168"/>
                  </a:lnTo>
                  <a:lnTo>
                    <a:pt x="977749" y="1214673"/>
                  </a:lnTo>
                  <a:lnTo>
                    <a:pt x="977763" y="1215259"/>
                  </a:lnTo>
                  <a:lnTo>
                    <a:pt x="977484" y="1216202"/>
                  </a:lnTo>
                  <a:lnTo>
                    <a:pt x="977444" y="1216776"/>
                  </a:lnTo>
                  <a:lnTo>
                    <a:pt x="975343" y="1222582"/>
                  </a:lnTo>
                  <a:lnTo>
                    <a:pt x="975127" y="1224166"/>
                  </a:lnTo>
                  <a:lnTo>
                    <a:pt x="976226" y="1222067"/>
                  </a:lnTo>
                  <a:lnTo>
                    <a:pt x="978767" y="1216348"/>
                  </a:lnTo>
                  <a:lnTo>
                    <a:pt x="979468" y="1215013"/>
                  </a:lnTo>
                  <a:lnTo>
                    <a:pt x="980432" y="1215021"/>
                  </a:lnTo>
                  <a:lnTo>
                    <a:pt x="979810" y="1217322"/>
                  </a:lnTo>
                  <a:lnTo>
                    <a:pt x="978540" y="1220282"/>
                  </a:lnTo>
                  <a:lnTo>
                    <a:pt x="976342" y="1224689"/>
                  </a:lnTo>
                  <a:lnTo>
                    <a:pt x="975641" y="1225688"/>
                  </a:lnTo>
                  <a:lnTo>
                    <a:pt x="974572" y="1226629"/>
                  </a:lnTo>
                  <a:lnTo>
                    <a:pt x="973803" y="1226836"/>
                  </a:lnTo>
                  <a:lnTo>
                    <a:pt x="970046" y="1226881"/>
                  </a:lnTo>
                  <a:lnTo>
                    <a:pt x="967148" y="1228648"/>
                  </a:lnTo>
                  <a:lnTo>
                    <a:pt x="965337" y="1229053"/>
                  </a:lnTo>
                  <a:lnTo>
                    <a:pt x="964400" y="1229592"/>
                  </a:lnTo>
                  <a:lnTo>
                    <a:pt x="963194" y="1231026"/>
                  </a:lnTo>
                  <a:lnTo>
                    <a:pt x="964389" y="1230641"/>
                  </a:lnTo>
                  <a:lnTo>
                    <a:pt x="966476" y="1230569"/>
                  </a:lnTo>
                  <a:lnTo>
                    <a:pt x="967675" y="1230248"/>
                  </a:lnTo>
                  <a:lnTo>
                    <a:pt x="971081" y="1228072"/>
                  </a:lnTo>
                  <a:lnTo>
                    <a:pt x="972090" y="1227672"/>
                  </a:lnTo>
                  <a:lnTo>
                    <a:pt x="973098" y="1227806"/>
                  </a:lnTo>
                  <a:lnTo>
                    <a:pt x="973744" y="1228212"/>
                  </a:lnTo>
                  <a:lnTo>
                    <a:pt x="974522" y="1228288"/>
                  </a:lnTo>
                  <a:lnTo>
                    <a:pt x="975904" y="1227443"/>
                  </a:lnTo>
                  <a:lnTo>
                    <a:pt x="976168" y="1227352"/>
                  </a:lnTo>
                  <a:lnTo>
                    <a:pt x="976319" y="1227492"/>
                  </a:lnTo>
                  <a:lnTo>
                    <a:pt x="976534" y="1227529"/>
                  </a:lnTo>
                  <a:lnTo>
                    <a:pt x="976984" y="1227137"/>
                  </a:lnTo>
                  <a:lnTo>
                    <a:pt x="977061" y="1226933"/>
                  </a:lnTo>
                  <a:lnTo>
                    <a:pt x="977175" y="1226551"/>
                  </a:lnTo>
                  <a:lnTo>
                    <a:pt x="977350" y="1226092"/>
                  </a:lnTo>
                  <a:lnTo>
                    <a:pt x="977606" y="1225681"/>
                  </a:lnTo>
                  <a:lnTo>
                    <a:pt x="978164" y="1224994"/>
                  </a:lnTo>
                  <a:lnTo>
                    <a:pt x="978467" y="1224528"/>
                  </a:lnTo>
                  <a:lnTo>
                    <a:pt x="978794" y="1223763"/>
                  </a:lnTo>
                  <a:lnTo>
                    <a:pt x="979226" y="1223449"/>
                  </a:lnTo>
                  <a:lnTo>
                    <a:pt x="980159" y="1222614"/>
                  </a:lnTo>
                  <a:lnTo>
                    <a:pt x="980586" y="1222297"/>
                  </a:lnTo>
                  <a:lnTo>
                    <a:pt x="980548" y="1221383"/>
                  </a:lnTo>
                  <a:lnTo>
                    <a:pt x="981063" y="1220093"/>
                  </a:lnTo>
                  <a:lnTo>
                    <a:pt x="981925" y="1218719"/>
                  </a:lnTo>
                  <a:lnTo>
                    <a:pt x="982911" y="1217560"/>
                  </a:lnTo>
                  <a:lnTo>
                    <a:pt x="983272" y="1211851"/>
                  </a:lnTo>
                  <a:lnTo>
                    <a:pt x="984260" y="1209139"/>
                  </a:lnTo>
                  <a:lnTo>
                    <a:pt x="984491" y="1208246"/>
                  </a:lnTo>
                  <a:lnTo>
                    <a:pt x="984844" y="1207585"/>
                  </a:lnTo>
                  <a:lnTo>
                    <a:pt x="985454" y="1207581"/>
                  </a:lnTo>
                  <a:lnTo>
                    <a:pt x="985723" y="1208103"/>
                  </a:lnTo>
                  <a:lnTo>
                    <a:pt x="985589" y="1208887"/>
                  </a:lnTo>
                  <a:lnTo>
                    <a:pt x="984988" y="1210818"/>
                  </a:lnTo>
                  <a:lnTo>
                    <a:pt x="984912" y="1211595"/>
                  </a:lnTo>
                  <a:lnTo>
                    <a:pt x="985081" y="1213608"/>
                  </a:lnTo>
                  <a:lnTo>
                    <a:pt x="985065" y="1213823"/>
                  </a:lnTo>
                  <a:lnTo>
                    <a:pt x="984989" y="1214087"/>
                  </a:lnTo>
                  <a:lnTo>
                    <a:pt x="984868" y="1214369"/>
                  </a:lnTo>
                  <a:lnTo>
                    <a:pt x="984712" y="1214651"/>
                  </a:lnTo>
                  <a:lnTo>
                    <a:pt x="984524" y="1215124"/>
                  </a:lnTo>
                  <a:lnTo>
                    <a:pt x="984712" y="1215239"/>
                  </a:lnTo>
                  <a:lnTo>
                    <a:pt x="985012" y="1215254"/>
                  </a:lnTo>
                  <a:lnTo>
                    <a:pt x="985176" y="1215417"/>
                  </a:lnTo>
                  <a:lnTo>
                    <a:pt x="985342" y="1215854"/>
                  </a:lnTo>
                  <a:lnTo>
                    <a:pt x="985587" y="1216087"/>
                  </a:lnTo>
                  <a:lnTo>
                    <a:pt x="985604" y="1216516"/>
                  </a:lnTo>
                  <a:lnTo>
                    <a:pt x="985071" y="1217555"/>
                  </a:lnTo>
                  <a:lnTo>
                    <a:pt x="982151" y="1221710"/>
                  </a:lnTo>
                  <a:lnTo>
                    <a:pt x="981451" y="1222500"/>
                  </a:lnTo>
                  <a:lnTo>
                    <a:pt x="981074" y="1223035"/>
                  </a:lnTo>
                  <a:lnTo>
                    <a:pt x="980776" y="1223697"/>
                  </a:lnTo>
                  <a:lnTo>
                    <a:pt x="980525" y="1224829"/>
                  </a:lnTo>
                  <a:lnTo>
                    <a:pt x="980136" y="1225541"/>
                  </a:lnTo>
                  <a:lnTo>
                    <a:pt x="979263" y="1226472"/>
                  </a:lnTo>
                  <a:lnTo>
                    <a:pt x="977773" y="1227304"/>
                  </a:lnTo>
                  <a:lnTo>
                    <a:pt x="976992" y="1228107"/>
                  </a:lnTo>
                  <a:lnTo>
                    <a:pt x="976188" y="1229473"/>
                  </a:lnTo>
                  <a:lnTo>
                    <a:pt x="976359" y="1229818"/>
                  </a:lnTo>
                  <a:lnTo>
                    <a:pt x="977056" y="1229541"/>
                  </a:lnTo>
                  <a:lnTo>
                    <a:pt x="977835" y="1229019"/>
                  </a:lnTo>
                  <a:lnTo>
                    <a:pt x="978575" y="1228411"/>
                  </a:lnTo>
                  <a:lnTo>
                    <a:pt x="980564" y="1226556"/>
                  </a:lnTo>
                  <a:lnTo>
                    <a:pt x="981236" y="1225733"/>
                  </a:lnTo>
                  <a:lnTo>
                    <a:pt x="982084" y="1224458"/>
                  </a:lnTo>
                  <a:lnTo>
                    <a:pt x="982659" y="1223780"/>
                  </a:lnTo>
                  <a:lnTo>
                    <a:pt x="983164" y="1223280"/>
                  </a:lnTo>
                  <a:lnTo>
                    <a:pt x="985220" y="1220900"/>
                  </a:lnTo>
                  <a:lnTo>
                    <a:pt x="985732" y="1220158"/>
                  </a:lnTo>
                  <a:lnTo>
                    <a:pt x="986965" y="1217649"/>
                  </a:lnTo>
                  <a:lnTo>
                    <a:pt x="987425" y="1216504"/>
                  </a:lnTo>
                  <a:lnTo>
                    <a:pt x="987622" y="1215570"/>
                  </a:lnTo>
                  <a:lnTo>
                    <a:pt x="987384" y="1215012"/>
                  </a:lnTo>
                  <a:lnTo>
                    <a:pt x="987288" y="1214392"/>
                  </a:lnTo>
                  <a:lnTo>
                    <a:pt x="987677" y="1212212"/>
                  </a:lnTo>
                  <a:lnTo>
                    <a:pt x="987524" y="1211575"/>
                  </a:lnTo>
                  <a:lnTo>
                    <a:pt x="987142" y="1211121"/>
                  </a:lnTo>
                  <a:lnTo>
                    <a:pt x="986863" y="1210290"/>
                  </a:lnTo>
                  <a:lnTo>
                    <a:pt x="986889" y="1209183"/>
                  </a:lnTo>
                  <a:lnTo>
                    <a:pt x="987403" y="1207902"/>
                  </a:lnTo>
                  <a:lnTo>
                    <a:pt x="988625" y="1206744"/>
                  </a:lnTo>
                  <a:lnTo>
                    <a:pt x="990031" y="1206344"/>
                  </a:lnTo>
                  <a:lnTo>
                    <a:pt x="991232" y="1206510"/>
                  </a:lnTo>
                  <a:lnTo>
                    <a:pt x="991824" y="1207076"/>
                  </a:lnTo>
                  <a:lnTo>
                    <a:pt x="991745" y="1208181"/>
                  </a:lnTo>
                  <a:lnTo>
                    <a:pt x="991218" y="1209490"/>
                  </a:lnTo>
                  <a:lnTo>
                    <a:pt x="990392" y="1210559"/>
                  </a:lnTo>
                  <a:lnTo>
                    <a:pt x="989418" y="1210967"/>
                  </a:lnTo>
                  <a:lnTo>
                    <a:pt x="989101" y="1213547"/>
                  </a:lnTo>
                  <a:lnTo>
                    <a:pt x="988461" y="1216426"/>
                  </a:lnTo>
                  <a:lnTo>
                    <a:pt x="987234" y="1219672"/>
                  </a:lnTo>
                  <a:lnTo>
                    <a:pt x="985182" y="1223333"/>
                  </a:lnTo>
                  <a:lnTo>
                    <a:pt x="983932" y="1225046"/>
                  </a:lnTo>
                  <a:lnTo>
                    <a:pt x="982541" y="1226658"/>
                  </a:lnTo>
                  <a:lnTo>
                    <a:pt x="981126" y="1228097"/>
                  </a:lnTo>
                  <a:lnTo>
                    <a:pt x="979784" y="1229325"/>
                  </a:lnTo>
                  <a:lnTo>
                    <a:pt x="979195" y="1229967"/>
                  </a:lnTo>
                  <a:lnTo>
                    <a:pt x="978085" y="1231508"/>
                  </a:lnTo>
                  <a:lnTo>
                    <a:pt x="977384" y="1232225"/>
                  </a:lnTo>
                  <a:lnTo>
                    <a:pt x="975217" y="1233579"/>
                  </a:lnTo>
                  <a:lnTo>
                    <a:pt x="974389" y="1234353"/>
                  </a:lnTo>
                  <a:lnTo>
                    <a:pt x="975544" y="1234144"/>
                  </a:lnTo>
                  <a:lnTo>
                    <a:pt x="977421" y="1233258"/>
                  </a:lnTo>
                  <a:lnTo>
                    <a:pt x="979346" y="1232013"/>
                  </a:lnTo>
                  <a:lnTo>
                    <a:pt x="980632" y="1230720"/>
                  </a:lnTo>
                  <a:lnTo>
                    <a:pt x="981923" y="1229016"/>
                  </a:lnTo>
                  <a:lnTo>
                    <a:pt x="987566" y="1223455"/>
                  </a:lnTo>
                  <a:lnTo>
                    <a:pt x="987893" y="1223245"/>
                  </a:lnTo>
                  <a:lnTo>
                    <a:pt x="988093" y="1222926"/>
                  </a:lnTo>
                  <a:lnTo>
                    <a:pt x="988559" y="1221796"/>
                  </a:lnTo>
                  <a:lnTo>
                    <a:pt x="989096" y="1219829"/>
                  </a:lnTo>
                  <a:lnTo>
                    <a:pt x="989513" y="1218684"/>
                  </a:lnTo>
                  <a:lnTo>
                    <a:pt x="989933" y="1218310"/>
                  </a:lnTo>
                  <a:lnTo>
                    <a:pt x="990407" y="1217823"/>
                  </a:lnTo>
                  <a:lnTo>
                    <a:pt x="991201" y="1216744"/>
                  </a:lnTo>
                  <a:lnTo>
                    <a:pt x="991959" y="1216032"/>
                  </a:lnTo>
                  <a:lnTo>
                    <a:pt x="992351" y="1216619"/>
                  </a:lnTo>
                  <a:lnTo>
                    <a:pt x="992295" y="1217732"/>
                  </a:lnTo>
                  <a:lnTo>
                    <a:pt x="991985" y="1218439"/>
                  </a:lnTo>
                  <a:lnTo>
                    <a:pt x="991420" y="1219200"/>
                  </a:lnTo>
                  <a:lnTo>
                    <a:pt x="990592" y="1220468"/>
                  </a:lnTo>
                  <a:lnTo>
                    <a:pt x="989709" y="1222037"/>
                  </a:lnTo>
                  <a:lnTo>
                    <a:pt x="988072" y="1225425"/>
                  </a:lnTo>
                  <a:lnTo>
                    <a:pt x="987618" y="1226265"/>
                  </a:lnTo>
                  <a:lnTo>
                    <a:pt x="986910" y="1227453"/>
                  </a:lnTo>
                  <a:lnTo>
                    <a:pt x="985987" y="1228648"/>
                  </a:lnTo>
                  <a:lnTo>
                    <a:pt x="985222" y="1229210"/>
                  </a:lnTo>
                  <a:lnTo>
                    <a:pt x="984588" y="1229559"/>
                  </a:lnTo>
                  <a:lnTo>
                    <a:pt x="984074" y="1230085"/>
                  </a:lnTo>
                  <a:lnTo>
                    <a:pt x="983698" y="1230307"/>
                  </a:lnTo>
                  <a:lnTo>
                    <a:pt x="980757" y="1232954"/>
                  </a:lnTo>
                  <a:lnTo>
                    <a:pt x="980069" y="1233111"/>
                  </a:lnTo>
                  <a:lnTo>
                    <a:pt x="979324" y="1233099"/>
                  </a:lnTo>
                  <a:lnTo>
                    <a:pt x="978456" y="1233384"/>
                  </a:lnTo>
                  <a:lnTo>
                    <a:pt x="977405" y="1234427"/>
                  </a:lnTo>
                  <a:lnTo>
                    <a:pt x="976952" y="1235483"/>
                  </a:lnTo>
                  <a:lnTo>
                    <a:pt x="976633" y="1236865"/>
                  </a:lnTo>
                  <a:lnTo>
                    <a:pt x="976622" y="1237774"/>
                  </a:lnTo>
                  <a:lnTo>
                    <a:pt x="977119" y="1237375"/>
                  </a:lnTo>
                  <a:lnTo>
                    <a:pt x="978536" y="1235773"/>
                  </a:lnTo>
                  <a:lnTo>
                    <a:pt x="980684" y="1233950"/>
                  </a:lnTo>
                  <a:lnTo>
                    <a:pt x="982855" y="1232408"/>
                  </a:lnTo>
                  <a:lnTo>
                    <a:pt x="984356" y="1231616"/>
                  </a:lnTo>
                  <a:lnTo>
                    <a:pt x="985268" y="1231823"/>
                  </a:lnTo>
                  <a:lnTo>
                    <a:pt x="985000" y="1233020"/>
                  </a:lnTo>
                  <a:lnTo>
                    <a:pt x="983932" y="1234791"/>
                  </a:lnTo>
                  <a:lnTo>
                    <a:pt x="982460" y="1236694"/>
                  </a:lnTo>
                  <a:lnTo>
                    <a:pt x="981021" y="1238220"/>
                  </a:lnTo>
                  <a:lnTo>
                    <a:pt x="979614" y="1239410"/>
                  </a:lnTo>
                  <a:lnTo>
                    <a:pt x="975419" y="1241967"/>
                  </a:lnTo>
                  <a:lnTo>
                    <a:pt x="974677" y="1243014"/>
                  </a:lnTo>
                  <a:lnTo>
                    <a:pt x="974105" y="1244154"/>
                  </a:lnTo>
                  <a:lnTo>
                    <a:pt x="972933" y="1245459"/>
                  </a:lnTo>
                  <a:lnTo>
                    <a:pt x="971449" y="1246538"/>
                  </a:lnTo>
                  <a:lnTo>
                    <a:pt x="970561" y="1247381"/>
                  </a:lnTo>
                  <a:lnTo>
                    <a:pt x="970464" y="1247950"/>
                  </a:lnTo>
                  <a:lnTo>
                    <a:pt x="970672" y="1248532"/>
                  </a:lnTo>
                  <a:lnTo>
                    <a:pt x="970239" y="1249317"/>
                  </a:lnTo>
                  <a:lnTo>
                    <a:pt x="969508" y="1250025"/>
                  </a:lnTo>
                  <a:lnTo>
                    <a:pt x="968816" y="1250380"/>
                  </a:lnTo>
                  <a:lnTo>
                    <a:pt x="967747" y="1252622"/>
                  </a:lnTo>
                  <a:lnTo>
                    <a:pt x="967523" y="1253377"/>
                  </a:lnTo>
                  <a:lnTo>
                    <a:pt x="967507" y="1254068"/>
                  </a:lnTo>
                  <a:lnTo>
                    <a:pt x="967761" y="1254385"/>
                  </a:lnTo>
                  <a:lnTo>
                    <a:pt x="968225" y="1254304"/>
                  </a:lnTo>
                  <a:lnTo>
                    <a:pt x="968719" y="1254101"/>
                  </a:lnTo>
                  <a:lnTo>
                    <a:pt x="969061" y="1254046"/>
                  </a:lnTo>
                  <a:lnTo>
                    <a:pt x="969317" y="1254384"/>
                  </a:lnTo>
                  <a:lnTo>
                    <a:pt x="969644" y="1255299"/>
                  </a:lnTo>
                  <a:lnTo>
                    <a:pt x="969979" y="1255565"/>
                  </a:lnTo>
                  <a:lnTo>
                    <a:pt x="970663" y="1252692"/>
                  </a:lnTo>
                  <a:lnTo>
                    <a:pt x="971361" y="1251367"/>
                  </a:lnTo>
                  <a:lnTo>
                    <a:pt x="972987" y="1249882"/>
                  </a:lnTo>
                  <a:lnTo>
                    <a:pt x="974111" y="1248543"/>
                  </a:lnTo>
                  <a:lnTo>
                    <a:pt x="974828" y="1246794"/>
                  </a:lnTo>
                  <a:lnTo>
                    <a:pt x="975422" y="1244983"/>
                  </a:lnTo>
                  <a:lnTo>
                    <a:pt x="976183" y="1243439"/>
                  </a:lnTo>
                  <a:lnTo>
                    <a:pt x="977287" y="1242365"/>
                  </a:lnTo>
                  <a:lnTo>
                    <a:pt x="982641" y="1239136"/>
                  </a:lnTo>
                  <a:lnTo>
                    <a:pt x="984957" y="1239047"/>
                  </a:lnTo>
                  <a:lnTo>
                    <a:pt x="986474" y="1238164"/>
                  </a:lnTo>
                  <a:lnTo>
                    <a:pt x="986490" y="1237243"/>
                  </a:lnTo>
                  <a:lnTo>
                    <a:pt x="986730" y="1235940"/>
                  </a:lnTo>
                  <a:lnTo>
                    <a:pt x="987216" y="1234885"/>
                  </a:lnTo>
                  <a:lnTo>
                    <a:pt x="987941" y="1234742"/>
                  </a:lnTo>
                  <a:lnTo>
                    <a:pt x="988725" y="1234853"/>
                  </a:lnTo>
                  <a:lnTo>
                    <a:pt x="990371" y="1234089"/>
                  </a:lnTo>
                  <a:lnTo>
                    <a:pt x="991182" y="1233902"/>
                  </a:lnTo>
                  <a:lnTo>
                    <a:pt x="993850" y="1234157"/>
                  </a:lnTo>
                  <a:lnTo>
                    <a:pt x="995500" y="1233298"/>
                  </a:lnTo>
                  <a:lnTo>
                    <a:pt x="997650" y="1230850"/>
                  </a:lnTo>
                  <a:lnTo>
                    <a:pt x="996843" y="1230304"/>
                  </a:lnTo>
                  <a:lnTo>
                    <a:pt x="993847" y="1229530"/>
                  </a:lnTo>
                  <a:lnTo>
                    <a:pt x="1005878" y="1225455"/>
                  </a:lnTo>
                  <a:lnTo>
                    <a:pt x="1007872" y="1224236"/>
                  </a:lnTo>
                  <a:lnTo>
                    <a:pt x="1008677" y="1223872"/>
                  </a:lnTo>
                  <a:lnTo>
                    <a:pt x="1010489" y="1223481"/>
                  </a:lnTo>
                  <a:lnTo>
                    <a:pt x="1011165" y="1223092"/>
                  </a:lnTo>
                  <a:lnTo>
                    <a:pt x="1011810" y="1222122"/>
                  </a:lnTo>
                  <a:lnTo>
                    <a:pt x="1011975" y="1221315"/>
                  </a:lnTo>
                  <a:lnTo>
                    <a:pt x="1012236" y="1220502"/>
                  </a:lnTo>
                  <a:lnTo>
                    <a:pt x="1013178" y="1219489"/>
                  </a:lnTo>
                  <a:lnTo>
                    <a:pt x="1014034" y="1219014"/>
                  </a:lnTo>
                  <a:lnTo>
                    <a:pt x="1015618" y="1218706"/>
                  </a:lnTo>
                  <a:lnTo>
                    <a:pt x="1016422" y="1218366"/>
                  </a:lnTo>
                  <a:lnTo>
                    <a:pt x="1017504" y="1217499"/>
                  </a:lnTo>
                  <a:lnTo>
                    <a:pt x="1018412" y="1216653"/>
                  </a:lnTo>
                  <a:lnTo>
                    <a:pt x="1019264" y="1216108"/>
                  </a:lnTo>
                  <a:lnTo>
                    <a:pt x="1020165" y="1216132"/>
                  </a:lnTo>
                  <a:lnTo>
                    <a:pt x="1020516" y="1215550"/>
                  </a:lnTo>
                  <a:lnTo>
                    <a:pt x="1020119" y="1215418"/>
                  </a:lnTo>
                  <a:lnTo>
                    <a:pt x="1019824" y="1215140"/>
                  </a:lnTo>
                  <a:lnTo>
                    <a:pt x="1019638" y="1214696"/>
                  </a:lnTo>
                  <a:lnTo>
                    <a:pt x="1019558" y="1214113"/>
                  </a:lnTo>
                  <a:lnTo>
                    <a:pt x="1021338" y="1214174"/>
                  </a:lnTo>
                  <a:lnTo>
                    <a:pt x="1027403" y="1216549"/>
                  </a:lnTo>
                  <a:lnTo>
                    <a:pt x="1036649" y="1216555"/>
                  </a:lnTo>
                  <a:lnTo>
                    <a:pt x="1038540" y="1217430"/>
                  </a:lnTo>
                  <a:lnTo>
                    <a:pt x="1046793" y="1218021"/>
                  </a:lnTo>
                  <a:lnTo>
                    <a:pt x="1051926" y="1216434"/>
                  </a:lnTo>
                  <a:lnTo>
                    <a:pt x="1052807" y="1216678"/>
                  </a:lnTo>
                  <a:lnTo>
                    <a:pt x="1055040" y="1218225"/>
                  </a:lnTo>
                  <a:lnTo>
                    <a:pt x="1057544" y="1218161"/>
                  </a:lnTo>
                  <a:lnTo>
                    <a:pt x="1069275" y="1222391"/>
                  </a:lnTo>
                  <a:lnTo>
                    <a:pt x="1071256" y="1221811"/>
                  </a:lnTo>
                  <a:lnTo>
                    <a:pt x="1073700" y="1220630"/>
                  </a:lnTo>
                  <a:lnTo>
                    <a:pt x="1074738" y="1219860"/>
                  </a:lnTo>
                  <a:lnTo>
                    <a:pt x="1075653" y="1219040"/>
                  </a:lnTo>
                  <a:lnTo>
                    <a:pt x="1078122" y="1216521"/>
                  </a:lnTo>
                  <a:lnTo>
                    <a:pt x="1080314" y="1214943"/>
                  </a:lnTo>
                  <a:lnTo>
                    <a:pt x="1082325" y="1214423"/>
                  </a:lnTo>
                  <a:lnTo>
                    <a:pt x="1083523" y="1215264"/>
                  </a:lnTo>
                  <a:lnTo>
                    <a:pt x="1083274" y="1217770"/>
                  </a:lnTo>
                  <a:lnTo>
                    <a:pt x="1083059" y="1215727"/>
                  </a:lnTo>
                  <a:lnTo>
                    <a:pt x="1082080" y="1216869"/>
                  </a:lnTo>
                  <a:lnTo>
                    <a:pt x="1080643" y="1219277"/>
                  </a:lnTo>
                  <a:lnTo>
                    <a:pt x="1079083" y="1221012"/>
                  </a:lnTo>
                  <a:lnTo>
                    <a:pt x="1077582" y="1221312"/>
                  </a:lnTo>
                  <a:lnTo>
                    <a:pt x="1076710" y="1221791"/>
                  </a:lnTo>
                  <a:lnTo>
                    <a:pt x="1076125" y="1222831"/>
                  </a:lnTo>
                  <a:lnTo>
                    <a:pt x="1075631" y="1224796"/>
                  </a:lnTo>
                  <a:lnTo>
                    <a:pt x="1075333" y="1225710"/>
                  </a:lnTo>
                  <a:lnTo>
                    <a:pt x="1074865" y="1226894"/>
                  </a:lnTo>
                  <a:lnTo>
                    <a:pt x="1069104" y="1223353"/>
                  </a:lnTo>
                  <a:lnTo>
                    <a:pt x="1066321" y="1223720"/>
                  </a:lnTo>
                  <a:lnTo>
                    <a:pt x="1064619" y="1229735"/>
                  </a:lnTo>
                  <a:lnTo>
                    <a:pt x="1064050" y="1230528"/>
                  </a:lnTo>
                  <a:lnTo>
                    <a:pt x="1063452" y="1231453"/>
                  </a:lnTo>
                  <a:lnTo>
                    <a:pt x="1062690" y="1232502"/>
                  </a:lnTo>
                  <a:lnTo>
                    <a:pt x="1060359" y="1235186"/>
                  </a:lnTo>
                  <a:lnTo>
                    <a:pt x="1059899" y="1236353"/>
                  </a:lnTo>
                  <a:lnTo>
                    <a:pt x="1060023" y="1237235"/>
                  </a:lnTo>
                  <a:lnTo>
                    <a:pt x="1060537" y="1237850"/>
                  </a:lnTo>
                  <a:lnTo>
                    <a:pt x="1062953" y="1239415"/>
                  </a:lnTo>
                  <a:lnTo>
                    <a:pt x="1063799" y="1241600"/>
                  </a:lnTo>
                  <a:lnTo>
                    <a:pt x="1064649" y="1242104"/>
                  </a:lnTo>
                  <a:lnTo>
                    <a:pt x="1065690" y="1242279"/>
                  </a:lnTo>
                  <a:lnTo>
                    <a:pt x="1066689" y="1242174"/>
                  </a:lnTo>
                  <a:lnTo>
                    <a:pt x="1066436" y="1239672"/>
                  </a:lnTo>
                  <a:lnTo>
                    <a:pt x="1066611" y="1238160"/>
                  </a:lnTo>
                  <a:lnTo>
                    <a:pt x="1067561" y="1237033"/>
                  </a:lnTo>
                  <a:lnTo>
                    <a:pt x="1069016" y="1236516"/>
                  </a:lnTo>
                  <a:lnTo>
                    <a:pt x="1070234" y="1236554"/>
                  </a:lnTo>
                  <a:lnTo>
                    <a:pt x="1073156" y="1237699"/>
                  </a:lnTo>
                  <a:lnTo>
                    <a:pt x="1074350" y="1237568"/>
                  </a:lnTo>
                  <a:lnTo>
                    <a:pt x="1075694" y="1237100"/>
                  </a:lnTo>
                  <a:lnTo>
                    <a:pt x="1078413" y="1235340"/>
                  </a:lnTo>
                  <a:lnTo>
                    <a:pt x="1080634" y="1234653"/>
                  </a:lnTo>
                  <a:lnTo>
                    <a:pt x="1084568" y="1231915"/>
                  </a:lnTo>
                  <a:lnTo>
                    <a:pt x="1086990" y="1230652"/>
                  </a:lnTo>
                  <a:lnTo>
                    <a:pt x="1096190" y="1227525"/>
                  </a:lnTo>
                  <a:lnTo>
                    <a:pt x="1099963" y="1227641"/>
                  </a:lnTo>
                  <a:lnTo>
                    <a:pt x="1101468" y="1226922"/>
                  </a:lnTo>
                  <a:lnTo>
                    <a:pt x="1101445" y="1226237"/>
                  </a:lnTo>
                  <a:lnTo>
                    <a:pt x="1101393" y="1226025"/>
                  </a:lnTo>
                  <a:lnTo>
                    <a:pt x="1101730" y="1225644"/>
                  </a:lnTo>
                  <a:lnTo>
                    <a:pt x="1102091" y="1225184"/>
                  </a:lnTo>
                  <a:lnTo>
                    <a:pt x="1102485" y="1224727"/>
                  </a:lnTo>
                  <a:lnTo>
                    <a:pt x="1102900" y="1224363"/>
                  </a:lnTo>
                  <a:lnTo>
                    <a:pt x="1103339" y="1223406"/>
                  </a:lnTo>
                  <a:lnTo>
                    <a:pt x="1104206" y="1221797"/>
                  </a:lnTo>
                  <a:lnTo>
                    <a:pt x="1104543" y="1220917"/>
                  </a:lnTo>
                  <a:lnTo>
                    <a:pt x="1104569" y="1220288"/>
                  </a:lnTo>
                  <a:lnTo>
                    <a:pt x="1104438" y="1219635"/>
                  </a:lnTo>
                  <a:lnTo>
                    <a:pt x="1104399" y="1218895"/>
                  </a:lnTo>
                  <a:lnTo>
                    <a:pt x="1104685" y="1218031"/>
                  </a:lnTo>
                  <a:lnTo>
                    <a:pt x="1105341" y="1216490"/>
                  </a:lnTo>
                  <a:lnTo>
                    <a:pt x="1105941" y="1214743"/>
                  </a:lnTo>
                  <a:lnTo>
                    <a:pt x="1106761" y="1212950"/>
                  </a:lnTo>
                  <a:lnTo>
                    <a:pt x="1108079" y="1211262"/>
                  </a:lnTo>
                  <a:lnTo>
                    <a:pt x="1109570" y="1210430"/>
                  </a:lnTo>
                  <a:lnTo>
                    <a:pt x="1112332" y="1210569"/>
                  </a:lnTo>
                  <a:lnTo>
                    <a:pt x="1113736" y="1210089"/>
                  </a:lnTo>
                  <a:lnTo>
                    <a:pt x="1114692" y="1209599"/>
                  </a:lnTo>
                  <a:lnTo>
                    <a:pt x="1115581" y="1209443"/>
                  </a:lnTo>
                  <a:lnTo>
                    <a:pt x="1117007" y="1209779"/>
                  </a:lnTo>
                  <a:lnTo>
                    <a:pt x="1117637" y="1209746"/>
                  </a:lnTo>
                  <a:lnTo>
                    <a:pt x="1119332" y="1208925"/>
                  </a:lnTo>
                  <a:lnTo>
                    <a:pt x="1120018" y="1208779"/>
                  </a:lnTo>
                  <a:lnTo>
                    <a:pt x="1123450" y="1211545"/>
                  </a:lnTo>
                  <a:lnTo>
                    <a:pt x="1126965" y="1210643"/>
                  </a:lnTo>
                  <a:lnTo>
                    <a:pt x="1128353" y="1210754"/>
                  </a:lnTo>
                  <a:lnTo>
                    <a:pt x="1130568" y="1212019"/>
                  </a:lnTo>
                  <a:lnTo>
                    <a:pt x="1139545" y="1213192"/>
                  </a:lnTo>
                  <a:lnTo>
                    <a:pt x="1141043" y="1215930"/>
                  </a:lnTo>
                  <a:lnTo>
                    <a:pt x="1141053" y="1213653"/>
                  </a:lnTo>
                  <a:lnTo>
                    <a:pt x="1140395" y="1212000"/>
                  </a:lnTo>
                  <a:lnTo>
                    <a:pt x="1135771" y="1208161"/>
                  </a:lnTo>
                  <a:lnTo>
                    <a:pt x="1132138" y="1204967"/>
                  </a:lnTo>
                  <a:lnTo>
                    <a:pt x="1128153" y="1200075"/>
                  </a:lnTo>
                  <a:lnTo>
                    <a:pt x="1127927" y="1198365"/>
                  </a:lnTo>
                  <a:lnTo>
                    <a:pt x="1128821" y="1196506"/>
                  </a:lnTo>
                  <a:lnTo>
                    <a:pt x="1128644" y="1195621"/>
                  </a:lnTo>
                  <a:lnTo>
                    <a:pt x="1128768" y="1194427"/>
                  </a:lnTo>
                  <a:lnTo>
                    <a:pt x="1129102" y="1193057"/>
                  </a:lnTo>
                  <a:lnTo>
                    <a:pt x="1129533" y="1191689"/>
                  </a:lnTo>
                  <a:lnTo>
                    <a:pt x="1130470" y="1192098"/>
                  </a:lnTo>
                  <a:lnTo>
                    <a:pt x="1132387" y="1194386"/>
                  </a:lnTo>
                  <a:lnTo>
                    <a:pt x="1132778" y="1195620"/>
                  </a:lnTo>
                  <a:lnTo>
                    <a:pt x="1133430" y="1196126"/>
                  </a:lnTo>
                  <a:lnTo>
                    <a:pt x="1136389" y="1193043"/>
                  </a:lnTo>
                  <a:lnTo>
                    <a:pt x="1137540" y="1192619"/>
                  </a:lnTo>
                  <a:lnTo>
                    <a:pt x="1136801" y="1191254"/>
                  </a:lnTo>
                  <a:lnTo>
                    <a:pt x="1131755" y="1191271"/>
                  </a:lnTo>
                  <a:lnTo>
                    <a:pt x="1129007" y="1190414"/>
                  </a:lnTo>
                  <a:lnTo>
                    <a:pt x="1128093" y="1189254"/>
                  </a:lnTo>
                  <a:lnTo>
                    <a:pt x="1128502" y="1186860"/>
                  </a:lnTo>
                  <a:lnTo>
                    <a:pt x="1131120" y="1182521"/>
                  </a:lnTo>
                  <a:lnTo>
                    <a:pt x="1134754" y="1178431"/>
                  </a:lnTo>
                  <a:lnTo>
                    <a:pt x="1138351" y="1175319"/>
                  </a:lnTo>
                  <a:lnTo>
                    <a:pt x="1140868" y="1173882"/>
                  </a:lnTo>
                  <a:lnTo>
                    <a:pt x="1144108" y="1173081"/>
                  </a:lnTo>
                  <a:lnTo>
                    <a:pt x="1144319" y="1172834"/>
                  </a:lnTo>
                  <a:lnTo>
                    <a:pt x="1144506" y="1172443"/>
                  </a:lnTo>
                  <a:lnTo>
                    <a:pt x="1144732" y="1172077"/>
                  </a:lnTo>
                  <a:lnTo>
                    <a:pt x="1145073" y="1171896"/>
                  </a:lnTo>
                  <a:lnTo>
                    <a:pt x="1145410" y="1172053"/>
                  </a:lnTo>
                  <a:lnTo>
                    <a:pt x="1145707" y="1172484"/>
                  </a:lnTo>
                  <a:lnTo>
                    <a:pt x="1145895" y="1173074"/>
                  </a:lnTo>
                  <a:lnTo>
                    <a:pt x="1146036" y="1175621"/>
                  </a:lnTo>
                  <a:lnTo>
                    <a:pt x="1149799" y="1185992"/>
                  </a:lnTo>
                  <a:lnTo>
                    <a:pt x="1152939" y="1199401"/>
                  </a:lnTo>
                  <a:lnTo>
                    <a:pt x="1154829" y="1212325"/>
                  </a:lnTo>
                  <a:lnTo>
                    <a:pt x="1154655" y="1215666"/>
                  </a:lnTo>
                  <a:lnTo>
                    <a:pt x="1154922" y="1219443"/>
                  </a:lnTo>
                  <a:lnTo>
                    <a:pt x="1154642" y="1220870"/>
                  </a:lnTo>
                  <a:lnTo>
                    <a:pt x="1154154" y="1222475"/>
                  </a:lnTo>
                  <a:lnTo>
                    <a:pt x="1153829" y="1227749"/>
                  </a:lnTo>
                  <a:lnTo>
                    <a:pt x="1152250" y="1235802"/>
                  </a:lnTo>
                  <a:lnTo>
                    <a:pt x="1151951" y="1241226"/>
                  </a:lnTo>
                  <a:lnTo>
                    <a:pt x="1151440" y="1243487"/>
                  </a:lnTo>
                  <a:lnTo>
                    <a:pt x="1150819" y="1245691"/>
                  </a:lnTo>
                  <a:lnTo>
                    <a:pt x="1150689" y="1246449"/>
                  </a:lnTo>
                  <a:lnTo>
                    <a:pt x="1150631" y="1247214"/>
                  </a:lnTo>
                  <a:lnTo>
                    <a:pt x="1150765" y="1248375"/>
                  </a:lnTo>
                  <a:lnTo>
                    <a:pt x="1151574" y="1249866"/>
                  </a:lnTo>
                  <a:lnTo>
                    <a:pt x="1152017" y="1251312"/>
                  </a:lnTo>
                  <a:lnTo>
                    <a:pt x="1152410" y="1251887"/>
                  </a:lnTo>
                  <a:lnTo>
                    <a:pt x="1152467" y="1252459"/>
                  </a:lnTo>
                  <a:lnTo>
                    <a:pt x="1151792" y="1252111"/>
                  </a:lnTo>
                  <a:lnTo>
                    <a:pt x="1150604" y="1254644"/>
                  </a:lnTo>
                  <a:lnTo>
                    <a:pt x="1150354" y="1255586"/>
                  </a:lnTo>
                  <a:lnTo>
                    <a:pt x="1150574" y="1256544"/>
                  </a:lnTo>
                  <a:lnTo>
                    <a:pt x="1148955" y="1257276"/>
                  </a:lnTo>
                  <a:lnTo>
                    <a:pt x="1148023" y="1258056"/>
                  </a:lnTo>
                  <a:lnTo>
                    <a:pt x="1147491" y="1259415"/>
                  </a:lnTo>
                  <a:lnTo>
                    <a:pt x="1146704" y="1263658"/>
                  </a:lnTo>
                  <a:lnTo>
                    <a:pt x="1145126" y="1270132"/>
                  </a:lnTo>
                  <a:lnTo>
                    <a:pt x="1144566" y="1271838"/>
                  </a:lnTo>
                  <a:lnTo>
                    <a:pt x="1144344" y="1272804"/>
                  </a:lnTo>
                  <a:lnTo>
                    <a:pt x="1144233" y="1273943"/>
                  </a:lnTo>
                  <a:lnTo>
                    <a:pt x="1144320" y="1275664"/>
                  </a:lnTo>
                  <a:lnTo>
                    <a:pt x="1144169" y="1278565"/>
                  </a:lnTo>
                  <a:lnTo>
                    <a:pt x="1147466" y="1302556"/>
                  </a:lnTo>
                  <a:lnTo>
                    <a:pt x="1147310" y="1304299"/>
                  </a:lnTo>
                  <a:lnTo>
                    <a:pt x="1147309" y="1305334"/>
                  </a:lnTo>
                  <a:lnTo>
                    <a:pt x="1147522" y="1306402"/>
                  </a:lnTo>
                  <a:lnTo>
                    <a:pt x="1147879" y="1307288"/>
                  </a:lnTo>
                  <a:lnTo>
                    <a:pt x="1148798" y="1308351"/>
                  </a:lnTo>
                  <a:lnTo>
                    <a:pt x="1148955" y="1309255"/>
                  </a:lnTo>
                  <a:lnTo>
                    <a:pt x="1148997" y="1311480"/>
                  </a:lnTo>
                  <a:lnTo>
                    <a:pt x="1152164" y="1321441"/>
                  </a:lnTo>
                  <a:lnTo>
                    <a:pt x="1155228" y="1326391"/>
                  </a:lnTo>
                  <a:lnTo>
                    <a:pt x="1156315" y="1326871"/>
                  </a:lnTo>
                  <a:lnTo>
                    <a:pt x="1158844" y="1327180"/>
                  </a:lnTo>
                  <a:lnTo>
                    <a:pt x="1159804" y="1327740"/>
                  </a:lnTo>
                  <a:lnTo>
                    <a:pt x="1160014" y="1328202"/>
                  </a:lnTo>
                  <a:lnTo>
                    <a:pt x="1159989" y="1328667"/>
                  </a:lnTo>
                  <a:lnTo>
                    <a:pt x="1159895" y="1329198"/>
                  </a:lnTo>
                  <a:lnTo>
                    <a:pt x="1159894" y="1329880"/>
                  </a:lnTo>
                  <a:lnTo>
                    <a:pt x="1160172" y="1330420"/>
                  </a:lnTo>
                  <a:lnTo>
                    <a:pt x="1161363" y="1331021"/>
                  </a:lnTo>
                  <a:lnTo>
                    <a:pt x="1161351" y="1331523"/>
                  </a:lnTo>
                  <a:lnTo>
                    <a:pt x="1161227" y="1332313"/>
                  </a:lnTo>
                  <a:lnTo>
                    <a:pt x="1161072" y="1333027"/>
                  </a:lnTo>
                  <a:lnTo>
                    <a:pt x="1160963" y="1333328"/>
                  </a:lnTo>
                  <a:lnTo>
                    <a:pt x="1164269" y="1339025"/>
                  </a:lnTo>
                  <a:lnTo>
                    <a:pt x="1165064" y="1339503"/>
                  </a:lnTo>
                  <a:lnTo>
                    <a:pt x="1165687" y="1339260"/>
                  </a:lnTo>
                  <a:lnTo>
                    <a:pt x="1167835" y="1337864"/>
                  </a:lnTo>
                  <a:lnTo>
                    <a:pt x="1168608" y="1337070"/>
                  </a:lnTo>
                  <a:lnTo>
                    <a:pt x="1168439" y="1336649"/>
                  </a:lnTo>
                  <a:lnTo>
                    <a:pt x="1168336" y="1335268"/>
                  </a:lnTo>
                  <a:lnTo>
                    <a:pt x="1168903" y="1334715"/>
                  </a:lnTo>
                  <a:lnTo>
                    <a:pt x="1168526" y="1333637"/>
                  </a:lnTo>
                  <a:lnTo>
                    <a:pt x="1167391" y="1332278"/>
                  </a:lnTo>
                  <a:lnTo>
                    <a:pt x="1167409" y="1330647"/>
                  </a:lnTo>
                  <a:lnTo>
                    <a:pt x="1167983" y="1330028"/>
                  </a:lnTo>
                  <a:lnTo>
                    <a:pt x="1168545" y="1329532"/>
                  </a:lnTo>
                  <a:lnTo>
                    <a:pt x="1168814" y="1331498"/>
                  </a:lnTo>
                  <a:lnTo>
                    <a:pt x="1177422" y="1337257"/>
                  </a:lnTo>
                  <a:lnTo>
                    <a:pt x="1178178" y="1337147"/>
                  </a:lnTo>
                  <a:lnTo>
                    <a:pt x="1178984" y="1336396"/>
                  </a:lnTo>
                  <a:lnTo>
                    <a:pt x="1179812" y="1335397"/>
                  </a:lnTo>
                  <a:lnTo>
                    <a:pt x="1180634" y="1334570"/>
                  </a:lnTo>
                  <a:lnTo>
                    <a:pt x="1180518" y="1334202"/>
                  </a:lnTo>
                  <a:lnTo>
                    <a:pt x="1180470" y="1333242"/>
                  </a:lnTo>
                  <a:lnTo>
                    <a:pt x="1180380" y="1332782"/>
                  </a:lnTo>
                  <a:lnTo>
                    <a:pt x="1181237" y="1332066"/>
                  </a:lnTo>
                  <a:lnTo>
                    <a:pt x="1183212" y="1331735"/>
                  </a:lnTo>
                  <a:lnTo>
                    <a:pt x="1181085" y="1330709"/>
                  </a:lnTo>
                  <a:lnTo>
                    <a:pt x="1181448" y="1329972"/>
                  </a:lnTo>
                  <a:lnTo>
                    <a:pt x="1181770" y="1330182"/>
                  </a:lnTo>
                  <a:lnTo>
                    <a:pt x="1182108" y="1330211"/>
                  </a:lnTo>
                  <a:lnTo>
                    <a:pt x="1182494" y="1330090"/>
                  </a:lnTo>
                  <a:lnTo>
                    <a:pt x="1182950" y="1329864"/>
                  </a:lnTo>
                  <a:lnTo>
                    <a:pt x="1179264" y="1328112"/>
                  </a:lnTo>
                  <a:lnTo>
                    <a:pt x="1177940" y="1328274"/>
                  </a:lnTo>
                  <a:lnTo>
                    <a:pt x="1177487" y="1329721"/>
                  </a:lnTo>
                  <a:lnTo>
                    <a:pt x="1176968" y="1329539"/>
                  </a:lnTo>
                  <a:lnTo>
                    <a:pt x="1176560" y="1329182"/>
                  </a:lnTo>
                  <a:lnTo>
                    <a:pt x="1175915" y="1328205"/>
                  </a:lnTo>
                  <a:lnTo>
                    <a:pt x="1176232" y="1327842"/>
                  </a:lnTo>
                  <a:lnTo>
                    <a:pt x="1176468" y="1327520"/>
                  </a:lnTo>
                  <a:lnTo>
                    <a:pt x="1176726" y="1327238"/>
                  </a:lnTo>
                  <a:lnTo>
                    <a:pt x="1177082" y="1327024"/>
                  </a:lnTo>
                  <a:lnTo>
                    <a:pt x="1176812" y="1326248"/>
                  </a:lnTo>
                  <a:lnTo>
                    <a:pt x="1170310" y="1325471"/>
                  </a:lnTo>
                  <a:lnTo>
                    <a:pt x="1166726" y="1326136"/>
                  </a:lnTo>
                  <a:lnTo>
                    <a:pt x="1165568" y="1325463"/>
                  </a:lnTo>
                  <a:lnTo>
                    <a:pt x="1165064" y="1325707"/>
                  </a:lnTo>
                  <a:lnTo>
                    <a:pt x="1164483" y="1326168"/>
                  </a:lnTo>
                  <a:lnTo>
                    <a:pt x="1163982" y="1326374"/>
                  </a:lnTo>
                  <a:lnTo>
                    <a:pt x="1163566" y="1326348"/>
                  </a:lnTo>
                  <a:lnTo>
                    <a:pt x="1163250" y="1326098"/>
                  </a:lnTo>
                  <a:lnTo>
                    <a:pt x="1164137" y="1325132"/>
                  </a:lnTo>
                  <a:lnTo>
                    <a:pt x="1165909" y="1323839"/>
                  </a:lnTo>
                  <a:lnTo>
                    <a:pt x="1166923" y="1322895"/>
                  </a:lnTo>
                  <a:lnTo>
                    <a:pt x="1167007" y="1322454"/>
                  </a:lnTo>
                  <a:lnTo>
                    <a:pt x="1167124" y="1322098"/>
                  </a:lnTo>
                  <a:lnTo>
                    <a:pt x="1167247" y="1321761"/>
                  </a:lnTo>
                  <a:lnTo>
                    <a:pt x="1167369" y="1321374"/>
                  </a:lnTo>
                  <a:lnTo>
                    <a:pt x="1168982" y="1321663"/>
                  </a:lnTo>
                  <a:lnTo>
                    <a:pt x="1170186" y="1322756"/>
                  </a:lnTo>
                  <a:lnTo>
                    <a:pt x="1170490" y="1322149"/>
                  </a:lnTo>
                  <a:lnTo>
                    <a:pt x="1170402" y="1321405"/>
                  </a:lnTo>
                  <a:lnTo>
                    <a:pt x="1170573" y="1320956"/>
                  </a:lnTo>
                  <a:lnTo>
                    <a:pt x="1170957" y="1320603"/>
                  </a:lnTo>
                  <a:lnTo>
                    <a:pt x="1172594" y="1319343"/>
                  </a:lnTo>
                  <a:lnTo>
                    <a:pt x="1173180" y="1319470"/>
                  </a:lnTo>
                  <a:lnTo>
                    <a:pt x="1174055" y="1320554"/>
                  </a:lnTo>
                  <a:lnTo>
                    <a:pt x="1178042" y="1323332"/>
                  </a:lnTo>
                  <a:lnTo>
                    <a:pt x="1178376" y="1322660"/>
                  </a:lnTo>
                  <a:lnTo>
                    <a:pt x="1178284" y="1322243"/>
                  </a:lnTo>
                  <a:lnTo>
                    <a:pt x="1178229" y="1321264"/>
                  </a:lnTo>
                  <a:lnTo>
                    <a:pt x="1178111" y="1320863"/>
                  </a:lnTo>
                  <a:lnTo>
                    <a:pt x="1178984" y="1320767"/>
                  </a:lnTo>
                  <a:lnTo>
                    <a:pt x="1179504" y="1321780"/>
                  </a:lnTo>
                  <a:lnTo>
                    <a:pt x="1180143" y="1324352"/>
                  </a:lnTo>
                  <a:lnTo>
                    <a:pt x="1181821" y="1326489"/>
                  </a:lnTo>
                  <a:lnTo>
                    <a:pt x="1183969" y="1327794"/>
                  </a:lnTo>
                  <a:lnTo>
                    <a:pt x="1183444" y="1325712"/>
                  </a:lnTo>
                  <a:lnTo>
                    <a:pt x="1181084" y="1323003"/>
                  </a:lnTo>
                  <a:lnTo>
                    <a:pt x="1180871" y="1320548"/>
                  </a:lnTo>
                  <a:lnTo>
                    <a:pt x="1181469" y="1319925"/>
                  </a:lnTo>
                  <a:lnTo>
                    <a:pt x="1181135" y="1318969"/>
                  </a:lnTo>
                  <a:lnTo>
                    <a:pt x="1180893" y="1318812"/>
                  </a:lnTo>
                  <a:lnTo>
                    <a:pt x="1181228" y="1318136"/>
                  </a:lnTo>
                  <a:lnTo>
                    <a:pt x="1181560" y="1318282"/>
                  </a:lnTo>
                  <a:lnTo>
                    <a:pt x="1182063" y="1318209"/>
                  </a:lnTo>
                  <a:lnTo>
                    <a:pt x="1182639" y="1317824"/>
                  </a:lnTo>
                  <a:lnTo>
                    <a:pt x="1183184" y="1317046"/>
                  </a:lnTo>
                  <a:lnTo>
                    <a:pt x="1185115" y="1316692"/>
                  </a:lnTo>
                  <a:lnTo>
                    <a:pt x="1184641" y="1315282"/>
                  </a:lnTo>
                  <a:lnTo>
                    <a:pt x="1179300" y="1311685"/>
                  </a:lnTo>
                  <a:lnTo>
                    <a:pt x="1178996" y="1310389"/>
                  </a:lnTo>
                  <a:lnTo>
                    <a:pt x="1180148" y="1311141"/>
                  </a:lnTo>
                  <a:lnTo>
                    <a:pt x="1180866" y="1311044"/>
                  </a:lnTo>
                  <a:lnTo>
                    <a:pt x="1181751" y="1310065"/>
                  </a:lnTo>
                  <a:lnTo>
                    <a:pt x="1181202" y="1309663"/>
                  </a:lnTo>
                  <a:lnTo>
                    <a:pt x="1181161" y="1309409"/>
                  </a:lnTo>
                  <a:lnTo>
                    <a:pt x="1181389" y="1309054"/>
                  </a:lnTo>
                  <a:lnTo>
                    <a:pt x="1181179" y="1308862"/>
                  </a:lnTo>
                  <a:lnTo>
                    <a:pt x="1181074" y="1308647"/>
                  </a:lnTo>
                  <a:lnTo>
                    <a:pt x="1181037" y="1308365"/>
                  </a:lnTo>
                  <a:lnTo>
                    <a:pt x="1181037" y="1307973"/>
                  </a:lnTo>
                  <a:lnTo>
                    <a:pt x="1184440" y="1304240"/>
                  </a:lnTo>
                  <a:lnTo>
                    <a:pt x="1185320" y="1303477"/>
                  </a:lnTo>
                  <a:lnTo>
                    <a:pt x="1186835" y="1303207"/>
                  </a:lnTo>
                  <a:lnTo>
                    <a:pt x="1188835" y="1305232"/>
                  </a:lnTo>
                  <a:lnTo>
                    <a:pt x="1189943" y="1305726"/>
                  </a:lnTo>
                  <a:lnTo>
                    <a:pt x="1194651" y="1303844"/>
                  </a:lnTo>
                  <a:lnTo>
                    <a:pt x="1195165" y="1303984"/>
                  </a:lnTo>
                  <a:lnTo>
                    <a:pt x="1195977" y="1304673"/>
                  </a:lnTo>
                  <a:lnTo>
                    <a:pt x="1196498" y="1304736"/>
                  </a:lnTo>
                  <a:lnTo>
                    <a:pt x="1196835" y="1304472"/>
                  </a:lnTo>
                  <a:lnTo>
                    <a:pt x="1197048" y="1303990"/>
                  </a:lnTo>
                  <a:lnTo>
                    <a:pt x="1197221" y="1303474"/>
                  </a:lnTo>
                  <a:lnTo>
                    <a:pt x="1197464" y="1303041"/>
                  </a:lnTo>
                  <a:lnTo>
                    <a:pt x="1197892" y="1302802"/>
                  </a:lnTo>
                  <a:lnTo>
                    <a:pt x="1198289" y="1302884"/>
                  </a:lnTo>
                  <a:lnTo>
                    <a:pt x="1199318" y="1303830"/>
                  </a:lnTo>
                  <a:lnTo>
                    <a:pt x="1200745" y="1306223"/>
                  </a:lnTo>
                  <a:lnTo>
                    <a:pt x="1200482" y="1306973"/>
                  </a:lnTo>
                  <a:lnTo>
                    <a:pt x="1200020" y="1307836"/>
                  </a:lnTo>
                  <a:lnTo>
                    <a:pt x="1199705" y="1308694"/>
                  </a:lnTo>
                  <a:lnTo>
                    <a:pt x="1199476" y="1310198"/>
                  </a:lnTo>
                  <a:lnTo>
                    <a:pt x="1199270" y="1311138"/>
                  </a:lnTo>
                  <a:lnTo>
                    <a:pt x="1198923" y="1312031"/>
                  </a:lnTo>
                  <a:lnTo>
                    <a:pt x="1198262" y="1313396"/>
                  </a:lnTo>
                  <a:lnTo>
                    <a:pt x="1197857" y="1314964"/>
                  </a:lnTo>
                  <a:lnTo>
                    <a:pt x="1198691" y="1314963"/>
                  </a:lnTo>
                  <a:lnTo>
                    <a:pt x="1200027" y="1314113"/>
                  </a:lnTo>
                  <a:lnTo>
                    <a:pt x="1201132" y="1313147"/>
                  </a:lnTo>
                  <a:lnTo>
                    <a:pt x="1202642" y="1311243"/>
                  </a:lnTo>
                  <a:lnTo>
                    <a:pt x="1203463" y="1309958"/>
                  </a:lnTo>
                  <a:lnTo>
                    <a:pt x="1204058" y="1309590"/>
                  </a:lnTo>
                  <a:lnTo>
                    <a:pt x="1204894" y="1310419"/>
                  </a:lnTo>
                  <a:lnTo>
                    <a:pt x="1204416" y="1307075"/>
                  </a:lnTo>
                  <a:lnTo>
                    <a:pt x="1203172" y="1305030"/>
                  </a:lnTo>
                  <a:lnTo>
                    <a:pt x="1198396" y="1301905"/>
                  </a:lnTo>
                  <a:lnTo>
                    <a:pt x="1196971" y="1299424"/>
                  </a:lnTo>
                  <a:lnTo>
                    <a:pt x="1196058" y="1298626"/>
                  </a:lnTo>
                  <a:lnTo>
                    <a:pt x="1193939" y="1298700"/>
                  </a:lnTo>
                  <a:lnTo>
                    <a:pt x="1193457" y="1298099"/>
                  </a:lnTo>
                  <a:lnTo>
                    <a:pt x="1193709" y="1295821"/>
                  </a:lnTo>
                  <a:lnTo>
                    <a:pt x="1194294" y="1295271"/>
                  </a:lnTo>
                  <a:lnTo>
                    <a:pt x="1194366" y="1294075"/>
                  </a:lnTo>
                  <a:lnTo>
                    <a:pt x="1194296" y="1293704"/>
                  </a:lnTo>
                  <a:lnTo>
                    <a:pt x="1194017" y="1293474"/>
                  </a:lnTo>
                  <a:lnTo>
                    <a:pt x="1197772" y="1291129"/>
                  </a:lnTo>
                  <a:lnTo>
                    <a:pt x="1198660" y="1290752"/>
                  </a:lnTo>
                  <a:lnTo>
                    <a:pt x="1199657" y="1290589"/>
                  </a:lnTo>
                  <a:lnTo>
                    <a:pt x="1200026" y="1291065"/>
                  </a:lnTo>
                  <a:lnTo>
                    <a:pt x="1199048" y="1292581"/>
                  </a:lnTo>
                  <a:lnTo>
                    <a:pt x="1198708" y="1293903"/>
                  </a:lnTo>
                  <a:lnTo>
                    <a:pt x="1197360" y="1296211"/>
                  </a:lnTo>
                  <a:lnTo>
                    <a:pt x="1197517" y="1296832"/>
                  </a:lnTo>
                  <a:lnTo>
                    <a:pt x="1200301" y="1298177"/>
                  </a:lnTo>
                  <a:lnTo>
                    <a:pt x="1200749" y="1298174"/>
                  </a:lnTo>
                  <a:lnTo>
                    <a:pt x="1200938" y="1298042"/>
                  </a:lnTo>
                  <a:lnTo>
                    <a:pt x="1201005" y="1297866"/>
                  </a:lnTo>
                  <a:lnTo>
                    <a:pt x="1201092" y="1297730"/>
                  </a:lnTo>
                  <a:lnTo>
                    <a:pt x="1202970" y="1296519"/>
                  </a:lnTo>
                  <a:lnTo>
                    <a:pt x="1203697" y="1295655"/>
                  </a:lnTo>
                  <a:lnTo>
                    <a:pt x="1204427" y="1294491"/>
                  </a:lnTo>
                  <a:lnTo>
                    <a:pt x="1204994" y="1293264"/>
                  </a:lnTo>
                  <a:lnTo>
                    <a:pt x="1205220" y="1292233"/>
                  </a:lnTo>
                  <a:lnTo>
                    <a:pt x="1207936" y="1291009"/>
                  </a:lnTo>
                  <a:lnTo>
                    <a:pt x="1211329" y="1287940"/>
                  </a:lnTo>
                  <a:lnTo>
                    <a:pt x="1212345" y="1287229"/>
                  </a:lnTo>
                  <a:lnTo>
                    <a:pt x="1213291" y="1286820"/>
                  </a:lnTo>
                  <a:lnTo>
                    <a:pt x="1221221" y="1286612"/>
                  </a:lnTo>
                  <a:lnTo>
                    <a:pt x="1221851" y="1286377"/>
                  </a:lnTo>
                  <a:lnTo>
                    <a:pt x="1222000" y="1287233"/>
                  </a:lnTo>
                  <a:lnTo>
                    <a:pt x="1222616" y="1287840"/>
                  </a:lnTo>
                  <a:lnTo>
                    <a:pt x="1223473" y="1287812"/>
                  </a:lnTo>
                  <a:lnTo>
                    <a:pt x="1224367" y="1286740"/>
                  </a:lnTo>
                  <a:lnTo>
                    <a:pt x="1224748" y="1285454"/>
                  </a:lnTo>
                  <a:lnTo>
                    <a:pt x="1224876" y="1283965"/>
                  </a:lnTo>
                  <a:lnTo>
                    <a:pt x="1224748" y="1282714"/>
                  </a:lnTo>
                  <a:lnTo>
                    <a:pt x="1224345" y="1282138"/>
                  </a:lnTo>
                  <a:lnTo>
                    <a:pt x="1223373" y="1282551"/>
                  </a:lnTo>
                  <a:lnTo>
                    <a:pt x="1221289" y="1285107"/>
                  </a:lnTo>
                  <a:lnTo>
                    <a:pt x="1220174" y="1286030"/>
                  </a:lnTo>
                  <a:lnTo>
                    <a:pt x="1219139" y="1285963"/>
                  </a:lnTo>
                  <a:lnTo>
                    <a:pt x="1218095" y="1285184"/>
                  </a:lnTo>
                  <a:lnTo>
                    <a:pt x="1217286" y="1284022"/>
                  </a:lnTo>
                  <a:lnTo>
                    <a:pt x="1216938" y="1282827"/>
                  </a:lnTo>
                  <a:lnTo>
                    <a:pt x="1218519" y="1282089"/>
                  </a:lnTo>
                  <a:lnTo>
                    <a:pt x="1220011" y="1281733"/>
                  </a:lnTo>
                  <a:lnTo>
                    <a:pt x="1219622" y="1280895"/>
                  </a:lnTo>
                  <a:lnTo>
                    <a:pt x="1216659" y="1279450"/>
                  </a:lnTo>
                  <a:lnTo>
                    <a:pt x="1216255" y="1279558"/>
                  </a:lnTo>
                  <a:lnTo>
                    <a:pt x="1215843" y="1279939"/>
                  </a:lnTo>
                  <a:lnTo>
                    <a:pt x="1215468" y="1280461"/>
                  </a:lnTo>
                  <a:lnTo>
                    <a:pt x="1215110" y="1280879"/>
                  </a:lnTo>
                  <a:lnTo>
                    <a:pt x="1214744" y="1280946"/>
                  </a:lnTo>
                  <a:lnTo>
                    <a:pt x="1214336" y="1280464"/>
                  </a:lnTo>
                  <a:lnTo>
                    <a:pt x="1213921" y="1279027"/>
                  </a:lnTo>
                  <a:lnTo>
                    <a:pt x="1213385" y="1278562"/>
                  </a:lnTo>
                  <a:lnTo>
                    <a:pt x="1212741" y="1278524"/>
                  </a:lnTo>
                  <a:lnTo>
                    <a:pt x="1211953" y="1278740"/>
                  </a:lnTo>
                  <a:lnTo>
                    <a:pt x="1210268" y="1279627"/>
                  </a:lnTo>
                  <a:lnTo>
                    <a:pt x="1210173" y="1280056"/>
                  </a:lnTo>
                  <a:lnTo>
                    <a:pt x="1209855" y="1281092"/>
                  </a:lnTo>
                  <a:lnTo>
                    <a:pt x="1209272" y="1280603"/>
                  </a:lnTo>
                  <a:lnTo>
                    <a:pt x="1208447" y="1280275"/>
                  </a:lnTo>
                  <a:lnTo>
                    <a:pt x="1207477" y="1280352"/>
                  </a:lnTo>
                  <a:lnTo>
                    <a:pt x="1206481" y="1281050"/>
                  </a:lnTo>
                  <a:lnTo>
                    <a:pt x="1206716" y="1281353"/>
                  </a:lnTo>
                  <a:lnTo>
                    <a:pt x="1206761" y="1281740"/>
                  </a:lnTo>
                  <a:lnTo>
                    <a:pt x="1206698" y="1282900"/>
                  </a:lnTo>
                  <a:lnTo>
                    <a:pt x="1205842" y="1283190"/>
                  </a:lnTo>
                  <a:lnTo>
                    <a:pt x="1205341" y="1282789"/>
                  </a:lnTo>
                  <a:lnTo>
                    <a:pt x="1204941" y="1282170"/>
                  </a:lnTo>
                  <a:lnTo>
                    <a:pt x="1204390" y="1281784"/>
                  </a:lnTo>
                  <a:lnTo>
                    <a:pt x="1203688" y="1282060"/>
                  </a:lnTo>
                  <a:lnTo>
                    <a:pt x="1202924" y="1282532"/>
                  </a:lnTo>
                  <a:lnTo>
                    <a:pt x="1202491" y="1282436"/>
                  </a:lnTo>
                  <a:lnTo>
                    <a:pt x="1202790" y="1281009"/>
                  </a:lnTo>
                  <a:lnTo>
                    <a:pt x="1204201" y="1280111"/>
                  </a:lnTo>
                  <a:lnTo>
                    <a:pt x="1205151" y="1279128"/>
                  </a:lnTo>
                  <a:lnTo>
                    <a:pt x="1205700" y="1277787"/>
                  </a:lnTo>
                  <a:lnTo>
                    <a:pt x="1205893" y="1275847"/>
                  </a:lnTo>
                  <a:lnTo>
                    <a:pt x="1206509" y="1275427"/>
                  </a:lnTo>
                  <a:lnTo>
                    <a:pt x="1207946" y="1275176"/>
                  </a:lnTo>
                  <a:lnTo>
                    <a:pt x="1210100" y="1273729"/>
                  </a:lnTo>
                  <a:lnTo>
                    <a:pt x="1213239" y="1273386"/>
                  </a:lnTo>
                  <a:lnTo>
                    <a:pt x="1214449" y="1272884"/>
                  </a:lnTo>
                  <a:lnTo>
                    <a:pt x="1215015" y="1272354"/>
                  </a:lnTo>
                  <a:lnTo>
                    <a:pt x="1216012" y="1271032"/>
                  </a:lnTo>
                  <a:lnTo>
                    <a:pt x="1216318" y="1270832"/>
                  </a:lnTo>
                  <a:lnTo>
                    <a:pt x="1216645" y="1271019"/>
                  </a:lnTo>
                  <a:lnTo>
                    <a:pt x="1216924" y="1271386"/>
                  </a:lnTo>
                  <a:lnTo>
                    <a:pt x="1216975" y="1272039"/>
                  </a:lnTo>
                  <a:lnTo>
                    <a:pt x="1216616" y="1273084"/>
                  </a:lnTo>
                  <a:lnTo>
                    <a:pt x="1215252" y="1275191"/>
                  </a:lnTo>
                  <a:lnTo>
                    <a:pt x="1214394" y="1275338"/>
                  </a:lnTo>
                  <a:lnTo>
                    <a:pt x="1213621" y="1275021"/>
                  </a:lnTo>
                  <a:lnTo>
                    <a:pt x="1212502" y="1275720"/>
                  </a:lnTo>
                  <a:lnTo>
                    <a:pt x="1213398" y="1277414"/>
                  </a:lnTo>
                  <a:lnTo>
                    <a:pt x="1215157" y="1278467"/>
                  </a:lnTo>
                  <a:lnTo>
                    <a:pt x="1217276" y="1278745"/>
                  </a:lnTo>
                  <a:lnTo>
                    <a:pt x="1219239" y="1278121"/>
                  </a:lnTo>
                  <a:lnTo>
                    <a:pt x="1215466" y="1277145"/>
                  </a:lnTo>
                  <a:lnTo>
                    <a:pt x="1215796" y="1276472"/>
                  </a:lnTo>
                  <a:lnTo>
                    <a:pt x="1216315" y="1276375"/>
                  </a:lnTo>
                  <a:lnTo>
                    <a:pt x="1217332" y="1275858"/>
                  </a:lnTo>
                  <a:lnTo>
                    <a:pt x="1217854" y="1275722"/>
                  </a:lnTo>
                  <a:lnTo>
                    <a:pt x="1219975" y="1275990"/>
                  </a:lnTo>
                  <a:lnTo>
                    <a:pt x="1220514" y="1275763"/>
                  </a:lnTo>
                  <a:lnTo>
                    <a:pt x="1221011" y="1275452"/>
                  </a:lnTo>
                  <a:lnTo>
                    <a:pt x="1221502" y="1275236"/>
                  </a:lnTo>
                  <a:lnTo>
                    <a:pt x="1222027" y="1275299"/>
                  </a:lnTo>
                  <a:lnTo>
                    <a:pt x="1222048" y="1275565"/>
                  </a:lnTo>
                  <a:lnTo>
                    <a:pt x="1221824" y="1276586"/>
                  </a:lnTo>
                  <a:lnTo>
                    <a:pt x="1221819" y="1276871"/>
                  </a:lnTo>
                  <a:lnTo>
                    <a:pt x="1222168" y="1276953"/>
                  </a:lnTo>
                  <a:lnTo>
                    <a:pt x="1222972" y="1276669"/>
                  </a:lnTo>
                  <a:lnTo>
                    <a:pt x="1227420" y="1276960"/>
                  </a:lnTo>
                  <a:lnTo>
                    <a:pt x="1227926" y="1277679"/>
                  </a:lnTo>
                  <a:lnTo>
                    <a:pt x="1228069" y="1278971"/>
                  </a:lnTo>
                  <a:lnTo>
                    <a:pt x="1227963" y="1282267"/>
                  </a:lnTo>
                  <a:lnTo>
                    <a:pt x="1227085" y="1283707"/>
                  </a:lnTo>
                  <a:lnTo>
                    <a:pt x="1227533" y="1284773"/>
                  </a:lnTo>
                  <a:lnTo>
                    <a:pt x="1228769" y="1284857"/>
                  </a:lnTo>
                  <a:lnTo>
                    <a:pt x="1230252" y="1283347"/>
                  </a:lnTo>
                  <a:lnTo>
                    <a:pt x="1229086" y="1282797"/>
                  </a:lnTo>
                  <a:lnTo>
                    <a:pt x="1231361" y="1280985"/>
                  </a:lnTo>
                  <a:lnTo>
                    <a:pt x="1232284" y="1282248"/>
                  </a:lnTo>
                  <a:lnTo>
                    <a:pt x="1232995" y="1284002"/>
                  </a:lnTo>
                  <a:lnTo>
                    <a:pt x="1234615" y="1283668"/>
                  </a:lnTo>
                  <a:lnTo>
                    <a:pt x="1234927" y="1280410"/>
                  </a:lnTo>
                  <a:lnTo>
                    <a:pt x="1234691" y="1279441"/>
                  </a:lnTo>
                  <a:lnTo>
                    <a:pt x="1233768" y="1279549"/>
                  </a:lnTo>
                  <a:lnTo>
                    <a:pt x="1232577" y="1279985"/>
                  </a:lnTo>
                  <a:lnTo>
                    <a:pt x="1231642" y="1279786"/>
                  </a:lnTo>
                  <a:lnTo>
                    <a:pt x="1231012" y="1279000"/>
                  </a:lnTo>
                  <a:lnTo>
                    <a:pt x="1230714" y="1277694"/>
                  </a:lnTo>
                  <a:lnTo>
                    <a:pt x="1231610" y="1277565"/>
                  </a:lnTo>
                  <a:lnTo>
                    <a:pt x="1232417" y="1277887"/>
                  </a:lnTo>
                  <a:lnTo>
                    <a:pt x="1233248" y="1277904"/>
                  </a:lnTo>
                  <a:lnTo>
                    <a:pt x="1234217" y="1276871"/>
                  </a:lnTo>
                  <a:lnTo>
                    <a:pt x="1231796" y="1274471"/>
                  </a:lnTo>
                  <a:lnTo>
                    <a:pt x="1230648" y="1274357"/>
                  </a:lnTo>
                  <a:lnTo>
                    <a:pt x="1226755" y="1275000"/>
                  </a:lnTo>
                  <a:lnTo>
                    <a:pt x="1225774" y="1274524"/>
                  </a:lnTo>
                  <a:lnTo>
                    <a:pt x="1226069" y="1273918"/>
                  </a:lnTo>
                  <a:lnTo>
                    <a:pt x="1226601" y="1274082"/>
                  </a:lnTo>
                  <a:lnTo>
                    <a:pt x="1227214" y="1274018"/>
                  </a:lnTo>
                  <a:lnTo>
                    <a:pt x="1228597" y="1273385"/>
                  </a:lnTo>
                  <a:lnTo>
                    <a:pt x="1228481" y="1272609"/>
                  </a:lnTo>
                  <a:lnTo>
                    <a:pt x="1228123" y="1272108"/>
                  </a:lnTo>
                  <a:lnTo>
                    <a:pt x="1227595" y="1271917"/>
                  </a:lnTo>
                  <a:lnTo>
                    <a:pt x="1226648" y="1272233"/>
                  </a:lnTo>
                  <a:lnTo>
                    <a:pt x="1226559" y="1272032"/>
                  </a:lnTo>
                  <a:lnTo>
                    <a:pt x="1226665" y="1271588"/>
                  </a:lnTo>
                  <a:lnTo>
                    <a:pt x="1226960" y="1270937"/>
                  </a:lnTo>
                  <a:lnTo>
                    <a:pt x="1227332" y="1270458"/>
                  </a:lnTo>
                  <a:lnTo>
                    <a:pt x="1227657" y="1270370"/>
                  </a:lnTo>
                  <a:lnTo>
                    <a:pt x="1227962" y="1270402"/>
                  </a:lnTo>
                  <a:lnTo>
                    <a:pt x="1228263" y="1270278"/>
                  </a:lnTo>
                  <a:lnTo>
                    <a:pt x="1229867" y="1269326"/>
                  </a:lnTo>
                  <a:lnTo>
                    <a:pt x="1231036" y="1269639"/>
                  </a:lnTo>
                  <a:lnTo>
                    <a:pt x="1232986" y="1271318"/>
                  </a:lnTo>
                  <a:lnTo>
                    <a:pt x="1233493" y="1271272"/>
                  </a:lnTo>
                  <a:lnTo>
                    <a:pt x="1234750" y="1270627"/>
                  </a:lnTo>
                  <a:lnTo>
                    <a:pt x="1235259" y="1270659"/>
                  </a:lnTo>
                  <a:lnTo>
                    <a:pt x="1235639" y="1271179"/>
                  </a:lnTo>
                  <a:lnTo>
                    <a:pt x="1235818" y="1272339"/>
                  </a:lnTo>
                  <a:lnTo>
                    <a:pt x="1236171" y="1272821"/>
                  </a:lnTo>
                  <a:lnTo>
                    <a:pt x="1238756" y="1272991"/>
                  </a:lnTo>
                  <a:lnTo>
                    <a:pt x="1239860" y="1273539"/>
                  </a:lnTo>
                  <a:lnTo>
                    <a:pt x="1239947" y="1275423"/>
                  </a:lnTo>
                  <a:lnTo>
                    <a:pt x="1237610" y="1276499"/>
                  </a:lnTo>
                  <a:lnTo>
                    <a:pt x="1236561" y="1277352"/>
                  </a:lnTo>
                  <a:lnTo>
                    <a:pt x="1236717" y="1278047"/>
                  </a:lnTo>
                  <a:lnTo>
                    <a:pt x="1237199" y="1278647"/>
                  </a:lnTo>
                  <a:lnTo>
                    <a:pt x="1237542" y="1279784"/>
                  </a:lnTo>
                  <a:lnTo>
                    <a:pt x="1237635" y="1281186"/>
                  </a:lnTo>
                  <a:lnTo>
                    <a:pt x="1237391" y="1282560"/>
                  </a:lnTo>
                  <a:lnTo>
                    <a:pt x="1236688" y="1283985"/>
                  </a:lnTo>
                  <a:lnTo>
                    <a:pt x="1235731" y="1285374"/>
                  </a:lnTo>
                  <a:lnTo>
                    <a:pt x="1234767" y="1286504"/>
                  </a:lnTo>
                  <a:lnTo>
                    <a:pt x="1234049" y="1287157"/>
                  </a:lnTo>
                  <a:lnTo>
                    <a:pt x="1232893" y="1287295"/>
                  </a:lnTo>
                  <a:lnTo>
                    <a:pt x="1231147" y="1285761"/>
                  </a:lnTo>
                  <a:lnTo>
                    <a:pt x="1229668" y="1286307"/>
                  </a:lnTo>
                  <a:lnTo>
                    <a:pt x="1230003" y="1287386"/>
                  </a:lnTo>
                  <a:lnTo>
                    <a:pt x="1231588" y="1288132"/>
                  </a:lnTo>
                  <a:lnTo>
                    <a:pt x="1231994" y="1289125"/>
                  </a:lnTo>
                  <a:lnTo>
                    <a:pt x="1231208" y="1289299"/>
                  </a:lnTo>
                  <a:lnTo>
                    <a:pt x="1230022" y="1288524"/>
                  </a:lnTo>
                  <a:lnTo>
                    <a:pt x="1229434" y="1289131"/>
                  </a:lnTo>
                  <a:lnTo>
                    <a:pt x="1228735" y="1289955"/>
                  </a:lnTo>
                  <a:lnTo>
                    <a:pt x="1228034" y="1289926"/>
                  </a:lnTo>
                  <a:lnTo>
                    <a:pt x="1227315" y="1289676"/>
                  </a:lnTo>
                  <a:lnTo>
                    <a:pt x="1226571" y="1289809"/>
                  </a:lnTo>
                  <a:lnTo>
                    <a:pt x="1227806" y="1291801"/>
                  </a:lnTo>
                  <a:lnTo>
                    <a:pt x="1229443" y="1292891"/>
                  </a:lnTo>
                  <a:lnTo>
                    <a:pt x="1229422" y="1293339"/>
                  </a:lnTo>
                  <a:lnTo>
                    <a:pt x="1228986" y="1294155"/>
                  </a:lnTo>
                  <a:lnTo>
                    <a:pt x="1228420" y="1295013"/>
                  </a:lnTo>
                  <a:lnTo>
                    <a:pt x="1228019" y="1295534"/>
                  </a:lnTo>
                  <a:lnTo>
                    <a:pt x="1227269" y="1296162"/>
                  </a:lnTo>
                  <a:lnTo>
                    <a:pt x="1226805" y="1296162"/>
                  </a:lnTo>
                  <a:lnTo>
                    <a:pt x="1226075" y="1295523"/>
                  </a:lnTo>
                  <a:lnTo>
                    <a:pt x="1225181" y="1295605"/>
                  </a:lnTo>
                  <a:lnTo>
                    <a:pt x="1224983" y="1296621"/>
                  </a:lnTo>
                  <a:lnTo>
                    <a:pt x="1225274" y="1297867"/>
                  </a:lnTo>
                  <a:lnTo>
                    <a:pt x="1225854" y="1298653"/>
                  </a:lnTo>
                  <a:lnTo>
                    <a:pt x="1226015" y="1299093"/>
                  </a:lnTo>
                  <a:lnTo>
                    <a:pt x="1225686" y="1299761"/>
                  </a:lnTo>
                  <a:lnTo>
                    <a:pt x="1224984" y="1300728"/>
                  </a:lnTo>
                  <a:lnTo>
                    <a:pt x="1225040" y="1301380"/>
                  </a:lnTo>
                  <a:lnTo>
                    <a:pt x="1225233" y="1301969"/>
                  </a:lnTo>
                  <a:lnTo>
                    <a:pt x="1225552" y="1302463"/>
                  </a:lnTo>
                  <a:lnTo>
                    <a:pt x="1225977" y="1302840"/>
                  </a:lnTo>
                  <a:lnTo>
                    <a:pt x="1224833" y="1303383"/>
                  </a:lnTo>
                  <a:lnTo>
                    <a:pt x="1223145" y="1304567"/>
                  </a:lnTo>
                  <a:lnTo>
                    <a:pt x="1221559" y="1306138"/>
                  </a:lnTo>
                  <a:lnTo>
                    <a:pt x="1220698" y="1307883"/>
                  </a:lnTo>
                  <a:lnTo>
                    <a:pt x="1220018" y="1307686"/>
                  </a:lnTo>
                  <a:lnTo>
                    <a:pt x="1219515" y="1308278"/>
                  </a:lnTo>
                  <a:lnTo>
                    <a:pt x="1219151" y="1309394"/>
                  </a:lnTo>
                  <a:lnTo>
                    <a:pt x="1218898" y="1310764"/>
                  </a:lnTo>
                  <a:lnTo>
                    <a:pt x="1218581" y="1311541"/>
                  </a:lnTo>
                  <a:lnTo>
                    <a:pt x="1217971" y="1312231"/>
                  </a:lnTo>
                  <a:lnTo>
                    <a:pt x="1216618" y="1313409"/>
                  </a:lnTo>
                  <a:lnTo>
                    <a:pt x="1216790" y="1315343"/>
                  </a:lnTo>
                  <a:lnTo>
                    <a:pt x="1219199" y="1316056"/>
                  </a:lnTo>
                  <a:lnTo>
                    <a:pt x="1219636" y="1316936"/>
                  </a:lnTo>
                  <a:lnTo>
                    <a:pt x="1219860" y="1318843"/>
                  </a:lnTo>
                  <a:lnTo>
                    <a:pt x="1220964" y="1320068"/>
                  </a:lnTo>
                  <a:lnTo>
                    <a:pt x="1222497" y="1320434"/>
                  </a:lnTo>
                  <a:lnTo>
                    <a:pt x="1223992" y="1319796"/>
                  </a:lnTo>
                  <a:lnTo>
                    <a:pt x="1225615" y="1318726"/>
                  </a:lnTo>
                  <a:lnTo>
                    <a:pt x="1226815" y="1318679"/>
                  </a:lnTo>
                  <a:lnTo>
                    <a:pt x="1230985" y="1321013"/>
                  </a:lnTo>
                  <a:lnTo>
                    <a:pt x="1231049" y="1321451"/>
                  </a:lnTo>
                  <a:lnTo>
                    <a:pt x="1230891" y="1322267"/>
                  </a:lnTo>
                  <a:lnTo>
                    <a:pt x="1230842" y="1323080"/>
                  </a:lnTo>
                  <a:lnTo>
                    <a:pt x="1231223" y="1323521"/>
                  </a:lnTo>
                  <a:lnTo>
                    <a:pt x="1230802" y="1323946"/>
                  </a:lnTo>
                  <a:lnTo>
                    <a:pt x="1229770" y="1325396"/>
                  </a:lnTo>
                  <a:lnTo>
                    <a:pt x="1229886" y="1325601"/>
                  </a:lnTo>
                  <a:lnTo>
                    <a:pt x="1230047" y="1326118"/>
                  </a:lnTo>
                  <a:lnTo>
                    <a:pt x="1230160" y="1326322"/>
                  </a:lnTo>
                  <a:lnTo>
                    <a:pt x="1228143" y="1327288"/>
                  </a:lnTo>
                  <a:lnTo>
                    <a:pt x="1222745" y="1328741"/>
                  </a:lnTo>
                  <a:lnTo>
                    <a:pt x="1221085" y="1330036"/>
                  </a:lnTo>
                  <a:lnTo>
                    <a:pt x="1219878" y="1331925"/>
                  </a:lnTo>
                  <a:lnTo>
                    <a:pt x="1218667" y="1334034"/>
                  </a:lnTo>
                  <a:lnTo>
                    <a:pt x="1216996" y="1335977"/>
                  </a:lnTo>
                  <a:lnTo>
                    <a:pt x="1215309" y="1336959"/>
                  </a:lnTo>
                  <a:lnTo>
                    <a:pt x="1211759" y="1337844"/>
                  </a:lnTo>
                  <a:lnTo>
                    <a:pt x="1209148" y="1339076"/>
                  </a:lnTo>
                  <a:lnTo>
                    <a:pt x="1206814" y="1340629"/>
                  </a:lnTo>
                  <a:lnTo>
                    <a:pt x="1205920" y="1341618"/>
                  </a:lnTo>
                  <a:lnTo>
                    <a:pt x="1205246" y="1342983"/>
                  </a:lnTo>
                  <a:lnTo>
                    <a:pt x="1204891" y="1344280"/>
                  </a:lnTo>
                  <a:lnTo>
                    <a:pt x="1204407" y="1346700"/>
                  </a:lnTo>
                  <a:lnTo>
                    <a:pt x="1201660" y="1345278"/>
                  </a:lnTo>
                  <a:lnTo>
                    <a:pt x="1200529" y="1345633"/>
                  </a:lnTo>
                  <a:lnTo>
                    <a:pt x="1200656" y="1347128"/>
                  </a:lnTo>
                  <a:lnTo>
                    <a:pt x="1201576" y="1350749"/>
                  </a:lnTo>
                  <a:lnTo>
                    <a:pt x="1201976" y="1351296"/>
                  </a:lnTo>
                  <a:lnTo>
                    <a:pt x="1203419" y="1351883"/>
                  </a:lnTo>
                  <a:lnTo>
                    <a:pt x="1204194" y="1353457"/>
                  </a:lnTo>
                  <a:lnTo>
                    <a:pt x="1204743" y="1354092"/>
                  </a:lnTo>
                  <a:lnTo>
                    <a:pt x="1210259" y="1357399"/>
                  </a:lnTo>
                  <a:lnTo>
                    <a:pt x="1213005" y="1357342"/>
                  </a:lnTo>
                  <a:lnTo>
                    <a:pt x="1216015" y="1354570"/>
                  </a:lnTo>
                  <a:lnTo>
                    <a:pt x="1215139" y="1355817"/>
                  </a:lnTo>
                  <a:lnTo>
                    <a:pt x="1214906" y="1358381"/>
                  </a:lnTo>
                  <a:lnTo>
                    <a:pt x="1214956" y="1359657"/>
                  </a:lnTo>
                  <a:lnTo>
                    <a:pt x="1215417" y="1360139"/>
                  </a:lnTo>
                  <a:lnTo>
                    <a:pt x="1216209" y="1359556"/>
                  </a:lnTo>
                  <a:lnTo>
                    <a:pt x="1216532" y="1358423"/>
                  </a:lnTo>
                  <a:lnTo>
                    <a:pt x="1216562" y="1356473"/>
                  </a:lnTo>
                  <a:lnTo>
                    <a:pt x="1217691" y="1354969"/>
                  </a:lnTo>
                  <a:lnTo>
                    <a:pt x="1218456" y="1354437"/>
                  </a:lnTo>
                  <a:lnTo>
                    <a:pt x="1218988" y="1354632"/>
                  </a:lnTo>
                  <a:lnTo>
                    <a:pt x="1219413" y="1355314"/>
                  </a:lnTo>
                  <a:lnTo>
                    <a:pt x="1219361" y="1355629"/>
                  </a:lnTo>
                  <a:lnTo>
                    <a:pt x="1219199" y="1356143"/>
                  </a:lnTo>
                  <a:lnTo>
                    <a:pt x="1219159" y="1356675"/>
                  </a:lnTo>
                  <a:lnTo>
                    <a:pt x="1221071" y="1359299"/>
                  </a:lnTo>
                  <a:lnTo>
                    <a:pt x="1221472" y="1359556"/>
                  </a:lnTo>
                  <a:lnTo>
                    <a:pt x="1221827" y="1359512"/>
                  </a:lnTo>
                  <a:lnTo>
                    <a:pt x="1222587" y="1358855"/>
                  </a:lnTo>
                  <a:lnTo>
                    <a:pt x="1223015" y="1358687"/>
                  </a:lnTo>
                  <a:lnTo>
                    <a:pt x="1223599" y="1358758"/>
                  </a:lnTo>
                  <a:lnTo>
                    <a:pt x="1224251" y="1359095"/>
                  </a:lnTo>
                  <a:lnTo>
                    <a:pt x="1224410" y="1359893"/>
                  </a:lnTo>
                  <a:lnTo>
                    <a:pt x="1223522" y="1361312"/>
                  </a:lnTo>
                  <a:lnTo>
                    <a:pt x="1225698" y="1361147"/>
                  </a:lnTo>
                  <a:lnTo>
                    <a:pt x="1226644" y="1361371"/>
                  </a:lnTo>
                  <a:lnTo>
                    <a:pt x="1227444" y="1362279"/>
                  </a:lnTo>
                  <a:lnTo>
                    <a:pt x="1227512" y="1362677"/>
                  </a:lnTo>
                  <a:lnTo>
                    <a:pt x="1227520" y="1363239"/>
                  </a:lnTo>
                  <a:lnTo>
                    <a:pt x="1227633" y="1363790"/>
                  </a:lnTo>
                  <a:lnTo>
                    <a:pt x="1228015" y="1364179"/>
                  </a:lnTo>
                  <a:lnTo>
                    <a:pt x="1228641" y="1364203"/>
                  </a:lnTo>
                  <a:lnTo>
                    <a:pt x="1230146" y="1363754"/>
                  </a:lnTo>
                  <a:lnTo>
                    <a:pt x="1232968" y="1364295"/>
                  </a:lnTo>
                  <a:lnTo>
                    <a:pt x="1240308" y="1363151"/>
                  </a:lnTo>
                  <a:lnTo>
                    <a:pt x="1239284" y="1361958"/>
                  </a:lnTo>
                  <a:lnTo>
                    <a:pt x="1238965" y="1361067"/>
                  </a:lnTo>
                  <a:lnTo>
                    <a:pt x="1239241" y="1359797"/>
                  </a:lnTo>
                  <a:lnTo>
                    <a:pt x="1240336" y="1357146"/>
                  </a:lnTo>
                  <a:lnTo>
                    <a:pt x="1241074" y="1355942"/>
                  </a:lnTo>
                  <a:lnTo>
                    <a:pt x="1241861" y="1355650"/>
                  </a:lnTo>
                  <a:lnTo>
                    <a:pt x="1242549" y="1355636"/>
                  </a:lnTo>
                  <a:lnTo>
                    <a:pt x="1245307" y="1354732"/>
                  </a:lnTo>
                  <a:lnTo>
                    <a:pt x="1248699" y="1355427"/>
                  </a:lnTo>
                  <a:lnTo>
                    <a:pt x="1248151" y="1356003"/>
                  </a:lnTo>
                  <a:lnTo>
                    <a:pt x="1251171" y="1358168"/>
                  </a:lnTo>
                  <a:lnTo>
                    <a:pt x="1251790" y="1357901"/>
                  </a:lnTo>
                  <a:lnTo>
                    <a:pt x="1252360" y="1356851"/>
                  </a:lnTo>
                  <a:lnTo>
                    <a:pt x="1252923" y="1355491"/>
                  </a:lnTo>
                  <a:lnTo>
                    <a:pt x="1253512" y="1354299"/>
                  </a:lnTo>
                  <a:lnTo>
                    <a:pt x="1253945" y="1353691"/>
                  </a:lnTo>
                  <a:lnTo>
                    <a:pt x="1254187" y="1353476"/>
                  </a:lnTo>
                  <a:lnTo>
                    <a:pt x="1254369" y="1353367"/>
                  </a:lnTo>
                  <a:lnTo>
                    <a:pt x="1255075" y="1352597"/>
                  </a:lnTo>
                  <a:lnTo>
                    <a:pt x="1255548" y="1352178"/>
                  </a:lnTo>
                  <a:lnTo>
                    <a:pt x="1256009" y="1351699"/>
                  </a:lnTo>
                  <a:lnTo>
                    <a:pt x="1256412" y="1351039"/>
                  </a:lnTo>
                  <a:lnTo>
                    <a:pt x="1256876" y="1349528"/>
                  </a:lnTo>
                  <a:lnTo>
                    <a:pt x="1256857" y="1347417"/>
                  </a:lnTo>
                  <a:lnTo>
                    <a:pt x="1257100" y="1346398"/>
                  </a:lnTo>
                  <a:lnTo>
                    <a:pt x="1257925" y="1345081"/>
                  </a:lnTo>
                  <a:lnTo>
                    <a:pt x="1258786" y="1344375"/>
                  </a:lnTo>
                  <a:lnTo>
                    <a:pt x="1259650" y="1343914"/>
                  </a:lnTo>
                  <a:lnTo>
                    <a:pt x="1260479" y="1343321"/>
                  </a:lnTo>
                  <a:lnTo>
                    <a:pt x="1261438" y="1342278"/>
                  </a:lnTo>
                  <a:lnTo>
                    <a:pt x="1261966" y="1341444"/>
                  </a:lnTo>
                  <a:lnTo>
                    <a:pt x="1263988" y="1336594"/>
                  </a:lnTo>
                  <a:lnTo>
                    <a:pt x="1264605" y="1334420"/>
                  </a:lnTo>
                  <a:lnTo>
                    <a:pt x="1264734" y="1332585"/>
                  </a:lnTo>
                  <a:lnTo>
                    <a:pt x="1264307" y="1331108"/>
                  </a:lnTo>
                  <a:lnTo>
                    <a:pt x="1267833" y="1330569"/>
                  </a:lnTo>
                  <a:lnTo>
                    <a:pt x="1269101" y="1329955"/>
                  </a:lnTo>
                  <a:lnTo>
                    <a:pt x="1272003" y="1327951"/>
                  </a:lnTo>
                  <a:lnTo>
                    <a:pt x="1273316" y="1327361"/>
                  </a:lnTo>
                  <a:lnTo>
                    <a:pt x="1274471" y="1327417"/>
                  </a:lnTo>
                  <a:lnTo>
                    <a:pt x="1276838" y="1332697"/>
                  </a:lnTo>
                  <a:lnTo>
                    <a:pt x="1278634" y="1334471"/>
                  </a:lnTo>
                  <a:lnTo>
                    <a:pt x="1280894" y="1331868"/>
                  </a:lnTo>
                  <a:lnTo>
                    <a:pt x="1281227" y="1331123"/>
                  </a:lnTo>
                  <a:lnTo>
                    <a:pt x="1281646" y="1331612"/>
                  </a:lnTo>
                  <a:lnTo>
                    <a:pt x="1282220" y="1332937"/>
                  </a:lnTo>
                  <a:lnTo>
                    <a:pt x="1282727" y="1333410"/>
                  </a:lnTo>
                  <a:lnTo>
                    <a:pt x="1284181" y="1333615"/>
                  </a:lnTo>
                  <a:lnTo>
                    <a:pt x="1284795" y="1333945"/>
                  </a:lnTo>
                  <a:lnTo>
                    <a:pt x="1285742" y="1335857"/>
                  </a:lnTo>
                  <a:lnTo>
                    <a:pt x="1287777" y="1336271"/>
                  </a:lnTo>
                  <a:lnTo>
                    <a:pt x="1288983" y="1338102"/>
                  </a:lnTo>
                  <a:lnTo>
                    <a:pt x="1293943" y="1338794"/>
                  </a:lnTo>
                  <a:lnTo>
                    <a:pt x="1299744" y="1342420"/>
                  </a:lnTo>
                  <a:lnTo>
                    <a:pt x="1305060" y="1342990"/>
                  </a:lnTo>
                  <a:lnTo>
                    <a:pt x="1317349" y="1351657"/>
                  </a:lnTo>
                  <a:lnTo>
                    <a:pt x="1319422" y="1354836"/>
                  </a:lnTo>
                  <a:lnTo>
                    <a:pt x="1323900" y="1356997"/>
                  </a:lnTo>
                  <a:lnTo>
                    <a:pt x="1331687" y="1368650"/>
                  </a:lnTo>
                  <a:lnTo>
                    <a:pt x="1339571" y="1380279"/>
                  </a:lnTo>
                  <a:lnTo>
                    <a:pt x="1341263" y="1388830"/>
                  </a:lnTo>
                  <a:lnTo>
                    <a:pt x="1341823" y="1391621"/>
                  </a:lnTo>
                  <a:lnTo>
                    <a:pt x="1349437" y="1409557"/>
                  </a:lnTo>
                  <a:lnTo>
                    <a:pt x="1352968" y="1413178"/>
                  </a:lnTo>
                  <a:lnTo>
                    <a:pt x="1354534" y="1416720"/>
                  </a:lnTo>
                  <a:lnTo>
                    <a:pt x="1357037" y="1419588"/>
                  </a:lnTo>
                  <a:lnTo>
                    <a:pt x="1364575" y="1422469"/>
                  </a:lnTo>
                  <a:lnTo>
                    <a:pt x="1366092" y="1425103"/>
                  </a:lnTo>
                  <a:lnTo>
                    <a:pt x="1374082" y="1430994"/>
                  </a:lnTo>
                  <a:lnTo>
                    <a:pt x="1381596" y="1434811"/>
                  </a:lnTo>
                  <a:lnTo>
                    <a:pt x="1394115" y="1444101"/>
                  </a:lnTo>
                  <a:lnTo>
                    <a:pt x="1400288" y="1449902"/>
                  </a:lnTo>
                  <a:lnTo>
                    <a:pt x="1400598" y="1450790"/>
                  </a:lnTo>
                  <a:lnTo>
                    <a:pt x="1400777" y="1452803"/>
                  </a:lnTo>
                  <a:lnTo>
                    <a:pt x="1403569" y="1462235"/>
                  </a:lnTo>
                  <a:lnTo>
                    <a:pt x="1411026" y="1470824"/>
                  </a:lnTo>
                  <a:lnTo>
                    <a:pt x="1415655" y="1478655"/>
                  </a:lnTo>
                  <a:lnTo>
                    <a:pt x="1422140" y="1484411"/>
                  </a:lnTo>
                  <a:lnTo>
                    <a:pt x="1427286" y="1487176"/>
                  </a:lnTo>
                  <a:lnTo>
                    <a:pt x="1437728" y="1494731"/>
                  </a:lnTo>
                  <a:lnTo>
                    <a:pt x="1439384" y="1498197"/>
                  </a:lnTo>
                  <a:lnTo>
                    <a:pt x="1443331" y="1503174"/>
                  </a:lnTo>
                  <a:lnTo>
                    <a:pt x="1444767" y="1503731"/>
                  </a:lnTo>
                  <a:lnTo>
                    <a:pt x="1447284" y="1503201"/>
                  </a:lnTo>
                  <a:lnTo>
                    <a:pt x="1448053" y="1503245"/>
                  </a:lnTo>
                  <a:lnTo>
                    <a:pt x="1449714" y="1504004"/>
                  </a:lnTo>
                  <a:lnTo>
                    <a:pt x="1450628" y="1504109"/>
                  </a:lnTo>
                  <a:lnTo>
                    <a:pt x="1451603" y="1503629"/>
                  </a:lnTo>
                  <a:lnTo>
                    <a:pt x="1451420" y="1502796"/>
                  </a:lnTo>
                  <a:lnTo>
                    <a:pt x="1450744" y="1501402"/>
                  </a:lnTo>
                  <a:lnTo>
                    <a:pt x="1450734" y="1500279"/>
                  </a:lnTo>
                  <a:lnTo>
                    <a:pt x="1452294" y="1500114"/>
                  </a:lnTo>
                  <a:lnTo>
                    <a:pt x="1453218" y="1501290"/>
                  </a:lnTo>
                  <a:lnTo>
                    <a:pt x="1454602" y="1507058"/>
                  </a:lnTo>
                  <a:lnTo>
                    <a:pt x="1454961" y="1507733"/>
                  </a:lnTo>
                  <a:lnTo>
                    <a:pt x="1455471" y="1508114"/>
                  </a:lnTo>
                  <a:lnTo>
                    <a:pt x="1455787" y="1508091"/>
                  </a:lnTo>
                  <a:lnTo>
                    <a:pt x="1457101" y="1507429"/>
                  </a:lnTo>
                  <a:lnTo>
                    <a:pt x="1457540" y="1507414"/>
                  </a:lnTo>
                  <a:lnTo>
                    <a:pt x="1457806" y="1507875"/>
                  </a:lnTo>
                  <a:lnTo>
                    <a:pt x="1458014" y="1508508"/>
                  </a:lnTo>
                  <a:lnTo>
                    <a:pt x="1458261" y="1509024"/>
                  </a:lnTo>
                  <a:lnTo>
                    <a:pt x="1468293" y="1514798"/>
                  </a:lnTo>
                  <a:lnTo>
                    <a:pt x="1470134" y="1514985"/>
                  </a:lnTo>
                  <a:lnTo>
                    <a:pt x="1471094" y="1513162"/>
                  </a:lnTo>
                  <a:lnTo>
                    <a:pt x="1472080" y="1513533"/>
                  </a:lnTo>
                  <a:lnTo>
                    <a:pt x="1473986" y="1514966"/>
                  </a:lnTo>
                  <a:lnTo>
                    <a:pt x="1476063" y="1518589"/>
                  </a:lnTo>
                  <a:lnTo>
                    <a:pt x="1476670" y="1520889"/>
                  </a:lnTo>
                  <a:lnTo>
                    <a:pt x="1476914" y="1521274"/>
                  </a:lnTo>
                  <a:lnTo>
                    <a:pt x="1485073" y="1526346"/>
                  </a:lnTo>
                  <a:lnTo>
                    <a:pt x="1486473" y="1525836"/>
                  </a:lnTo>
                  <a:lnTo>
                    <a:pt x="1481860" y="1519945"/>
                  </a:lnTo>
                  <a:lnTo>
                    <a:pt x="1481608" y="1517278"/>
                  </a:lnTo>
                  <a:lnTo>
                    <a:pt x="1483118" y="1517752"/>
                  </a:lnTo>
                  <a:lnTo>
                    <a:pt x="1483346" y="1517041"/>
                  </a:lnTo>
                  <a:lnTo>
                    <a:pt x="1476993" y="1507941"/>
                  </a:lnTo>
                  <a:lnTo>
                    <a:pt x="1476768" y="1507053"/>
                  </a:lnTo>
                  <a:lnTo>
                    <a:pt x="1477435" y="1505716"/>
                  </a:lnTo>
                  <a:lnTo>
                    <a:pt x="1478534" y="1504861"/>
                  </a:lnTo>
                  <a:lnTo>
                    <a:pt x="1479826" y="1504556"/>
                  </a:lnTo>
                  <a:lnTo>
                    <a:pt x="1481953" y="1504796"/>
                  </a:lnTo>
                  <a:lnTo>
                    <a:pt x="1483833" y="1505930"/>
                  </a:lnTo>
                  <a:lnTo>
                    <a:pt x="1491433" y="1514543"/>
                  </a:lnTo>
                  <a:lnTo>
                    <a:pt x="1492438" y="1515115"/>
                  </a:lnTo>
                  <a:lnTo>
                    <a:pt x="1492957" y="1515048"/>
                  </a:lnTo>
                  <a:lnTo>
                    <a:pt x="1493967" y="1514328"/>
                  </a:lnTo>
                  <a:lnTo>
                    <a:pt x="1494412" y="1514242"/>
                  </a:lnTo>
                  <a:lnTo>
                    <a:pt x="1496953" y="1515027"/>
                  </a:lnTo>
                  <a:lnTo>
                    <a:pt x="1496481" y="1513666"/>
                  </a:lnTo>
                  <a:lnTo>
                    <a:pt x="1494303" y="1511010"/>
                  </a:lnTo>
                  <a:lnTo>
                    <a:pt x="1493832" y="1509980"/>
                  </a:lnTo>
                  <a:lnTo>
                    <a:pt x="1493119" y="1507444"/>
                  </a:lnTo>
                  <a:lnTo>
                    <a:pt x="1492634" y="1506510"/>
                  </a:lnTo>
                  <a:lnTo>
                    <a:pt x="1493792" y="1506064"/>
                  </a:lnTo>
                  <a:lnTo>
                    <a:pt x="1497449" y="1509344"/>
                  </a:lnTo>
                  <a:lnTo>
                    <a:pt x="1499001" y="1511972"/>
                  </a:lnTo>
                  <a:lnTo>
                    <a:pt x="1499935" y="1512748"/>
                  </a:lnTo>
                  <a:lnTo>
                    <a:pt x="1504902" y="1513488"/>
                  </a:lnTo>
                  <a:lnTo>
                    <a:pt x="1505561" y="1514065"/>
                  </a:lnTo>
                  <a:lnTo>
                    <a:pt x="1507341" y="1517567"/>
                  </a:lnTo>
                  <a:lnTo>
                    <a:pt x="1507865" y="1518005"/>
                  </a:lnTo>
                  <a:lnTo>
                    <a:pt x="1509252" y="1518559"/>
                  </a:lnTo>
                  <a:lnTo>
                    <a:pt x="1509561" y="1519224"/>
                  </a:lnTo>
                  <a:lnTo>
                    <a:pt x="1509749" y="1519829"/>
                  </a:lnTo>
                  <a:lnTo>
                    <a:pt x="1510969" y="1521498"/>
                  </a:lnTo>
                  <a:lnTo>
                    <a:pt x="1516447" y="1526038"/>
                  </a:lnTo>
                  <a:lnTo>
                    <a:pt x="1518839" y="1531231"/>
                  </a:lnTo>
                  <a:lnTo>
                    <a:pt x="1520620" y="1532232"/>
                  </a:lnTo>
                  <a:lnTo>
                    <a:pt x="1520816" y="1531585"/>
                  </a:lnTo>
                  <a:lnTo>
                    <a:pt x="1520715" y="1531374"/>
                  </a:lnTo>
                  <a:lnTo>
                    <a:pt x="1520537" y="1530654"/>
                  </a:lnTo>
                  <a:lnTo>
                    <a:pt x="1522422" y="1530159"/>
                  </a:lnTo>
                  <a:lnTo>
                    <a:pt x="1523954" y="1531492"/>
                  </a:lnTo>
                  <a:lnTo>
                    <a:pt x="1528250" y="1538844"/>
                  </a:lnTo>
                  <a:lnTo>
                    <a:pt x="1528823" y="1540905"/>
                  </a:lnTo>
                  <a:lnTo>
                    <a:pt x="1529118" y="1543347"/>
                  </a:lnTo>
                  <a:lnTo>
                    <a:pt x="1529724" y="1545940"/>
                  </a:lnTo>
                  <a:lnTo>
                    <a:pt x="1536876" y="1552334"/>
                  </a:lnTo>
                  <a:lnTo>
                    <a:pt x="1539103" y="1556382"/>
                  </a:lnTo>
                  <a:lnTo>
                    <a:pt x="1538688" y="1556624"/>
                  </a:lnTo>
                  <a:lnTo>
                    <a:pt x="1538294" y="1557043"/>
                  </a:lnTo>
                  <a:lnTo>
                    <a:pt x="1537410" y="1558229"/>
                  </a:lnTo>
                  <a:lnTo>
                    <a:pt x="1538209" y="1560256"/>
                  </a:lnTo>
                  <a:lnTo>
                    <a:pt x="1538494" y="1561436"/>
                  </a:lnTo>
                  <a:lnTo>
                    <a:pt x="1538369" y="1562769"/>
                  </a:lnTo>
                  <a:lnTo>
                    <a:pt x="1538427" y="1564172"/>
                  </a:lnTo>
                  <a:lnTo>
                    <a:pt x="1539113" y="1565494"/>
                  </a:lnTo>
                  <a:lnTo>
                    <a:pt x="1544718" y="1571059"/>
                  </a:lnTo>
                  <a:lnTo>
                    <a:pt x="1545177" y="1572084"/>
                  </a:lnTo>
                  <a:lnTo>
                    <a:pt x="1544631" y="1573444"/>
                  </a:lnTo>
                  <a:lnTo>
                    <a:pt x="1544536" y="1574775"/>
                  </a:lnTo>
                  <a:lnTo>
                    <a:pt x="1544660" y="1575789"/>
                  </a:lnTo>
                  <a:lnTo>
                    <a:pt x="1544998" y="1576456"/>
                  </a:lnTo>
                  <a:lnTo>
                    <a:pt x="1545511" y="1576793"/>
                  </a:lnTo>
                  <a:lnTo>
                    <a:pt x="1545948" y="1577285"/>
                  </a:lnTo>
                  <a:lnTo>
                    <a:pt x="1546399" y="1579008"/>
                  </a:lnTo>
                  <a:lnTo>
                    <a:pt x="1546735" y="1579457"/>
                  </a:lnTo>
                  <a:lnTo>
                    <a:pt x="1547037" y="1580497"/>
                  </a:lnTo>
                  <a:lnTo>
                    <a:pt x="1546825" y="1582625"/>
                  </a:lnTo>
                  <a:lnTo>
                    <a:pt x="1546472" y="1584894"/>
                  </a:lnTo>
                  <a:lnTo>
                    <a:pt x="1546323" y="1586379"/>
                  </a:lnTo>
                  <a:lnTo>
                    <a:pt x="1544170" y="1585913"/>
                  </a:lnTo>
                  <a:lnTo>
                    <a:pt x="1543435" y="1586594"/>
                  </a:lnTo>
                  <a:lnTo>
                    <a:pt x="1543418" y="1588671"/>
                  </a:lnTo>
                  <a:lnTo>
                    <a:pt x="1543995" y="1590263"/>
                  </a:lnTo>
                  <a:lnTo>
                    <a:pt x="1544921" y="1590913"/>
                  </a:lnTo>
                  <a:lnTo>
                    <a:pt x="1547097" y="1591245"/>
                  </a:lnTo>
                  <a:lnTo>
                    <a:pt x="1547264" y="1590567"/>
                  </a:lnTo>
                  <a:lnTo>
                    <a:pt x="1547876" y="1589146"/>
                  </a:lnTo>
                  <a:lnTo>
                    <a:pt x="1548769" y="1587788"/>
                  </a:lnTo>
                  <a:lnTo>
                    <a:pt x="1549780" y="1587339"/>
                  </a:lnTo>
                  <a:lnTo>
                    <a:pt x="1550123" y="1588024"/>
                  </a:lnTo>
                  <a:lnTo>
                    <a:pt x="1550947" y="1592310"/>
                  </a:lnTo>
                  <a:lnTo>
                    <a:pt x="1550278" y="1592596"/>
                  </a:lnTo>
                  <a:lnTo>
                    <a:pt x="1549638" y="1592512"/>
                  </a:lnTo>
                  <a:lnTo>
                    <a:pt x="1549059" y="1592646"/>
                  </a:lnTo>
                  <a:lnTo>
                    <a:pt x="1548561" y="1593616"/>
                  </a:lnTo>
                  <a:lnTo>
                    <a:pt x="1548190" y="1594533"/>
                  </a:lnTo>
                  <a:lnTo>
                    <a:pt x="1547759" y="1595054"/>
                  </a:lnTo>
                  <a:lnTo>
                    <a:pt x="1543351" y="1599008"/>
                  </a:lnTo>
                  <a:lnTo>
                    <a:pt x="1542236" y="1600738"/>
                  </a:lnTo>
                  <a:lnTo>
                    <a:pt x="1542183" y="1602374"/>
                  </a:lnTo>
                  <a:lnTo>
                    <a:pt x="1542503" y="1605130"/>
                  </a:lnTo>
                  <a:lnTo>
                    <a:pt x="1542311" y="1606600"/>
                  </a:lnTo>
                  <a:lnTo>
                    <a:pt x="1541182" y="1607587"/>
                  </a:lnTo>
                  <a:lnTo>
                    <a:pt x="1539387" y="1607148"/>
                  </a:lnTo>
                  <a:lnTo>
                    <a:pt x="1535074" y="1604030"/>
                  </a:lnTo>
                  <a:lnTo>
                    <a:pt x="1534420" y="1604041"/>
                  </a:lnTo>
                  <a:lnTo>
                    <a:pt x="1533809" y="1604437"/>
                  </a:lnTo>
                  <a:lnTo>
                    <a:pt x="1532584" y="1605496"/>
                  </a:lnTo>
                  <a:lnTo>
                    <a:pt x="1531963" y="1605608"/>
                  </a:lnTo>
                  <a:lnTo>
                    <a:pt x="1529284" y="1604851"/>
                  </a:lnTo>
                  <a:lnTo>
                    <a:pt x="1528891" y="1604282"/>
                  </a:lnTo>
                  <a:lnTo>
                    <a:pt x="1528227" y="1602610"/>
                  </a:lnTo>
                  <a:lnTo>
                    <a:pt x="1527901" y="1602199"/>
                  </a:lnTo>
                  <a:lnTo>
                    <a:pt x="1527379" y="1601806"/>
                  </a:lnTo>
                  <a:lnTo>
                    <a:pt x="1526454" y="1600484"/>
                  </a:lnTo>
                  <a:lnTo>
                    <a:pt x="1525922" y="1600083"/>
                  </a:lnTo>
                  <a:lnTo>
                    <a:pt x="1518644" y="1599973"/>
                  </a:lnTo>
                  <a:lnTo>
                    <a:pt x="1510727" y="1596480"/>
                  </a:lnTo>
                  <a:lnTo>
                    <a:pt x="1508799" y="1593471"/>
                  </a:lnTo>
                  <a:lnTo>
                    <a:pt x="1507582" y="1592294"/>
                  </a:lnTo>
                  <a:lnTo>
                    <a:pt x="1506278" y="1592843"/>
                  </a:lnTo>
                  <a:lnTo>
                    <a:pt x="1507038" y="1594025"/>
                  </a:lnTo>
                  <a:lnTo>
                    <a:pt x="1508320" y="1597459"/>
                  </a:lnTo>
                  <a:lnTo>
                    <a:pt x="1509841" y="1599219"/>
                  </a:lnTo>
                  <a:lnTo>
                    <a:pt x="1511777" y="1604561"/>
                  </a:lnTo>
                  <a:lnTo>
                    <a:pt x="1510741" y="1604737"/>
                  </a:lnTo>
                  <a:lnTo>
                    <a:pt x="1509688" y="1604065"/>
                  </a:lnTo>
                  <a:lnTo>
                    <a:pt x="1508625" y="1604015"/>
                  </a:lnTo>
                  <a:lnTo>
                    <a:pt x="1507552" y="1606083"/>
                  </a:lnTo>
                  <a:lnTo>
                    <a:pt x="1506517" y="1607328"/>
                  </a:lnTo>
                  <a:lnTo>
                    <a:pt x="1504958" y="1607466"/>
                  </a:lnTo>
                  <a:lnTo>
                    <a:pt x="1492660" y="1599778"/>
                  </a:lnTo>
                  <a:lnTo>
                    <a:pt x="1492744" y="1601776"/>
                  </a:lnTo>
                  <a:lnTo>
                    <a:pt x="1493336" y="1603498"/>
                  </a:lnTo>
                  <a:lnTo>
                    <a:pt x="1493639" y="1605212"/>
                  </a:lnTo>
                  <a:lnTo>
                    <a:pt x="1492858" y="1607197"/>
                  </a:lnTo>
                  <a:lnTo>
                    <a:pt x="1492164" y="1607979"/>
                  </a:lnTo>
                  <a:lnTo>
                    <a:pt x="1490904" y="1608954"/>
                  </a:lnTo>
                  <a:lnTo>
                    <a:pt x="1490142" y="1609934"/>
                  </a:lnTo>
                  <a:lnTo>
                    <a:pt x="1489583" y="1610983"/>
                  </a:lnTo>
                  <a:lnTo>
                    <a:pt x="1488406" y="1613584"/>
                  </a:lnTo>
                  <a:lnTo>
                    <a:pt x="1487782" y="1614748"/>
                  </a:lnTo>
                  <a:lnTo>
                    <a:pt x="1488505" y="1616440"/>
                  </a:lnTo>
                  <a:lnTo>
                    <a:pt x="1488966" y="1617064"/>
                  </a:lnTo>
                  <a:lnTo>
                    <a:pt x="1489569" y="1617550"/>
                  </a:lnTo>
                  <a:lnTo>
                    <a:pt x="1491848" y="1618245"/>
                  </a:lnTo>
                  <a:lnTo>
                    <a:pt x="1492289" y="1619137"/>
                  </a:lnTo>
                  <a:lnTo>
                    <a:pt x="1491337" y="1619847"/>
                  </a:lnTo>
                  <a:lnTo>
                    <a:pt x="1489618" y="1620140"/>
                  </a:lnTo>
                  <a:lnTo>
                    <a:pt x="1487654" y="1621630"/>
                  </a:lnTo>
                  <a:lnTo>
                    <a:pt x="1486471" y="1621848"/>
                  </a:lnTo>
                  <a:lnTo>
                    <a:pt x="1483482" y="1621400"/>
                  </a:lnTo>
                  <a:lnTo>
                    <a:pt x="1475939" y="1622880"/>
                  </a:lnTo>
                  <a:lnTo>
                    <a:pt x="1474184" y="1622558"/>
                  </a:lnTo>
                  <a:lnTo>
                    <a:pt x="1473177" y="1622740"/>
                  </a:lnTo>
                  <a:lnTo>
                    <a:pt x="1472447" y="1623774"/>
                  </a:lnTo>
                  <a:lnTo>
                    <a:pt x="1472084" y="1625951"/>
                  </a:lnTo>
                  <a:lnTo>
                    <a:pt x="1472523" y="1627014"/>
                  </a:lnTo>
                  <a:lnTo>
                    <a:pt x="1474157" y="1627796"/>
                  </a:lnTo>
                  <a:lnTo>
                    <a:pt x="1476894" y="1630179"/>
                  </a:lnTo>
                  <a:lnTo>
                    <a:pt x="1482511" y="1631087"/>
                  </a:lnTo>
                  <a:lnTo>
                    <a:pt x="1482170" y="1631120"/>
                  </a:lnTo>
                  <a:lnTo>
                    <a:pt x="1481810" y="1631304"/>
                  </a:lnTo>
                  <a:lnTo>
                    <a:pt x="1481429" y="1631664"/>
                  </a:lnTo>
                  <a:lnTo>
                    <a:pt x="1481027" y="1632203"/>
                  </a:lnTo>
                  <a:lnTo>
                    <a:pt x="1481351" y="1633507"/>
                  </a:lnTo>
                  <a:lnTo>
                    <a:pt x="1482337" y="1635653"/>
                  </a:lnTo>
                  <a:lnTo>
                    <a:pt x="1482640" y="1636969"/>
                  </a:lnTo>
                  <a:lnTo>
                    <a:pt x="1483263" y="1638319"/>
                  </a:lnTo>
                  <a:lnTo>
                    <a:pt x="1485297" y="1640240"/>
                  </a:lnTo>
                  <a:lnTo>
                    <a:pt x="1485333" y="1641276"/>
                  </a:lnTo>
                  <a:lnTo>
                    <a:pt x="1489784" y="1643865"/>
                  </a:lnTo>
                  <a:lnTo>
                    <a:pt x="1498724" y="1643716"/>
                  </a:lnTo>
                  <a:lnTo>
                    <a:pt x="1501427" y="1645111"/>
                  </a:lnTo>
                  <a:lnTo>
                    <a:pt x="1502406" y="1646347"/>
                  </a:lnTo>
                  <a:lnTo>
                    <a:pt x="1503737" y="1649165"/>
                  </a:lnTo>
                  <a:lnTo>
                    <a:pt x="1504258" y="1649907"/>
                  </a:lnTo>
                  <a:lnTo>
                    <a:pt x="1504933" y="1650332"/>
                  </a:lnTo>
                  <a:lnTo>
                    <a:pt x="1505852" y="1650429"/>
                  </a:lnTo>
                  <a:lnTo>
                    <a:pt x="1507412" y="1650099"/>
                  </a:lnTo>
                  <a:lnTo>
                    <a:pt x="1507604" y="1649729"/>
                  </a:lnTo>
                  <a:lnTo>
                    <a:pt x="1507840" y="1649065"/>
                  </a:lnTo>
                  <a:lnTo>
                    <a:pt x="1508143" y="1648708"/>
                  </a:lnTo>
                  <a:lnTo>
                    <a:pt x="1511909" y="1656037"/>
                  </a:lnTo>
                  <a:lnTo>
                    <a:pt x="1514195" y="1658237"/>
                  </a:lnTo>
                  <a:lnTo>
                    <a:pt x="1516904" y="1659001"/>
                  </a:lnTo>
                  <a:lnTo>
                    <a:pt x="1519756" y="1658250"/>
                  </a:lnTo>
                  <a:lnTo>
                    <a:pt x="1520882" y="1658524"/>
                  </a:lnTo>
                  <a:lnTo>
                    <a:pt x="1527929" y="1662534"/>
                  </a:lnTo>
                  <a:lnTo>
                    <a:pt x="1529082" y="1664388"/>
                  </a:lnTo>
                  <a:lnTo>
                    <a:pt x="1531983" y="1666819"/>
                  </a:lnTo>
                  <a:lnTo>
                    <a:pt x="1539037" y="1668915"/>
                  </a:lnTo>
                  <a:lnTo>
                    <a:pt x="1554069" y="1671121"/>
                  </a:lnTo>
                  <a:lnTo>
                    <a:pt x="1558680" y="1673540"/>
                  </a:lnTo>
                  <a:lnTo>
                    <a:pt x="1562433" y="1677208"/>
                  </a:lnTo>
                  <a:lnTo>
                    <a:pt x="1563964" y="1677938"/>
                  </a:lnTo>
                  <a:lnTo>
                    <a:pt x="1572702" y="1678648"/>
                  </a:lnTo>
                  <a:lnTo>
                    <a:pt x="1575769" y="1680659"/>
                  </a:lnTo>
                  <a:lnTo>
                    <a:pt x="1589105" y="1683358"/>
                  </a:lnTo>
                  <a:lnTo>
                    <a:pt x="1592089" y="1682770"/>
                  </a:lnTo>
                  <a:lnTo>
                    <a:pt x="1592787" y="1681959"/>
                  </a:lnTo>
                  <a:lnTo>
                    <a:pt x="1592903" y="1680550"/>
                  </a:lnTo>
                  <a:lnTo>
                    <a:pt x="1592530" y="1678290"/>
                  </a:lnTo>
                  <a:lnTo>
                    <a:pt x="1594549" y="1677612"/>
                  </a:lnTo>
                  <a:lnTo>
                    <a:pt x="1599757" y="1680851"/>
                  </a:lnTo>
                  <a:lnTo>
                    <a:pt x="1606649" y="1680237"/>
                  </a:lnTo>
                  <a:lnTo>
                    <a:pt x="1607641" y="1681384"/>
                  </a:lnTo>
                  <a:lnTo>
                    <a:pt x="1607588" y="1683068"/>
                  </a:lnTo>
                  <a:lnTo>
                    <a:pt x="1607189" y="1684896"/>
                  </a:lnTo>
                  <a:lnTo>
                    <a:pt x="1607126" y="1686495"/>
                  </a:lnTo>
                  <a:lnTo>
                    <a:pt x="1607515" y="1686782"/>
                  </a:lnTo>
                  <a:lnTo>
                    <a:pt x="1609298" y="1687021"/>
                  </a:lnTo>
                  <a:lnTo>
                    <a:pt x="1610175" y="1688207"/>
                  </a:lnTo>
                  <a:lnTo>
                    <a:pt x="1610696" y="1688351"/>
                  </a:lnTo>
                  <a:lnTo>
                    <a:pt x="1611519" y="1687558"/>
                  </a:lnTo>
                  <a:lnTo>
                    <a:pt x="1611283" y="1686262"/>
                  </a:lnTo>
                  <a:lnTo>
                    <a:pt x="1610875" y="1685249"/>
                  </a:lnTo>
                  <a:lnTo>
                    <a:pt x="1610361" y="1684503"/>
                  </a:lnTo>
                  <a:lnTo>
                    <a:pt x="1609807" y="1684004"/>
                  </a:lnTo>
                  <a:lnTo>
                    <a:pt x="1610196" y="1683193"/>
                  </a:lnTo>
                  <a:lnTo>
                    <a:pt x="1610498" y="1682817"/>
                  </a:lnTo>
                  <a:lnTo>
                    <a:pt x="1610814" y="1682757"/>
                  </a:lnTo>
                  <a:lnTo>
                    <a:pt x="1611243" y="1682883"/>
                  </a:lnTo>
                  <a:lnTo>
                    <a:pt x="1611422" y="1682159"/>
                  </a:lnTo>
                  <a:lnTo>
                    <a:pt x="1611114" y="1682016"/>
                  </a:lnTo>
                  <a:lnTo>
                    <a:pt x="1610506" y="1681173"/>
                  </a:lnTo>
                  <a:lnTo>
                    <a:pt x="1612985" y="1680044"/>
                  </a:lnTo>
                  <a:lnTo>
                    <a:pt x="1625299" y="1687771"/>
                  </a:lnTo>
                  <a:lnTo>
                    <a:pt x="1625478" y="1687187"/>
                  </a:lnTo>
                  <a:lnTo>
                    <a:pt x="1624780" y="1684585"/>
                  </a:lnTo>
                  <a:lnTo>
                    <a:pt x="1625465" y="1684482"/>
                  </a:lnTo>
                  <a:lnTo>
                    <a:pt x="1626000" y="1683924"/>
                  </a:lnTo>
                  <a:lnTo>
                    <a:pt x="1626469" y="1683230"/>
                  </a:lnTo>
                  <a:lnTo>
                    <a:pt x="1626949" y="1682792"/>
                  </a:lnTo>
                  <a:lnTo>
                    <a:pt x="1627726" y="1682714"/>
                  </a:lnTo>
                  <a:lnTo>
                    <a:pt x="1629990" y="1683505"/>
                  </a:lnTo>
                  <a:lnTo>
                    <a:pt x="1628951" y="1686059"/>
                  </a:lnTo>
                  <a:lnTo>
                    <a:pt x="1629396" y="1687131"/>
                  </a:lnTo>
                  <a:lnTo>
                    <a:pt x="1630616" y="1686978"/>
                  </a:lnTo>
                  <a:lnTo>
                    <a:pt x="1631901" y="1685868"/>
                  </a:lnTo>
                  <a:lnTo>
                    <a:pt x="1634133" y="1682560"/>
                  </a:lnTo>
                  <a:lnTo>
                    <a:pt x="1634745" y="1681846"/>
                  </a:lnTo>
                  <a:lnTo>
                    <a:pt x="1636096" y="1680850"/>
                  </a:lnTo>
                  <a:lnTo>
                    <a:pt x="1636749" y="1680112"/>
                  </a:lnTo>
                  <a:lnTo>
                    <a:pt x="1638135" y="1679024"/>
                  </a:lnTo>
                  <a:lnTo>
                    <a:pt x="1641343" y="1678916"/>
                  </a:lnTo>
                  <a:lnTo>
                    <a:pt x="1643628" y="1678050"/>
                  </a:lnTo>
                  <a:lnTo>
                    <a:pt x="1644011" y="1678622"/>
                  </a:lnTo>
                  <a:lnTo>
                    <a:pt x="1643842" y="1679763"/>
                  </a:lnTo>
                  <a:lnTo>
                    <a:pt x="1643021" y="1681175"/>
                  </a:lnTo>
                  <a:lnTo>
                    <a:pt x="1642358" y="1681802"/>
                  </a:lnTo>
                  <a:lnTo>
                    <a:pt x="1641107" y="1682695"/>
                  </a:lnTo>
                  <a:lnTo>
                    <a:pt x="1640422" y="1683632"/>
                  </a:lnTo>
                  <a:lnTo>
                    <a:pt x="1641010" y="1683271"/>
                  </a:lnTo>
                  <a:lnTo>
                    <a:pt x="1641732" y="1683108"/>
                  </a:lnTo>
                  <a:lnTo>
                    <a:pt x="1642170" y="1683487"/>
                  </a:lnTo>
                  <a:lnTo>
                    <a:pt x="1641897" y="1684736"/>
                  </a:lnTo>
                  <a:lnTo>
                    <a:pt x="1641375" y="1685446"/>
                  </a:lnTo>
                  <a:lnTo>
                    <a:pt x="1640332" y="1685617"/>
                  </a:lnTo>
                  <a:lnTo>
                    <a:pt x="1639740" y="1686538"/>
                  </a:lnTo>
                  <a:lnTo>
                    <a:pt x="1640780" y="1686777"/>
                  </a:lnTo>
                  <a:lnTo>
                    <a:pt x="1642121" y="1686483"/>
                  </a:lnTo>
                  <a:lnTo>
                    <a:pt x="1645431" y="1684669"/>
                  </a:lnTo>
                  <a:lnTo>
                    <a:pt x="1645916" y="1684967"/>
                  </a:lnTo>
                  <a:lnTo>
                    <a:pt x="1646237" y="1685765"/>
                  </a:lnTo>
                  <a:lnTo>
                    <a:pt x="1646446" y="1686924"/>
                  </a:lnTo>
                  <a:lnTo>
                    <a:pt x="1646876" y="1687669"/>
                  </a:lnTo>
                  <a:lnTo>
                    <a:pt x="1647654" y="1687699"/>
                  </a:lnTo>
                  <a:lnTo>
                    <a:pt x="1653062" y="1685296"/>
                  </a:lnTo>
                  <a:lnTo>
                    <a:pt x="1655513" y="1685136"/>
                  </a:lnTo>
                  <a:lnTo>
                    <a:pt x="1656772" y="1684288"/>
                  </a:lnTo>
                  <a:lnTo>
                    <a:pt x="1658741" y="1682011"/>
                  </a:lnTo>
                  <a:lnTo>
                    <a:pt x="1659097" y="1681680"/>
                  </a:lnTo>
                  <a:lnTo>
                    <a:pt x="1659603" y="1681438"/>
                  </a:lnTo>
                  <a:lnTo>
                    <a:pt x="1660718" y="1680103"/>
                  </a:lnTo>
                  <a:lnTo>
                    <a:pt x="1661249" y="1679866"/>
                  </a:lnTo>
                  <a:lnTo>
                    <a:pt x="1661847" y="1679812"/>
                  </a:lnTo>
                  <a:lnTo>
                    <a:pt x="1664055" y="1678959"/>
                  </a:lnTo>
                  <a:lnTo>
                    <a:pt x="1668338" y="1678852"/>
                  </a:lnTo>
                  <a:lnTo>
                    <a:pt x="1670774" y="1676344"/>
                  </a:lnTo>
                  <a:lnTo>
                    <a:pt x="1675999" y="1673832"/>
                  </a:lnTo>
                  <a:lnTo>
                    <a:pt x="1679687" y="1674680"/>
                  </a:lnTo>
                  <a:lnTo>
                    <a:pt x="1679596" y="1674101"/>
                  </a:lnTo>
                  <a:lnTo>
                    <a:pt x="1679597" y="1672375"/>
                  </a:lnTo>
                  <a:lnTo>
                    <a:pt x="1680776" y="1672611"/>
                  </a:lnTo>
                  <a:lnTo>
                    <a:pt x="1682031" y="1673371"/>
                  </a:lnTo>
                  <a:lnTo>
                    <a:pt x="1684060" y="1675618"/>
                  </a:lnTo>
                  <a:lnTo>
                    <a:pt x="1685066" y="1678489"/>
                  </a:lnTo>
                  <a:lnTo>
                    <a:pt x="1685813" y="1679289"/>
                  </a:lnTo>
                  <a:lnTo>
                    <a:pt x="1687149" y="1678633"/>
                  </a:lnTo>
                  <a:lnTo>
                    <a:pt x="1685434" y="1675217"/>
                  </a:lnTo>
                  <a:lnTo>
                    <a:pt x="1685311" y="1672970"/>
                  </a:lnTo>
                  <a:lnTo>
                    <a:pt x="1686894" y="1670542"/>
                  </a:lnTo>
                  <a:lnTo>
                    <a:pt x="1688044" y="1669815"/>
                  </a:lnTo>
                  <a:lnTo>
                    <a:pt x="1689035" y="1669703"/>
                  </a:lnTo>
                  <a:lnTo>
                    <a:pt x="1690982" y="1670229"/>
                  </a:lnTo>
                  <a:lnTo>
                    <a:pt x="1691761" y="1670879"/>
                  </a:lnTo>
                  <a:lnTo>
                    <a:pt x="1692990" y="1673289"/>
                  </a:lnTo>
                  <a:lnTo>
                    <a:pt x="1693766" y="1673929"/>
                  </a:lnTo>
                  <a:lnTo>
                    <a:pt x="1694431" y="1675657"/>
                  </a:lnTo>
                  <a:lnTo>
                    <a:pt x="1693568" y="1678992"/>
                  </a:lnTo>
                  <a:lnTo>
                    <a:pt x="1691437" y="1684104"/>
                  </a:lnTo>
                  <a:lnTo>
                    <a:pt x="1690860" y="1687695"/>
                  </a:lnTo>
                  <a:lnTo>
                    <a:pt x="1691551" y="1689936"/>
                  </a:lnTo>
                  <a:lnTo>
                    <a:pt x="1692921" y="1690182"/>
                  </a:lnTo>
                  <a:lnTo>
                    <a:pt x="1694380" y="1687769"/>
                  </a:lnTo>
                  <a:lnTo>
                    <a:pt x="1694017" y="1687294"/>
                  </a:lnTo>
                  <a:lnTo>
                    <a:pt x="1693177" y="1685226"/>
                  </a:lnTo>
                  <a:lnTo>
                    <a:pt x="1693332" y="1684501"/>
                  </a:lnTo>
                  <a:lnTo>
                    <a:pt x="1696537" y="1685523"/>
                  </a:lnTo>
                  <a:lnTo>
                    <a:pt x="1697884" y="1686819"/>
                  </a:lnTo>
                  <a:lnTo>
                    <a:pt x="1699057" y="1690926"/>
                  </a:lnTo>
                  <a:lnTo>
                    <a:pt x="1699901" y="1692446"/>
                  </a:lnTo>
                  <a:lnTo>
                    <a:pt x="1701840" y="1694708"/>
                  </a:lnTo>
                  <a:lnTo>
                    <a:pt x="1701178" y="1695864"/>
                  </a:lnTo>
                  <a:lnTo>
                    <a:pt x="1699825" y="1696430"/>
                  </a:lnTo>
                  <a:lnTo>
                    <a:pt x="1699145" y="1697953"/>
                  </a:lnTo>
                  <a:lnTo>
                    <a:pt x="1702492" y="1701079"/>
                  </a:lnTo>
                  <a:lnTo>
                    <a:pt x="1703377" y="1702624"/>
                  </a:lnTo>
                  <a:lnTo>
                    <a:pt x="1702191" y="1702613"/>
                  </a:lnTo>
                  <a:lnTo>
                    <a:pt x="1699592" y="1700920"/>
                  </a:lnTo>
                  <a:lnTo>
                    <a:pt x="1698593" y="1701263"/>
                  </a:lnTo>
                  <a:lnTo>
                    <a:pt x="1698187" y="1703030"/>
                  </a:lnTo>
                  <a:lnTo>
                    <a:pt x="1699061" y="1704271"/>
                  </a:lnTo>
                  <a:lnTo>
                    <a:pt x="1705604" y="1708962"/>
                  </a:lnTo>
                  <a:lnTo>
                    <a:pt x="1706478" y="1708881"/>
                  </a:lnTo>
                  <a:lnTo>
                    <a:pt x="1707585" y="1707772"/>
                  </a:lnTo>
                  <a:lnTo>
                    <a:pt x="1708185" y="1706262"/>
                  </a:lnTo>
                  <a:lnTo>
                    <a:pt x="1707522" y="1704987"/>
                  </a:lnTo>
                  <a:lnTo>
                    <a:pt x="1708498" y="1703784"/>
                  </a:lnTo>
                  <a:lnTo>
                    <a:pt x="1710341" y="1703765"/>
                  </a:lnTo>
                  <a:lnTo>
                    <a:pt x="1711228" y="1703069"/>
                  </a:lnTo>
                  <a:lnTo>
                    <a:pt x="1711983" y="1702057"/>
                  </a:lnTo>
                  <a:lnTo>
                    <a:pt x="1712762" y="1701416"/>
                  </a:lnTo>
                  <a:lnTo>
                    <a:pt x="1713318" y="1701613"/>
                  </a:lnTo>
                  <a:lnTo>
                    <a:pt x="1713399" y="1703128"/>
                  </a:lnTo>
                  <a:lnTo>
                    <a:pt x="1713029" y="1703353"/>
                  </a:lnTo>
                  <a:lnTo>
                    <a:pt x="1712221" y="1704410"/>
                  </a:lnTo>
                  <a:lnTo>
                    <a:pt x="1714043" y="1706132"/>
                  </a:lnTo>
                  <a:lnTo>
                    <a:pt x="1714742" y="1706434"/>
                  </a:lnTo>
                  <a:lnTo>
                    <a:pt x="1715141" y="1706745"/>
                  </a:lnTo>
                  <a:lnTo>
                    <a:pt x="1715522" y="1707219"/>
                  </a:lnTo>
                  <a:lnTo>
                    <a:pt x="1715942" y="1707483"/>
                  </a:lnTo>
                  <a:lnTo>
                    <a:pt x="1716758" y="1706849"/>
                  </a:lnTo>
                  <a:lnTo>
                    <a:pt x="1717629" y="1706369"/>
                  </a:lnTo>
                  <a:lnTo>
                    <a:pt x="1717920" y="1706304"/>
                  </a:lnTo>
                  <a:lnTo>
                    <a:pt x="1725153" y="1709177"/>
                  </a:lnTo>
                  <a:lnTo>
                    <a:pt x="1725420" y="1709432"/>
                  </a:lnTo>
                  <a:lnTo>
                    <a:pt x="1725427" y="1709895"/>
                  </a:lnTo>
                  <a:lnTo>
                    <a:pt x="1725356" y="1710410"/>
                  </a:lnTo>
                  <a:lnTo>
                    <a:pt x="1725379" y="1710808"/>
                  </a:lnTo>
                  <a:lnTo>
                    <a:pt x="1726749" y="1714237"/>
                  </a:lnTo>
                  <a:lnTo>
                    <a:pt x="1726900" y="1714899"/>
                  </a:lnTo>
                  <a:lnTo>
                    <a:pt x="1726901" y="1716857"/>
                  </a:lnTo>
                  <a:lnTo>
                    <a:pt x="1726277" y="1724023"/>
                  </a:lnTo>
                  <a:lnTo>
                    <a:pt x="1726000" y="1723969"/>
                  </a:lnTo>
                  <a:lnTo>
                    <a:pt x="1726145" y="1725635"/>
                  </a:lnTo>
                  <a:lnTo>
                    <a:pt x="1727175" y="1729094"/>
                  </a:lnTo>
                  <a:lnTo>
                    <a:pt x="1727043" y="1730682"/>
                  </a:lnTo>
                  <a:lnTo>
                    <a:pt x="1726087" y="1731765"/>
                  </a:lnTo>
                  <a:lnTo>
                    <a:pt x="1723923" y="1733021"/>
                  </a:lnTo>
                  <a:lnTo>
                    <a:pt x="1722900" y="1733872"/>
                  </a:lnTo>
                  <a:lnTo>
                    <a:pt x="1722297" y="1734669"/>
                  </a:lnTo>
                  <a:lnTo>
                    <a:pt x="1722061" y="1735781"/>
                  </a:lnTo>
                  <a:lnTo>
                    <a:pt x="1722127" y="1737567"/>
                  </a:lnTo>
                  <a:lnTo>
                    <a:pt x="1722531" y="1739011"/>
                  </a:lnTo>
                  <a:lnTo>
                    <a:pt x="1724131" y="1740080"/>
                  </a:lnTo>
                  <a:lnTo>
                    <a:pt x="1724967" y="1741150"/>
                  </a:lnTo>
                  <a:lnTo>
                    <a:pt x="1724497" y="1742959"/>
                  </a:lnTo>
                  <a:lnTo>
                    <a:pt x="1727190" y="1743733"/>
                  </a:lnTo>
                  <a:lnTo>
                    <a:pt x="1727529" y="1745923"/>
                  </a:lnTo>
                  <a:lnTo>
                    <a:pt x="1727230" y="1748958"/>
                  </a:lnTo>
                  <a:lnTo>
                    <a:pt x="1727714" y="1750217"/>
                  </a:lnTo>
                  <a:lnTo>
                    <a:pt x="1728725" y="1749884"/>
                  </a:lnTo>
                  <a:lnTo>
                    <a:pt x="1730008" y="1748184"/>
                  </a:lnTo>
                  <a:lnTo>
                    <a:pt x="1731676" y="1744587"/>
                  </a:lnTo>
                  <a:lnTo>
                    <a:pt x="1733009" y="1740437"/>
                  </a:lnTo>
                  <a:lnTo>
                    <a:pt x="1736135" y="1725596"/>
                  </a:lnTo>
                  <a:lnTo>
                    <a:pt x="1736916" y="1723235"/>
                  </a:lnTo>
                  <a:lnTo>
                    <a:pt x="1737922" y="1722381"/>
                  </a:lnTo>
                  <a:lnTo>
                    <a:pt x="1740904" y="1722468"/>
                  </a:lnTo>
                  <a:lnTo>
                    <a:pt x="1742482" y="1723225"/>
                  </a:lnTo>
                  <a:lnTo>
                    <a:pt x="1742872" y="1725168"/>
                  </a:lnTo>
                  <a:lnTo>
                    <a:pt x="1742544" y="1726525"/>
                  </a:lnTo>
                  <a:lnTo>
                    <a:pt x="1742246" y="1727530"/>
                  </a:lnTo>
                  <a:lnTo>
                    <a:pt x="1742086" y="1728476"/>
                  </a:lnTo>
                  <a:lnTo>
                    <a:pt x="1743091" y="1736631"/>
                  </a:lnTo>
                  <a:lnTo>
                    <a:pt x="1743073" y="1737819"/>
                  </a:lnTo>
                  <a:lnTo>
                    <a:pt x="1742869" y="1739249"/>
                  </a:lnTo>
                  <a:lnTo>
                    <a:pt x="1742591" y="1740169"/>
                  </a:lnTo>
                  <a:lnTo>
                    <a:pt x="1742267" y="1741084"/>
                  </a:lnTo>
                  <a:lnTo>
                    <a:pt x="1741915" y="1742532"/>
                  </a:lnTo>
                  <a:lnTo>
                    <a:pt x="1741528" y="1745485"/>
                  </a:lnTo>
                  <a:lnTo>
                    <a:pt x="1741365" y="1748910"/>
                  </a:lnTo>
                  <a:lnTo>
                    <a:pt x="1741537" y="1751899"/>
                  </a:lnTo>
                  <a:lnTo>
                    <a:pt x="1742159" y="1753559"/>
                  </a:lnTo>
                  <a:lnTo>
                    <a:pt x="1743081" y="1753861"/>
                  </a:lnTo>
                  <a:lnTo>
                    <a:pt x="1743721" y="1753243"/>
                  </a:lnTo>
                  <a:lnTo>
                    <a:pt x="1744173" y="1751944"/>
                  </a:lnTo>
                  <a:lnTo>
                    <a:pt x="1744538" y="1750214"/>
                  </a:lnTo>
                  <a:lnTo>
                    <a:pt x="1744455" y="1750213"/>
                  </a:lnTo>
                  <a:lnTo>
                    <a:pt x="1744391" y="1749528"/>
                  </a:lnTo>
                  <a:lnTo>
                    <a:pt x="1744365" y="1748611"/>
                  </a:lnTo>
                  <a:lnTo>
                    <a:pt x="1744388" y="1747911"/>
                  </a:lnTo>
                  <a:lnTo>
                    <a:pt x="1744561" y="1747148"/>
                  </a:lnTo>
                  <a:lnTo>
                    <a:pt x="1744777" y="1746588"/>
                  </a:lnTo>
                  <a:lnTo>
                    <a:pt x="1744942" y="1745937"/>
                  </a:lnTo>
                  <a:lnTo>
                    <a:pt x="1744952" y="1744913"/>
                  </a:lnTo>
                  <a:lnTo>
                    <a:pt x="1745410" y="1745011"/>
                  </a:lnTo>
                  <a:lnTo>
                    <a:pt x="1745960" y="1744963"/>
                  </a:lnTo>
                  <a:lnTo>
                    <a:pt x="1746515" y="1744700"/>
                  </a:lnTo>
                  <a:lnTo>
                    <a:pt x="1746991" y="1744191"/>
                  </a:lnTo>
                  <a:lnTo>
                    <a:pt x="1747632" y="1743713"/>
                  </a:lnTo>
                  <a:lnTo>
                    <a:pt x="1748257" y="1744017"/>
                  </a:lnTo>
                  <a:lnTo>
                    <a:pt x="1749900" y="1745699"/>
                  </a:lnTo>
                  <a:lnTo>
                    <a:pt x="1750159" y="1747249"/>
                  </a:lnTo>
                  <a:lnTo>
                    <a:pt x="1750315" y="1749051"/>
                  </a:lnTo>
                  <a:lnTo>
                    <a:pt x="1750587" y="1750563"/>
                  </a:lnTo>
                  <a:lnTo>
                    <a:pt x="1751306" y="1751929"/>
                  </a:lnTo>
                  <a:lnTo>
                    <a:pt x="1760603" y="1764548"/>
                  </a:lnTo>
                  <a:lnTo>
                    <a:pt x="1761127" y="1768324"/>
                  </a:lnTo>
                  <a:lnTo>
                    <a:pt x="1761688" y="1769266"/>
                  </a:lnTo>
                  <a:lnTo>
                    <a:pt x="1761521" y="1770071"/>
                  </a:lnTo>
                  <a:lnTo>
                    <a:pt x="1761672" y="1771933"/>
                  </a:lnTo>
                  <a:lnTo>
                    <a:pt x="1762574" y="1777420"/>
                  </a:lnTo>
                  <a:lnTo>
                    <a:pt x="1762733" y="1779025"/>
                  </a:lnTo>
                  <a:lnTo>
                    <a:pt x="1762717" y="1780789"/>
                  </a:lnTo>
                  <a:lnTo>
                    <a:pt x="1761006" y="1780489"/>
                  </a:lnTo>
                  <a:lnTo>
                    <a:pt x="1761393" y="1785733"/>
                  </a:lnTo>
                  <a:lnTo>
                    <a:pt x="1761206" y="1787755"/>
                  </a:lnTo>
                  <a:lnTo>
                    <a:pt x="1760891" y="1789977"/>
                  </a:lnTo>
                  <a:lnTo>
                    <a:pt x="1760555" y="1790490"/>
                  </a:lnTo>
                  <a:lnTo>
                    <a:pt x="1759918" y="1789860"/>
                  </a:lnTo>
                  <a:lnTo>
                    <a:pt x="1759378" y="1789076"/>
                  </a:lnTo>
                  <a:lnTo>
                    <a:pt x="1758046" y="1787777"/>
                  </a:lnTo>
                  <a:lnTo>
                    <a:pt x="1756720" y="1787074"/>
                  </a:lnTo>
                  <a:lnTo>
                    <a:pt x="1755550" y="1785695"/>
                  </a:lnTo>
                  <a:lnTo>
                    <a:pt x="1754778" y="1785517"/>
                  </a:lnTo>
                  <a:lnTo>
                    <a:pt x="1754070" y="1785864"/>
                  </a:lnTo>
                  <a:lnTo>
                    <a:pt x="1753498" y="1786376"/>
                  </a:lnTo>
                  <a:lnTo>
                    <a:pt x="1752925" y="1786716"/>
                  </a:lnTo>
                  <a:lnTo>
                    <a:pt x="1752202" y="1786574"/>
                  </a:lnTo>
                  <a:lnTo>
                    <a:pt x="1750541" y="1785193"/>
                  </a:lnTo>
                  <a:lnTo>
                    <a:pt x="1749778" y="1785314"/>
                  </a:lnTo>
                  <a:lnTo>
                    <a:pt x="1749752" y="1785499"/>
                  </a:lnTo>
                  <a:lnTo>
                    <a:pt x="1749590" y="1785984"/>
                  </a:lnTo>
                  <a:lnTo>
                    <a:pt x="1749380" y="1786497"/>
                  </a:lnTo>
                  <a:lnTo>
                    <a:pt x="1749211" y="1786796"/>
                  </a:lnTo>
                  <a:lnTo>
                    <a:pt x="1748849" y="1787002"/>
                  </a:lnTo>
                  <a:lnTo>
                    <a:pt x="1747638" y="1787338"/>
                  </a:lnTo>
                  <a:lnTo>
                    <a:pt x="1747484" y="1790000"/>
                  </a:lnTo>
                  <a:lnTo>
                    <a:pt x="1746344" y="1790273"/>
                  </a:lnTo>
                  <a:lnTo>
                    <a:pt x="1742915" y="1788216"/>
                  </a:lnTo>
                  <a:lnTo>
                    <a:pt x="1740546" y="1785455"/>
                  </a:lnTo>
                  <a:lnTo>
                    <a:pt x="1738770" y="1782447"/>
                  </a:lnTo>
                  <a:lnTo>
                    <a:pt x="1736524" y="1780380"/>
                  </a:lnTo>
                  <a:lnTo>
                    <a:pt x="1735598" y="1779003"/>
                  </a:lnTo>
                  <a:lnTo>
                    <a:pt x="1734213" y="1774902"/>
                  </a:lnTo>
                  <a:lnTo>
                    <a:pt x="1733343" y="1773376"/>
                  </a:lnTo>
                  <a:lnTo>
                    <a:pt x="1732007" y="1772964"/>
                  </a:lnTo>
                  <a:lnTo>
                    <a:pt x="1731867" y="1773696"/>
                  </a:lnTo>
                  <a:lnTo>
                    <a:pt x="1732842" y="1775911"/>
                  </a:lnTo>
                  <a:lnTo>
                    <a:pt x="1733149" y="1777179"/>
                  </a:lnTo>
                  <a:lnTo>
                    <a:pt x="1733295" y="1778575"/>
                  </a:lnTo>
                  <a:lnTo>
                    <a:pt x="1733179" y="1783297"/>
                  </a:lnTo>
                  <a:lnTo>
                    <a:pt x="1733310" y="1784717"/>
                  </a:lnTo>
                  <a:lnTo>
                    <a:pt x="1733579" y="1786375"/>
                  </a:lnTo>
                  <a:lnTo>
                    <a:pt x="1733842" y="1786902"/>
                  </a:lnTo>
                  <a:lnTo>
                    <a:pt x="1734349" y="1787037"/>
                  </a:lnTo>
                  <a:lnTo>
                    <a:pt x="1735169" y="1786619"/>
                  </a:lnTo>
                  <a:lnTo>
                    <a:pt x="1735354" y="1785872"/>
                  </a:lnTo>
                  <a:lnTo>
                    <a:pt x="1735317" y="1785025"/>
                  </a:lnTo>
                  <a:lnTo>
                    <a:pt x="1735459" y="1784288"/>
                  </a:lnTo>
                  <a:lnTo>
                    <a:pt x="1736056" y="1783369"/>
                  </a:lnTo>
                  <a:lnTo>
                    <a:pt x="1736460" y="1783065"/>
                  </a:lnTo>
                  <a:lnTo>
                    <a:pt x="1736833" y="1783269"/>
                  </a:lnTo>
                  <a:lnTo>
                    <a:pt x="1737333" y="1783876"/>
                  </a:lnTo>
                  <a:lnTo>
                    <a:pt x="1737950" y="1785114"/>
                  </a:lnTo>
                  <a:lnTo>
                    <a:pt x="1738225" y="1785986"/>
                  </a:lnTo>
                  <a:lnTo>
                    <a:pt x="1738281" y="1786701"/>
                  </a:lnTo>
                  <a:lnTo>
                    <a:pt x="1738509" y="1787695"/>
                  </a:lnTo>
                  <a:lnTo>
                    <a:pt x="1739867" y="1790233"/>
                  </a:lnTo>
                  <a:lnTo>
                    <a:pt x="1740024" y="1791603"/>
                  </a:lnTo>
                  <a:lnTo>
                    <a:pt x="1740381" y="1793293"/>
                  </a:lnTo>
                  <a:lnTo>
                    <a:pt x="1741735" y="1794298"/>
                  </a:lnTo>
                  <a:lnTo>
                    <a:pt x="1745122" y="1795372"/>
                  </a:lnTo>
                  <a:lnTo>
                    <a:pt x="1746279" y="1796623"/>
                  </a:lnTo>
                  <a:lnTo>
                    <a:pt x="1746916" y="1796981"/>
                  </a:lnTo>
                  <a:lnTo>
                    <a:pt x="1747260" y="1797413"/>
                  </a:lnTo>
                  <a:lnTo>
                    <a:pt x="1747925" y="1799572"/>
                  </a:lnTo>
                  <a:lnTo>
                    <a:pt x="1748622" y="1800441"/>
                  </a:lnTo>
                  <a:lnTo>
                    <a:pt x="1748566" y="1802222"/>
                  </a:lnTo>
                  <a:lnTo>
                    <a:pt x="1748068" y="1804334"/>
                  </a:lnTo>
                  <a:lnTo>
                    <a:pt x="1747450" y="1806159"/>
                  </a:lnTo>
                  <a:lnTo>
                    <a:pt x="1747619" y="1807015"/>
                  </a:lnTo>
                  <a:lnTo>
                    <a:pt x="1746370" y="1808830"/>
                  </a:lnTo>
                  <a:lnTo>
                    <a:pt x="1745011" y="1808916"/>
                  </a:lnTo>
                  <a:lnTo>
                    <a:pt x="1743588" y="1808565"/>
                  </a:lnTo>
                  <a:lnTo>
                    <a:pt x="1742160" y="1809066"/>
                  </a:lnTo>
                  <a:lnTo>
                    <a:pt x="1743824" y="1810729"/>
                  </a:lnTo>
                  <a:lnTo>
                    <a:pt x="1749677" y="1810413"/>
                  </a:lnTo>
                  <a:lnTo>
                    <a:pt x="1751773" y="1812881"/>
                  </a:lnTo>
                  <a:lnTo>
                    <a:pt x="1752094" y="1813520"/>
                  </a:lnTo>
                  <a:lnTo>
                    <a:pt x="1752074" y="1814991"/>
                  </a:lnTo>
                  <a:lnTo>
                    <a:pt x="1752442" y="1816197"/>
                  </a:lnTo>
                  <a:lnTo>
                    <a:pt x="1752930" y="1817356"/>
                  </a:lnTo>
                  <a:lnTo>
                    <a:pt x="1753279" y="1818680"/>
                  </a:lnTo>
                  <a:lnTo>
                    <a:pt x="1752933" y="1819593"/>
                  </a:lnTo>
                  <a:lnTo>
                    <a:pt x="1752009" y="1822650"/>
                  </a:lnTo>
                  <a:lnTo>
                    <a:pt x="1751792" y="1823649"/>
                  </a:lnTo>
                  <a:lnTo>
                    <a:pt x="1751866" y="1824942"/>
                  </a:lnTo>
                  <a:lnTo>
                    <a:pt x="1752464" y="1827076"/>
                  </a:lnTo>
                  <a:lnTo>
                    <a:pt x="1752533" y="1828950"/>
                  </a:lnTo>
                  <a:lnTo>
                    <a:pt x="1752785" y="1830117"/>
                  </a:lnTo>
                  <a:lnTo>
                    <a:pt x="1753154" y="1831129"/>
                  </a:lnTo>
                  <a:lnTo>
                    <a:pt x="1753527" y="1831586"/>
                  </a:lnTo>
                  <a:lnTo>
                    <a:pt x="1754066" y="1831027"/>
                  </a:lnTo>
                  <a:lnTo>
                    <a:pt x="1754384" y="1829613"/>
                  </a:lnTo>
                  <a:lnTo>
                    <a:pt x="1754506" y="1828083"/>
                  </a:lnTo>
                  <a:lnTo>
                    <a:pt x="1754446" y="1827203"/>
                  </a:lnTo>
                  <a:lnTo>
                    <a:pt x="1755520" y="1825551"/>
                  </a:lnTo>
                  <a:lnTo>
                    <a:pt x="1755586" y="1824129"/>
                  </a:lnTo>
                  <a:lnTo>
                    <a:pt x="1755196" y="1822762"/>
                  </a:lnTo>
                  <a:lnTo>
                    <a:pt x="1754911" y="1821239"/>
                  </a:lnTo>
                  <a:lnTo>
                    <a:pt x="1756204" y="1821654"/>
                  </a:lnTo>
                  <a:lnTo>
                    <a:pt x="1757054" y="1823110"/>
                  </a:lnTo>
                  <a:lnTo>
                    <a:pt x="1758803" y="1829719"/>
                  </a:lnTo>
                  <a:lnTo>
                    <a:pt x="1761174" y="1835179"/>
                  </a:lnTo>
                  <a:lnTo>
                    <a:pt x="1760719" y="1834993"/>
                  </a:lnTo>
                  <a:lnTo>
                    <a:pt x="1760254" y="1835102"/>
                  </a:lnTo>
                  <a:lnTo>
                    <a:pt x="1759818" y="1835549"/>
                  </a:lnTo>
                  <a:lnTo>
                    <a:pt x="1759438" y="1836394"/>
                  </a:lnTo>
                  <a:lnTo>
                    <a:pt x="1760271" y="1837758"/>
                  </a:lnTo>
                  <a:lnTo>
                    <a:pt x="1762087" y="1843720"/>
                  </a:lnTo>
                  <a:lnTo>
                    <a:pt x="1763375" y="1846372"/>
                  </a:lnTo>
                  <a:lnTo>
                    <a:pt x="1763717" y="1847399"/>
                  </a:lnTo>
                  <a:lnTo>
                    <a:pt x="1764333" y="1848450"/>
                  </a:lnTo>
                  <a:lnTo>
                    <a:pt x="1765110" y="1848491"/>
                  </a:lnTo>
                  <a:lnTo>
                    <a:pt x="1765593" y="1847582"/>
                  </a:lnTo>
                  <a:lnTo>
                    <a:pt x="1765333" y="1845786"/>
                  </a:lnTo>
                  <a:lnTo>
                    <a:pt x="1766653" y="1846334"/>
                  </a:lnTo>
                  <a:lnTo>
                    <a:pt x="1767328" y="1848353"/>
                  </a:lnTo>
                  <a:lnTo>
                    <a:pt x="1768275" y="1856330"/>
                  </a:lnTo>
                  <a:lnTo>
                    <a:pt x="1768636" y="1857588"/>
                  </a:lnTo>
                  <a:lnTo>
                    <a:pt x="1769166" y="1858591"/>
                  </a:lnTo>
                  <a:lnTo>
                    <a:pt x="1771155" y="1860358"/>
                  </a:lnTo>
                  <a:lnTo>
                    <a:pt x="1773675" y="1868816"/>
                  </a:lnTo>
                  <a:lnTo>
                    <a:pt x="1774932" y="1870382"/>
                  </a:lnTo>
                  <a:lnTo>
                    <a:pt x="1776488" y="1869468"/>
                  </a:lnTo>
                  <a:lnTo>
                    <a:pt x="1777185" y="1867440"/>
                  </a:lnTo>
                  <a:lnTo>
                    <a:pt x="1775866" y="1865747"/>
                  </a:lnTo>
                  <a:lnTo>
                    <a:pt x="1775749" y="1863289"/>
                  </a:lnTo>
                  <a:lnTo>
                    <a:pt x="1774382" y="1859985"/>
                  </a:lnTo>
                  <a:lnTo>
                    <a:pt x="1770145" y="1853027"/>
                  </a:lnTo>
                  <a:lnTo>
                    <a:pt x="1769551" y="1851536"/>
                  </a:lnTo>
                  <a:lnTo>
                    <a:pt x="1769463" y="1849914"/>
                  </a:lnTo>
                  <a:lnTo>
                    <a:pt x="1769539" y="1847414"/>
                  </a:lnTo>
                  <a:lnTo>
                    <a:pt x="1768874" y="1846303"/>
                  </a:lnTo>
                  <a:lnTo>
                    <a:pt x="1767955" y="1845577"/>
                  </a:lnTo>
                  <a:lnTo>
                    <a:pt x="1766924" y="1843448"/>
                  </a:lnTo>
                  <a:lnTo>
                    <a:pt x="1765964" y="1842501"/>
                  </a:lnTo>
                  <a:lnTo>
                    <a:pt x="1765603" y="1841602"/>
                  </a:lnTo>
                  <a:lnTo>
                    <a:pt x="1765563" y="1840802"/>
                  </a:lnTo>
                  <a:lnTo>
                    <a:pt x="1765728" y="1838948"/>
                  </a:lnTo>
                  <a:lnTo>
                    <a:pt x="1765739" y="1838230"/>
                  </a:lnTo>
                  <a:lnTo>
                    <a:pt x="1764177" y="1833832"/>
                  </a:lnTo>
                  <a:lnTo>
                    <a:pt x="1763662" y="1828744"/>
                  </a:lnTo>
                  <a:lnTo>
                    <a:pt x="1759642" y="1824541"/>
                  </a:lnTo>
                  <a:lnTo>
                    <a:pt x="1758828" y="1821164"/>
                  </a:lnTo>
                  <a:lnTo>
                    <a:pt x="1760948" y="1823167"/>
                  </a:lnTo>
                  <a:lnTo>
                    <a:pt x="1762186" y="1823476"/>
                  </a:lnTo>
                  <a:lnTo>
                    <a:pt x="1763485" y="1821969"/>
                  </a:lnTo>
                  <a:lnTo>
                    <a:pt x="1763388" y="1820816"/>
                  </a:lnTo>
                  <a:lnTo>
                    <a:pt x="1763361" y="1819785"/>
                  </a:lnTo>
                  <a:lnTo>
                    <a:pt x="1763474" y="1818926"/>
                  </a:lnTo>
                  <a:lnTo>
                    <a:pt x="1763812" y="1818240"/>
                  </a:lnTo>
                  <a:lnTo>
                    <a:pt x="1763828" y="1815094"/>
                  </a:lnTo>
                  <a:lnTo>
                    <a:pt x="1764372" y="1809956"/>
                  </a:lnTo>
                  <a:lnTo>
                    <a:pt x="1763703" y="1804172"/>
                  </a:lnTo>
                  <a:lnTo>
                    <a:pt x="1763638" y="1802340"/>
                  </a:lnTo>
                  <a:lnTo>
                    <a:pt x="1763782" y="1800932"/>
                  </a:lnTo>
                  <a:lnTo>
                    <a:pt x="1764115" y="1798917"/>
                  </a:lnTo>
                  <a:lnTo>
                    <a:pt x="1764576" y="1796942"/>
                  </a:lnTo>
                  <a:lnTo>
                    <a:pt x="1765116" y="1795647"/>
                  </a:lnTo>
                  <a:lnTo>
                    <a:pt x="1766055" y="1795522"/>
                  </a:lnTo>
                  <a:lnTo>
                    <a:pt x="1767598" y="1799031"/>
                  </a:lnTo>
                  <a:lnTo>
                    <a:pt x="1769532" y="1801030"/>
                  </a:lnTo>
                  <a:lnTo>
                    <a:pt x="1770146" y="1801229"/>
                  </a:lnTo>
                  <a:lnTo>
                    <a:pt x="1770795" y="1800475"/>
                  </a:lnTo>
                  <a:lnTo>
                    <a:pt x="1771043" y="1799432"/>
                  </a:lnTo>
                  <a:lnTo>
                    <a:pt x="1770988" y="1798414"/>
                  </a:lnTo>
                  <a:lnTo>
                    <a:pt x="1770833" y="1797563"/>
                  </a:lnTo>
                  <a:lnTo>
                    <a:pt x="1770775" y="1797039"/>
                  </a:lnTo>
                  <a:lnTo>
                    <a:pt x="1770760" y="1795681"/>
                  </a:lnTo>
                  <a:lnTo>
                    <a:pt x="1770289" y="1791388"/>
                  </a:lnTo>
                  <a:lnTo>
                    <a:pt x="1770011" y="1790449"/>
                  </a:lnTo>
                  <a:lnTo>
                    <a:pt x="1770032" y="1790151"/>
                  </a:lnTo>
                  <a:lnTo>
                    <a:pt x="1770543" y="1789594"/>
                  </a:lnTo>
                  <a:lnTo>
                    <a:pt x="1771253" y="1789148"/>
                  </a:lnTo>
                  <a:lnTo>
                    <a:pt x="1771878" y="1789187"/>
                  </a:lnTo>
                  <a:lnTo>
                    <a:pt x="1772247" y="1789665"/>
                  </a:lnTo>
                  <a:lnTo>
                    <a:pt x="1773915" y="1793656"/>
                  </a:lnTo>
                  <a:lnTo>
                    <a:pt x="1774631" y="1794773"/>
                  </a:lnTo>
                  <a:lnTo>
                    <a:pt x="1775184" y="1796091"/>
                  </a:lnTo>
                  <a:lnTo>
                    <a:pt x="1775321" y="1798217"/>
                  </a:lnTo>
                  <a:lnTo>
                    <a:pt x="1775036" y="1798169"/>
                  </a:lnTo>
                  <a:lnTo>
                    <a:pt x="1774981" y="1807234"/>
                  </a:lnTo>
                  <a:lnTo>
                    <a:pt x="1773831" y="1806102"/>
                  </a:lnTo>
                  <a:lnTo>
                    <a:pt x="1773173" y="1805771"/>
                  </a:lnTo>
                  <a:lnTo>
                    <a:pt x="1772750" y="1806432"/>
                  </a:lnTo>
                  <a:lnTo>
                    <a:pt x="1772264" y="1806936"/>
                  </a:lnTo>
                  <a:lnTo>
                    <a:pt x="1771411" y="1806665"/>
                  </a:lnTo>
                  <a:lnTo>
                    <a:pt x="1770562" y="1805989"/>
                  </a:lnTo>
                  <a:lnTo>
                    <a:pt x="1770102" y="1805235"/>
                  </a:lnTo>
                  <a:lnTo>
                    <a:pt x="1769591" y="1803486"/>
                  </a:lnTo>
                  <a:lnTo>
                    <a:pt x="1768830" y="1802166"/>
                  </a:lnTo>
                  <a:lnTo>
                    <a:pt x="1767844" y="1801569"/>
                  </a:lnTo>
                  <a:lnTo>
                    <a:pt x="1766651" y="1802035"/>
                  </a:lnTo>
                  <a:lnTo>
                    <a:pt x="1766903" y="1803588"/>
                  </a:lnTo>
                  <a:lnTo>
                    <a:pt x="1768005" y="1806025"/>
                  </a:lnTo>
                  <a:lnTo>
                    <a:pt x="1768194" y="1808747"/>
                  </a:lnTo>
                  <a:lnTo>
                    <a:pt x="1768783" y="1809947"/>
                  </a:lnTo>
                  <a:lnTo>
                    <a:pt x="1769597" y="1810513"/>
                  </a:lnTo>
                  <a:lnTo>
                    <a:pt x="1770328" y="1810152"/>
                  </a:lnTo>
                  <a:lnTo>
                    <a:pt x="1770268" y="1808628"/>
                  </a:lnTo>
                  <a:lnTo>
                    <a:pt x="1770723" y="1808971"/>
                  </a:lnTo>
                  <a:lnTo>
                    <a:pt x="1771936" y="1810573"/>
                  </a:lnTo>
                  <a:lnTo>
                    <a:pt x="1772180" y="1811290"/>
                  </a:lnTo>
                  <a:lnTo>
                    <a:pt x="1771900" y="1812405"/>
                  </a:lnTo>
                  <a:lnTo>
                    <a:pt x="1771250" y="1813258"/>
                  </a:lnTo>
                  <a:lnTo>
                    <a:pt x="1769828" y="1814602"/>
                  </a:lnTo>
                  <a:lnTo>
                    <a:pt x="1770180" y="1815265"/>
                  </a:lnTo>
                  <a:lnTo>
                    <a:pt x="1771509" y="1817054"/>
                  </a:lnTo>
                  <a:lnTo>
                    <a:pt x="1772021" y="1817379"/>
                  </a:lnTo>
                  <a:lnTo>
                    <a:pt x="1772663" y="1816924"/>
                  </a:lnTo>
                  <a:lnTo>
                    <a:pt x="1773394" y="1815467"/>
                  </a:lnTo>
                  <a:lnTo>
                    <a:pt x="1773894" y="1815290"/>
                  </a:lnTo>
                  <a:lnTo>
                    <a:pt x="1774293" y="1816375"/>
                  </a:lnTo>
                  <a:lnTo>
                    <a:pt x="1774606" y="1818305"/>
                  </a:lnTo>
                  <a:lnTo>
                    <a:pt x="1775161" y="1819610"/>
                  </a:lnTo>
                  <a:lnTo>
                    <a:pt x="1776271" y="1818774"/>
                  </a:lnTo>
                  <a:lnTo>
                    <a:pt x="1775035" y="1815166"/>
                  </a:lnTo>
                  <a:lnTo>
                    <a:pt x="1774556" y="1813015"/>
                  </a:lnTo>
                  <a:lnTo>
                    <a:pt x="1774362" y="1810835"/>
                  </a:lnTo>
                  <a:lnTo>
                    <a:pt x="1775272" y="1811177"/>
                  </a:lnTo>
                  <a:lnTo>
                    <a:pt x="1776288" y="1811915"/>
                  </a:lnTo>
                  <a:lnTo>
                    <a:pt x="1777306" y="1812099"/>
                  </a:lnTo>
                  <a:lnTo>
                    <a:pt x="1778223" y="1810794"/>
                  </a:lnTo>
                  <a:lnTo>
                    <a:pt x="1778438" y="1809412"/>
                  </a:lnTo>
                  <a:lnTo>
                    <a:pt x="1778347" y="1807880"/>
                  </a:lnTo>
                  <a:lnTo>
                    <a:pt x="1777594" y="1802855"/>
                  </a:lnTo>
                  <a:lnTo>
                    <a:pt x="1777804" y="1802161"/>
                  </a:lnTo>
                  <a:lnTo>
                    <a:pt x="1778576" y="1801791"/>
                  </a:lnTo>
                  <a:lnTo>
                    <a:pt x="1779501" y="1801919"/>
                  </a:lnTo>
                  <a:lnTo>
                    <a:pt x="1780437" y="1802584"/>
                  </a:lnTo>
                  <a:lnTo>
                    <a:pt x="1781238" y="1803644"/>
                  </a:lnTo>
                  <a:lnTo>
                    <a:pt x="1781739" y="1804993"/>
                  </a:lnTo>
                  <a:lnTo>
                    <a:pt x="1782674" y="1806836"/>
                  </a:lnTo>
                  <a:lnTo>
                    <a:pt x="1785752" y="1810948"/>
                  </a:lnTo>
                  <a:lnTo>
                    <a:pt x="1786294" y="1812472"/>
                  </a:lnTo>
                  <a:lnTo>
                    <a:pt x="1786373" y="1813520"/>
                  </a:lnTo>
                  <a:lnTo>
                    <a:pt x="1787541" y="1816483"/>
                  </a:lnTo>
                  <a:lnTo>
                    <a:pt x="1787864" y="1818151"/>
                  </a:lnTo>
                  <a:lnTo>
                    <a:pt x="1788255" y="1819294"/>
                  </a:lnTo>
                  <a:lnTo>
                    <a:pt x="1788904" y="1819994"/>
                  </a:lnTo>
                  <a:lnTo>
                    <a:pt x="1790002" y="1820356"/>
                  </a:lnTo>
                  <a:lnTo>
                    <a:pt x="1790135" y="1819550"/>
                  </a:lnTo>
                  <a:lnTo>
                    <a:pt x="1787835" y="1813895"/>
                  </a:lnTo>
                  <a:lnTo>
                    <a:pt x="1789235" y="1812612"/>
                  </a:lnTo>
                  <a:lnTo>
                    <a:pt x="1785398" y="1801229"/>
                  </a:lnTo>
                  <a:lnTo>
                    <a:pt x="1783944" y="1798153"/>
                  </a:lnTo>
                  <a:lnTo>
                    <a:pt x="1781978" y="1795684"/>
                  </a:lnTo>
                  <a:lnTo>
                    <a:pt x="1780628" y="1794711"/>
                  </a:lnTo>
                  <a:lnTo>
                    <a:pt x="1781198" y="1793735"/>
                  </a:lnTo>
                  <a:lnTo>
                    <a:pt x="1782870" y="1792245"/>
                  </a:lnTo>
                  <a:lnTo>
                    <a:pt x="1787993" y="1791173"/>
                  </a:lnTo>
                  <a:lnTo>
                    <a:pt x="1788021" y="1789697"/>
                  </a:lnTo>
                  <a:lnTo>
                    <a:pt x="1788663" y="1788781"/>
                  </a:lnTo>
                  <a:lnTo>
                    <a:pt x="1790539" y="1787092"/>
                  </a:lnTo>
                  <a:lnTo>
                    <a:pt x="1789801" y="1786224"/>
                  </a:lnTo>
                  <a:lnTo>
                    <a:pt x="1788942" y="1786217"/>
                  </a:lnTo>
                  <a:lnTo>
                    <a:pt x="1788015" y="1786497"/>
                  </a:lnTo>
                  <a:lnTo>
                    <a:pt x="1787085" y="1786523"/>
                  </a:lnTo>
                  <a:lnTo>
                    <a:pt x="1786368" y="1785981"/>
                  </a:lnTo>
                  <a:lnTo>
                    <a:pt x="1785289" y="1784290"/>
                  </a:lnTo>
                  <a:lnTo>
                    <a:pt x="1783164" y="1783224"/>
                  </a:lnTo>
                  <a:lnTo>
                    <a:pt x="1781932" y="1782010"/>
                  </a:lnTo>
                  <a:lnTo>
                    <a:pt x="1778621" y="1775432"/>
                  </a:lnTo>
                  <a:lnTo>
                    <a:pt x="1778179" y="1773389"/>
                  </a:lnTo>
                  <a:lnTo>
                    <a:pt x="1778321" y="1769234"/>
                  </a:lnTo>
                  <a:lnTo>
                    <a:pt x="1777880" y="1764444"/>
                  </a:lnTo>
                  <a:lnTo>
                    <a:pt x="1776232" y="1757302"/>
                  </a:lnTo>
                  <a:lnTo>
                    <a:pt x="1774932" y="1755426"/>
                  </a:lnTo>
                  <a:lnTo>
                    <a:pt x="1774371" y="1753424"/>
                  </a:lnTo>
                  <a:lnTo>
                    <a:pt x="1774437" y="1751624"/>
                  </a:lnTo>
                  <a:lnTo>
                    <a:pt x="1775577" y="1751208"/>
                  </a:lnTo>
                  <a:lnTo>
                    <a:pt x="1776131" y="1752051"/>
                  </a:lnTo>
                  <a:lnTo>
                    <a:pt x="1776516" y="1753428"/>
                  </a:lnTo>
                  <a:lnTo>
                    <a:pt x="1776975" y="1754345"/>
                  </a:lnTo>
                  <a:lnTo>
                    <a:pt x="1777755" y="1753843"/>
                  </a:lnTo>
                  <a:lnTo>
                    <a:pt x="1778870" y="1749125"/>
                  </a:lnTo>
                  <a:lnTo>
                    <a:pt x="1781229" y="1746474"/>
                  </a:lnTo>
                  <a:lnTo>
                    <a:pt x="1781706" y="1745182"/>
                  </a:lnTo>
                  <a:lnTo>
                    <a:pt x="1781572" y="1743970"/>
                  </a:lnTo>
                  <a:lnTo>
                    <a:pt x="1781121" y="1742943"/>
                  </a:lnTo>
                  <a:lnTo>
                    <a:pt x="1780663" y="1742180"/>
                  </a:lnTo>
                  <a:lnTo>
                    <a:pt x="1779342" y="1741184"/>
                  </a:lnTo>
                  <a:lnTo>
                    <a:pt x="1778690" y="1740383"/>
                  </a:lnTo>
                  <a:lnTo>
                    <a:pt x="1778555" y="1739211"/>
                  </a:lnTo>
                  <a:lnTo>
                    <a:pt x="1778508" y="1738216"/>
                  </a:lnTo>
                  <a:lnTo>
                    <a:pt x="1777871" y="1735646"/>
                  </a:lnTo>
                  <a:lnTo>
                    <a:pt x="1776737" y="1733018"/>
                  </a:lnTo>
                  <a:lnTo>
                    <a:pt x="1774576" y="1729574"/>
                  </a:lnTo>
                  <a:lnTo>
                    <a:pt x="1772546" y="1728044"/>
                  </a:lnTo>
                  <a:lnTo>
                    <a:pt x="1770438" y="1724257"/>
                  </a:lnTo>
                  <a:lnTo>
                    <a:pt x="1769518" y="1721679"/>
                  </a:lnTo>
                  <a:lnTo>
                    <a:pt x="1768700" y="1720452"/>
                  </a:lnTo>
                  <a:lnTo>
                    <a:pt x="1768456" y="1719642"/>
                  </a:lnTo>
                  <a:lnTo>
                    <a:pt x="1768361" y="1718584"/>
                  </a:lnTo>
                  <a:lnTo>
                    <a:pt x="1768323" y="1715764"/>
                  </a:lnTo>
                  <a:lnTo>
                    <a:pt x="1769044" y="1713227"/>
                  </a:lnTo>
                  <a:lnTo>
                    <a:pt x="1769968" y="1711119"/>
                  </a:lnTo>
                  <a:lnTo>
                    <a:pt x="1772324" y="1706977"/>
                  </a:lnTo>
                  <a:lnTo>
                    <a:pt x="1772803" y="1705859"/>
                  </a:lnTo>
                  <a:lnTo>
                    <a:pt x="1773274" y="1704562"/>
                  </a:lnTo>
                  <a:lnTo>
                    <a:pt x="1773772" y="1703514"/>
                  </a:lnTo>
                  <a:lnTo>
                    <a:pt x="1774339" y="1703145"/>
                  </a:lnTo>
                  <a:lnTo>
                    <a:pt x="1776938" y="1703169"/>
                  </a:lnTo>
                  <a:lnTo>
                    <a:pt x="1782578" y="1700520"/>
                  </a:lnTo>
                  <a:lnTo>
                    <a:pt x="1783977" y="1700284"/>
                  </a:lnTo>
                  <a:lnTo>
                    <a:pt x="1784491" y="1700004"/>
                  </a:lnTo>
                  <a:lnTo>
                    <a:pt x="1785152" y="1699199"/>
                  </a:lnTo>
                  <a:lnTo>
                    <a:pt x="1786360" y="1697263"/>
                  </a:lnTo>
                  <a:lnTo>
                    <a:pt x="1786955" y="1695577"/>
                  </a:lnTo>
                  <a:lnTo>
                    <a:pt x="1786592" y="1694735"/>
                  </a:lnTo>
                  <a:lnTo>
                    <a:pt x="1783620" y="1692925"/>
                  </a:lnTo>
                  <a:lnTo>
                    <a:pt x="1782857" y="1693009"/>
                  </a:lnTo>
                  <a:lnTo>
                    <a:pt x="1782040" y="1693498"/>
                  </a:lnTo>
                  <a:lnTo>
                    <a:pt x="1781277" y="1693676"/>
                  </a:lnTo>
                  <a:lnTo>
                    <a:pt x="1780953" y="1692858"/>
                  </a:lnTo>
                  <a:lnTo>
                    <a:pt x="1780802" y="1691642"/>
                  </a:lnTo>
                  <a:lnTo>
                    <a:pt x="1780558" y="1690617"/>
                  </a:lnTo>
                  <a:lnTo>
                    <a:pt x="1779926" y="1690065"/>
                  </a:lnTo>
                  <a:lnTo>
                    <a:pt x="1778329" y="1689524"/>
                  </a:lnTo>
                  <a:lnTo>
                    <a:pt x="1777793" y="1688628"/>
                  </a:lnTo>
                  <a:lnTo>
                    <a:pt x="1777629" y="1687444"/>
                  </a:lnTo>
                  <a:lnTo>
                    <a:pt x="1777938" y="1687089"/>
                  </a:lnTo>
                  <a:lnTo>
                    <a:pt x="1778464" y="1686691"/>
                  </a:lnTo>
                  <a:lnTo>
                    <a:pt x="1778948" y="1685360"/>
                  </a:lnTo>
                  <a:lnTo>
                    <a:pt x="1779455" y="1682813"/>
                  </a:lnTo>
                  <a:lnTo>
                    <a:pt x="1780098" y="1680343"/>
                  </a:lnTo>
                  <a:lnTo>
                    <a:pt x="1780890" y="1678329"/>
                  </a:lnTo>
                  <a:lnTo>
                    <a:pt x="1781833" y="1677169"/>
                  </a:lnTo>
                  <a:lnTo>
                    <a:pt x="1782493" y="1677045"/>
                  </a:lnTo>
                  <a:lnTo>
                    <a:pt x="1782843" y="1677512"/>
                  </a:lnTo>
                  <a:lnTo>
                    <a:pt x="1783104" y="1678261"/>
                  </a:lnTo>
                  <a:lnTo>
                    <a:pt x="1783485" y="1678972"/>
                  </a:lnTo>
                  <a:lnTo>
                    <a:pt x="1784262" y="1679368"/>
                  </a:lnTo>
                  <a:lnTo>
                    <a:pt x="1786057" y="1679355"/>
                  </a:lnTo>
                  <a:lnTo>
                    <a:pt x="1786736" y="1679879"/>
                  </a:lnTo>
                  <a:lnTo>
                    <a:pt x="1787906" y="1681252"/>
                  </a:lnTo>
                  <a:lnTo>
                    <a:pt x="1786725" y="1682868"/>
                  </a:lnTo>
                  <a:lnTo>
                    <a:pt x="1785391" y="1683114"/>
                  </a:lnTo>
                  <a:lnTo>
                    <a:pt x="1782832" y="1682633"/>
                  </a:lnTo>
                  <a:lnTo>
                    <a:pt x="1783071" y="1684040"/>
                  </a:lnTo>
                  <a:lnTo>
                    <a:pt x="1783813" y="1684588"/>
                  </a:lnTo>
                  <a:lnTo>
                    <a:pt x="1785603" y="1684696"/>
                  </a:lnTo>
                  <a:lnTo>
                    <a:pt x="1784481" y="1685299"/>
                  </a:lnTo>
                  <a:lnTo>
                    <a:pt x="1783227" y="1685550"/>
                  </a:lnTo>
                  <a:lnTo>
                    <a:pt x="1782035" y="1686103"/>
                  </a:lnTo>
                  <a:lnTo>
                    <a:pt x="1781094" y="1687620"/>
                  </a:lnTo>
                  <a:lnTo>
                    <a:pt x="1782363" y="1689715"/>
                  </a:lnTo>
                  <a:lnTo>
                    <a:pt x="1783123" y="1690280"/>
                  </a:lnTo>
                  <a:lnTo>
                    <a:pt x="1784142" y="1689736"/>
                  </a:lnTo>
                  <a:lnTo>
                    <a:pt x="1784479" y="1689204"/>
                  </a:lnTo>
                  <a:lnTo>
                    <a:pt x="1784706" y="1688591"/>
                  </a:lnTo>
                  <a:lnTo>
                    <a:pt x="1784892" y="1688001"/>
                  </a:lnTo>
                  <a:lnTo>
                    <a:pt x="1785094" y="1687567"/>
                  </a:lnTo>
                  <a:lnTo>
                    <a:pt x="1787515" y="1684729"/>
                  </a:lnTo>
                  <a:lnTo>
                    <a:pt x="1787982" y="1684462"/>
                  </a:lnTo>
                  <a:lnTo>
                    <a:pt x="1789519" y="1684371"/>
                  </a:lnTo>
                  <a:lnTo>
                    <a:pt x="1790955" y="1683347"/>
                  </a:lnTo>
                  <a:lnTo>
                    <a:pt x="1792286" y="1683228"/>
                  </a:lnTo>
                  <a:lnTo>
                    <a:pt x="1795271" y="1684204"/>
                  </a:lnTo>
                  <a:lnTo>
                    <a:pt x="1798043" y="1686846"/>
                  </a:lnTo>
                  <a:lnTo>
                    <a:pt x="1800385" y="1686712"/>
                  </a:lnTo>
                  <a:lnTo>
                    <a:pt x="1804983" y="1684139"/>
                  </a:lnTo>
                  <a:lnTo>
                    <a:pt x="1808949" y="1680344"/>
                  </a:lnTo>
                  <a:lnTo>
                    <a:pt x="1811003" y="1679139"/>
                  </a:lnTo>
                  <a:lnTo>
                    <a:pt x="1812466" y="1680016"/>
                  </a:lnTo>
                  <a:lnTo>
                    <a:pt x="1811523" y="1681661"/>
                  </a:lnTo>
                  <a:lnTo>
                    <a:pt x="1811105" y="1682556"/>
                  </a:lnTo>
                  <a:lnTo>
                    <a:pt x="1810745" y="1683576"/>
                  </a:lnTo>
                  <a:lnTo>
                    <a:pt x="1815379" y="1682818"/>
                  </a:lnTo>
                  <a:lnTo>
                    <a:pt x="1817474" y="1683830"/>
                  </a:lnTo>
                  <a:lnTo>
                    <a:pt x="1818228" y="1683817"/>
                  </a:lnTo>
                  <a:lnTo>
                    <a:pt x="1817716" y="1682440"/>
                  </a:lnTo>
                  <a:lnTo>
                    <a:pt x="1819756" y="1681149"/>
                  </a:lnTo>
                  <a:lnTo>
                    <a:pt x="1822105" y="1681892"/>
                  </a:lnTo>
                  <a:lnTo>
                    <a:pt x="1826126" y="1684532"/>
                  </a:lnTo>
                  <a:lnTo>
                    <a:pt x="1826244" y="1683796"/>
                  </a:lnTo>
                  <a:lnTo>
                    <a:pt x="1827225" y="1680886"/>
                  </a:lnTo>
                  <a:lnTo>
                    <a:pt x="1827037" y="1677699"/>
                  </a:lnTo>
                  <a:lnTo>
                    <a:pt x="1826329" y="1674869"/>
                  </a:lnTo>
                  <a:lnTo>
                    <a:pt x="1825705" y="1673091"/>
                  </a:lnTo>
                  <a:lnTo>
                    <a:pt x="1826968" y="1671520"/>
                  </a:lnTo>
                  <a:lnTo>
                    <a:pt x="1828483" y="1671229"/>
                  </a:lnTo>
                  <a:lnTo>
                    <a:pt x="1831298" y="1671710"/>
                  </a:lnTo>
                  <a:lnTo>
                    <a:pt x="1830335" y="1673837"/>
                  </a:lnTo>
                  <a:lnTo>
                    <a:pt x="1830082" y="1674849"/>
                  </a:lnTo>
                  <a:lnTo>
                    <a:pt x="1830794" y="1675759"/>
                  </a:lnTo>
                  <a:lnTo>
                    <a:pt x="1831307" y="1677438"/>
                  </a:lnTo>
                  <a:lnTo>
                    <a:pt x="1831853" y="1677887"/>
                  </a:lnTo>
                  <a:lnTo>
                    <a:pt x="1832766" y="1676712"/>
                  </a:lnTo>
                  <a:lnTo>
                    <a:pt x="1833036" y="1673867"/>
                  </a:lnTo>
                  <a:lnTo>
                    <a:pt x="1833176" y="1670993"/>
                  </a:lnTo>
                  <a:lnTo>
                    <a:pt x="1833697" y="1669754"/>
                  </a:lnTo>
                  <a:lnTo>
                    <a:pt x="1834920" y="1670303"/>
                  </a:lnTo>
                  <a:lnTo>
                    <a:pt x="1838299" y="1675649"/>
                  </a:lnTo>
                  <a:lnTo>
                    <a:pt x="1838874" y="1677003"/>
                  </a:lnTo>
                  <a:lnTo>
                    <a:pt x="1839243" y="1678742"/>
                  </a:lnTo>
                  <a:lnTo>
                    <a:pt x="1839585" y="1681339"/>
                  </a:lnTo>
                  <a:lnTo>
                    <a:pt x="1840112" y="1680760"/>
                  </a:lnTo>
                  <a:lnTo>
                    <a:pt x="1841228" y="1679085"/>
                  </a:lnTo>
                  <a:lnTo>
                    <a:pt x="1841724" y="1678581"/>
                  </a:lnTo>
                  <a:lnTo>
                    <a:pt x="1842264" y="1678528"/>
                  </a:lnTo>
                  <a:lnTo>
                    <a:pt x="1843398" y="1678740"/>
                  </a:lnTo>
                  <a:lnTo>
                    <a:pt x="1844044" y="1678250"/>
                  </a:lnTo>
                  <a:lnTo>
                    <a:pt x="1839235" y="1672915"/>
                  </a:lnTo>
                  <a:lnTo>
                    <a:pt x="1839115" y="1671002"/>
                  </a:lnTo>
                  <a:lnTo>
                    <a:pt x="1839823" y="1670051"/>
                  </a:lnTo>
                  <a:lnTo>
                    <a:pt x="1841364" y="1668536"/>
                  </a:lnTo>
                  <a:lnTo>
                    <a:pt x="1842075" y="1667338"/>
                  </a:lnTo>
                  <a:lnTo>
                    <a:pt x="1842829" y="1665124"/>
                  </a:lnTo>
                  <a:lnTo>
                    <a:pt x="1842770" y="1663867"/>
                  </a:lnTo>
                  <a:lnTo>
                    <a:pt x="1841505" y="1661915"/>
                  </a:lnTo>
                  <a:lnTo>
                    <a:pt x="1842837" y="1659941"/>
                  </a:lnTo>
                  <a:lnTo>
                    <a:pt x="1844092" y="1659674"/>
                  </a:lnTo>
                  <a:lnTo>
                    <a:pt x="1846485" y="1660481"/>
                  </a:lnTo>
                  <a:lnTo>
                    <a:pt x="1847662" y="1659797"/>
                  </a:lnTo>
                  <a:lnTo>
                    <a:pt x="1850180" y="1657120"/>
                  </a:lnTo>
                  <a:lnTo>
                    <a:pt x="1851273" y="1656610"/>
                  </a:lnTo>
                  <a:lnTo>
                    <a:pt x="1854014" y="1657018"/>
                  </a:lnTo>
                  <a:lnTo>
                    <a:pt x="1854406" y="1657510"/>
                  </a:lnTo>
                  <a:lnTo>
                    <a:pt x="1854578" y="1658514"/>
                  </a:lnTo>
                  <a:lnTo>
                    <a:pt x="1854687" y="1659566"/>
                  </a:lnTo>
                  <a:lnTo>
                    <a:pt x="1854891" y="1660228"/>
                  </a:lnTo>
                  <a:lnTo>
                    <a:pt x="1855949" y="1660277"/>
                  </a:lnTo>
                  <a:lnTo>
                    <a:pt x="1858245" y="1657654"/>
                  </a:lnTo>
                  <a:lnTo>
                    <a:pt x="1859283" y="1657044"/>
                  </a:lnTo>
                  <a:lnTo>
                    <a:pt x="1859868" y="1657353"/>
                  </a:lnTo>
                  <a:lnTo>
                    <a:pt x="1860406" y="1657845"/>
                  </a:lnTo>
                  <a:lnTo>
                    <a:pt x="1860982" y="1658107"/>
                  </a:lnTo>
                  <a:lnTo>
                    <a:pt x="1861668" y="1657763"/>
                  </a:lnTo>
                  <a:lnTo>
                    <a:pt x="1862089" y="1657048"/>
                  </a:lnTo>
                  <a:lnTo>
                    <a:pt x="1862549" y="1655927"/>
                  </a:lnTo>
                  <a:lnTo>
                    <a:pt x="1862904" y="1654907"/>
                  </a:lnTo>
                  <a:lnTo>
                    <a:pt x="1862985" y="1654507"/>
                  </a:lnTo>
                  <a:lnTo>
                    <a:pt x="1864096" y="1654820"/>
                  </a:lnTo>
                  <a:lnTo>
                    <a:pt x="1865264" y="1656135"/>
                  </a:lnTo>
                  <a:lnTo>
                    <a:pt x="1866542" y="1656920"/>
                  </a:lnTo>
                  <a:lnTo>
                    <a:pt x="1867983" y="1655633"/>
                  </a:lnTo>
                  <a:lnTo>
                    <a:pt x="1868270" y="1654935"/>
                  </a:lnTo>
                  <a:lnTo>
                    <a:pt x="1868652" y="1653493"/>
                  </a:lnTo>
                  <a:lnTo>
                    <a:pt x="1868937" y="1652798"/>
                  </a:lnTo>
                  <a:lnTo>
                    <a:pt x="1869460" y="1652416"/>
                  </a:lnTo>
                  <a:lnTo>
                    <a:pt x="1869678" y="1653347"/>
                  </a:lnTo>
                  <a:lnTo>
                    <a:pt x="1869816" y="1655487"/>
                  </a:lnTo>
                  <a:lnTo>
                    <a:pt x="1870602" y="1656234"/>
                  </a:lnTo>
                  <a:lnTo>
                    <a:pt x="1871735" y="1656502"/>
                  </a:lnTo>
                  <a:lnTo>
                    <a:pt x="1872638" y="1656011"/>
                  </a:lnTo>
                  <a:lnTo>
                    <a:pt x="1872734" y="1654456"/>
                  </a:lnTo>
                  <a:lnTo>
                    <a:pt x="1873415" y="1652823"/>
                  </a:lnTo>
                  <a:lnTo>
                    <a:pt x="1874222" y="1651190"/>
                  </a:lnTo>
                  <a:lnTo>
                    <a:pt x="1874780" y="1649458"/>
                  </a:lnTo>
                  <a:lnTo>
                    <a:pt x="1874716" y="1647527"/>
                  </a:lnTo>
                  <a:lnTo>
                    <a:pt x="1874348" y="1646692"/>
                  </a:lnTo>
                  <a:lnTo>
                    <a:pt x="1873398" y="1646038"/>
                  </a:lnTo>
                  <a:lnTo>
                    <a:pt x="1872940" y="1645400"/>
                  </a:lnTo>
                  <a:lnTo>
                    <a:pt x="1872748" y="1644683"/>
                  </a:lnTo>
                  <a:lnTo>
                    <a:pt x="1872536" y="1642332"/>
                  </a:lnTo>
                  <a:lnTo>
                    <a:pt x="1873375" y="1641035"/>
                  </a:lnTo>
                  <a:lnTo>
                    <a:pt x="1875177" y="1639193"/>
                  </a:lnTo>
                  <a:lnTo>
                    <a:pt x="1876092" y="1637991"/>
                  </a:lnTo>
                  <a:lnTo>
                    <a:pt x="1876341" y="1637381"/>
                  </a:lnTo>
                  <a:lnTo>
                    <a:pt x="1876738" y="1635798"/>
                  </a:lnTo>
                  <a:lnTo>
                    <a:pt x="1877052" y="1635049"/>
                  </a:lnTo>
                  <a:lnTo>
                    <a:pt x="1877542" y="1634580"/>
                  </a:lnTo>
                  <a:lnTo>
                    <a:pt x="1878007" y="1634565"/>
                  </a:lnTo>
                  <a:lnTo>
                    <a:pt x="1878494" y="1634427"/>
                  </a:lnTo>
                  <a:lnTo>
                    <a:pt x="1879051" y="1633555"/>
                  </a:lnTo>
                  <a:lnTo>
                    <a:pt x="1877040" y="1633058"/>
                  </a:lnTo>
                  <a:lnTo>
                    <a:pt x="1875919" y="1633169"/>
                  </a:lnTo>
                  <a:lnTo>
                    <a:pt x="1875001" y="1634043"/>
                  </a:lnTo>
                  <a:lnTo>
                    <a:pt x="1874098" y="1635143"/>
                  </a:lnTo>
                  <a:lnTo>
                    <a:pt x="1873013" y="1635652"/>
                  </a:lnTo>
                  <a:lnTo>
                    <a:pt x="1872016" y="1635412"/>
                  </a:lnTo>
                  <a:lnTo>
                    <a:pt x="1869974" y="1632203"/>
                  </a:lnTo>
                  <a:lnTo>
                    <a:pt x="1867542" y="1631773"/>
                  </a:lnTo>
                  <a:lnTo>
                    <a:pt x="1864896" y="1632357"/>
                  </a:lnTo>
                  <a:lnTo>
                    <a:pt x="1862836" y="1633352"/>
                  </a:lnTo>
                  <a:lnTo>
                    <a:pt x="1862355" y="1635269"/>
                  </a:lnTo>
                  <a:lnTo>
                    <a:pt x="1861033" y="1636066"/>
                  </a:lnTo>
                  <a:lnTo>
                    <a:pt x="1842776" y="1640582"/>
                  </a:lnTo>
                  <a:lnTo>
                    <a:pt x="1841355" y="1641558"/>
                  </a:lnTo>
                  <a:lnTo>
                    <a:pt x="1846531" y="1642350"/>
                  </a:lnTo>
                  <a:lnTo>
                    <a:pt x="1845153" y="1642845"/>
                  </a:lnTo>
                  <a:lnTo>
                    <a:pt x="1841789" y="1642513"/>
                  </a:lnTo>
                  <a:lnTo>
                    <a:pt x="1840645" y="1644456"/>
                  </a:lnTo>
                  <a:lnTo>
                    <a:pt x="1841716" y="1645025"/>
                  </a:lnTo>
                  <a:lnTo>
                    <a:pt x="1842266" y="1646438"/>
                  </a:lnTo>
                  <a:lnTo>
                    <a:pt x="1842105" y="1647993"/>
                  </a:lnTo>
                  <a:lnTo>
                    <a:pt x="1841029" y="1649040"/>
                  </a:lnTo>
                  <a:lnTo>
                    <a:pt x="1840375" y="1648832"/>
                  </a:lnTo>
                  <a:lnTo>
                    <a:pt x="1840096" y="1647953"/>
                  </a:lnTo>
                  <a:lnTo>
                    <a:pt x="1840000" y="1646996"/>
                  </a:lnTo>
                  <a:lnTo>
                    <a:pt x="1839903" y="1646536"/>
                  </a:lnTo>
                  <a:lnTo>
                    <a:pt x="1838061" y="1645874"/>
                  </a:lnTo>
                  <a:lnTo>
                    <a:pt x="1837310" y="1646135"/>
                  </a:lnTo>
                  <a:lnTo>
                    <a:pt x="1837343" y="1647941"/>
                  </a:lnTo>
                  <a:lnTo>
                    <a:pt x="1837713" y="1649542"/>
                  </a:lnTo>
                  <a:lnTo>
                    <a:pt x="1838290" y="1650840"/>
                  </a:lnTo>
                  <a:lnTo>
                    <a:pt x="1838940" y="1651735"/>
                  </a:lnTo>
                  <a:lnTo>
                    <a:pt x="1841129" y="1652557"/>
                  </a:lnTo>
                  <a:lnTo>
                    <a:pt x="1842104" y="1653635"/>
                  </a:lnTo>
                  <a:lnTo>
                    <a:pt x="1841812" y="1655597"/>
                  </a:lnTo>
                  <a:lnTo>
                    <a:pt x="1840873" y="1656683"/>
                  </a:lnTo>
                  <a:lnTo>
                    <a:pt x="1839677" y="1657451"/>
                  </a:lnTo>
                  <a:lnTo>
                    <a:pt x="1838565" y="1658456"/>
                  </a:lnTo>
                  <a:lnTo>
                    <a:pt x="1837863" y="1660296"/>
                  </a:lnTo>
                  <a:lnTo>
                    <a:pt x="1838051" y="1661951"/>
                  </a:lnTo>
                  <a:lnTo>
                    <a:pt x="1838585" y="1663613"/>
                  </a:lnTo>
                  <a:lnTo>
                    <a:pt x="1838706" y="1664843"/>
                  </a:lnTo>
                  <a:lnTo>
                    <a:pt x="1837649" y="1665156"/>
                  </a:lnTo>
                  <a:lnTo>
                    <a:pt x="1836562" y="1664899"/>
                  </a:lnTo>
                  <a:lnTo>
                    <a:pt x="1836114" y="1664484"/>
                  </a:lnTo>
                  <a:lnTo>
                    <a:pt x="1835774" y="1663704"/>
                  </a:lnTo>
                  <a:lnTo>
                    <a:pt x="1835485" y="1661346"/>
                  </a:lnTo>
                  <a:lnTo>
                    <a:pt x="1835375" y="1660971"/>
                  </a:lnTo>
                  <a:lnTo>
                    <a:pt x="1835129" y="1660587"/>
                  </a:lnTo>
                  <a:lnTo>
                    <a:pt x="1834941" y="1659053"/>
                  </a:lnTo>
                  <a:lnTo>
                    <a:pt x="1834639" y="1658665"/>
                  </a:lnTo>
                  <a:lnTo>
                    <a:pt x="1832048" y="1658260"/>
                  </a:lnTo>
                  <a:lnTo>
                    <a:pt x="1831911" y="1657798"/>
                  </a:lnTo>
                  <a:lnTo>
                    <a:pt x="1831990" y="1656805"/>
                  </a:lnTo>
                  <a:lnTo>
                    <a:pt x="1832302" y="1654868"/>
                  </a:lnTo>
                  <a:lnTo>
                    <a:pt x="1830377" y="1650981"/>
                  </a:lnTo>
                  <a:lnTo>
                    <a:pt x="1829533" y="1651301"/>
                  </a:lnTo>
                  <a:lnTo>
                    <a:pt x="1829122" y="1652607"/>
                  </a:lnTo>
                  <a:lnTo>
                    <a:pt x="1829644" y="1654108"/>
                  </a:lnTo>
                  <a:lnTo>
                    <a:pt x="1828685" y="1655587"/>
                  </a:lnTo>
                  <a:lnTo>
                    <a:pt x="1827518" y="1655322"/>
                  </a:lnTo>
                  <a:lnTo>
                    <a:pt x="1825531" y="1653455"/>
                  </a:lnTo>
                  <a:lnTo>
                    <a:pt x="1824799" y="1653321"/>
                  </a:lnTo>
                  <a:lnTo>
                    <a:pt x="1822883" y="1654474"/>
                  </a:lnTo>
                  <a:lnTo>
                    <a:pt x="1820787" y="1654267"/>
                  </a:lnTo>
                  <a:lnTo>
                    <a:pt x="1820016" y="1654834"/>
                  </a:lnTo>
                  <a:lnTo>
                    <a:pt x="1819853" y="1656642"/>
                  </a:lnTo>
                  <a:lnTo>
                    <a:pt x="1818719" y="1657726"/>
                  </a:lnTo>
                  <a:lnTo>
                    <a:pt x="1816377" y="1659112"/>
                  </a:lnTo>
                  <a:lnTo>
                    <a:pt x="1815759" y="1659844"/>
                  </a:lnTo>
                  <a:lnTo>
                    <a:pt x="1815178" y="1660333"/>
                  </a:lnTo>
                  <a:lnTo>
                    <a:pt x="1814668" y="1661072"/>
                  </a:lnTo>
                  <a:lnTo>
                    <a:pt x="1814267" y="1662545"/>
                  </a:lnTo>
                  <a:lnTo>
                    <a:pt x="1813767" y="1664086"/>
                  </a:lnTo>
                  <a:lnTo>
                    <a:pt x="1813158" y="1664211"/>
                  </a:lnTo>
                  <a:lnTo>
                    <a:pt x="1811911" y="1663251"/>
                  </a:lnTo>
                  <a:lnTo>
                    <a:pt x="1809476" y="1663916"/>
                  </a:lnTo>
                  <a:lnTo>
                    <a:pt x="1808398" y="1663576"/>
                  </a:lnTo>
                  <a:lnTo>
                    <a:pt x="1808034" y="1659255"/>
                  </a:lnTo>
                  <a:lnTo>
                    <a:pt x="1806861" y="1657787"/>
                  </a:lnTo>
                  <a:lnTo>
                    <a:pt x="1805399" y="1656998"/>
                  </a:lnTo>
                  <a:lnTo>
                    <a:pt x="1801470" y="1656859"/>
                  </a:lnTo>
                  <a:lnTo>
                    <a:pt x="1800059" y="1656116"/>
                  </a:lnTo>
                  <a:lnTo>
                    <a:pt x="1799736" y="1654117"/>
                  </a:lnTo>
                  <a:lnTo>
                    <a:pt x="1799092" y="1652833"/>
                  </a:lnTo>
                  <a:lnTo>
                    <a:pt x="1793126" y="1652833"/>
                  </a:lnTo>
                  <a:lnTo>
                    <a:pt x="1791543" y="1653550"/>
                  </a:lnTo>
                  <a:lnTo>
                    <a:pt x="1790832" y="1653652"/>
                  </a:lnTo>
                  <a:lnTo>
                    <a:pt x="1790092" y="1653204"/>
                  </a:lnTo>
                  <a:lnTo>
                    <a:pt x="1788663" y="1651766"/>
                  </a:lnTo>
                  <a:lnTo>
                    <a:pt x="1787830" y="1651688"/>
                  </a:lnTo>
                  <a:lnTo>
                    <a:pt x="1786806" y="1652762"/>
                  </a:lnTo>
                  <a:lnTo>
                    <a:pt x="1785890" y="1654746"/>
                  </a:lnTo>
                  <a:lnTo>
                    <a:pt x="1784964" y="1657116"/>
                  </a:lnTo>
                  <a:lnTo>
                    <a:pt x="1783917" y="1659315"/>
                  </a:lnTo>
                  <a:lnTo>
                    <a:pt x="1784207" y="1660336"/>
                  </a:lnTo>
                  <a:lnTo>
                    <a:pt x="1784693" y="1661403"/>
                  </a:lnTo>
                  <a:lnTo>
                    <a:pt x="1785308" y="1662277"/>
                  </a:lnTo>
                  <a:lnTo>
                    <a:pt x="1785971" y="1662703"/>
                  </a:lnTo>
                  <a:lnTo>
                    <a:pt x="1787168" y="1662881"/>
                  </a:lnTo>
                  <a:lnTo>
                    <a:pt x="1787727" y="1663167"/>
                  </a:lnTo>
                  <a:lnTo>
                    <a:pt x="1788190" y="1663779"/>
                  </a:lnTo>
                  <a:lnTo>
                    <a:pt x="1788388" y="1664435"/>
                  </a:lnTo>
                  <a:lnTo>
                    <a:pt x="1788515" y="1665809"/>
                  </a:lnTo>
                  <a:lnTo>
                    <a:pt x="1788594" y="1666245"/>
                  </a:lnTo>
                  <a:lnTo>
                    <a:pt x="1789077" y="1667108"/>
                  </a:lnTo>
                  <a:lnTo>
                    <a:pt x="1792982" y="1670429"/>
                  </a:lnTo>
                  <a:lnTo>
                    <a:pt x="1793520" y="1671435"/>
                  </a:lnTo>
                  <a:lnTo>
                    <a:pt x="1792907" y="1672213"/>
                  </a:lnTo>
                  <a:lnTo>
                    <a:pt x="1791823" y="1672126"/>
                  </a:lnTo>
                  <a:lnTo>
                    <a:pt x="1788498" y="1669940"/>
                  </a:lnTo>
                  <a:lnTo>
                    <a:pt x="1783987" y="1669156"/>
                  </a:lnTo>
                  <a:lnTo>
                    <a:pt x="1783104" y="1669397"/>
                  </a:lnTo>
                  <a:lnTo>
                    <a:pt x="1782456" y="1670199"/>
                  </a:lnTo>
                  <a:lnTo>
                    <a:pt x="1781922" y="1671136"/>
                  </a:lnTo>
                  <a:lnTo>
                    <a:pt x="1781389" y="1671796"/>
                  </a:lnTo>
                  <a:lnTo>
                    <a:pt x="1780145" y="1672104"/>
                  </a:lnTo>
                  <a:lnTo>
                    <a:pt x="1776876" y="1670796"/>
                  </a:lnTo>
                  <a:lnTo>
                    <a:pt x="1778035" y="1669045"/>
                  </a:lnTo>
                  <a:lnTo>
                    <a:pt x="1771673" y="1667796"/>
                  </a:lnTo>
                  <a:lnTo>
                    <a:pt x="1770184" y="1667934"/>
                  </a:lnTo>
                  <a:lnTo>
                    <a:pt x="1767359" y="1670098"/>
                  </a:lnTo>
                  <a:lnTo>
                    <a:pt x="1760834" y="1672728"/>
                  </a:lnTo>
                  <a:lnTo>
                    <a:pt x="1759831" y="1671285"/>
                  </a:lnTo>
                  <a:lnTo>
                    <a:pt x="1759474" y="1669621"/>
                  </a:lnTo>
                  <a:lnTo>
                    <a:pt x="1759505" y="1668638"/>
                  </a:lnTo>
                  <a:lnTo>
                    <a:pt x="1759957" y="1667561"/>
                  </a:lnTo>
                  <a:lnTo>
                    <a:pt x="1760765" y="1666753"/>
                  </a:lnTo>
                  <a:lnTo>
                    <a:pt x="1761642" y="1666540"/>
                  </a:lnTo>
                  <a:lnTo>
                    <a:pt x="1762415" y="1666885"/>
                  </a:lnTo>
                  <a:lnTo>
                    <a:pt x="1762925" y="1667723"/>
                  </a:lnTo>
                  <a:lnTo>
                    <a:pt x="1762106" y="1668796"/>
                  </a:lnTo>
                  <a:lnTo>
                    <a:pt x="1761808" y="1669035"/>
                  </a:lnTo>
                  <a:lnTo>
                    <a:pt x="1761682" y="1669702"/>
                  </a:lnTo>
                  <a:lnTo>
                    <a:pt x="1762825" y="1669830"/>
                  </a:lnTo>
                  <a:lnTo>
                    <a:pt x="1763783" y="1668381"/>
                  </a:lnTo>
                  <a:lnTo>
                    <a:pt x="1764560" y="1665951"/>
                  </a:lnTo>
                  <a:lnTo>
                    <a:pt x="1765166" y="1663147"/>
                  </a:lnTo>
                  <a:lnTo>
                    <a:pt x="1765199" y="1662183"/>
                  </a:lnTo>
                  <a:lnTo>
                    <a:pt x="1765049" y="1661005"/>
                  </a:lnTo>
                  <a:lnTo>
                    <a:pt x="1764781" y="1659995"/>
                  </a:lnTo>
                  <a:lnTo>
                    <a:pt x="1764438" y="1659539"/>
                  </a:lnTo>
                  <a:lnTo>
                    <a:pt x="1763614" y="1659862"/>
                  </a:lnTo>
                  <a:lnTo>
                    <a:pt x="1763077" y="1660877"/>
                  </a:lnTo>
                  <a:lnTo>
                    <a:pt x="1762708" y="1662092"/>
                  </a:lnTo>
                  <a:lnTo>
                    <a:pt x="1762377" y="1663015"/>
                  </a:lnTo>
                  <a:lnTo>
                    <a:pt x="1762142" y="1663572"/>
                  </a:lnTo>
                  <a:lnTo>
                    <a:pt x="1762032" y="1664062"/>
                  </a:lnTo>
                  <a:lnTo>
                    <a:pt x="1761858" y="1664549"/>
                  </a:lnTo>
                  <a:lnTo>
                    <a:pt x="1761420" y="1665105"/>
                  </a:lnTo>
                  <a:lnTo>
                    <a:pt x="1759928" y="1664152"/>
                  </a:lnTo>
                  <a:lnTo>
                    <a:pt x="1759640" y="1664090"/>
                  </a:lnTo>
                  <a:lnTo>
                    <a:pt x="1759866" y="1662967"/>
                  </a:lnTo>
                  <a:lnTo>
                    <a:pt x="1760421" y="1661548"/>
                  </a:lnTo>
                  <a:lnTo>
                    <a:pt x="1761054" y="1660226"/>
                  </a:lnTo>
                  <a:lnTo>
                    <a:pt x="1762573" y="1657612"/>
                  </a:lnTo>
                  <a:lnTo>
                    <a:pt x="1763507" y="1655703"/>
                  </a:lnTo>
                  <a:lnTo>
                    <a:pt x="1763973" y="1653754"/>
                  </a:lnTo>
                  <a:lnTo>
                    <a:pt x="1763646" y="1651821"/>
                  </a:lnTo>
                  <a:lnTo>
                    <a:pt x="1762387" y="1650649"/>
                  </a:lnTo>
                  <a:lnTo>
                    <a:pt x="1760905" y="1651331"/>
                  </a:lnTo>
                  <a:lnTo>
                    <a:pt x="1759395" y="1652578"/>
                  </a:lnTo>
                  <a:lnTo>
                    <a:pt x="1757433" y="1653486"/>
                  </a:lnTo>
                  <a:lnTo>
                    <a:pt x="1756100" y="1655313"/>
                  </a:lnTo>
                  <a:lnTo>
                    <a:pt x="1755390" y="1655655"/>
                  </a:lnTo>
                  <a:lnTo>
                    <a:pt x="1751508" y="1654925"/>
                  </a:lnTo>
                  <a:lnTo>
                    <a:pt x="1750900" y="1655352"/>
                  </a:lnTo>
                  <a:lnTo>
                    <a:pt x="1750318" y="1656295"/>
                  </a:lnTo>
                  <a:lnTo>
                    <a:pt x="1749698" y="1656900"/>
                  </a:lnTo>
                  <a:lnTo>
                    <a:pt x="1748977" y="1656312"/>
                  </a:lnTo>
                  <a:lnTo>
                    <a:pt x="1747579" y="1654275"/>
                  </a:lnTo>
                  <a:lnTo>
                    <a:pt x="1747302" y="1653368"/>
                  </a:lnTo>
                  <a:lnTo>
                    <a:pt x="1747227" y="1652066"/>
                  </a:lnTo>
                  <a:lnTo>
                    <a:pt x="1747506" y="1651657"/>
                  </a:lnTo>
                  <a:lnTo>
                    <a:pt x="1748815" y="1651378"/>
                  </a:lnTo>
                  <a:lnTo>
                    <a:pt x="1750092" y="1650062"/>
                  </a:lnTo>
                  <a:lnTo>
                    <a:pt x="1750711" y="1649163"/>
                  </a:lnTo>
                  <a:lnTo>
                    <a:pt x="1750599" y="1648694"/>
                  </a:lnTo>
                  <a:lnTo>
                    <a:pt x="1750552" y="1648089"/>
                  </a:lnTo>
                  <a:lnTo>
                    <a:pt x="1750695" y="1646805"/>
                  </a:lnTo>
                  <a:lnTo>
                    <a:pt x="1750963" y="1645564"/>
                  </a:lnTo>
                  <a:lnTo>
                    <a:pt x="1751310" y="1645034"/>
                  </a:lnTo>
                  <a:lnTo>
                    <a:pt x="1751979" y="1644890"/>
                  </a:lnTo>
                  <a:lnTo>
                    <a:pt x="1758542" y="1640335"/>
                  </a:lnTo>
                  <a:lnTo>
                    <a:pt x="1769258" y="1624385"/>
                  </a:lnTo>
                  <a:lnTo>
                    <a:pt x="1772361" y="1620605"/>
                  </a:lnTo>
                  <a:lnTo>
                    <a:pt x="1775390" y="1618776"/>
                  </a:lnTo>
                  <a:lnTo>
                    <a:pt x="1794582" y="1618661"/>
                  </a:lnTo>
                  <a:lnTo>
                    <a:pt x="1796524" y="1619832"/>
                  </a:lnTo>
                  <a:lnTo>
                    <a:pt x="1801942" y="1617651"/>
                  </a:lnTo>
                  <a:lnTo>
                    <a:pt x="1807824" y="1617439"/>
                  </a:lnTo>
                  <a:lnTo>
                    <a:pt x="1810353" y="1616205"/>
                  </a:lnTo>
                  <a:lnTo>
                    <a:pt x="1815581" y="1616940"/>
                  </a:lnTo>
                  <a:lnTo>
                    <a:pt x="1820733" y="1613618"/>
                  </a:lnTo>
                  <a:lnTo>
                    <a:pt x="1821335" y="1613011"/>
                  </a:lnTo>
                  <a:lnTo>
                    <a:pt x="1821919" y="1612648"/>
                  </a:lnTo>
                  <a:lnTo>
                    <a:pt x="1825096" y="1612318"/>
                  </a:lnTo>
                  <a:lnTo>
                    <a:pt x="1832269" y="1608729"/>
                  </a:lnTo>
                  <a:lnTo>
                    <a:pt x="1834477" y="1608462"/>
                  </a:lnTo>
                  <a:lnTo>
                    <a:pt x="1836117" y="1607685"/>
                  </a:lnTo>
                  <a:lnTo>
                    <a:pt x="1836911" y="1607572"/>
                  </a:lnTo>
                  <a:lnTo>
                    <a:pt x="1840550" y="1608838"/>
                  </a:lnTo>
                  <a:lnTo>
                    <a:pt x="1842100" y="1608532"/>
                  </a:lnTo>
                  <a:lnTo>
                    <a:pt x="1846589" y="1605252"/>
                  </a:lnTo>
                  <a:lnTo>
                    <a:pt x="1851294" y="1604556"/>
                  </a:lnTo>
                  <a:lnTo>
                    <a:pt x="1854394" y="1602694"/>
                  </a:lnTo>
                  <a:lnTo>
                    <a:pt x="1857466" y="1602041"/>
                  </a:lnTo>
                  <a:lnTo>
                    <a:pt x="1858950" y="1601106"/>
                  </a:lnTo>
                  <a:lnTo>
                    <a:pt x="1859429" y="1600348"/>
                  </a:lnTo>
                  <a:lnTo>
                    <a:pt x="1860588" y="1597665"/>
                  </a:lnTo>
                  <a:lnTo>
                    <a:pt x="1861553" y="1597189"/>
                  </a:lnTo>
                  <a:lnTo>
                    <a:pt x="1862467" y="1597501"/>
                  </a:lnTo>
                  <a:lnTo>
                    <a:pt x="1869493" y="1603482"/>
                  </a:lnTo>
                  <a:lnTo>
                    <a:pt x="1876496" y="1605996"/>
                  </a:lnTo>
                  <a:lnTo>
                    <a:pt x="1877060" y="1606416"/>
                  </a:lnTo>
                  <a:lnTo>
                    <a:pt x="1878576" y="1608481"/>
                  </a:lnTo>
                  <a:lnTo>
                    <a:pt x="1879714" y="1611280"/>
                  </a:lnTo>
                  <a:lnTo>
                    <a:pt x="1880872" y="1612513"/>
                  </a:lnTo>
                  <a:lnTo>
                    <a:pt x="1883022" y="1617435"/>
                  </a:lnTo>
                  <a:lnTo>
                    <a:pt x="1885765" y="1621831"/>
                  </a:lnTo>
                  <a:lnTo>
                    <a:pt x="1886567" y="1624127"/>
                  </a:lnTo>
                  <a:lnTo>
                    <a:pt x="1887355" y="1625542"/>
                  </a:lnTo>
                  <a:lnTo>
                    <a:pt x="1886695" y="1627721"/>
                  </a:lnTo>
                  <a:lnTo>
                    <a:pt x="1886268" y="1628750"/>
                  </a:lnTo>
                  <a:lnTo>
                    <a:pt x="1885850" y="1629163"/>
                  </a:lnTo>
                  <a:lnTo>
                    <a:pt x="1885362" y="1629244"/>
                  </a:lnTo>
                  <a:lnTo>
                    <a:pt x="1884648" y="1629589"/>
                  </a:lnTo>
                  <a:lnTo>
                    <a:pt x="1883959" y="1630206"/>
                  </a:lnTo>
                  <a:lnTo>
                    <a:pt x="1883537" y="1631101"/>
                  </a:lnTo>
                  <a:lnTo>
                    <a:pt x="1883524" y="1632931"/>
                  </a:lnTo>
                  <a:lnTo>
                    <a:pt x="1884003" y="1634685"/>
                  </a:lnTo>
                  <a:lnTo>
                    <a:pt x="1885125" y="1637324"/>
                  </a:lnTo>
                  <a:lnTo>
                    <a:pt x="1885585" y="1638989"/>
                  </a:lnTo>
                  <a:lnTo>
                    <a:pt x="1886844" y="1646530"/>
                  </a:lnTo>
                  <a:lnTo>
                    <a:pt x="1887549" y="1647763"/>
                  </a:lnTo>
                  <a:lnTo>
                    <a:pt x="1888551" y="1648318"/>
                  </a:lnTo>
                  <a:lnTo>
                    <a:pt x="1889908" y="1648565"/>
                  </a:lnTo>
                  <a:lnTo>
                    <a:pt x="1889771" y="1649490"/>
                  </a:lnTo>
                  <a:lnTo>
                    <a:pt x="1889495" y="1652179"/>
                  </a:lnTo>
                  <a:lnTo>
                    <a:pt x="1889298" y="1652984"/>
                  </a:lnTo>
                  <a:lnTo>
                    <a:pt x="1888666" y="1653473"/>
                  </a:lnTo>
                  <a:lnTo>
                    <a:pt x="1888153" y="1652938"/>
                  </a:lnTo>
                  <a:lnTo>
                    <a:pt x="1887311" y="1651213"/>
                  </a:lnTo>
                  <a:lnTo>
                    <a:pt x="1886564" y="1650557"/>
                  </a:lnTo>
                  <a:lnTo>
                    <a:pt x="1885866" y="1650390"/>
                  </a:lnTo>
                  <a:lnTo>
                    <a:pt x="1885123" y="1650714"/>
                  </a:lnTo>
                  <a:lnTo>
                    <a:pt x="1884239" y="1651480"/>
                  </a:lnTo>
                  <a:lnTo>
                    <a:pt x="1883481" y="1652545"/>
                  </a:lnTo>
                  <a:lnTo>
                    <a:pt x="1883218" y="1652845"/>
                  </a:lnTo>
                  <a:lnTo>
                    <a:pt x="1882858" y="1653068"/>
                  </a:lnTo>
                  <a:lnTo>
                    <a:pt x="1882140" y="1653257"/>
                  </a:lnTo>
                  <a:lnTo>
                    <a:pt x="1881774" y="1653466"/>
                  </a:lnTo>
                  <a:lnTo>
                    <a:pt x="1880593" y="1654553"/>
                  </a:lnTo>
                  <a:lnTo>
                    <a:pt x="1880003" y="1655506"/>
                  </a:lnTo>
                  <a:lnTo>
                    <a:pt x="1879636" y="1656862"/>
                  </a:lnTo>
                  <a:lnTo>
                    <a:pt x="1879726" y="1658396"/>
                  </a:lnTo>
                  <a:lnTo>
                    <a:pt x="1880345" y="1658875"/>
                  </a:lnTo>
                  <a:lnTo>
                    <a:pt x="1886869" y="1658637"/>
                  </a:lnTo>
                  <a:lnTo>
                    <a:pt x="1888111" y="1659583"/>
                  </a:lnTo>
                  <a:lnTo>
                    <a:pt x="1887853" y="1660588"/>
                  </a:lnTo>
                  <a:lnTo>
                    <a:pt x="1887546" y="1661504"/>
                  </a:lnTo>
                  <a:lnTo>
                    <a:pt x="1887193" y="1662342"/>
                  </a:lnTo>
                  <a:lnTo>
                    <a:pt x="1886786" y="1663164"/>
                  </a:lnTo>
                  <a:lnTo>
                    <a:pt x="1887630" y="1666013"/>
                  </a:lnTo>
                  <a:lnTo>
                    <a:pt x="1895498" y="1676395"/>
                  </a:lnTo>
                  <a:lnTo>
                    <a:pt x="1897589" y="1677812"/>
                  </a:lnTo>
                  <a:lnTo>
                    <a:pt x="1899551" y="1676107"/>
                  </a:lnTo>
                  <a:lnTo>
                    <a:pt x="1897101" y="1673356"/>
                  </a:lnTo>
                  <a:lnTo>
                    <a:pt x="1896455" y="1672028"/>
                  </a:lnTo>
                  <a:lnTo>
                    <a:pt x="1898540" y="1672434"/>
                  </a:lnTo>
                  <a:lnTo>
                    <a:pt x="1899115" y="1671958"/>
                  </a:lnTo>
                  <a:lnTo>
                    <a:pt x="1899677" y="1671172"/>
                  </a:lnTo>
                  <a:lnTo>
                    <a:pt x="1900233" y="1670909"/>
                  </a:lnTo>
                  <a:lnTo>
                    <a:pt x="1900704" y="1671228"/>
                  </a:lnTo>
                  <a:lnTo>
                    <a:pt x="1901030" y="1672205"/>
                  </a:lnTo>
                  <a:lnTo>
                    <a:pt x="1901727" y="1673033"/>
                  </a:lnTo>
                  <a:lnTo>
                    <a:pt x="1902906" y="1672352"/>
                  </a:lnTo>
                  <a:lnTo>
                    <a:pt x="1904060" y="1670693"/>
                  </a:lnTo>
                  <a:lnTo>
                    <a:pt x="1904710" y="1668585"/>
                  </a:lnTo>
                  <a:lnTo>
                    <a:pt x="1905092" y="1669859"/>
                  </a:lnTo>
                  <a:lnTo>
                    <a:pt x="1905676" y="1670559"/>
                  </a:lnTo>
                  <a:lnTo>
                    <a:pt x="1906179" y="1671442"/>
                  </a:lnTo>
                  <a:lnTo>
                    <a:pt x="1906315" y="1673296"/>
                  </a:lnTo>
                  <a:lnTo>
                    <a:pt x="1905952" y="1675280"/>
                  </a:lnTo>
                  <a:lnTo>
                    <a:pt x="1905222" y="1676404"/>
                  </a:lnTo>
                  <a:lnTo>
                    <a:pt x="1901389" y="1678142"/>
                  </a:lnTo>
                  <a:lnTo>
                    <a:pt x="1900987" y="1679056"/>
                  </a:lnTo>
                  <a:lnTo>
                    <a:pt x="1901432" y="1680858"/>
                  </a:lnTo>
                  <a:lnTo>
                    <a:pt x="1902346" y="1681985"/>
                  </a:lnTo>
                  <a:lnTo>
                    <a:pt x="1903370" y="1681812"/>
                  </a:lnTo>
                  <a:lnTo>
                    <a:pt x="1905462" y="1679868"/>
                  </a:lnTo>
                  <a:lnTo>
                    <a:pt x="1906091" y="1678597"/>
                  </a:lnTo>
                  <a:lnTo>
                    <a:pt x="1906463" y="1678287"/>
                  </a:lnTo>
                  <a:lnTo>
                    <a:pt x="1907189" y="1679809"/>
                  </a:lnTo>
                  <a:lnTo>
                    <a:pt x="1907643" y="1680197"/>
                  </a:lnTo>
                  <a:lnTo>
                    <a:pt x="1913708" y="1680899"/>
                  </a:lnTo>
                  <a:lnTo>
                    <a:pt x="1914807" y="1682599"/>
                  </a:lnTo>
                  <a:lnTo>
                    <a:pt x="1913744" y="1686079"/>
                  </a:lnTo>
                  <a:lnTo>
                    <a:pt x="1910530" y="1692574"/>
                  </a:lnTo>
                  <a:lnTo>
                    <a:pt x="1912886" y="1692878"/>
                  </a:lnTo>
                  <a:lnTo>
                    <a:pt x="1913286" y="1694121"/>
                  </a:lnTo>
                  <a:lnTo>
                    <a:pt x="1912994" y="1697821"/>
                  </a:lnTo>
                  <a:lnTo>
                    <a:pt x="1913155" y="1699092"/>
                  </a:lnTo>
                  <a:lnTo>
                    <a:pt x="1913823" y="1699710"/>
                  </a:lnTo>
                  <a:lnTo>
                    <a:pt x="1915581" y="1700113"/>
                  </a:lnTo>
                  <a:lnTo>
                    <a:pt x="1916422" y="1700871"/>
                  </a:lnTo>
                  <a:lnTo>
                    <a:pt x="1916640" y="1701300"/>
                  </a:lnTo>
                  <a:lnTo>
                    <a:pt x="1916562" y="1701988"/>
                  </a:lnTo>
                  <a:lnTo>
                    <a:pt x="1915932" y="1703229"/>
                  </a:lnTo>
                  <a:lnTo>
                    <a:pt x="1915888" y="1703863"/>
                  </a:lnTo>
                  <a:lnTo>
                    <a:pt x="1916851" y="1704967"/>
                  </a:lnTo>
                  <a:lnTo>
                    <a:pt x="1921777" y="1705254"/>
                  </a:lnTo>
                  <a:lnTo>
                    <a:pt x="1922506" y="1704832"/>
                  </a:lnTo>
                  <a:lnTo>
                    <a:pt x="1923212" y="1703906"/>
                  </a:lnTo>
                  <a:lnTo>
                    <a:pt x="1923920" y="1703270"/>
                  </a:lnTo>
                  <a:lnTo>
                    <a:pt x="1924633" y="1703716"/>
                  </a:lnTo>
                  <a:lnTo>
                    <a:pt x="1927113" y="1706634"/>
                  </a:lnTo>
                  <a:lnTo>
                    <a:pt x="1930362" y="1707627"/>
                  </a:lnTo>
                  <a:lnTo>
                    <a:pt x="1937053" y="1705713"/>
                  </a:lnTo>
                  <a:lnTo>
                    <a:pt x="1941273" y="1708962"/>
                  </a:lnTo>
                  <a:lnTo>
                    <a:pt x="1942992" y="1709376"/>
                  </a:lnTo>
                  <a:lnTo>
                    <a:pt x="1944800" y="1709031"/>
                  </a:lnTo>
                  <a:lnTo>
                    <a:pt x="1946391" y="1708063"/>
                  </a:lnTo>
                  <a:lnTo>
                    <a:pt x="1947005" y="1707256"/>
                  </a:lnTo>
                  <a:lnTo>
                    <a:pt x="1948122" y="1705240"/>
                  </a:lnTo>
                  <a:lnTo>
                    <a:pt x="1948742" y="1704572"/>
                  </a:lnTo>
                  <a:lnTo>
                    <a:pt x="1949633" y="1704548"/>
                  </a:lnTo>
                  <a:lnTo>
                    <a:pt x="1952330" y="1706457"/>
                  </a:lnTo>
                  <a:lnTo>
                    <a:pt x="1953538" y="1706640"/>
                  </a:lnTo>
                  <a:lnTo>
                    <a:pt x="1954146" y="1706531"/>
                  </a:lnTo>
                  <a:lnTo>
                    <a:pt x="1954768" y="1706035"/>
                  </a:lnTo>
                  <a:lnTo>
                    <a:pt x="1955436" y="1705236"/>
                  </a:lnTo>
                  <a:lnTo>
                    <a:pt x="1955566" y="1704848"/>
                  </a:lnTo>
                  <a:lnTo>
                    <a:pt x="1955512" y="1704317"/>
                  </a:lnTo>
                  <a:lnTo>
                    <a:pt x="1955714" y="1702014"/>
                  </a:lnTo>
                  <a:lnTo>
                    <a:pt x="1955662" y="1701397"/>
                  </a:lnTo>
                  <a:lnTo>
                    <a:pt x="1955770" y="1700682"/>
                  </a:lnTo>
                  <a:lnTo>
                    <a:pt x="1956336" y="1699337"/>
                  </a:lnTo>
                  <a:lnTo>
                    <a:pt x="1956781" y="1698621"/>
                  </a:lnTo>
                  <a:lnTo>
                    <a:pt x="1960654" y="1695259"/>
                  </a:lnTo>
                  <a:lnTo>
                    <a:pt x="1961795" y="1695160"/>
                  </a:lnTo>
                  <a:lnTo>
                    <a:pt x="1962824" y="1696337"/>
                  </a:lnTo>
                  <a:lnTo>
                    <a:pt x="1963317" y="1697596"/>
                  </a:lnTo>
                  <a:lnTo>
                    <a:pt x="1963691" y="1698981"/>
                  </a:lnTo>
                  <a:lnTo>
                    <a:pt x="1964210" y="1701719"/>
                  </a:lnTo>
                  <a:lnTo>
                    <a:pt x="1963646" y="1702628"/>
                  </a:lnTo>
                  <a:lnTo>
                    <a:pt x="1963077" y="1703288"/>
                  </a:lnTo>
                  <a:lnTo>
                    <a:pt x="1962562" y="1704041"/>
                  </a:lnTo>
                  <a:lnTo>
                    <a:pt x="1962159" y="1705253"/>
                  </a:lnTo>
                  <a:lnTo>
                    <a:pt x="1962195" y="1705809"/>
                  </a:lnTo>
                  <a:lnTo>
                    <a:pt x="1962245" y="1708931"/>
                  </a:lnTo>
                  <a:lnTo>
                    <a:pt x="1962205" y="1710117"/>
                  </a:lnTo>
                  <a:lnTo>
                    <a:pt x="1962036" y="1711718"/>
                  </a:lnTo>
                  <a:lnTo>
                    <a:pt x="1962059" y="1712493"/>
                  </a:lnTo>
                  <a:lnTo>
                    <a:pt x="1962404" y="1712746"/>
                  </a:lnTo>
                  <a:lnTo>
                    <a:pt x="1963877" y="1713089"/>
                  </a:lnTo>
                  <a:lnTo>
                    <a:pt x="1964331" y="1713640"/>
                  </a:lnTo>
                  <a:lnTo>
                    <a:pt x="1965544" y="1716389"/>
                  </a:lnTo>
                  <a:lnTo>
                    <a:pt x="1965993" y="1717095"/>
                  </a:lnTo>
                  <a:lnTo>
                    <a:pt x="1966534" y="1717497"/>
                  </a:lnTo>
                  <a:lnTo>
                    <a:pt x="1967329" y="1717746"/>
                  </a:lnTo>
                  <a:lnTo>
                    <a:pt x="1969181" y="1717754"/>
                  </a:lnTo>
                  <a:lnTo>
                    <a:pt x="1970072" y="1718111"/>
                  </a:lnTo>
                  <a:lnTo>
                    <a:pt x="1970701" y="1719243"/>
                  </a:lnTo>
                  <a:lnTo>
                    <a:pt x="1971505" y="1721356"/>
                  </a:lnTo>
                  <a:lnTo>
                    <a:pt x="1972548" y="1722751"/>
                  </a:lnTo>
                  <a:lnTo>
                    <a:pt x="1973788" y="1723533"/>
                  </a:lnTo>
                  <a:lnTo>
                    <a:pt x="1975176" y="1723829"/>
                  </a:lnTo>
                  <a:lnTo>
                    <a:pt x="1977387" y="1723014"/>
                  </a:lnTo>
                  <a:lnTo>
                    <a:pt x="1978039" y="1723358"/>
                  </a:lnTo>
                  <a:lnTo>
                    <a:pt x="1978747" y="1726090"/>
                  </a:lnTo>
                  <a:lnTo>
                    <a:pt x="1978853" y="1726796"/>
                  </a:lnTo>
                  <a:lnTo>
                    <a:pt x="1979195" y="1728041"/>
                  </a:lnTo>
                  <a:lnTo>
                    <a:pt x="1981664" y="1732673"/>
                  </a:lnTo>
                  <a:lnTo>
                    <a:pt x="1984467" y="1736198"/>
                  </a:lnTo>
                  <a:lnTo>
                    <a:pt x="1992055" y="1739088"/>
                  </a:lnTo>
                  <a:lnTo>
                    <a:pt x="1996932" y="1740927"/>
                  </a:lnTo>
                  <a:lnTo>
                    <a:pt x="2001164" y="1744731"/>
                  </a:lnTo>
                  <a:lnTo>
                    <a:pt x="2002336" y="1747860"/>
                  </a:lnTo>
                  <a:lnTo>
                    <a:pt x="2004552" y="1747267"/>
                  </a:lnTo>
                  <a:lnTo>
                    <a:pt x="2004986" y="1747887"/>
                  </a:lnTo>
                  <a:lnTo>
                    <a:pt x="2004921" y="1749849"/>
                  </a:lnTo>
                  <a:lnTo>
                    <a:pt x="2005125" y="1751184"/>
                  </a:lnTo>
                  <a:lnTo>
                    <a:pt x="2005627" y="1751578"/>
                  </a:lnTo>
                  <a:lnTo>
                    <a:pt x="2006444" y="1750726"/>
                  </a:lnTo>
                  <a:lnTo>
                    <a:pt x="2006119" y="1750164"/>
                  </a:lnTo>
                  <a:lnTo>
                    <a:pt x="2005788" y="1749157"/>
                  </a:lnTo>
                  <a:lnTo>
                    <a:pt x="2005586" y="1747969"/>
                  </a:lnTo>
                  <a:lnTo>
                    <a:pt x="2005644" y="1746852"/>
                  </a:lnTo>
                  <a:lnTo>
                    <a:pt x="2006117" y="1746131"/>
                  </a:lnTo>
                  <a:lnTo>
                    <a:pt x="2008343" y="1744846"/>
                  </a:lnTo>
                  <a:lnTo>
                    <a:pt x="2009489" y="1743140"/>
                  </a:lnTo>
                  <a:lnTo>
                    <a:pt x="2010041" y="1742843"/>
                  </a:lnTo>
                  <a:lnTo>
                    <a:pt x="2011066" y="1745065"/>
                  </a:lnTo>
                  <a:lnTo>
                    <a:pt x="2011775" y="1745724"/>
                  </a:lnTo>
                  <a:lnTo>
                    <a:pt x="2012579" y="1746000"/>
                  </a:lnTo>
                  <a:lnTo>
                    <a:pt x="2014139" y="1745875"/>
                  </a:lnTo>
                  <a:lnTo>
                    <a:pt x="2014738" y="1745581"/>
                  </a:lnTo>
                  <a:lnTo>
                    <a:pt x="2015264" y="1744996"/>
                  </a:lnTo>
                  <a:lnTo>
                    <a:pt x="2015831" y="1743961"/>
                  </a:lnTo>
                  <a:lnTo>
                    <a:pt x="2015784" y="1743739"/>
                  </a:lnTo>
                  <a:lnTo>
                    <a:pt x="2015716" y="1743160"/>
                  </a:lnTo>
                  <a:lnTo>
                    <a:pt x="2015753" y="1742433"/>
                  </a:lnTo>
                  <a:lnTo>
                    <a:pt x="2016016" y="1741742"/>
                  </a:lnTo>
                  <a:lnTo>
                    <a:pt x="2016370" y="1741562"/>
                  </a:lnTo>
                  <a:lnTo>
                    <a:pt x="2017713" y="1741880"/>
                  </a:lnTo>
                  <a:lnTo>
                    <a:pt x="2018025" y="1742332"/>
                  </a:lnTo>
                  <a:lnTo>
                    <a:pt x="2018304" y="1743346"/>
                  </a:lnTo>
                  <a:lnTo>
                    <a:pt x="2018705" y="1745323"/>
                  </a:lnTo>
                  <a:lnTo>
                    <a:pt x="2019317" y="1746440"/>
                  </a:lnTo>
                  <a:lnTo>
                    <a:pt x="2021033" y="1746821"/>
                  </a:lnTo>
                  <a:lnTo>
                    <a:pt x="2021801" y="1747429"/>
                  </a:lnTo>
                  <a:lnTo>
                    <a:pt x="2021704" y="1748382"/>
                  </a:lnTo>
                  <a:lnTo>
                    <a:pt x="2021810" y="1749365"/>
                  </a:lnTo>
                  <a:lnTo>
                    <a:pt x="2022058" y="1750141"/>
                  </a:lnTo>
                  <a:lnTo>
                    <a:pt x="2022380" y="1750464"/>
                  </a:lnTo>
                  <a:lnTo>
                    <a:pt x="2022676" y="1750630"/>
                  </a:lnTo>
                  <a:lnTo>
                    <a:pt x="2023156" y="1751228"/>
                  </a:lnTo>
                  <a:lnTo>
                    <a:pt x="2023500" y="1751299"/>
                  </a:lnTo>
                  <a:lnTo>
                    <a:pt x="2023749" y="1750932"/>
                  </a:lnTo>
                  <a:lnTo>
                    <a:pt x="2024471" y="1749133"/>
                  </a:lnTo>
                  <a:lnTo>
                    <a:pt x="2025642" y="1749286"/>
                  </a:lnTo>
                  <a:lnTo>
                    <a:pt x="2026464" y="1750564"/>
                  </a:lnTo>
                  <a:lnTo>
                    <a:pt x="2027213" y="1752134"/>
                  </a:lnTo>
                  <a:lnTo>
                    <a:pt x="2028178" y="1753155"/>
                  </a:lnTo>
                  <a:lnTo>
                    <a:pt x="2028909" y="1753131"/>
                  </a:lnTo>
                  <a:lnTo>
                    <a:pt x="2030362" y="1752600"/>
                  </a:lnTo>
                  <a:lnTo>
                    <a:pt x="2031024" y="1753024"/>
                  </a:lnTo>
                  <a:lnTo>
                    <a:pt x="2031666" y="1753775"/>
                  </a:lnTo>
                  <a:lnTo>
                    <a:pt x="2033287" y="1754927"/>
                  </a:lnTo>
                  <a:lnTo>
                    <a:pt x="2034016" y="1755084"/>
                  </a:lnTo>
                  <a:lnTo>
                    <a:pt x="2036156" y="1753538"/>
                  </a:lnTo>
                  <a:lnTo>
                    <a:pt x="2036539" y="1753433"/>
                  </a:lnTo>
                  <a:lnTo>
                    <a:pt x="2037104" y="1754297"/>
                  </a:lnTo>
                  <a:lnTo>
                    <a:pt x="2037925" y="1754530"/>
                  </a:lnTo>
                  <a:lnTo>
                    <a:pt x="2038790" y="1754357"/>
                  </a:lnTo>
                  <a:lnTo>
                    <a:pt x="2039488" y="1753993"/>
                  </a:lnTo>
                  <a:lnTo>
                    <a:pt x="2039134" y="1752768"/>
                  </a:lnTo>
                  <a:lnTo>
                    <a:pt x="2037737" y="1751759"/>
                  </a:lnTo>
                  <a:lnTo>
                    <a:pt x="2037456" y="1750792"/>
                  </a:lnTo>
                  <a:lnTo>
                    <a:pt x="2037835" y="1749467"/>
                  </a:lnTo>
                  <a:lnTo>
                    <a:pt x="2038585" y="1749326"/>
                  </a:lnTo>
                  <a:lnTo>
                    <a:pt x="2039382" y="1749873"/>
                  </a:lnTo>
                  <a:lnTo>
                    <a:pt x="2040415" y="1751392"/>
                  </a:lnTo>
                  <a:lnTo>
                    <a:pt x="2040948" y="1751230"/>
                  </a:lnTo>
                  <a:lnTo>
                    <a:pt x="2041527" y="1750725"/>
                  </a:lnTo>
                  <a:lnTo>
                    <a:pt x="2042196" y="1750452"/>
                  </a:lnTo>
                  <a:lnTo>
                    <a:pt x="2044579" y="1751501"/>
                  </a:lnTo>
                  <a:lnTo>
                    <a:pt x="2045377" y="1751356"/>
                  </a:lnTo>
                  <a:lnTo>
                    <a:pt x="2046350" y="1749797"/>
                  </a:lnTo>
                  <a:lnTo>
                    <a:pt x="2046291" y="1747842"/>
                  </a:lnTo>
                  <a:lnTo>
                    <a:pt x="2046166" y="1746197"/>
                  </a:lnTo>
                  <a:lnTo>
                    <a:pt x="2046934" y="1745566"/>
                  </a:lnTo>
                  <a:lnTo>
                    <a:pt x="2047598" y="1745959"/>
                  </a:lnTo>
                  <a:lnTo>
                    <a:pt x="2048641" y="1747568"/>
                  </a:lnTo>
                  <a:lnTo>
                    <a:pt x="2049297" y="1747969"/>
                  </a:lnTo>
                  <a:lnTo>
                    <a:pt x="2050028" y="1747646"/>
                  </a:lnTo>
                  <a:lnTo>
                    <a:pt x="2051359" y="1745873"/>
                  </a:lnTo>
                  <a:lnTo>
                    <a:pt x="2052063" y="1745170"/>
                  </a:lnTo>
                  <a:lnTo>
                    <a:pt x="2052787" y="1744805"/>
                  </a:lnTo>
                  <a:lnTo>
                    <a:pt x="2052861" y="1745028"/>
                  </a:lnTo>
                  <a:lnTo>
                    <a:pt x="2052648" y="1745716"/>
                  </a:lnTo>
                  <a:lnTo>
                    <a:pt x="2052525" y="1746685"/>
                  </a:lnTo>
                  <a:lnTo>
                    <a:pt x="2052477" y="1748252"/>
                  </a:lnTo>
                  <a:lnTo>
                    <a:pt x="2052391" y="1748876"/>
                  </a:lnTo>
                  <a:lnTo>
                    <a:pt x="2052582" y="1748992"/>
                  </a:lnTo>
                  <a:lnTo>
                    <a:pt x="2058200" y="1749247"/>
                  </a:lnTo>
                  <a:lnTo>
                    <a:pt x="2059793" y="1748666"/>
                  </a:lnTo>
                  <a:lnTo>
                    <a:pt x="2061020" y="1747096"/>
                  </a:lnTo>
                  <a:lnTo>
                    <a:pt x="2060709" y="1745339"/>
                  </a:lnTo>
                  <a:lnTo>
                    <a:pt x="2060018" y="1743472"/>
                  </a:lnTo>
                  <a:lnTo>
                    <a:pt x="2060107" y="1741558"/>
                  </a:lnTo>
                  <a:lnTo>
                    <a:pt x="2060813" y="1740750"/>
                  </a:lnTo>
                  <a:lnTo>
                    <a:pt x="2061417" y="1741189"/>
                  </a:lnTo>
                  <a:lnTo>
                    <a:pt x="2061903" y="1742216"/>
                  </a:lnTo>
                  <a:lnTo>
                    <a:pt x="2062256" y="1743198"/>
                  </a:lnTo>
                  <a:lnTo>
                    <a:pt x="2062961" y="1744353"/>
                  </a:lnTo>
                  <a:lnTo>
                    <a:pt x="2063709" y="1744494"/>
                  </a:lnTo>
                  <a:lnTo>
                    <a:pt x="2064476" y="1743952"/>
                  </a:lnTo>
                  <a:lnTo>
                    <a:pt x="2066481" y="1741335"/>
                  </a:lnTo>
                  <a:lnTo>
                    <a:pt x="2067119" y="1741268"/>
                  </a:lnTo>
                  <a:lnTo>
                    <a:pt x="2067820" y="1742457"/>
                  </a:lnTo>
                  <a:lnTo>
                    <a:pt x="2068204" y="1741504"/>
                  </a:lnTo>
                  <a:lnTo>
                    <a:pt x="2068763" y="1739237"/>
                  </a:lnTo>
                  <a:lnTo>
                    <a:pt x="2069188" y="1738809"/>
                  </a:lnTo>
                  <a:lnTo>
                    <a:pt x="2069993" y="1739165"/>
                  </a:lnTo>
                  <a:lnTo>
                    <a:pt x="2070969" y="1740633"/>
                  </a:lnTo>
                  <a:lnTo>
                    <a:pt x="2071593" y="1741128"/>
                  </a:lnTo>
                  <a:lnTo>
                    <a:pt x="2073055" y="1739789"/>
                  </a:lnTo>
                  <a:lnTo>
                    <a:pt x="2073871" y="1739540"/>
                  </a:lnTo>
                  <a:lnTo>
                    <a:pt x="2074144" y="1740907"/>
                  </a:lnTo>
                  <a:lnTo>
                    <a:pt x="2073952" y="1742028"/>
                  </a:lnTo>
                  <a:lnTo>
                    <a:pt x="2073673" y="1742878"/>
                  </a:lnTo>
                  <a:lnTo>
                    <a:pt x="2073503" y="1743770"/>
                  </a:lnTo>
                  <a:lnTo>
                    <a:pt x="2073635" y="1745048"/>
                  </a:lnTo>
                  <a:lnTo>
                    <a:pt x="2075607" y="1743960"/>
                  </a:lnTo>
                  <a:lnTo>
                    <a:pt x="2079346" y="1740352"/>
                  </a:lnTo>
                  <a:lnTo>
                    <a:pt x="2081294" y="1739521"/>
                  </a:lnTo>
                  <a:lnTo>
                    <a:pt x="2091387" y="1740751"/>
                  </a:lnTo>
                  <a:lnTo>
                    <a:pt x="2092162" y="1741267"/>
                  </a:lnTo>
                  <a:lnTo>
                    <a:pt x="2093893" y="1743452"/>
                  </a:lnTo>
                  <a:lnTo>
                    <a:pt x="2094762" y="1743977"/>
                  </a:lnTo>
                  <a:lnTo>
                    <a:pt x="2096937" y="1743275"/>
                  </a:lnTo>
                  <a:lnTo>
                    <a:pt x="2097544" y="1743585"/>
                  </a:lnTo>
                  <a:lnTo>
                    <a:pt x="2098724" y="1744789"/>
                  </a:lnTo>
                  <a:lnTo>
                    <a:pt x="2099363" y="1744954"/>
                  </a:lnTo>
                  <a:lnTo>
                    <a:pt x="2099800" y="1744670"/>
                  </a:lnTo>
                  <a:lnTo>
                    <a:pt x="2100659" y="1743699"/>
                  </a:lnTo>
                  <a:lnTo>
                    <a:pt x="2101128" y="1743482"/>
                  </a:lnTo>
                  <a:lnTo>
                    <a:pt x="2101724" y="1743645"/>
                  </a:lnTo>
                  <a:lnTo>
                    <a:pt x="2103325" y="1745147"/>
                  </a:lnTo>
                  <a:lnTo>
                    <a:pt x="2105526" y="1746260"/>
                  </a:lnTo>
                  <a:lnTo>
                    <a:pt x="2106550" y="1745868"/>
                  </a:lnTo>
                  <a:lnTo>
                    <a:pt x="2106545" y="1743742"/>
                  </a:lnTo>
                  <a:lnTo>
                    <a:pt x="2107687" y="1743568"/>
                  </a:lnTo>
                  <a:lnTo>
                    <a:pt x="2110999" y="1744808"/>
                  </a:lnTo>
                  <a:lnTo>
                    <a:pt x="2111927" y="1745888"/>
                  </a:lnTo>
                  <a:lnTo>
                    <a:pt x="2112439" y="1747007"/>
                  </a:lnTo>
                  <a:lnTo>
                    <a:pt x="2113006" y="1747494"/>
                  </a:lnTo>
                  <a:lnTo>
                    <a:pt x="2113629" y="1747388"/>
                  </a:lnTo>
                  <a:lnTo>
                    <a:pt x="2115048" y="1746109"/>
                  </a:lnTo>
                  <a:lnTo>
                    <a:pt x="2115846" y="1745980"/>
                  </a:lnTo>
                  <a:lnTo>
                    <a:pt x="2118163" y="1746785"/>
                  </a:lnTo>
                  <a:lnTo>
                    <a:pt x="2118785" y="1747335"/>
                  </a:lnTo>
                  <a:lnTo>
                    <a:pt x="2118915" y="1747673"/>
                  </a:lnTo>
                  <a:lnTo>
                    <a:pt x="2118996" y="1748178"/>
                  </a:lnTo>
                  <a:lnTo>
                    <a:pt x="2119028" y="1748636"/>
                  </a:lnTo>
                  <a:lnTo>
                    <a:pt x="2119028" y="1748832"/>
                  </a:lnTo>
                  <a:lnTo>
                    <a:pt x="2119716" y="1748984"/>
                  </a:lnTo>
                  <a:lnTo>
                    <a:pt x="2120126" y="1748456"/>
                  </a:lnTo>
                  <a:lnTo>
                    <a:pt x="2120498" y="1747752"/>
                  </a:lnTo>
                  <a:lnTo>
                    <a:pt x="2121064" y="1747429"/>
                  </a:lnTo>
                  <a:lnTo>
                    <a:pt x="2121709" y="1747709"/>
                  </a:lnTo>
                  <a:lnTo>
                    <a:pt x="2122192" y="1748341"/>
                  </a:lnTo>
                  <a:lnTo>
                    <a:pt x="2122968" y="1749739"/>
                  </a:lnTo>
                  <a:lnTo>
                    <a:pt x="2123613" y="1750449"/>
                  </a:lnTo>
                  <a:lnTo>
                    <a:pt x="2124299" y="1750942"/>
                  </a:lnTo>
                  <a:lnTo>
                    <a:pt x="2125995" y="1751351"/>
                  </a:lnTo>
                  <a:lnTo>
                    <a:pt x="2126836" y="1752143"/>
                  </a:lnTo>
                  <a:lnTo>
                    <a:pt x="2128450" y="1755680"/>
                  </a:lnTo>
                  <a:lnTo>
                    <a:pt x="2129498" y="1756696"/>
                  </a:lnTo>
                  <a:lnTo>
                    <a:pt x="2129925" y="1756658"/>
                  </a:lnTo>
                  <a:lnTo>
                    <a:pt x="2130583" y="1756106"/>
                  </a:lnTo>
                  <a:lnTo>
                    <a:pt x="2130915" y="1755937"/>
                  </a:lnTo>
                  <a:lnTo>
                    <a:pt x="2131308" y="1756081"/>
                  </a:lnTo>
                  <a:lnTo>
                    <a:pt x="2131926" y="1756746"/>
                  </a:lnTo>
                  <a:lnTo>
                    <a:pt x="2132322" y="1756801"/>
                  </a:lnTo>
                  <a:lnTo>
                    <a:pt x="2133727" y="1755614"/>
                  </a:lnTo>
                  <a:lnTo>
                    <a:pt x="2134425" y="1755280"/>
                  </a:lnTo>
                  <a:lnTo>
                    <a:pt x="2136589" y="1756409"/>
                  </a:lnTo>
                  <a:lnTo>
                    <a:pt x="2138149" y="1756090"/>
                  </a:lnTo>
                  <a:lnTo>
                    <a:pt x="2139666" y="1756244"/>
                  </a:lnTo>
                  <a:lnTo>
                    <a:pt x="2141445" y="1759050"/>
                  </a:lnTo>
                  <a:lnTo>
                    <a:pt x="2141958" y="1758642"/>
                  </a:lnTo>
                  <a:lnTo>
                    <a:pt x="2142368" y="1757471"/>
                  </a:lnTo>
                  <a:lnTo>
                    <a:pt x="2142702" y="1754469"/>
                  </a:lnTo>
                  <a:lnTo>
                    <a:pt x="2142998" y="1753574"/>
                  </a:lnTo>
                  <a:lnTo>
                    <a:pt x="2143458" y="1753074"/>
                  </a:lnTo>
                  <a:lnTo>
                    <a:pt x="2144080" y="1752744"/>
                  </a:lnTo>
                  <a:lnTo>
                    <a:pt x="2148104" y="1753657"/>
                  </a:lnTo>
                  <a:lnTo>
                    <a:pt x="2150092" y="1753083"/>
                  </a:lnTo>
                  <a:lnTo>
                    <a:pt x="2151554" y="1749249"/>
                  </a:lnTo>
                  <a:lnTo>
                    <a:pt x="2151335" y="1747929"/>
                  </a:lnTo>
                  <a:lnTo>
                    <a:pt x="2151680" y="1747074"/>
                  </a:lnTo>
                  <a:lnTo>
                    <a:pt x="2152337" y="1746761"/>
                  </a:lnTo>
                  <a:lnTo>
                    <a:pt x="2153057" y="1747062"/>
                  </a:lnTo>
                  <a:lnTo>
                    <a:pt x="2153826" y="1748038"/>
                  </a:lnTo>
                  <a:lnTo>
                    <a:pt x="2154420" y="1749017"/>
                  </a:lnTo>
                  <a:lnTo>
                    <a:pt x="2155090" y="1749791"/>
                  </a:lnTo>
                  <a:lnTo>
                    <a:pt x="2156092" y="1750125"/>
                  </a:lnTo>
                  <a:lnTo>
                    <a:pt x="2163566" y="1749591"/>
                  </a:lnTo>
                  <a:lnTo>
                    <a:pt x="2164067" y="1749683"/>
                  </a:lnTo>
                  <a:lnTo>
                    <a:pt x="2164810" y="1749568"/>
                  </a:lnTo>
                  <a:lnTo>
                    <a:pt x="2165450" y="1749082"/>
                  </a:lnTo>
                  <a:lnTo>
                    <a:pt x="2165755" y="1748078"/>
                  </a:lnTo>
                  <a:lnTo>
                    <a:pt x="2165594" y="1747263"/>
                  </a:lnTo>
                  <a:lnTo>
                    <a:pt x="2164280" y="1744689"/>
                  </a:lnTo>
                  <a:lnTo>
                    <a:pt x="2162788" y="1742456"/>
                  </a:lnTo>
                  <a:lnTo>
                    <a:pt x="2162637" y="1742049"/>
                  </a:lnTo>
                  <a:lnTo>
                    <a:pt x="2162395" y="1741807"/>
                  </a:lnTo>
                  <a:lnTo>
                    <a:pt x="2161998" y="1740773"/>
                  </a:lnTo>
                  <a:lnTo>
                    <a:pt x="2161705" y="1740535"/>
                  </a:lnTo>
                  <a:lnTo>
                    <a:pt x="2161243" y="1740660"/>
                  </a:lnTo>
                  <a:lnTo>
                    <a:pt x="2160429" y="1741184"/>
                  </a:lnTo>
                  <a:lnTo>
                    <a:pt x="2160002" y="1741226"/>
                  </a:lnTo>
                  <a:lnTo>
                    <a:pt x="2158586" y="1740337"/>
                  </a:lnTo>
                  <a:lnTo>
                    <a:pt x="2157229" y="1738925"/>
                  </a:lnTo>
                  <a:lnTo>
                    <a:pt x="2155680" y="1736234"/>
                  </a:lnTo>
                  <a:lnTo>
                    <a:pt x="2154251" y="1735262"/>
                  </a:lnTo>
                  <a:lnTo>
                    <a:pt x="2151534" y="1732321"/>
                  </a:lnTo>
                  <a:lnTo>
                    <a:pt x="2150992" y="1730898"/>
                  </a:lnTo>
                  <a:lnTo>
                    <a:pt x="2150977" y="1722302"/>
                  </a:lnTo>
                  <a:lnTo>
                    <a:pt x="2150690" y="1720776"/>
                  </a:lnTo>
                  <a:lnTo>
                    <a:pt x="2150690" y="1719751"/>
                  </a:lnTo>
                  <a:lnTo>
                    <a:pt x="2151092" y="1718579"/>
                  </a:lnTo>
                  <a:lnTo>
                    <a:pt x="2151806" y="1718157"/>
                  </a:lnTo>
                  <a:lnTo>
                    <a:pt x="2154735" y="1718686"/>
                  </a:lnTo>
                  <a:lnTo>
                    <a:pt x="2155377" y="1718208"/>
                  </a:lnTo>
                  <a:lnTo>
                    <a:pt x="2156747" y="1716189"/>
                  </a:lnTo>
                  <a:lnTo>
                    <a:pt x="2157258" y="1715977"/>
                  </a:lnTo>
                  <a:lnTo>
                    <a:pt x="2157910" y="1716855"/>
                  </a:lnTo>
                  <a:lnTo>
                    <a:pt x="2158207" y="1717795"/>
                  </a:lnTo>
                  <a:lnTo>
                    <a:pt x="2158405" y="1718811"/>
                  </a:lnTo>
                  <a:lnTo>
                    <a:pt x="2158752" y="1719952"/>
                  </a:lnTo>
                  <a:lnTo>
                    <a:pt x="2159642" y="1721577"/>
                  </a:lnTo>
                  <a:lnTo>
                    <a:pt x="2166550" y="1730596"/>
                  </a:lnTo>
                  <a:lnTo>
                    <a:pt x="2167907" y="1731644"/>
                  </a:lnTo>
                  <a:lnTo>
                    <a:pt x="2170152" y="1734889"/>
                  </a:lnTo>
                  <a:lnTo>
                    <a:pt x="2170793" y="1736221"/>
                  </a:lnTo>
                  <a:lnTo>
                    <a:pt x="2171045" y="1737274"/>
                  </a:lnTo>
                  <a:lnTo>
                    <a:pt x="2171348" y="1739116"/>
                  </a:lnTo>
                  <a:lnTo>
                    <a:pt x="2171600" y="1740018"/>
                  </a:lnTo>
                  <a:lnTo>
                    <a:pt x="2172028" y="1740985"/>
                  </a:lnTo>
                  <a:lnTo>
                    <a:pt x="2172961" y="1742601"/>
                  </a:lnTo>
                  <a:lnTo>
                    <a:pt x="2173338" y="1743448"/>
                  </a:lnTo>
                  <a:lnTo>
                    <a:pt x="2176566" y="1753068"/>
                  </a:lnTo>
                  <a:lnTo>
                    <a:pt x="2176938" y="1753603"/>
                  </a:lnTo>
                  <a:lnTo>
                    <a:pt x="2177241" y="1753440"/>
                  </a:lnTo>
                  <a:lnTo>
                    <a:pt x="2178029" y="1752418"/>
                  </a:lnTo>
                  <a:lnTo>
                    <a:pt x="2178381" y="1752132"/>
                  </a:lnTo>
                  <a:lnTo>
                    <a:pt x="2178855" y="1752275"/>
                  </a:lnTo>
                  <a:lnTo>
                    <a:pt x="2180998" y="1754244"/>
                  </a:lnTo>
                  <a:lnTo>
                    <a:pt x="2181374" y="1754809"/>
                  </a:lnTo>
                  <a:lnTo>
                    <a:pt x="2182764" y="1759278"/>
                  </a:lnTo>
                  <a:lnTo>
                    <a:pt x="2183256" y="1760107"/>
                  </a:lnTo>
                  <a:lnTo>
                    <a:pt x="2184033" y="1760431"/>
                  </a:lnTo>
                  <a:lnTo>
                    <a:pt x="2187237" y="1760653"/>
                  </a:lnTo>
                  <a:lnTo>
                    <a:pt x="2188674" y="1761531"/>
                  </a:lnTo>
                  <a:lnTo>
                    <a:pt x="2190110" y="1763504"/>
                  </a:lnTo>
                  <a:lnTo>
                    <a:pt x="2190907" y="1765077"/>
                  </a:lnTo>
                  <a:lnTo>
                    <a:pt x="2191332" y="1765509"/>
                  </a:lnTo>
                  <a:lnTo>
                    <a:pt x="2192085" y="1765826"/>
                  </a:lnTo>
                  <a:lnTo>
                    <a:pt x="2193666" y="1765723"/>
                  </a:lnTo>
                  <a:lnTo>
                    <a:pt x="2194424" y="1765933"/>
                  </a:lnTo>
                  <a:lnTo>
                    <a:pt x="2195035" y="1766917"/>
                  </a:lnTo>
                  <a:lnTo>
                    <a:pt x="2195889" y="1768852"/>
                  </a:lnTo>
                  <a:lnTo>
                    <a:pt x="2197089" y="1770548"/>
                  </a:lnTo>
                  <a:lnTo>
                    <a:pt x="2198427" y="1771389"/>
                  </a:lnTo>
                  <a:lnTo>
                    <a:pt x="2201042" y="1770030"/>
                  </a:lnTo>
                  <a:lnTo>
                    <a:pt x="2204391" y="1769789"/>
                  </a:lnTo>
                  <a:lnTo>
                    <a:pt x="2205554" y="1768589"/>
                  </a:lnTo>
                  <a:lnTo>
                    <a:pt x="2206461" y="1766894"/>
                  </a:lnTo>
                  <a:lnTo>
                    <a:pt x="2207755" y="1765215"/>
                  </a:lnTo>
                  <a:lnTo>
                    <a:pt x="2209128" y="1764016"/>
                  </a:lnTo>
                  <a:lnTo>
                    <a:pt x="2210275" y="1763727"/>
                  </a:lnTo>
                  <a:lnTo>
                    <a:pt x="2211026" y="1765001"/>
                  </a:lnTo>
                  <a:lnTo>
                    <a:pt x="2211888" y="1767148"/>
                  </a:lnTo>
                  <a:lnTo>
                    <a:pt x="2212793" y="1768338"/>
                  </a:lnTo>
                  <a:lnTo>
                    <a:pt x="2213681" y="1766721"/>
                  </a:lnTo>
                  <a:lnTo>
                    <a:pt x="2213499" y="1764006"/>
                  </a:lnTo>
                  <a:lnTo>
                    <a:pt x="2215371" y="1762899"/>
                  </a:lnTo>
                  <a:lnTo>
                    <a:pt x="2219141" y="1762287"/>
                  </a:lnTo>
                  <a:lnTo>
                    <a:pt x="2218530" y="1761074"/>
                  </a:lnTo>
                  <a:lnTo>
                    <a:pt x="2217806" y="1760051"/>
                  </a:lnTo>
                  <a:lnTo>
                    <a:pt x="2216303" y="1758554"/>
                  </a:lnTo>
                  <a:lnTo>
                    <a:pt x="2215229" y="1758242"/>
                  </a:lnTo>
                  <a:lnTo>
                    <a:pt x="2213243" y="1758936"/>
                  </a:lnTo>
                  <a:lnTo>
                    <a:pt x="2212319" y="1758531"/>
                  </a:lnTo>
                  <a:lnTo>
                    <a:pt x="2212960" y="1756416"/>
                  </a:lnTo>
                  <a:lnTo>
                    <a:pt x="2216749" y="1751489"/>
                  </a:lnTo>
                  <a:lnTo>
                    <a:pt x="2216726" y="1750003"/>
                  </a:lnTo>
                  <a:lnTo>
                    <a:pt x="2216170" y="1747814"/>
                  </a:lnTo>
                  <a:lnTo>
                    <a:pt x="2214944" y="1744340"/>
                  </a:lnTo>
                  <a:lnTo>
                    <a:pt x="2214569" y="1743735"/>
                  </a:lnTo>
                  <a:lnTo>
                    <a:pt x="2213610" y="1742692"/>
                  </a:lnTo>
                  <a:lnTo>
                    <a:pt x="2213272" y="1742096"/>
                  </a:lnTo>
                  <a:lnTo>
                    <a:pt x="2213020" y="1741043"/>
                  </a:lnTo>
                  <a:lnTo>
                    <a:pt x="2212822" y="1738963"/>
                  </a:lnTo>
                  <a:lnTo>
                    <a:pt x="2212596" y="1738008"/>
                  </a:lnTo>
                  <a:lnTo>
                    <a:pt x="2211513" y="1735633"/>
                  </a:lnTo>
                  <a:lnTo>
                    <a:pt x="2210966" y="1735922"/>
                  </a:lnTo>
                  <a:lnTo>
                    <a:pt x="2210488" y="1737710"/>
                  </a:lnTo>
                  <a:lnTo>
                    <a:pt x="2209609" y="1739845"/>
                  </a:lnTo>
                  <a:lnTo>
                    <a:pt x="2208290" y="1740916"/>
                  </a:lnTo>
                  <a:lnTo>
                    <a:pt x="2206790" y="1740793"/>
                  </a:lnTo>
                  <a:lnTo>
                    <a:pt x="2205405" y="1739716"/>
                  </a:lnTo>
                  <a:lnTo>
                    <a:pt x="2203506" y="1735872"/>
                  </a:lnTo>
                  <a:lnTo>
                    <a:pt x="2202430" y="1734384"/>
                  </a:lnTo>
                  <a:lnTo>
                    <a:pt x="2198282" y="1730095"/>
                  </a:lnTo>
                  <a:lnTo>
                    <a:pt x="2195576" y="1726239"/>
                  </a:lnTo>
                  <a:lnTo>
                    <a:pt x="2194887" y="1725795"/>
                  </a:lnTo>
                  <a:lnTo>
                    <a:pt x="2194165" y="1725027"/>
                  </a:lnTo>
                  <a:lnTo>
                    <a:pt x="2193455" y="1724765"/>
                  </a:lnTo>
                  <a:lnTo>
                    <a:pt x="2192776" y="1725833"/>
                  </a:lnTo>
                  <a:lnTo>
                    <a:pt x="2192585" y="1726974"/>
                  </a:lnTo>
                  <a:lnTo>
                    <a:pt x="2192566" y="1729102"/>
                  </a:lnTo>
                  <a:lnTo>
                    <a:pt x="2192297" y="1729910"/>
                  </a:lnTo>
                  <a:lnTo>
                    <a:pt x="2191889" y="1730126"/>
                  </a:lnTo>
                  <a:lnTo>
                    <a:pt x="2191458" y="1729845"/>
                  </a:lnTo>
                  <a:lnTo>
                    <a:pt x="2191031" y="1729426"/>
                  </a:lnTo>
                  <a:lnTo>
                    <a:pt x="2190374" y="1729053"/>
                  </a:lnTo>
                  <a:lnTo>
                    <a:pt x="2190235" y="1728723"/>
                  </a:lnTo>
                  <a:lnTo>
                    <a:pt x="2190083" y="1728547"/>
                  </a:lnTo>
                  <a:lnTo>
                    <a:pt x="2189788" y="1728795"/>
                  </a:lnTo>
                  <a:lnTo>
                    <a:pt x="2189223" y="1729864"/>
                  </a:lnTo>
                  <a:lnTo>
                    <a:pt x="2187664" y="1729769"/>
                  </a:lnTo>
                  <a:lnTo>
                    <a:pt x="2186963" y="1729957"/>
                  </a:lnTo>
                  <a:lnTo>
                    <a:pt x="2186110" y="1730569"/>
                  </a:lnTo>
                  <a:lnTo>
                    <a:pt x="2182466" y="1734793"/>
                  </a:lnTo>
                  <a:lnTo>
                    <a:pt x="2181671" y="1734615"/>
                  </a:lnTo>
                  <a:lnTo>
                    <a:pt x="2181149" y="1732109"/>
                  </a:lnTo>
                  <a:lnTo>
                    <a:pt x="2180723" y="1731445"/>
                  </a:lnTo>
                  <a:lnTo>
                    <a:pt x="2180046" y="1732314"/>
                  </a:lnTo>
                  <a:lnTo>
                    <a:pt x="2178279" y="1736041"/>
                  </a:lnTo>
                  <a:lnTo>
                    <a:pt x="2177948" y="1737954"/>
                  </a:lnTo>
                  <a:lnTo>
                    <a:pt x="2177973" y="1740625"/>
                  </a:lnTo>
                  <a:lnTo>
                    <a:pt x="2178210" y="1743144"/>
                  </a:lnTo>
                  <a:lnTo>
                    <a:pt x="2178530" y="1744631"/>
                  </a:lnTo>
                  <a:lnTo>
                    <a:pt x="2177497" y="1745339"/>
                  </a:lnTo>
                  <a:lnTo>
                    <a:pt x="2176616" y="1744753"/>
                  </a:lnTo>
                  <a:lnTo>
                    <a:pt x="2175176" y="1742338"/>
                  </a:lnTo>
                  <a:lnTo>
                    <a:pt x="2173558" y="1740432"/>
                  </a:lnTo>
                  <a:lnTo>
                    <a:pt x="2173280" y="1739881"/>
                  </a:lnTo>
                  <a:lnTo>
                    <a:pt x="2172647" y="1738178"/>
                  </a:lnTo>
                  <a:lnTo>
                    <a:pt x="2172593" y="1737813"/>
                  </a:lnTo>
                  <a:lnTo>
                    <a:pt x="2172353" y="1737107"/>
                  </a:lnTo>
                  <a:lnTo>
                    <a:pt x="2172013" y="1735569"/>
                  </a:lnTo>
                  <a:lnTo>
                    <a:pt x="2171573" y="1734026"/>
                  </a:lnTo>
                  <a:lnTo>
                    <a:pt x="2171012" y="1733312"/>
                  </a:lnTo>
                  <a:lnTo>
                    <a:pt x="2170401" y="1732802"/>
                  </a:lnTo>
                  <a:lnTo>
                    <a:pt x="2168178" y="1729455"/>
                  </a:lnTo>
                  <a:lnTo>
                    <a:pt x="2165174" y="1726828"/>
                  </a:lnTo>
                  <a:lnTo>
                    <a:pt x="2164335" y="1725646"/>
                  </a:lnTo>
                  <a:lnTo>
                    <a:pt x="2163881" y="1724202"/>
                  </a:lnTo>
                  <a:lnTo>
                    <a:pt x="2162709" y="1718903"/>
                  </a:lnTo>
                  <a:lnTo>
                    <a:pt x="2162140" y="1718379"/>
                  </a:lnTo>
                  <a:lnTo>
                    <a:pt x="2160490" y="1715772"/>
                  </a:lnTo>
                  <a:lnTo>
                    <a:pt x="2159380" y="1713387"/>
                  </a:lnTo>
                  <a:lnTo>
                    <a:pt x="2157876" y="1711443"/>
                  </a:lnTo>
                  <a:lnTo>
                    <a:pt x="2157217" y="1709828"/>
                  </a:lnTo>
                  <a:lnTo>
                    <a:pt x="2157746" y="1709484"/>
                  </a:lnTo>
                  <a:lnTo>
                    <a:pt x="2158263" y="1709924"/>
                  </a:lnTo>
                  <a:lnTo>
                    <a:pt x="2159398" y="1711312"/>
                  </a:lnTo>
                  <a:lnTo>
                    <a:pt x="2159744" y="1708860"/>
                  </a:lnTo>
                  <a:lnTo>
                    <a:pt x="2160682" y="1706823"/>
                  </a:lnTo>
                  <a:lnTo>
                    <a:pt x="2161817" y="1705855"/>
                  </a:lnTo>
                  <a:lnTo>
                    <a:pt x="2162742" y="1706597"/>
                  </a:lnTo>
                  <a:lnTo>
                    <a:pt x="2163072" y="1707191"/>
                  </a:lnTo>
                  <a:lnTo>
                    <a:pt x="2163435" y="1707653"/>
                  </a:lnTo>
                  <a:lnTo>
                    <a:pt x="2163740" y="1708246"/>
                  </a:lnTo>
                  <a:lnTo>
                    <a:pt x="2163921" y="1709262"/>
                  </a:lnTo>
                  <a:lnTo>
                    <a:pt x="2163860" y="1710511"/>
                  </a:lnTo>
                  <a:lnTo>
                    <a:pt x="2163358" y="1712547"/>
                  </a:lnTo>
                  <a:lnTo>
                    <a:pt x="2163248" y="1713715"/>
                  </a:lnTo>
                  <a:lnTo>
                    <a:pt x="2164271" y="1717679"/>
                  </a:lnTo>
                  <a:lnTo>
                    <a:pt x="2166253" y="1716473"/>
                  </a:lnTo>
                  <a:lnTo>
                    <a:pt x="2167935" y="1712792"/>
                  </a:lnTo>
                  <a:lnTo>
                    <a:pt x="2168081" y="1709364"/>
                  </a:lnTo>
                  <a:lnTo>
                    <a:pt x="2168403" y="1708560"/>
                  </a:lnTo>
                  <a:lnTo>
                    <a:pt x="2167418" y="1707046"/>
                  </a:lnTo>
                  <a:lnTo>
                    <a:pt x="2166332" y="1706031"/>
                  </a:lnTo>
                  <a:lnTo>
                    <a:pt x="2161610" y="1703104"/>
                  </a:lnTo>
                  <a:lnTo>
                    <a:pt x="2159436" y="1700829"/>
                  </a:lnTo>
                  <a:lnTo>
                    <a:pt x="2160040" y="1700646"/>
                  </a:lnTo>
                  <a:lnTo>
                    <a:pt x="2160620" y="1700768"/>
                  </a:lnTo>
                  <a:lnTo>
                    <a:pt x="2161165" y="1700556"/>
                  </a:lnTo>
                  <a:lnTo>
                    <a:pt x="2161664" y="1699398"/>
                  </a:lnTo>
                  <a:lnTo>
                    <a:pt x="2159499" y="1697411"/>
                  </a:lnTo>
                  <a:lnTo>
                    <a:pt x="2157559" y="1694710"/>
                  </a:lnTo>
                  <a:lnTo>
                    <a:pt x="2153962" y="1688088"/>
                  </a:lnTo>
                  <a:lnTo>
                    <a:pt x="2153007" y="1687044"/>
                  </a:lnTo>
                  <a:lnTo>
                    <a:pt x="2152728" y="1686282"/>
                  </a:lnTo>
                  <a:lnTo>
                    <a:pt x="2152956" y="1685020"/>
                  </a:lnTo>
                  <a:lnTo>
                    <a:pt x="2153577" y="1684444"/>
                  </a:lnTo>
                  <a:lnTo>
                    <a:pt x="2154600" y="1684284"/>
                  </a:lnTo>
                  <a:lnTo>
                    <a:pt x="2155638" y="1684424"/>
                  </a:lnTo>
                  <a:lnTo>
                    <a:pt x="2156286" y="1684772"/>
                  </a:lnTo>
                  <a:lnTo>
                    <a:pt x="2159633" y="1689525"/>
                  </a:lnTo>
                  <a:lnTo>
                    <a:pt x="2160804" y="1690444"/>
                  </a:lnTo>
                  <a:lnTo>
                    <a:pt x="2160735" y="1689382"/>
                  </a:lnTo>
                  <a:lnTo>
                    <a:pt x="2160531" y="1688552"/>
                  </a:lnTo>
                  <a:lnTo>
                    <a:pt x="2160214" y="1687918"/>
                  </a:lnTo>
                  <a:lnTo>
                    <a:pt x="2159809" y="1687441"/>
                  </a:lnTo>
                  <a:lnTo>
                    <a:pt x="2159828" y="1686763"/>
                  </a:lnTo>
                  <a:lnTo>
                    <a:pt x="2161543" y="1688069"/>
                  </a:lnTo>
                  <a:lnTo>
                    <a:pt x="2162372" y="1688201"/>
                  </a:lnTo>
                  <a:lnTo>
                    <a:pt x="2163128" y="1686851"/>
                  </a:lnTo>
                  <a:lnTo>
                    <a:pt x="2160758" y="1683006"/>
                  </a:lnTo>
                  <a:lnTo>
                    <a:pt x="2160008" y="1681350"/>
                  </a:lnTo>
                  <a:lnTo>
                    <a:pt x="2160033" y="1680343"/>
                  </a:lnTo>
                  <a:lnTo>
                    <a:pt x="2160634" y="1680209"/>
                  </a:lnTo>
                  <a:lnTo>
                    <a:pt x="2161607" y="1681166"/>
                  </a:lnTo>
                  <a:lnTo>
                    <a:pt x="2163378" y="1684459"/>
                  </a:lnTo>
                  <a:lnTo>
                    <a:pt x="2163992" y="1685326"/>
                  </a:lnTo>
                  <a:lnTo>
                    <a:pt x="2164321" y="1685604"/>
                  </a:lnTo>
                  <a:lnTo>
                    <a:pt x="2168820" y="1687892"/>
                  </a:lnTo>
                  <a:lnTo>
                    <a:pt x="2171314" y="1692224"/>
                  </a:lnTo>
                  <a:lnTo>
                    <a:pt x="2172899" y="1693718"/>
                  </a:lnTo>
                  <a:lnTo>
                    <a:pt x="2173746" y="1693355"/>
                  </a:lnTo>
                  <a:lnTo>
                    <a:pt x="2174507" y="1692131"/>
                  </a:lnTo>
                  <a:lnTo>
                    <a:pt x="2175108" y="1690884"/>
                  </a:lnTo>
                  <a:lnTo>
                    <a:pt x="2175465" y="1690452"/>
                  </a:lnTo>
                  <a:lnTo>
                    <a:pt x="2176261" y="1691307"/>
                  </a:lnTo>
                  <a:lnTo>
                    <a:pt x="2177273" y="1691900"/>
                  </a:lnTo>
                  <a:lnTo>
                    <a:pt x="2178213" y="1691693"/>
                  </a:lnTo>
                  <a:lnTo>
                    <a:pt x="2178813" y="1690188"/>
                  </a:lnTo>
                  <a:lnTo>
                    <a:pt x="2177146" y="1688847"/>
                  </a:lnTo>
                  <a:lnTo>
                    <a:pt x="2176899" y="1688256"/>
                  </a:lnTo>
                  <a:lnTo>
                    <a:pt x="2177173" y="1687238"/>
                  </a:lnTo>
                  <a:lnTo>
                    <a:pt x="2177788" y="1686922"/>
                  </a:lnTo>
                  <a:lnTo>
                    <a:pt x="2185431" y="1689565"/>
                  </a:lnTo>
                  <a:lnTo>
                    <a:pt x="2185374" y="1684443"/>
                  </a:lnTo>
                  <a:lnTo>
                    <a:pt x="2187668" y="1684695"/>
                  </a:lnTo>
                  <a:lnTo>
                    <a:pt x="2190437" y="1686746"/>
                  </a:lnTo>
                  <a:lnTo>
                    <a:pt x="2191800" y="1687033"/>
                  </a:lnTo>
                  <a:lnTo>
                    <a:pt x="2191566" y="1684822"/>
                  </a:lnTo>
                  <a:lnTo>
                    <a:pt x="2190915" y="1683398"/>
                  </a:lnTo>
                  <a:lnTo>
                    <a:pt x="2190045" y="1682564"/>
                  </a:lnTo>
                  <a:lnTo>
                    <a:pt x="2187042" y="1681745"/>
                  </a:lnTo>
                  <a:lnTo>
                    <a:pt x="2186400" y="1681335"/>
                  </a:lnTo>
                  <a:lnTo>
                    <a:pt x="2185964" y="1680902"/>
                  </a:lnTo>
                  <a:lnTo>
                    <a:pt x="2185482" y="1680238"/>
                  </a:lnTo>
                  <a:lnTo>
                    <a:pt x="2185328" y="1679362"/>
                  </a:lnTo>
                  <a:lnTo>
                    <a:pt x="2185878" y="1678347"/>
                  </a:lnTo>
                  <a:lnTo>
                    <a:pt x="2182417" y="1674558"/>
                  </a:lnTo>
                  <a:lnTo>
                    <a:pt x="2181491" y="1672656"/>
                  </a:lnTo>
                  <a:lnTo>
                    <a:pt x="2181421" y="1671693"/>
                  </a:lnTo>
                  <a:lnTo>
                    <a:pt x="2181567" y="1670379"/>
                  </a:lnTo>
                  <a:lnTo>
                    <a:pt x="2181833" y="1669084"/>
                  </a:lnTo>
                  <a:lnTo>
                    <a:pt x="2182111" y="1668172"/>
                  </a:lnTo>
                  <a:lnTo>
                    <a:pt x="2182824" y="1667453"/>
                  </a:lnTo>
                  <a:lnTo>
                    <a:pt x="2183597" y="1667902"/>
                  </a:lnTo>
                  <a:lnTo>
                    <a:pt x="2184967" y="1669340"/>
                  </a:lnTo>
                  <a:lnTo>
                    <a:pt x="2185682" y="1669220"/>
                  </a:lnTo>
                  <a:lnTo>
                    <a:pt x="2187034" y="1668108"/>
                  </a:lnTo>
                  <a:lnTo>
                    <a:pt x="2187746" y="1667898"/>
                  </a:lnTo>
                  <a:lnTo>
                    <a:pt x="2190132" y="1669209"/>
                  </a:lnTo>
                  <a:lnTo>
                    <a:pt x="2193746" y="1669727"/>
                  </a:lnTo>
                  <a:lnTo>
                    <a:pt x="2194408" y="1670632"/>
                  </a:lnTo>
                  <a:lnTo>
                    <a:pt x="2194683" y="1671190"/>
                  </a:lnTo>
                  <a:lnTo>
                    <a:pt x="2195230" y="1671676"/>
                  </a:lnTo>
                  <a:lnTo>
                    <a:pt x="2195478" y="1672096"/>
                  </a:lnTo>
                  <a:lnTo>
                    <a:pt x="2195697" y="1672990"/>
                  </a:lnTo>
                  <a:lnTo>
                    <a:pt x="2195691" y="1673694"/>
                  </a:lnTo>
                  <a:lnTo>
                    <a:pt x="2195602" y="1674261"/>
                  </a:lnTo>
                  <a:lnTo>
                    <a:pt x="2195594" y="1674704"/>
                  </a:lnTo>
                  <a:lnTo>
                    <a:pt x="2196425" y="1677650"/>
                  </a:lnTo>
                  <a:lnTo>
                    <a:pt x="2197387" y="1678917"/>
                  </a:lnTo>
                  <a:lnTo>
                    <a:pt x="2198524" y="1679684"/>
                  </a:lnTo>
                  <a:lnTo>
                    <a:pt x="2199881" y="1681114"/>
                  </a:lnTo>
                  <a:lnTo>
                    <a:pt x="2200653" y="1681482"/>
                  </a:lnTo>
                  <a:lnTo>
                    <a:pt x="2201306" y="1680785"/>
                  </a:lnTo>
                  <a:lnTo>
                    <a:pt x="2201700" y="1679814"/>
                  </a:lnTo>
                  <a:lnTo>
                    <a:pt x="2201711" y="1679308"/>
                  </a:lnTo>
                  <a:lnTo>
                    <a:pt x="2201570" y="1679072"/>
                  </a:lnTo>
                  <a:lnTo>
                    <a:pt x="2201366" y="1678564"/>
                  </a:lnTo>
                  <a:lnTo>
                    <a:pt x="2201101" y="1678043"/>
                  </a:lnTo>
                  <a:lnTo>
                    <a:pt x="2200768" y="1677813"/>
                  </a:lnTo>
                  <a:lnTo>
                    <a:pt x="2198853" y="1678536"/>
                  </a:lnTo>
                  <a:lnTo>
                    <a:pt x="2197459" y="1678040"/>
                  </a:lnTo>
                  <a:lnTo>
                    <a:pt x="2197196" y="1677770"/>
                  </a:lnTo>
                  <a:lnTo>
                    <a:pt x="2197032" y="1676930"/>
                  </a:lnTo>
                  <a:lnTo>
                    <a:pt x="2197112" y="1676679"/>
                  </a:lnTo>
                  <a:lnTo>
                    <a:pt x="2197300" y="1676588"/>
                  </a:lnTo>
                  <a:lnTo>
                    <a:pt x="2197462" y="1676218"/>
                  </a:lnTo>
                  <a:lnTo>
                    <a:pt x="2197785" y="1674852"/>
                  </a:lnTo>
                  <a:lnTo>
                    <a:pt x="2198250" y="1673670"/>
                  </a:lnTo>
                  <a:lnTo>
                    <a:pt x="2198816" y="1672830"/>
                  </a:lnTo>
                  <a:lnTo>
                    <a:pt x="2199436" y="1672518"/>
                  </a:lnTo>
                  <a:lnTo>
                    <a:pt x="2204738" y="1672283"/>
                  </a:lnTo>
                  <a:lnTo>
                    <a:pt x="2211498" y="1676355"/>
                  </a:lnTo>
                  <a:lnTo>
                    <a:pt x="2211933" y="1678845"/>
                  </a:lnTo>
                  <a:lnTo>
                    <a:pt x="2217507" y="1684635"/>
                  </a:lnTo>
                  <a:lnTo>
                    <a:pt x="2216958" y="1684207"/>
                  </a:lnTo>
                  <a:lnTo>
                    <a:pt x="2216141" y="1684106"/>
                  </a:lnTo>
                  <a:lnTo>
                    <a:pt x="2215386" y="1684474"/>
                  </a:lnTo>
                  <a:lnTo>
                    <a:pt x="2215028" y="1685434"/>
                  </a:lnTo>
                  <a:lnTo>
                    <a:pt x="2215387" y="1686300"/>
                  </a:lnTo>
                  <a:lnTo>
                    <a:pt x="2216238" y="1686979"/>
                  </a:lnTo>
                  <a:lnTo>
                    <a:pt x="2221498" y="1689332"/>
                  </a:lnTo>
                  <a:lnTo>
                    <a:pt x="2222157" y="1690677"/>
                  </a:lnTo>
                  <a:lnTo>
                    <a:pt x="2221927" y="1691740"/>
                  </a:lnTo>
                  <a:lnTo>
                    <a:pt x="2221852" y="1692884"/>
                  </a:lnTo>
                  <a:lnTo>
                    <a:pt x="2221923" y="1694041"/>
                  </a:lnTo>
                  <a:lnTo>
                    <a:pt x="2222144" y="1695141"/>
                  </a:lnTo>
                  <a:lnTo>
                    <a:pt x="2221378" y="1694983"/>
                  </a:lnTo>
                  <a:lnTo>
                    <a:pt x="2219620" y="1694056"/>
                  </a:lnTo>
                  <a:lnTo>
                    <a:pt x="2218973" y="1694722"/>
                  </a:lnTo>
                  <a:lnTo>
                    <a:pt x="2218522" y="1696285"/>
                  </a:lnTo>
                  <a:lnTo>
                    <a:pt x="2218364" y="1697602"/>
                  </a:lnTo>
                  <a:lnTo>
                    <a:pt x="2218608" y="1698511"/>
                  </a:lnTo>
                  <a:lnTo>
                    <a:pt x="2223016" y="1699816"/>
                  </a:lnTo>
                  <a:lnTo>
                    <a:pt x="2223926" y="1700811"/>
                  </a:lnTo>
                  <a:lnTo>
                    <a:pt x="2224363" y="1701096"/>
                  </a:lnTo>
                  <a:lnTo>
                    <a:pt x="2224842" y="1701030"/>
                  </a:lnTo>
                  <a:lnTo>
                    <a:pt x="2234405" y="1696269"/>
                  </a:lnTo>
                  <a:lnTo>
                    <a:pt x="2235158" y="1696626"/>
                  </a:lnTo>
                  <a:lnTo>
                    <a:pt x="2235492" y="1698616"/>
                  </a:lnTo>
                  <a:lnTo>
                    <a:pt x="2235731" y="1699231"/>
                  </a:lnTo>
                  <a:lnTo>
                    <a:pt x="2236126" y="1699430"/>
                  </a:lnTo>
                  <a:lnTo>
                    <a:pt x="2236419" y="1699216"/>
                  </a:lnTo>
                  <a:lnTo>
                    <a:pt x="2236643" y="1699265"/>
                  </a:lnTo>
                  <a:lnTo>
                    <a:pt x="2236827" y="1700279"/>
                  </a:lnTo>
                  <a:lnTo>
                    <a:pt x="2234840" y="1701468"/>
                  </a:lnTo>
                  <a:lnTo>
                    <a:pt x="2234348" y="1702621"/>
                  </a:lnTo>
                  <a:lnTo>
                    <a:pt x="2234775" y="1704474"/>
                  </a:lnTo>
                  <a:lnTo>
                    <a:pt x="2235486" y="1705762"/>
                  </a:lnTo>
                  <a:lnTo>
                    <a:pt x="2236395" y="1706877"/>
                  </a:lnTo>
                  <a:lnTo>
                    <a:pt x="2237229" y="1707243"/>
                  </a:lnTo>
                  <a:lnTo>
                    <a:pt x="2237726" y="1706297"/>
                  </a:lnTo>
                  <a:lnTo>
                    <a:pt x="2236693" y="1704163"/>
                  </a:lnTo>
                  <a:lnTo>
                    <a:pt x="2237161" y="1701887"/>
                  </a:lnTo>
                  <a:lnTo>
                    <a:pt x="2238377" y="1699769"/>
                  </a:lnTo>
                  <a:lnTo>
                    <a:pt x="2242631" y="1694391"/>
                  </a:lnTo>
                  <a:lnTo>
                    <a:pt x="2244211" y="1693235"/>
                  </a:lnTo>
                  <a:lnTo>
                    <a:pt x="2245949" y="1692799"/>
                  </a:lnTo>
                  <a:lnTo>
                    <a:pt x="2243321" y="1696289"/>
                  </a:lnTo>
                  <a:lnTo>
                    <a:pt x="2242917" y="1697684"/>
                  </a:lnTo>
                  <a:lnTo>
                    <a:pt x="2242903" y="1700946"/>
                  </a:lnTo>
                  <a:lnTo>
                    <a:pt x="2242793" y="1702516"/>
                  </a:lnTo>
                  <a:lnTo>
                    <a:pt x="2242546" y="1703701"/>
                  </a:lnTo>
                  <a:lnTo>
                    <a:pt x="2241140" y="1706567"/>
                  </a:lnTo>
                  <a:lnTo>
                    <a:pt x="2236330" y="1712250"/>
                  </a:lnTo>
                  <a:lnTo>
                    <a:pt x="2237094" y="1713818"/>
                  </a:lnTo>
                  <a:lnTo>
                    <a:pt x="2236572" y="1715109"/>
                  </a:lnTo>
                  <a:lnTo>
                    <a:pt x="2235437" y="1715910"/>
                  </a:lnTo>
                  <a:lnTo>
                    <a:pt x="2234370" y="1716041"/>
                  </a:lnTo>
                  <a:lnTo>
                    <a:pt x="2234553" y="1717122"/>
                  </a:lnTo>
                  <a:lnTo>
                    <a:pt x="2234652" y="1717530"/>
                  </a:lnTo>
                  <a:lnTo>
                    <a:pt x="2233416" y="1718321"/>
                  </a:lnTo>
                  <a:lnTo>
                    <a:pt x="2231719" y="1718718"/>
                  </a:lnTo>
                  <a:lnTo>
                    <a:pt x="2230166" y="1719640"/>
                  </a:lnTo>
                  <a:lnTo>
                    <a:pt x="2229361" y="1721995"/>
                  </a:lnTo>
                  <a:lnTo>
                    <a:pt x="2229888" y="1724558"/>
                  </a:lnTo>
                  <a:lnTo>
                    <a:pt x="2231415" y="1725612"/>
                  </a:lnTo>
                  <a:lnTo>
                    <a:pt x="2234388" y="1725715"/>
                  </a:lnTo>
                  <a:lnTo>
                    <a:pt x="2234990" y="1725128"/>
                  </a:lnTo>
                  <a:lnTo>
                    <a:pt x="2235322" y="1723784"/>
                  </a:lnTo>
                  <a:lnTo>
                    <a:pt x="2235530" y="1722290"/>
                  </a:lnTo>
                  <a:lnTo>
                    <a:pt x="2235772" y="1721242"/>
                  </a:lnTo>
                  <a:lnTo>
                    <a:pt x="2236395" y="1720616"/>
                  </a:lnTo>
                  <a:lnTo>
                    <a:pt x="2237439" y="1720041"/>
                  </a:lnTo>
                  <a:lnTo>
                    <a:pt x="2238423" y="1719980"/>
                  </a:lnTo>
                  <a:lnTo>
                    <a:pt x="2238863" y="1720897"/>
                  </a:lnTo>
                  <a:lnTo>
                    <a:pt x="2239655" y="1723052"/>
                  </a:lnTo>
                  <a:lnTo>
                    <a:pt x="2241427" y="1723510"/>
                  </a:lnTo>
                  <a:lnTo>
                    <a:pt x="2243321" y="1722929"/>
                  </a:lnTo>
                  <a:lnTo>
                    <a:pt x="2244465" y="1721952"/>
                  </a:lnTo>
                  <a:lnTo>
                    <a:pt x="2243596" y="1720995"/>
                  </a:lnTo>
                  <a:lnTo>
                    <a:pt x="2242782" y="1719727"/>
                  </a:lnTo>
                  <a:lnTo>
                    <a:pt x="2243050" y="1717580"/>
                  </a:lnTo>
                  <a:lnTo>
                    <a:pt x="2242194" y="1717229"/>
                  </a:lnTo>
                  <a:lnTo>
                    <a:pt x="2240218" y="1718191"/>
                  </a:lnTo>
                  <a:lnTo>
                    <a:pt x="2241158" y="1714813"/>
                  </a:lnTo>
                  <a:lnTo>
                    <a:pt x="2242519" y="1712758"/>
                  </a:lnTo>
                  <a:lnTo>
                    <a:pt x="2246285" y="1708756"/>
                  </a:lnTo>
                  <a:lnTo>
                    <a:pt x="2248379" y="1707296"/>
                  </a:lnTo>
                  <a:lnTo>
                    <a:pt x="2249239" y="1707046"/>
                  </a:lnTo>
                  <a:lnTo>
                    <a:pt x="2249634" y="1706794"/>
                  </a:lnTo>
                  <a:lnTo>
                    <a:pt x="2250517" y="1705724"/>
                  </a:lnTo>
                  <a:lnTo>
                    <a:pt x="2253776" y="1704454"/>
                  </a:lnTo>
                  <a:lnTo>
                    <a:pt x="2256273" y="1702452"/>
                  </a:lnTo>
                  <a:lnTo>
                    <a:pt x="2261958" y="1699793"/>
                  </a:lnTo>
                  <a:lnTo>
                    <a:pt x="2262739" y="1698941"/>
                  </a:lnTo>
                  <a:lnTo>
                    <a:pt x="2263454" y="1697898"/>
                  </a:lnTo>
                  <a:lnTo>
                    <a:pt x="2264337" y="1696100"/>
                  </a:lnTo>
                  <a:lnTo>
                    <a:pt x="2264802" y="1695580"/>
                  </a:lnTo>
                  <a:lnTo>
                    <a:pt x="2266040" y="1695150"/>
                  </a:lnTo>
                  <a:lnTo>
                    <a:pt x="2266446" y="1694887"/>
                  </a:lnTo>
                  <a:lnTo>
                    <a:pt x="2265806" y="1697334"/>
                  </a:lnTo>
                  <a:lnTo>
                    <a:pt x="2264814" y="1699729"/>
                  </a:lnTo>
                  <a:lnTo>
                    <a:pt x="2260708" y="1706738"/>
                  </a:lnTo>
                  <a:lnTo>
                    <a:pt x="2259753" y="1708944"/>
                  </a:lnTo>
                  <a:lnTo>
                    <a:pt x="2259169" y="1711412"/>
                  </a:lnTo>
                  <a:lnTo>
                    <a:pt x="2261538" y="1714678"/>
                  </a:lnTo>
                  <a:lnTo>
                    <a:pt x="2260696" y="1718971"/>
                  </a:lnTo>
                  <a:lnTo>
                    <a:pt x="2259128" y="1723206"/>
                  </a:lnTo>
                  <a:lnTo>
                    <a:pt x="2259343" y="1726289"/>
                  </a:lnTo>
                  <a:lnTo>
                    <a:pt x="2258998" y="1727641"/>
                  </a:lnTo>
                  <a:lnTo>
                    <a:pt x="2257715" y="1730777"/>
                  </a:lnTo>
                  <a:lnTo>
                    <a:pt x="2257398" y="1732035"/>
                  </a:lnTo>
                  <a:lnTo>
                    <a:pt x="2257042" y="1734645"/>
                  </a:lnTo>
                  <a:lnTo>
                    <a:pt x="2256777" y="1735686"/>
                  </a:lnTo>
                  <a:lnTo>
                    <a:pt x="2256517" y="1736469"/>
                  </a:lnTo>
                  <a:lnTo>
                    <a:pt x="2256198" y="1737660"/>
                  </a:lnTo>
                  <a:lnTo>
                    <a:pt x="2255934" y="1738980"/>
                  </a:lnTo>
                  <a:lnTo>
                    <a:pt x="2255648" y="1741919"/>
                  </a:lnTo>
                  <a:lnTo>
                    <a:pt x="2255188" y="1743204"/>
                  </a:lnTo>
                  <a:lnTo>
                    <a:pt x="2254638" y="1744376"/>
                  </a:lnTo>
                  <a:lnTo>
                    <a:pt x="2254198" y="1745754"/>
                  </a:lnTo>
                  <a:lnTo>
                    <a:pt x="2254024" y="1748044"/>
                  </a:lnTo>
                  <a:lnTo>
                    <a:pt x="2254072" y="1751303"/>
                  </a:lnTo>
                  <a:lnTo>
                    <a:pt x="2254386" y="1754226"/>
                  </a:lnTo>
                  <a:lnTo>
                    <a:pt x="2254999" y="1755484"/>
                  </a:lnTo>
                  <a:lnTo>
                    <a:pt x="2255154" y="1756068"/>
                  </a:lnTo>
                  <a:lnTo>
                    <a:pt x="2254777" y="1757389"/>
                  </a:lnTo>
                  <a:lnTo>
                    <a:pt x="2253907" y="1759628"/>
                  </a:lnTo>
                  <a:lnTo>
                    <a:pt x="2253917" y="1760173"/>
                  </a:lnTo>
                  <a:lnTo>
                    <a:pt x="2254097" y="1760996"/>
                  </a:lnTo>
                  <a:lnTo>
                    <a:pt x="2254357" y="1761769"/>
                  </a:lnTo>
                  <a:lnTo>
                    <a:pt x="2254614" y="1762189"/>
                  </a:lnTo>
                  <a:lnTo>
                    <a:pt x="2256033" y="1760011"/>
                  </a:lnTo>
                  <a:lnTo>
                    <a:pt x="2255648" y="1766267"/>
                  </a:lnTo>
                  <a:lnTo>
                    <a:pt x="2255029" y="1768002"/>
                  </a:lnTo>
                  <a:lnTo>
                    <a:pt x="2253561" y="1768215"/>
                  </a:lnTo>
                  <a:lnTo>
                    <a:pt x="2252704" y="1767717"/>
                  </a:lnTo>
                  <a:lnTo>
                    <a:pt x="2252114" y="1766911"/>
                  </a:lnTo>
                  <a:lnTo>
                    <a:pt x="2251632" y="1765731"/>
                  </a:lnTo>
                  <a:lnTo>
                    <a:pt x="2251101" y="1764113"/>
                  </a:lnTo>
                  <a:lnTo>
                    <a:pt x="2250850" y="1762864"/>
                  </a:lnTo>
                  <a:lnTo>
                    <a:pt x="2250677" y="1761548"/>
                  </a:lnTo>
                  <a:lnTo>
                    <a:pt x="2250393" y="1760486"/>
                  </a:lnTo>
                  <a:lnTo>
                    <a:pt x="2249808" y="1760066"/>
                  </a:lnTo>
                  <a:lnTo>
                    <a:pt x="2248880" y="1761257"/>
                  </a:lnTo>
                  <a:lnTo>
                    <a:pt x="2248877" y="1764037"/>
                  </a:lnTo>
                  <a:lnTo>
                    <a:pt x="2249215" y="1767240"/>
                  </a:lnTo>
                  <a:lnTo>
                    <a:pt x="2249315" y="1769674"/>
                  </a:lnTo>
                  <a:lnTo>
                    <a:pt x="2248411" y="1772873"/>
                  </a:lnTo>
                  <a:lnTo>
                    <a:pt x="2246999" y="1774608"/>
                  </a:lnTo>
                  <a:lnTo>
                    <a:pt x="2243934" y="1776533"/>
                  </a:lnTo>
                  <a:lnTo>
                    <a:pt x="2244970" y="1777202"/>
                  </a:lnTo>
                  <a:lnTo>
                    <a:pt x="2245360" y="1777204"/>
                  </a:lnTo>
                  <a:lnTo>
                    <a:pt x="2245091" y="1778292"/>
                  </a:lnTo>
                  <a:lnTo>
                    <a:pt x="2244614" y="1779412"/>
                  </a:lnTo>
                  <a:lnTo>
                    <a:pt x="2243956" y="1780600"/>
                  </a:lnTo>
                  <a:lnTo>
                    <a:pt x="2243977" y="1784325"/>
                  </a:lnTo>
                  <a:lnTo>
                    <a:pt x="2244215" y="1784673"/>
                  </a:lnTo>
                  <a:lnTo>
                    <a:pt x="2244751" y="1784005"/>
                  </a:lnTo>
                  <a:lnTo>
                    <a:pt x="2245678" y="1782483"/>
                  </a:lnTo>
                  <a:lnTo>
                    <a:pt x="2246333" y="1782213"/>
                  </a:lnTo>
                  <a:lnTo>
                    <a:pt x="2247024" y="1782337"/>
                  </a:lnTo>
                  <a:lnTo>
                    <a:pt x="2247691" y="1782896"/>
                  </a:lnTo>
                  <a:lnTo>
                    <a:pt x="2248284" y="1783956"/>
                  </a:lnTo>
                  <a:lnTo>
                    <a:pt x="2247726" y="1785916"/>
                  </a:lnTo>
                  <a:lnTo>
                    <a:pt x="2248205" y="1786760"/>
                  </a:lnTo>
                  <a:lnTo>
                    <a:pt x="2249019" y="1787197"/>
                  </a:lnTo>
                  <a:lnTo>
                    <a:pt x="2249455" y="1788005"/>
                  </a:lnTo>
                  <a:lnTo>
                    <a:pt x="2249831" y="1788358"/>
                  </a:lnTo>
                  <a:lnTo>
                    <a:pt x="2251744" y="1788143"/>
                  </a:lnTo>
                  <a:lnTo>
                    <a:pt x="2252580" y="1788313"/>
                  </a:lnTo>
                  <a:lnTo>
                    <a:pt x="2253679" y="1789563"/>
                  </a:lnTo>
                  <a:lnTo>
                    <a:pt x="2254048" y="1789866"/>
                  </a:lnTo>
                  <a:lnTo>
                    <a:pt x="2254706" y="1789957"/>
                  </a:lnTo>
                  <a:lnTo>
                    <a:pt x="2255674" y="1789229"/>
                  </a:lnTo>
                  <a:lnTo>
                    <a:pt x="2256187" y="1789024"/>
                  </a:lnTo>
                  <a:lnTo>
                    <a:pt x="2257070" y="1788124"/>
                  </a:lnTo>
                  <a:lnTo>
                    <a:pt x="2257746" y="1786308"/>
                  </a:lnTo>
                  <a:lnTo>
                    <a:pt x="2258454" y="1784943"/>
                  </a:lnTo>
                  <a:lnTo>
                    <a:pt x="2259436" y="1785345"/>
                  </a:lnTo>
                  <a:lnTo>
                    <a:pt x="2259213" y="1786780"/>
                  </a:lnTo>
                  <a:lnTo>
                    <a:pt x="2259459" y="1787579"/>
                  </a:lnTo>
                  <a:lnTo>
                    <a:pt x="2259995" y="1787982"/>
                  </a:lnTo>
                  <a:lnTo>
                    <a:pt x="2260639" y="1788231"/>
                  </a:lnTo>
                  <a:lnTo>
                    <a:pt x="2259967" y="1789698"/>
                  </a:lnTo>
                  <a:lnTo>
                    <a:pt x="2259328" y="1790242"/>
                  </a:lnTo>
                  <a:lnTo>
                    <a:pt x="2258853" y="1791028"/>
                  </a:lnTo>
                  <a:lnTo>
                    <a:pt x="2258691" y="1793198"/>
                  </a:lnTo>
                  <a:lnTo>
                    <a:pt x="2258423" y="1794510"/>
                  </a:lnTo>
                  <a:lnTo>
                    <a:pt x="2257775" y="1796162"/>
                  </a:lnTo>
                  <a:lnTo>
                    <a:pt x="2256431" y="1798837"/>
                  </a:lnTo>
                  <a:lnTo>
                    <a:pt x="2254877" y="1800253"/>
                  </a:lnTo>
                  <a:lnTo>
                    <a:pt x="2254171" y="1801240"/>
                  </a:lnTo>
                  <a:lnTo>
                    <a:pt x="2253883" y="1802910"/>
                  </a:lnTo>
                  <a:lnTo>
                    <a:pt x="2253782" y="1804787"/>
                  </a:lnTo>
                  <a:lnTo>
                    <a:pt x="2253247" y="1807675"/>
                  </a:lnTo>
                  <a:lnTo>
                    <a:pt x="2253078" y="1809357"/>
                  </a:lnTo>
                  <a:lnTo>
                    <a:pt x="2256530" y="1808509"/>
                  </a:lnTo>
                  <a:lnTo>
                    <a:pt x="2256931" y="1808256"/>
                  </a:lnTo>
                  <a:lnTo>
                    <a:pt x="2257339" y="1807866"/>
                  </a:lnTo>
                  <a:lnTo>
                    <a:pt x="2257741" y="1807689"/>
                  </a:lnTo>
                  <a:lnTo>
                    <a:pt x="2258125" y="1808120"/>
                  </a:lnTo>
                  <a:lnTo>
                    <a:pt x="2258268" y="1808903"/>
                  </a:lnTo>
                  <a:lnTo>
                    <a:pt x="2258205" y="1809755"/>
                  </a:lnTo>
                  <a:lnTo>
                    <a:pt x="2257997" y="1810729"/>
                  </a:lnTo>
                  <a:lnTo>
                    <a:pt x="2259116" y="1812118"/>
                  </a:lnTo>
                  <a:lnTo>
                    <a:pt x="2260618" y="1811671"/>
                  </a:lnTo>
                  <a:lnTo>
                    <a:pt x="2262175" y="1810180"/>
                  </a:lnTo>
                  <a:lnTo>
                    <a:pt x="2263473" y="1808430"/>
                  </a:lnTo>
                  <a:lnTo>
                    <a:pt x="2265341" y="1804565"/>
                  </a:lnTo>
                  <a:lnTo>
                    <a:pt x="2266032" y="1803930"/>
                  </a:lnTo>
                  <a:lnTo>
                    <a:pt x="2266274" y="1804100"/>
                  </a:lnTo>
                  <a:lnTo>
                    <a:pt x="2266492" y="1805161"/>
                  </a:lnTo>
                  <a:lnTo>
                    <a:pt x="2266759" y="1805410"/>
                  </a:lnTo>
                  <a:lnTo>
                    <a:pt x="2267226" y="1805284"/>
                  </a:lnTo>
                  <a:lnTo>
                    <a:pt x="2267582" y="1804960"/>
                  </a:lnTo>
                  <a:lnTo>
                    <a:pt x="2272432" y="1798123"/>
                  </a:lnTo>
                  <a:lnTo>
                    <a:pt x="2272839" y="1796325"/>
                  </a:lnTo>
                  <a:lnTo>
                    <a:pt x="2273628" y="1795646"/>
                  </a:lnTo>
                  <a:lnTo>
                    <a:pt x="2274710" y="1795052"/>
                  </a:lnTo>
                  <a:lnTo>
                    <a:pt x="2275495" y="1795083"/>
                  </a:lnTo>
                  <a:lnTo>
                    <a:pt x="2275393" y="1796282"/>
                  </a:lnTo>
                  <a:lnTo>
                    <a:pt x="2276249" y="1797381"/>
                  </a:lnTo>
                  <a:lnTo>
                    <a:pt x="2276708" y="1798681"/>
                  </a:lnTo>
                  <a:lnTo>
                    <a:pt x="2277183" y="1799524"/>
                  </a:lnTo>
                  <a:lnTo>
                    <a:pt x="2278084" y="1799202"/>
                  </a:lnTo>
                  <a:lnTo>
                    <a:pt x="2278849" y="1798111"/>
                  </a:lnTo>
                  <a:lnTo>
                    <a:pt x="2279079" y="1796949"/>
                  </a:lnTo>
                  <a:lnTo>
                    <a:pt x="2279139" y="1795777"/>
                  </a:lnTo>
                  <a:lnTo>
                    <a:pt x="2279409" y="1794649"/>
                  </a:lnTo>
                  <a:lnTo>
                    <a:pt x="2280219" y="1793796"/>
                  </a:lnTo>
                  <a:lnTo>
                    <a:pt x="2281143" y="1794022"/>
                  </a:lnTo>
                  <a:lnTo>
                    <a:pt x="2282009" y="1794937"/>
                  </a:lnTo>
                  <a:lnTo>
                    <a:pt x="2283084" y="1797005"/>
                  </a:lnTo>
                  <a:lnTo>
                    <a:pt x="2283195" y="1796936"/>
                  </a:lnTo>
                  <a:lnTo>
                    <a:pt x="2283108" y="1797053"/>
                  </a:lnTo>
                  <a:lnTo>
                    <a:pt x="2282952" y="1798440"/>
                  </a:lnTo>
                  <a:lnTo>
                    <a:pt x="2282420" y="1800611"/>
                  </a:lnTo>
                  <a:lnTo>
                    <a:pt x="2281188" y="1803123"/>
                  </a:lnTo>
                  <a:lnTo>
                    <a:pt x="2271808" y="1815112"/>
                  </a:lnTo>
                  <a:lnTo>
                    <a:pt x="2270856" y="1818072"/>
                  </a:lnTo>
                  <a:lnTo>
                    <a:pt x="2272036" y="1817690"/>
                  </a:lnTo>
                  <a:lnTo>
                    <a:pt x="2274234" y="1816075"/>
                  </a:lnTo>
                  <a:lnTo>
                    <a:pt x="2275313" y="1815698"/>
                  </a:lnTo>
                  <a:lnTo>
                    <a:pt x="2276252" y="1814884"/>
                  </a:lnTo>
                  <a:lnTo>
                    <a:pt x="2277905" y="1811603"/>
                  </a:lnTo>
                  <a:lnTo>
                    <a:pt x="2278855" y="1811164"/>
                  </a:lnTo>
                  <a:lnTo>
                    <a:pt x="2278566" y="1811689"/>
                  </a:lnTo>
                  <a:lnTo>
                    <a:pt x="2278031" y="1813482"/>
                  </a:lnTo>
                  <a:lnTo>
                    <a:pt x="2279852" y="1813856"/>
                  </a:lnTo>
                  <a:lnTo>
                    <a:pt x="2284011" y="1811979"/>
                  </a:lnTo>
                  <a:lnTo>
                    <a:pt x="2285605" y="1814014"/>
                  </a:lnTo>
                  <a:lnTo>
                    <a:pt x="2285303" y="1814326"/>
                  </a:lnTo>
                  <a:lnTo>
                    <a:pt x="2285016" y="1814771"/>
                  </a:lnTo>
                  <a:lnTo>
                    <a:pt x="2285269" y="1815165"/>
                  </a:lnTo>
                  <a:lnTo>
                    <a:pt x="2285676" y="1815964"/>
                  </a:lnTo>
                  <a:lnTo>
                    <a:pt x="2285941" y="1816242"/>
                  </a:lnTo>
                  <a:lnTo>
                    <a:pt x="2285574" y="1817674"/>
                  </a:lnTo>
                  <a:lnTo>
                    <a:pt x="2285427" y="1818569"/>
                  </a:lnTo>
                  <a:lnTo>
                    <a:pt x="2285425" y="1819230"/>
                  </a:lnTo>
                  <a:lnTo>
                    <a:pt x="2285686" y="1820294"/>
                  </a:lnTo>
                  <a:lnTo>
                    <a:pt x="2285854" y="1820472"/>
                  </a:lnTo>
                  <a:lnTo>
                    <a:pt x="2286130" y="1820218"/>
                  </a:lnTo>
                  <a:lnTo>
                    <a:pt x="2286735" y="1820015"/>
                  </a:lnTo>
                  <a:lnTo>
                    <a:pt x="2287518" y="1819297"/>
                  </a:lnTo>
                  <a:lnTo>
                    <a:pt x="2287616" y="1817640"/>
                  </a:lnTo>
                  <a:lnTo>
                    <a:pt x="2287495" y="1815651"/>
                  </a:lnTo>
                  <a:lnTo>
                    <a:pt x="2287627" y="1813971"/>
                  </a:lnTo>
                  <a:lnTo>
                    <a:pt x="2288013" y="1815240"/>
                  </a:lnTo>
                  <a:lnTo>
                    <a:pt x="2288217" y="1815689"/>
                  </a:lnTo>
                  <a:lnTo>
                    <a:pt x="2289854" y="1818283"/>
                  </a:lnTo>
                  <a:lnTo>
                    <a:pt x="2290039" y="1818386"/>
                  </a:lnTo>
                  <a:lnTo>
                    <a:pt x="2290059" y="1819281"/>
                  </a:lnTo>
                  <a:lnTo>
                    <a:pt x="2289885" y="1820119"/>
                  </a:lnTo>
                  <a:lnTo>
                    <a:pt x="2289652" y="1820648"/>
                  </a:lnTo>
                  <a:lnTo>
                    <a:pt x="2289510" y="1820624"/>
                  </a:lnTo>
                  <a:lnTo>
                    <a:pt x="2290278" y="1823424"/>
                  </a:lnTo>
                  <a:lnTo>
                    <a:pt x="2290313" y="1824027"/>
                  </a:lnTo>
                  <a:lnTo>
                    <a:pt x="2288950" y="1826945"/>
                  </a:lnTo>
                  <a:lnTo>
                    <a:pt x="2288781" y="1828213"/>
                  </a:lnTo>
                  <a:lnTo>
                    <a:pt x="2289427" y="1829703"/>
                  </a:lnTo>
                  <a:lnTo>
                    <a:pt x="2290412" y="1830413"/>
                  </a:lnTo>
                  <a:lnTo>
                    <a:pt x="2291414" y="1830576"/>
                  </a:lnTo>
                  <a:lnTo>
                    <a:pt x="2292248" y="1831192"/>
                  </a:lnTo>
                  <a:lnTo>
                    <a:pt x="2292734" y="1833275"/>
                  </a:lnTo>
                  <a:lnTo>
                    <a:pt x="2292647" y="1834604"/>
                  </a:lnTo>
                  <a:lnTo>
                    <a:pt x="2291998" y="1838602"/>
                  </a:lnTo>
                  <a:lnTo>
                    <a:pt x="2291693" y="1839670"/>
                  </a:lnTo>
                  <a:lnTo>
                    <a:pt x="2291209" y="1839831"/>
                  </a:lnTo>
                  <a:lnTo>
                    <a:pt x="2290163" y="1838786"/>
                  </a:lnTo>
                  <a:lnTo>
                    <a:pt x="2289628" y="1838629"/>
                  </a:lnTo>
                  <a:lnTo>
                    <a:pt x="2289258" y="1839325"/>
                  </a:lnTo>
                  <a:lnTo>
                    <a:pt x="2289088" y="1840460"/>
                  </a:lnTo>
                  <a:lnTo>
                    <a:pt x="2288910" y="1841346"/>
                  </a:lnTo>
                  <a:lnTo>
                    <a:pt x="2286551" y="1840860"/>
                  </a:lnTo>
                  <a:lnTo>
                    <a:pt x="2281134" y="1841770"/>
                  </a:lnTo>
                  <a:lnTo>
                    <a:pt x="2279676" y="1839508"/>
                  </a:lnTo>
                  <a:lnTo>
                    <a:pt x="2280121" y="1839349"/>
                  </a:lnTo>
                  <a:lnTo>
                    <a:pt x="2280509" y="1838907"/>
                  </a:lnTo>
                  <a:lnTo>
                    <a:pt x="2280841" y="1838196"/>
                  </a:lnTo>
                  <a:lnTo>
                    <a:pt x="2281115" y="1837246"/>
                  </a:lnTo>
                  <a:lnTo>
                    <a:pt x="2278735" y="1837875"/>
                  </a:lnTo>
                  <a:lnTo>
                    <a:pt x="2274172" y="1840562"/>
                  </a:lnTo>
                  <a:lnTo>
                    <a:pt x="2269230" y="1841978"/>
                  </a:lnTo>
                  <a:lnTo>
                    <a:pt x="2267872" y="1841882"/>
                  </a:lnTo>
                  <a:lnTo>
                    <a:pt x="2266831" y="1840526"/>
                  </a:lnTo>
                  <a:lnTo>
                    <a:pt x="2266390" y="1838376"/>
                  </a:lnTo>
                  <a:lnTo>
                    <a:pt x="2266202" y="1836449"/>
                  </a:lnTo>
                  <a:lnTo>
                    <a:pt x="2265728" y="1835244"/>
                  </a:lnTo>
                  <a:lnTo>
                    <a:pt x="2264427" y="1835275"/>
                  </a:lnTo>
                  <a:lnTo>
                    <a:pt x="2264811" y="1833207"/>
                  </a:lnTo>
                  <a:lnTo>
                    <a:pt x="2265445" y="1831119"/>
                  </a:lnTo>
                  <a:lnTo>
                    <a:pt x="2266205" y="1829423"/>
                  </a:lnTo>
                  <a:lnTo>
                    <a:pt x="2266954" y="1828547"/>
                  </a:lnTo>
                  <a:lnTo>
                    <a:pt x="2265885" y="1828096"/>
                  </a:lnTo>
                  <a:lnTo>
                    <a:pt x="2264847" y="1829184"/>
                  </a:lnTo>
                  <a:lnTo>
                    <a:pt x="2262010" y="1834466"/>
                  </a:lnTo>
                  <a:lnTo>
                    <a:pt x="2262015" y="1835726"/>
                  </a:lnTo>
                  <a:lnTo>
                    <a:pt x="2262491" y="1837051"/>
                  </a:lnTo>
                  <a:lnTo>
                    <a:pt x="2262994" y="1839085"/>
                  </a:lnTo>
                  <a:lnTo>
                    <a:pt x="2261635" y="1840228"/>
                  </a:lnTo>
                  <a:lnTo>
                    <a:pt x="2260182" y="1840994"/>
                  </a:lnTo>
                  <a:lnTo>
                    <a:pt x="2258742" y="1840997"/>
                  </a:lnTo>
                  <a:lnTo>
                    <a:pt x="2257434" y="1839826"/>
                  </a:lnTo>
                  <a:lnTo>
                    <a:pt x="2257923" y="1839568"/>
                  </a:lnTo>
                  <a:lnTo>
                    <a:pt x="2258393" y="1839160"/>
                  </a:lnTo>
                  <a:lnTo>
                    <a:pt x="2258819" y="1838517"/>
                  </a:lnTo>
                  <a:lnTo>
                    <a:pt x="2259184" y="1837572"/>
                  </a:lnTo>
                  <a:lnTo>
                    <a:pt x="2257719" y="1837016"/>
                  </a:lnTo>
                  <a:lnTo>
                    <a:pt x="2254665" y="1838123"/>
                  </a:lnTo>
                  <a:lnTo>
                    <a:pt x="2253035" y="1837295"/>
                  </a:lnTo>
                  <a:lnTo>
                    <a:pt x="2252099" y="1835152"/>
                  </a:lnTo>
                  <a:lnTo>
                    <a:pt x="2252775" y="1830977"/>
                  </a:lnTo>
                  <a:lnTo>
                    <a:pt x="2252087" y="1828711"/>
                  </a:lnTo>
                  <a:lnTo>
                    <a:pt x="2251321" y="1828115"/>
                  </a:lnTo>
                  <a:lnTo>
                    <a:pt x="2249917" y="1828769"/>
                  </a:lnTo>
                  <a:lnTo>
                    <a:pt x="2249157" y="1828734"/>
                  </a:lnTo>
                  <a:lnTo>
                    <a:pt x="2248607" y="1827980"/>
                  </a:lnTo>
                  <a:lnTo>
                    <a:pt x="2247972" y="1826880"/>
                  </a:lnTo>
                  <a:lnTo>
                    <a:pt x="2247312" y="1826232"/>
                  </a:lnTo>
                  <a:lnTo>
                    <a:pt x="2244691" y="1828918"/>
                  </a:lnTo>
                  <a:lnTo>
                    <a:pt x="2244636" y="1829907"/>
                  </a:lnTo>
                  <a:lnTo>
                    <a:pt x="2246309" y="1833220"/>
                  </a:lnTo>
                  <a:lnTo>
                    <a:pt x="2246888" y="1836281"/>
                  </a:lnTo>
                  <a:lnTo>
                    <a:pt x="2247154" y="1836998"/>
                  </a:lnTo>
                  <a:lnTo>
                    <a:pt x="2251287" y="1839110"/>
                  </a:lnTo>
                  <a:lnTo>
                    <a:pt x="2252125" y="1840802"/>
                  </a:lnTo>
                  <a:lnTo>
                    <a:pt x="2252885" y="1842770"/>
                  </a:lnTo>
                  <a:lnTo>
                    <a:pt x="2253658" y="1844320"/>
                  </a:lnTo>
                  <a:lnTo>
                    <a:pt x="2254971" y="1845519"/>
                  </a:lnTo>
                  <a:lnTo>
                    <a:pt x="2257709" y="1847151"/>
                  </a:lnTo>
                  <a:lnTo>
                    <a:pt x="2258873" y="1849148"/>
                  </a:lnTo>
                  <a:lnTo>
                    <a:pt x="2259138" y="1850290"/>
                  </a:lnTo>
                  <a:lnTo>
                    <a:pt x="2259297" y="1852608"/>
                  </a:lnTo>
                  <a:lnTo>
                    <a:pt x="2259508" y="1853604"/>
                  </a:lnTo>
                  <a:lnTo>
                    <a:pt x="2260187" y="1854754"/>
                  </a:lnTo>
                  <a:lnTo>
                    <a:pt x="2260985" y="1855317"/>
                  </a:lnTo>
                  <a:lnTo>
                    <a:pt x="2261820" y="1855676"/>
                  </a:lnTo>
                  <a:lnTo>
                    <a:pt x="2270289" y="1861619"/>
                  </a:lnTo>
                  <a:lnTo>
                    <a:pt x="2270825" y="1862520"/>
                  </a:lnTo>
                  <a:lnTo>
                    <a:pt x="2271084" y="1863381"/>
                  </a:lnTo>
                  <a:lnTo>
                    <a:pt x="2271430" y="1865226"/>
                  </a:lnTo>
                  <a:lnTo>
                    <a:pt x="2271766" y="1866201"/>
                  </a:lnTo>
                  <a:lnTo>
                    <a:pt x="2273230" y="1869151"/>
                  </a:lnTo>
                  <a:lnTo>
                    <a:pt x="2273833" y="1870871"/>
                  </a:lnTo>
                  <a:lnTo>
                    <a:pt x="2274098" y="1872899"/>
                  </a:lnTo>
                  <a:lnTo>
                    <a:pt x="2273997" y="1875514"/>
                  </a:lnTo>
                  <a:lnTo>
                    <a:pt x="2273630" y="1877210"/>
                  </a:lnTo>
                  <a:lnTo>
                    <a:pt x="2272451" y="1880702"/>
                  </a:lnTo>
                  <a:lnTo>
                    <a:pt x="2273678" y="1879494"/>
                  </a:lnTo>
                  <a:lnTo>
                    <a:pt x="2275824" y="1874415"/>
                  </a:lnTo>
                  <a:lnTo>
                    <a:pt x="2277046" y="1873254"/>
                  </a:lnTo>
                  <a:lnTo>
                    <a:pt x="2278568" y="1873076"/>
                  </a:lnTo>
                  <a:lnTo>
                    <a:pt x="2279275" y="1872722"/>
                  </a:lnTo>
                  <a:lnTo>
                    <a:pt x="2279989" y="1872053"/>
                  </a:lnTo>
                  <a:lnTo>
                    <a:pt x="2280532" y="1870942"/>
                  </a:lnTo>
                  <a:lnTo>
                    <a:pt x="2280509" y="1869851"/>
                  </a:lnTo>
                  <a:lnTo>
                    <a:pt x="2279912" y="1867919"/>
                  </a:lnTo>
                  <a:lnTo>
                    <a:pt x="2279366" y="1865333"/>
                  </a:lnTo>
                  <a:lnTo>
                    <a:pt x="2278924" y="1864206"/>
                  </a:lnTo>
                  <a:lnTo>
                    <a:pt x="2278371" y="1864162"/>
                  </a:lnTo>
                  <a:lnTo>
                    <a:pt x="2278083" y="1865236"/>
                  </a:lnTo>
                  <a:lnTo>
                    <a:pt x="2278689" y="1867874"/>
                  </a:lnTo>
                  <a:lnTo>
                    <a:pt x="2278619" y="1869060"/>
                  </a:lnTo>
                  <a:lnTo>
                    <a:pt x="2278075" y="1870081"/>
                  </a:lnTo>
                  <a:lnTo>
                    <a:pt x="2277487" y="1870650"/>
                  </a:lnTo>
                  <a:lnTo>
                    <a:pt x="2276845" y="1870910"/>
                  </a:lnTo>
                  <a:lnTo>
                    <a:pt x="2276132" y="1870967"/>
                  </a:lnTo>
                  <a:lnTo>
                    <a:pt x="2275169" y="1870636"/>
                  </a:lnTo>
                  <a:lnTo>
                    <a:pt x="2274704" y="1869748"/>
                  </a:lnTo>
                  <a:lnTo>
                    <a:pt x="2274298" y="1867279"/>
                  </a:lnTo>
                  <a:lnTo>
                    <a:pt x="2273446" y="1864778"/>
                  </a:lnTo>
                  <a:lnTo>
                    <a:pt x="2272489" y="1863635"/>
                  </a:lnTo>
                  <a:lnTo>
                    <a:pt x="2271486" y="1862736"/>
                  </a:lnTo>
                  <a:lnTo>
                    <a:pt x="2270493" y="1860977"/>
                  </a:lnTo>
                  <a:lnTo>
                    <a:pt x="2269046" y="1857378"/>
                  </a:lnTo>
                  <a:lnTo>
                    <a:pt x="2268253" y="1855890"/>
                  </a:lnTo>
                  <a:lnTo>
                    <a:pt x="2267321" y="1854661"/>
                  </a:lnTo>
                  <a:lnTo>
                    <a:pt x="2265055" y="1853294"/>
                  </a:lnTo>
                  <a:lnTo>
                    <a:pt x="2264332" y="1852469"/>
                  </a:lnTo>
                  <a:lnTo>
                    <a:pt x="2263049" y="1849194"/>
                  </a:lnTo>
                  <a:lnTo>
                    <a:pt x="2262687" y="1848697"/>
                  </a:lnTo>
                  <a:lnTo>
                    <a:pt x="2262235" y="1848392"/>
                  </a:lnTo>
                  <a:lnTo>
                    <a:pt x="2260975" y="1846840"/>
                  </a:lnTo>
                  <a:lnTo>
                    <a:pt x="2260597" y="1846189"/>
                  </a:lnTo>
                  <a:lnTo>
                    <a:pt x="2260222" y="1844986"/>
                  </a:lnTo>
                  <a:lnTo>
                    <a:pt x="2260276" y="1844249"/>
                  </a:lnTo>
                  <a:lnTo>
                    <a:pt x="2261287" y="1842827"/>
                  </a:lnTo>
                  <a:lnTo>
                    <a:pt x="2262963" y="1841561"/>
                  </a:lnTo>
                  <a:lnTo>
                    <a:pt x="2265195" y="1841253"/>
                  </a:lnTo>
                  <a:lnTo>
                    <a:pt x="2267426" y="1841981"/>
                  </a:lnTo>
                  <a:lnTo>
                    <a:pt x="2269080" y="1843808"/>
                  </a:lnTo>
                  <a:lnTo>
                    <a:pt x="2269710" y="1843932"/>
                  </a:lnTo>
                  <a:lnTo>
                    <a:pt x="2271575" y="1842293"/>
                  </a:lnTo>
                  <a:lnTo>
                    <a:pt x="2272401" y="1842334"/>
                  </a:lnTo>
                  <a:lnTo>
                    <a:pt x="2272836" y="1842646"/>
                  </a:lnTo>
                  <a:lnTo>
                    <a:pt x="2273781" y="1842990"/>
                  </a:lnTo>
                  <a:lnTo>
                    <a:pt x="2274199" y="1843392"/>
                  </a:lnTo>
                  <a:lnTo>
                    <a:pt x="2274352" y="1843975"/>
                  </a:lnTo>
                  <a:lnTo>
                    <a:pt x="2274580" y="1845759"/>
                  </a:lnTo>
                  <a:lnTo>
                    <a:pt x="2274831" y="1846363"/>
                  </a:lnTo>
                  <a:lnTo>
                    <a:pt x="2275647" y="1846642"/>
                  </a:lnTo>
                  <a:lnTo>
                    <a:pt x="2278353" y="1845557"/>
                  </a:lnTo>
                  <a:lnTo>
                    <a:pt x="2282418" y="1845481"/>
                  </a:lnTo>
                  <a:lnTo>
                    <a:pt x="2285372" y="1846518"/>
                  </a:lnTo>
                  <a:lnTo>
                    <a:pt x="2286131" y="1845780"/>
                  </a:lnTo>
                  <a:lnTo>
                    <a:pt x="2286765" y="1844569"/>
                  </a:lnTo>
                  <a:lnTo>
                    <a:pt x="2287603" y="1843664"/>
                  </a:lnTo>
                  <a:lnTo>
                    <a:pt x="2288528" y="1843147"/>
                  </a:lnTo>
                  <a:lnTo>
                    <a:pt x="2289408" y="1843102"/>
                  </a:lnTo>
                  <a:lnTo>
                    <a:pt x="2289546" y="1844190"/>
                  </a:lnTo>
                  <a:lnTo>
                    <a:pt x="2290408" y="1845373"/>
                  </a:lnTo>
                  <a:lnTo>
                    <a:pt x="2291528" y="1846306"/>
                  </a:lnTo>
                  <a:lnTo>
                    <a:pt x="2292438" y="1846685"/>
                  </a:lnTo>
                  <a:lnTo>
                    <a:pt x="2293531" y="1846593"/>
                  </a:lnTo>
                  <a:lnTo>
                    <a:pt x="2294426" y="1846159"/>
                  </a:lnTo>
                  <a:lnTo>
                    <a:pt x="2295262" y="1845057"/>
                  </a:lnTo>
                  <a:lnTo>
                    <a:pt x="2296177" y="1842945"/>
                  </a:lnTo>
                  <a:lnTo>
                    <a:pt x="2296105" y="1841580"/>
                  </a:lnTo>
                  <a:lnTo>
                    <a:pt x="2296483" y="1840453"/>
                  </a:lnTo>
                  <a:lnTo>
                    <a:pt x="2297522" y="1838444"/>
                  </a:lnTo>
                  <a:lnTo>
                    <a:pt x="2296843" y="1836757"/>
                  </a:lnTo>
                  <a:lnTo>
                    <a:pt x="2295885" y="1836084"/>
                  </a:lnTo>
                  <a:lnTo>
                    <a:pt x="2294839" y="1835657"/>
                  </a:lnTo>
                  <a:lnTo>
                    <a:pt x="2293905" y="1834738"/>
                  </a:lnTo>
                  <a:lnTo>
                    <a:pt x="2294247" y="1832294"/>
                  </a:lnTo>
                  <a:lnTo>
                    <a:pt x="2293634" y="1830454"/>
                  </a:lnTo>
                  <a:lnTo>
                    <a:pt x="2291850" y="1827688"/>
                  </a:lnTo>
                  <a:lnTo>
                    <a:pt x="2291702" y="1826666"/>
                  </a:lnTo>
                  <a:lnTo>
                    <a:pt x="2291923" y="1825694"/>
                  </a:lnTo>
                  <a:lnTo>
                    <a:pt x="2292645" y="1823973"/>
                  </a:lnTo>
                  <a:lnTo>
                    <a:pt x="2292659" y="1822957"/>
                  </a:lnTo>
                  <a:lnTo>
                    <a:pt x="2292278" y="1821879"/>
                  </a:lnTo>
                  <a:lnTo>
                    <a:pt x="2291797" y="1820835"/>
                  </a:lnTo>
                  <a:lnTo>
                    <a:pt x="2291523" y="1819909"/>
                  </a:lnTo>
                  <a:lnTo>
                    <a:pt x="2291525" y="1819111"/>
                  </a:lnTo>
                  <a:lnTo>
                    <a:pt x="2291696" y="1818445"/>
                  </a:lnTo>
                  <a:lnTo>
                    <a:pt x="2294202" y="1813689"/>
                  </a:lnTo>
                  <a:lnTo>
                    <a:pt x="2294409" y="1813138"/>
                  </a:lnTo>
                  <a:lnTo>
                    <a:pt x="2294745" y="1812651"/>
                  </a:lnTo>
                  <a:lnTo>
                    <a:pt x="2294944" y="1811497"/>
                  </a:lnTo>
                  <a:lnTo>
                    <a:pt x="2295034" y="1810128"/>
                  </a:lnTo>
                  <a:lnTo>
                    <a:pt x="2295043" y="1808997"/>
                  </a:lnTo>
                  <a:lnTo>
                    <a:pt x="2295150" y="1807078"/>
                  </a:lnTo>
                  <a:lnTo>
                    <a:pt x="2295561" y="1806389"/>
                  </a:lnTo>
                  <a:lnTo>
                    <a:pt x="2296991" y="1806243"/>
                  </a:lnTo>
                  <a:lnTo>
                    <a:pt x="2298595" y="1805209"/>
                  </a:lnTo>
                  <a:lnTo>
                    <a:pt x="2298458" y="1804014"/>
                  </a:lnTo>
                  <a:lnTo>
                    <a:pt x="2293014" y="1799925"/>
                  </a:lnTo>
                  <a:lnTo>
                    <a:pt x="2291794" y="1798307"/>
                  </a:lnTo>
                  <a:lnTo>
                    <a:pt x="2291239" y="1795588"/>
                  </a:lnTo>
                  <a:lnTo>
                    <a:pt x="2291076" y="1794425"/>
                  </a:lnTo>
                  <a:lnTo>
                    <a:pt x="2290451" y="1792731"/>
                  </a:lnTo>
                  <a:lnTo>
                    <a:pt x="2290295" y="1791923"/>
                  </a:lnTo>
                  <a:lnTo>
                    <a:pt x="2290216" y="1790851"/>
                  </a:lnTo>
                  <a:lnTo>
                    <a:pt x="2289824" y="1787919"/>
                  </a:lnTo>
                  <a:lnTo>
                    <a:pt x="2289610" y="1787068"/>
                  </a:lnTo>
                  <a:lnTo>
                    <a:pt x="2288934" y="1786355"/>
                  </a:lnTo>
                  <a:lnTo>
                    <a:pt x="2288340" y="1786289"/>
                  </a:lnTo>
                  <a:lnTo>
                    <a:pt x="2288002" y="1786057"/>
                  </a:lnTo>
                  <a:lnTo>
                    <a:pt x="2288105" y="1784870"/>
                  </a:lnTo>
                  <a:lnTo>
                    <a:pt x="2288556" y="1783716"/>
                  </a:lnTo>
                  <a:lnTo>
                    <a:pt x="2289334" y="1782457"/>
                  </a:lnTo>
                  <a:lnTo>
                    <a:pt x="2290159" y="1781444"/>
                  </a:lnTo>
                  <a:lnTo>
                    <a:pt x="2290757" y="1781018"/>
                  </a:lnTo>
                  <a:lnTo>
                    <a:pt x="2291581" y="1780067"/>
                  </a:lnTo>
                  <a:lnTo>
                    <a:pt x="2291517" y="1777923"/>
                  </a:lnTo>
                  <a:lnTo>
                    <a:pt x="2290924" y="1775568"/>
                  </a:lnTo>
                  <a:lnTo>
                    <a:pt x="2290164" y="1773962"/>
                  </a:lnTo>
                  <a:lnTo>
                    <a:pt x="2286622" y="1770039"/>
                  </a:lnTo>
                  <a:lnTo>
                    <a:pt x="2286039" y="1768810"/>
                  </a:lnTo>
                  <a:lnTo>
                    <a:pt x="2285503" y="1766191"/>
                  </a:lnTo>
                  <a:lnTo>
                    <a:pt x="2284344" y="1765510"/>
                  </a:lnTo>
                  <a:lnTo>
                    <a:pt x="2282986" y="1765391"/>
                  </a:lnTo>
                  <a:lnTo>
                    <a:pt x="2281846" y="1764429"/>
                  </a:lnTo>
                  <a:lnTo>
                    <a:pt x="2280971" y="1762743"/>
                  </a:lnTo>
                  <a:lnTo>
                    <a:pt x="2280055" y="1761466"/>
                  </a:lnTo>
                  <a:lnTo>
                    <a:pt x="2278981" y="1760652"/>
                  </a:lnTo>
                  <a:lnTo>
                    <a:pt x="2277068" y="1760142"/>
                  </a:lnTo>
                  <a:lnTo>
                    <a:pt x="2276362" y="1759485"/>
                  </a:lnTo>
                  <a:lnTo>
                    <a:pt x="2275707" y="1758516"/>
                  </a:lnTo>
                  <a:lnTo>
                    <a:pt x="2275304" y="1757379"/>
                  </a:lnTo>
                  <a:lnTo>
                    <a:pt x="2275169" y="1756144"/>
                  </a:lnTo>
                  <a:lnTo>
                    <a:pt x="2275255" y="1755260"/>
                  </a:lnTo>
                  <a:lnTo>
                    <a:pt x="2275939" y="1753346"/>
                  </a:lnTo>
                  <a:lnTo>
                    <a:pt x="2276410" y="1752623"/>
                  </a:lnTo>
                  <a:lnTo>
                    <a:pt x="2278327" y="1751440"/>
                  </a:lnTo>
                  <a:lnTo>
                    <a:pt x="2278401" y="1751070"/>
                  </a:lnTo>
                  <a:lnTo>
                    <a:pt x="2278307" y="1750576"/>
                  </a:lnTo>
                  <a:lnTo>
                    <a:pt x="2278286" y="1750141"/>
                  </a:lnTo>
                  <a:lnTo>
                    <a:pt x="2278581" y="1749945"/>
                  </a:lnTo>
                  <a:lnTo>
                    <a:pt x="2280119" y="1749916"/>
                  </a:lnTo>
                  <a:lnTo>
                    <a:pt x="2281714" y="1747854"/>
                  </a:lnTo>
                  <a:lnTo>
                    <a:pt x="2282396" y="1743463"/>
                  </a:lnTo>
                  <a:lnTo>
                    <a:pt x="2281908" y="1739304"/>
                  </a:lnTo>
                  <a:lnTo>
                    <a:pt x="2280011" y="1737944"/>
                  </a:lnTo>
                  <a:lnTo>
                    <a:pt x="2281441" y="1734378"/>
                  </a:lnTo>
                  <a:lnTo>
                    <a:pt x="2282182" y="1733033"/>
                  </a:lnTo>
                  <a:lnTo>
                    <a:pt x="2284633" y="1729669"/>
                  </a:lnTo>
                  <a:lnTo>
                    <a:pt x="2285150" y="1728119"/>
                  </a:lnTo>
                  <a:lnTo>
                    <a:pt x="2285382" y="1725862"/>
                  </a:lnTo>
                  <a:lnTo>
                    <a:pt x="2285688" y="1725855"/>
                  </a:lnTo>
                  <a:lnTo>
                    <a:pt x="2286303" y="1724689"/>
                  </a:lnTo>
                  <a:lnTo>
                    <a:pt x="2286142" y="1723521"/>
                  </a:lnTo>
                  <a:lnTo>
                    <a:pt x="2285789" y="1722212"/>
                  </a:lnTo>
                  <a:lnTo>
                    <a:pt x="2285826" y="1720641"/>
                  </a:lnTo>
                  <a:lnTo>
                    <a:pt x="2284808" y="1720699"/>
                  </a:lnTo>
                  <a:lnTo>
                    <a:pt x="2284338" y="1720513"/>
                  </a:lnTo>
                  <a:lnTo>
                    <a:pt x="2283887" y="1720004"/>
                  </a:lnTo>
                  <a:lnTo>
                    <a:pt x="2285011" y="1719072"/>
                  </a:lnTo>
                  <a:lnTo>
                    <a:pt x="2292229" y="1718269"/>
                  </a:lnTo>
                  <a:lnTo>
                    <a:pt x="2293345" y="1717497"/>
                  </a:lnTo>
                  <a:lnTo>
                    <a:pt x="2293888" y="1717443"/>
                  </a:lnTo>
                  <a:lnTo>
                    <a:pt x="2294455" y="1718214"/>
                  </a:lnTo>
                  <a:lnTo>
                    <a:pt x="2293858" y="1719094"/>
                  </a:lnTo>
                  <a:lnTo>
                    <a:pt x="2293514" y="1720473"/>
                  </a:lnTo>
                  <a:lnTo>
                    <a:pt x="2293106" y="1721671"/>
                  </a:lnTo>
                  <a:lnTo>
                    <a:pt x="2292322" y="1722049"/>
                  </a:lnTo>
                  <a:lnTo>
                    <a:pt x="2292339" y="1722728"/>
                  </a:lnTo>
                  <a:lnTo>
                    <a:pt x="2294144" y="1721708"/>
                  </a:lnTo>
                  <a:lnTo>
                    <a:pt x="2297559" y="1717327"/>
                  </a:lnTo>
                  <a:lnTo>
                    <a:pt x="2299450" y="1716595"/>
                  </a:lnTo>
                  <a:lnTo>
                    <a:pt x="2300087" y="1717726"/>
                  </a:lnTo>
                  <a:lnTo>
                    <a:pt x="2301808" y="1720459"/>
                  </a:lnTo>
                  <a:lnTo>
                    <a:pt x="2302940" y="1720960"/>
                  </a:lnTo>
                  <a:lnTo>
                    <a:pt x="2305148" y="1719806"/>
                  </a:lnTo>
                  <a:lnTo>
                    <a:pt x="2306213" y="1719761"/>
                  </a:lnTo>
                  <a:lnTo>
                    <a:pt x="2307260" y="1721243"/>
                  </a:lnTo>
                  <a:lnTo>
                    <a:pt x="2309180" y="1722902"/>
                  </a:lnTo>
                  <a:lnTo>
                    <a:pt x="2311717" y="1722038"/>
                  </a:lnTo>
                  <a:lnTo>
                    <a:pt x="2314089" y="1719757"/>
                  </a:lnTo>
                  <a:lnTo>
                    <a:pt x="2315528" y="1717195"/>
                  </a:lnTo>
                  <a:lnTo>
                    <a:pt x="2315696" y="1716333"/>
                  </a:lnTo>
                  <a:lnTo>
                    <a:pt x="2315750" y="1715573"/>
                  </a:lnTo>
                  <a:lnTo>
                    <a:pt x="2315840" y="1714878"/>
                  </a:lnTo>
                  <a:lnTo>
                    <a:pt x="2316124" y="1714230"/>
                  </a:lnTo>
                  <a:lnTo>
                    <a:pt x="2317526" y="1712856"/>
                  </a:lnTo>
                  <a:lnTo>
                    <a:pt x="2320935" y="1708076"/>
                  </a:lnTo>
                  <a:lnTo>
                    <a:pt x="2324336" y="1705788"/>
                  </a:lnTo>
                  <a:lnTo>
                    <a:pt x="2324624" y="1705139"/>
                  </a:lnTo>
                  <a:lnTo>
                    <a:pt x="2324885" y="1704384"/>
                  </a:lnTo>
                  <a:lnTo>
                    <a:pt x="2325212" y="1703795"/>
                  </a:lnTo>
                  <a:lnTo>
                    <a:pt x="2327094" y="1702571"/>
                  </a:lnTo>
                  <a:lnTo>
                    <a:pt x="2327911" y="1701662"/>
                  </a:lnTo>
                  <a:lnTo>
                    <a:pt x="2328412" y="1699886"/>
                  </a:lnTo>
                  <a:lnTo>
                    <a:pt x="2328444" y="1700696"/>
                  </a:lnTo>
                  <a:lnTo>
                    <a:pt x="2329493" y="1698926"/>
                  </a:lnTo>
                  <a:lnTo>
                    <a:pt x="2333180" y="1697205"/>
                  </a:lnTo>
                  <a:lnTo>
                    <a:pt x="2334638" y="1695979"/>
                  </a:lnTo>
                  <a:lnTo>
                    <a:pt x="2335263" y="1693860"/>
                  </a:lnTo>
                  <a:lnTo>
                    <a:pt x="2334870" y="1691866"/>
                  </a:lnTo>
                  <a:lnTo>
                    <a:pt x="2334339" y="1689695"/>
                  </a:lnTo>
                  <a:lnTo>
                    <a:pt x="2334540" y="1687052"/>
                  </a:lnTo>
                  <a:lnTo>
                    <a:pt x="2334188" y="1685704"/>
                  </a:lnTo>
                  <a:lnTo>
                    <a:pt x="2334481" y="1684605"/>
                  </a:lnTo>
                  <a:lnTo>
                    <a:pt x="2335726" y="1682876"/>
                  </a:lnTo>
                  <a:lnTo>
                    <a:pt x="2336166" y="1682485"/>
                  </a:lnTo>
                  <a:lnTo>
                    <a:pt x="2336616" y="1682276"/>
                  </a:lnTo>
                  <a:lnTo>
                    <a:pt x="2336949" y="1681783"/>
                  </a:lnTo>
                  <a:lnTo>
                    <a:pt x="2337041" y="1680586"/>
                  </a:lnTo>
                  <a:lnTo>
                    <a:pt x="2337159" y="1679822"/>
                  </a:lnTo>
                  <a:lnTo>
                    <a:pt x="2337495" y="1679191"/>
                  </a:lnTo>
                  <a:lnTo>
                    <a:pt x="2344154" y="1673075"/>
                  </a:lnTo>
                  <a:lnTo>
                    <a:pt x="2351694" y="1669432"/>
                  </a:lnTo>
                  <a:lnTo>
                    <a:pt x="2352953" y="1667831"/>
                  </a:lnTo>
                  <a:lnTo>
                    <a:pt x="2354669" y="1667184"/>
                  </a:lnTo>
                  <a:lnTo>
                    <a:pt x="2355396" y="1666549"/>
                  </a:lnTo>
                  <a:lnTo>
                    <a:pt x="2356887" y="1664305"/>
                  </a:lnTo>
                  <a:lnTo>
                    <a:pt x="2357528" y="1663864"/>
                  </a:lnTo>
                  <a:lnTo>
                    <a:pt x="2359260" y="1663337"/>
                  </a:lnTo>
                  <a:lnTo>
                    <a:pt x="2359802" y="1662670"/>
                  </a:lnTo>
                  <a:lnTo>
                    <a:pt x="2359630" y="1662359"/>
                  </a:lnTo>
                  <a:lnTo>
                    <a:pt x="2359390" y="1661652"/>
                  </a:lnTo>
                  <a:lnTo>
                    <a:pt x="2359178" y="1661144"/>
                  </a:lnTo>
                  <a:lnTo>
                    <a:pt x="2359720" y="1661116"/>
                  </a:lnTo>
                  <a:lnTo>
                    <a:pt x="2359671" y="1659081"/>
                  </a:lnTo>
                  <a:lnTo>
                    <a:pt x="2360449" y="1657945"/>
                  </a:lnTo>
                  <a:lnTo>
                    <a:pt x="2363481" y="1656961"/>
                  </a:lnTo>
                  <a:lnTo>
                    <a:pt x="2366183" y="1654211"/>
                  </a:lnTo>
                  <a:lnTo>
                    <a:pt x="2365363" y="1654890"/>
                  </a:lnTo>
                  <a:lnTo>
                    <a:pt x="2358171" y="1657533"/>
                  </a:lnTo>
                  <a:lnTo>
                    <a:pt x="2355508" y="1656175"/>
                  </a:lnTo>
                  <a:lnTo>
                    <a:pt x="2354538" y="1656233"/>
                  </a:lnTo>
                  <a:lnTo>
                    <a:pt x="2352199" y="1657865"/>
                  </a:lnTo>
                  <a:lnTo>
                    <a:pt x="2351329" y="1657871"/>
                  </a:lnTo>
                  <a:lnTo>
                    <a:pt x="2351289" y="1657070"/>
                  </a:lnTo>
                  <a:lnTo>
                    <a:pt x="2351860" y="1655742"/>
                  </a:lnTo>
                  <a:lnTo>
                    <a:pt x="2352079" y="1654972"/>
                  </a:lnTo>
                  <a:lnTo>
                    <a:pt x="2352233" y="1654113"/>
                  </a:lnTo>
                  <a:lnTo>
                    <a:pt x="2352273" y="1654923"/>
                  </a:lnTo>
                  <a:lnTo>
                    <a:pt x="2352747" y="1653072"/>
                  </a:lnTo>
                  <a:lnTo>
                    <a:pt x="2352895" y="1652070"/>
                  </a:lnTo>
                  <a:lnTo>
                    <a:pt x="2352927" y="1649668"/>
                  </a:lnTo>
                  <a:lnTo>
                    <a:pt x="2353190" y="1647010"/>
                  </a:lnTo>
                  <a:lnTo>
                    <a:pt x="2353575" y="1644701"/>
                  </a:lnTo>
                  <a:lnTo>
                    <a:pt x="2353330" y="1644127"/>
                  </a:lnTo>
                  <a:lnTo>
                    <a:pt x="2352943" y="1643760"/>
                  </a:lnTo>
                  <a:lnTo>
                    <a:pt x="2352757" y="1642917"/>
                  </a:lnTo>
                  <a:lnTo>
                    <a:pt x="2353084" y="1641530"/>
                  </a:lnTo>
                  <a:lnTo>
                    <a:pt x="2354420" y="1641131"/>
                  </a:lnTo>
                  <a:lnTo>
                    <a:pt x="2354785" y="1639768"/>
                  </a:lnTo>
                  <a:lnTo>
                    <a:pt x="2354245" y="1639795"/>
                  </a:lnTo>
                  <a:lnTo>
                    <a:pt x="2354799" y="1638596"/>
                  </a:lnTo>
                  <a:lnTo>
                    <a:pt x="2354847" y="1636756"/>
                  </a:lnTo>
                  <a:lnTo>
                    <a:pt x="2355383" y="1635611"/>
                  </a:lnTo>
                  <a:lnTo>
                    <a:pt x="2356873" y="1633672"/>
                  </a:lnTo>
                  <a:lnTo>
                    <a:pt x="2357234" y="1632282"/>
                  </a:lnTo>
                  <a:lnTo>
                    <a:pt x="2356873" y="1630326"/>
                  </a:lnTo>
                  <a:lnTo>
                    <a:pt x="2356203" y="1629326"/>
                  </a:lnTo>
                  <a:lnTo>
                    <a:pt x="2354370" y="1627660"/>
                  </a:lnTo>
                  <a:lnTo>
                    <a:pt x="2353832" y="1626409"/>
                  </a:lnTo>
                  <a:lnTo>
                    <a:pt x="2353817" y="1624652"/>
                  </a:lnTo>
                  <a:lnTo>
                    <a:pt x="2354070" y="1623309"/>
                  </a:lnTo>
                  <a:lnTo>
                    <a:pt x="2354081" y="1622399"/>
                  </a:lnTo>
                  <a:lnTo>
                    <a:pt x="2353336" y="1621974"/>
                  </a:lnTo>
                  <a:lnTo>
                    <a:pt x="2353590" y="1620617"/>
                  </a:lnTo>
                  <a:lnTo>
                    <a:pt x="2353763" y="1620072"/>
                  </a:lnTo>
                  <a:lnTo>
                    <a:pt x="2354044" y="1619565"/>
                  </a:lnTo>
                  <a:lnTo>
                    <a:pt x="2352977" y="1618527"/>
                  </a:lnTo>
                  <a:lnTo>
                    <a:pt x="2351948" y="1618657"/>
                  </a:lnTo>
                  <a:lnTo>
                    <a:pt x="2350941" y="1619119"/>
                  </a:lnTo>
                  <a:lnTo>
                    <a:pt x="2349949" y="1619091"/>
                  </a:lnTo>
                  <a:lnTo>
                    <a:pt x="2350310" y="1618581"/>
                  </a:lnTo>
                  <a:lnTo>
                    <a:pt x="2350448" y="1618322"/>
                  </a:lnTo>
                  <a:lnTo>
                    <a:pt x="2349985" y="1618114"/>
                  </a:lnTo>
                  <a:lnTo>
                    <a:pt x="2348309" y="1618425"/>
                  </a:lnTo>
                  <a:lnTo>
                    <a:pt x="2348601" y="1618411"/>
                  </a:lnTo>
                  <a:lnTo>
                    <a:pt x="2347736" y="1619304"/>
                  </a:lnTo>
                  <a:lnTo>
                    <a:pt x="2346521" y="1619987"/>
                  </a:lnTo>
                  <a:lnTo>
                    <a:pt x="2345330" y="1619936"/>
                  </a:lnTo>
                  <a:lnTo>
                    <a:pt x="2344540" y="1618601"/>
                  </a:lnTo>
                  <a:lnTo>
                    <a:pt x="2344800" y="1617431"/>
                  </a:lnTo>
                  <a:lnTo>
                    <a:pt x="2345168" y="1616518"/>
                  </a:lnTo>
                  <a:lnTo>
                    <a:pt x="2345603" y="1615872"/>
                  </a:lnTo>
                  <a:lnTo>
                    <a:pt x="2346047" y="1615483"/>
                  </a:lnTo>
                  <a:lnTo>
                    <a:pt x="2346015" y="1614806"/>
                  </a:lnTo>
                  <a:lnTo>
                    <a:pt x="2345229" y="1614843"/>
                  </a:lnTo>
                  <a:lnTo>
                    <a:pt x="2344483" y="1615196"/>
                  </a:lnTo>
                  <a:lnTo>
                    <a:pt x="2343124" y="1616430"/>
                  </a:lnTo>
                  <a:lnTo>
                    <a:pt x="2343503" y="1614026"/>
                  </a:lnTo>
                  <a:lnTo>
                    <a:pt x="2344619" y="1611823"/>
                  </a:lnTo>
                  <a:lnTo>
                    <a:pt x="2347033" y="1608738"/>
                  </a:lnTo>
                  <a:lnTo>
                    <a:pt x="2345951" y="1608283"/>
                  </a:lnTo>
                  <a:lnTo>
                    <a:pt x="2344398" y="1609234"/>
                  </a:lnTo>
                  <a:lnTo>
                    <a:pt x="2342873" y="1610932"/>
                  </a:lnTo>
                  <a:lnTo>
                    <a:pt x="2341883" y="1612769"/>
                  </a:lnTo>
                  <a:lnTo>
                    <a:pt x="2342206" y="1612665"/>
                  </a:lnTo>
                  <a:lnTo>
                    <a:pt x="2343216" y="1612708"/>
                  </a:lnTo>
                  <a:lnTo>
                    <a:pt x="2343248" y="1613376"/>
                  </a:lnTo>
                  <a:lnTo>
                    <a:pt x="2342163" y="1615289"/>
                  </a:lnTo>
                  <a:lnTo>
                    <a:pt x="2341750" y="1615681"/>
                  </a:lnTo>
                  <a:lnTo>
                    <a:pt x="2342018" y="1615669"/>
                  </a:lnTo>
                  <a:lnTo>
                    <a:pt x="2341728" y="1615881"/>
                  </a:lnTo>
                  <a:lnTo>
                    <a:pt x="2341604" y="1616060"/>
                  </a:lnTo>
                  <a:lnTo>
                    <a:pt x="2341498" y="1616504"/>
                  </a:lnTo>
                  <a:lnTo>
                    <a:pt x="2341782" y="1616806"/>
                  </a:lnTo>
                  <a:lnTo>
                    <a:pt x="2342375" y="1617649"/>
                  </a:lnTo>
                  <a:lnTo>
                    <a:pt x="2342658" y="1617942"/>
                  </a:lnTo>
                  <a:lnTo>
                    <a:pt x="2342278" y="1618585"/>
                  </a:lnTo>
                  <a:lnTo>
                    <a:pt x="2341337" y="1619772"/>
                  </a:lnTo>
                  <a:lnTo>
                    <a:pt x="2341172" y="1620578"/>
                  </a:lnTo>
                  <a:lnTo>
                    <a:pt x="2341036" y="1621781"/>
                  </a:lnTo>
                  <a:lnTo>
                    <a:pt x="2340615" y="1622501"/>
                  </a:lnTo>
                  <a:lnTo>
                    <a:pt x="2339664" y="1623289"/>
                  </a:lnTo>
                  <a:lnTo>
                    <a:pt x="2338217" y="1625299"/>
                  </a:lnTo>
                  <a:lnTo>
                    <a:pt x="2337610" y="1626750"/>
                  </a:lnTo>
                  <a:lnTo>
                    <a:pt x="2337216" y="1628670"/>
                  </a:lnTo>
                  <a:lnTo>
                    <a:pt x="2337463" y="1628659"/>
                  </a:lnTo>
                  <a:lnTo>
                    <a:pt x="2337423" y="1629859"/>
                  </a:lnTo>
                  <a:lnTo>
                    <a:pt x="2337657" y="1630647"/>
                  </a:lnTo>
                  <a:lnTo>
                    <a:pt x="2338085" y="1630971"/>
                  </a:lnTo>
                  <a:lnTo>
                    <a:pt x="2338632" y="1630778"/>
                  </a:lnTo>
                  <a:lnTo>
                    <a:pt x="2338276" y="1631299"/>
                  </a:lnTo>
                  <a:lnTo>
                    <a:pt x="2337112" y="1632330"/>
                  </a:lnTo>
                  <a:lnTo>
                    <a:pt x="2337512" y="1632783"/>
                  </a:lnTo>
                  <a:lnTo>
                    <a:pt x="2338514" y="1633605"/>
                  </a:lnTo>
                  <a:lnTo>
                    <a:pt x="2338912" y="1633743"/>
                  </a:lnTo>
                  <a:lnTo>
                    <a:pt x="2339351" y="1633488"/>
                  </a:lnTo>
                  <a:lnTo>
                    <a:pt x="2339973" y="1632436"/>
                  </a:lnTo>
                  <a:lnTo>
                    <a:pt x="2341113" y="1631494"/>
                  </a:lnTo>
                  <a:lnTo>
                    <a:pt x="2342335" y="1628738"/>
                  </a:lnTo>
                  <a:lnTo>
                    <a:pt x="2343147" y="1628408"/>
                  </a:lnTo>
                  <a:lnTo>
                    <a:pt x="2343182" y="1629152"/>
                  </a:lnTo>
                  <a:lnTo>
                    <a:pt x="2343004" y="1629661"/>
                  </a:lnTo>
                  <a:lnTo>
                    <a:pt x="2342906" y="1630042"/>
                  </a:lnTo>
                  <a:lnTo>
                    <a:pt x="2342758" y="1630342"/>
                  </a:lnTo>
                  <a:lnTo>
                    <a:pt x="2342443" y="1630609"/>
                  </a:lnTo>
                  <a:lnTo>
                    <a:pt x="2342480" y="1631420"/>
                  </a:lnTo>
                  <a:lnTo>
                    <a:pt x="2347394" y="1626721"/>
                  </a:lnTo>
                  <a:lnTo>
                    <a:pt x="2346984" y="1628936"/>
                  </a:lnTo>
                  <a:lnTo>
                    <a:pt x="2345755" y="1630214"/>
                  </a:lnTo>
                  <a:lnTo>
                    <a:pt x="2344364" y="1631170"/>
                  </a:lnTo>
                  <a:lnTo>
                    <a:pt x="2343458" y="1632423"/>
                  </a:lnTo>
                  <a:lnTo>
                    <a:pt x="2342619" y="1634541"/>
                  </a:lnTo>
                  <a:lnTo>
                    <a:pt x="2341366" y="1636673"/>
                  </a:lnTo>
                  <a:lnTo>
                    <a:pt x="2339984" y="1638332"/>
                  </a:lnTo>
                  <a:lnTo>
                    <a:pt x="2338272" y="1639431"/>
                  </a:lnTo>
                  <a:lnTo>
                    <a:pt x="2337433" y="1641357"/>
                  </a:lnTo>
                  <a:lnTo>
                    <a:pt x="2337000" y="1642081"/>
                  </a:lnTo>
                  <a:lnTo>
                    <a:pt x="2336400" y="1642519"/>
                  </a:lnTo>
                  <a:lnTo>
                    <a:pt x="2329560" y="1642920"/>
                  </a:lnTo>
                  <a:lnTo>
                    <a:pt x="2324583" y="1646927"/>
                  </a:lnTo>
                  <a:lnTo>
                    <a:pt x="2323181" y="1645374"/>
                  </a:lnTo>
                  <a:lnTo>
                    <a:pt x="2322390" y="1644787"/>
                  </a:lnTo>
                  <a:lnTo>
                    <a:pt x="2321782" y="1645288"/>
                  </a:lnTo>
                  <a:lnTo>
                    <a:pt x="2321449" y="1646232"/>
                  </a:lnTo>
                  <a:lnTo>
                    <a:pt x="2321164" y="1646761"/>
                  </a:lnTo>
                  <a:lnTo>
                    <a:pt x="2320815" y="1646840"/>
                  </a:lnTo>
                  <a:lnTo>
                    <a:pt x="2320298" y="1646393"/>
                  </a:lnTo>
                  <a:lnTo>
                    <a:pt x="2319785" y="1645458"/>
                  </a:lnTo>
                  <a:lnTo>
                    <a:pt x="2319327" y="1644263"/>
                  </a:lnTo>
                  <a:lnTo>
                    <a:pt x="2318818" y="1643230"/>
                  </a:lnTo>
                  <a:lnTo>
                    <a:pt x="2318150" y="1642815"/>
                  </a:lnTo>
                  <a:lnTo>
                    <a:pt x="2315598" y="1643648"/>
                  </a:lnTo>
                  <a:lnTo>
                    <a:pt x="2316047" y="1641158"/>
                  </a:lnTo>
                  <a:lnTo>
                    <a:pt x="2316598" y="1636159"/>
                  </a:lnTo>
                  <a:lnTo>
                    <a:pt x="2317030" y="1634228"/>
                  </a:lnTo>
                  <a:lnTo>
                    <a:pt x="2318188" y="1631886"/>
                  </a:lnTo>
                  <a:lnTo>
                    <a:pt x="2318400" y="1630832"/>
                  </a:lnTo>
                  <a:lnTo>
                    <a:pt x="2318448" y="1628870"/>
                  </a:lnTo>
                  <a:lnTo>
                    <a:pt x="2318150" y="1628419"/>
                  </a:lnTo>
                  <a:lnTo>
                    <a:pt x="2317646" y="1628353"/>
                  </a:lnTo>
                  <a:lnTo>
                    <a:pt x="2317071" y="1627562"/>
                  </a:lnTo>
                  <a:lnTo>
                    <a:pt x="2317083" y="1626537"/>
                  </a:lnTo>
                  <a:lnTo>
                    <a:pt x="2317632" y="1623990"/>
                  </a:lnTo>
                  <a:lnTo>
                    <a:pt x="2317451" y="1623495"/>
                  </a:lnTo>
                  <a:lnTo>
                    <a:pt x="2316836" y="1623246"/>
                  </a:lnTo>
                  <a:lnTo>
                    <a:pt x="2316324" y="1622563"/>
                  </a:lnTo>
                  <a:lnTo>
                    <a:pt x="2316045" y="1621597"/>
                  </a:lnTo>
                  <a:lnTo>
                    <a:pt x="2316124" y="1620495"/>
                  </a:lnTo>
                  <a:lnTo>
                    <a:pt x="2317276" y="1618973"/>
                  </a:lnTo>
                  <a:lnTo>
                    <a:pt x="2318872" y="1619422"/>
                  </a:lnTo>
                  <a:lnTo>
                    <a:pt x="2321557" y="1621786"/>
                  </a:lnTo>
                  <a:lnTo>
                    <a:pt x="2321671" y="1623196"/>
                  </a:lnTo>
                  <a:lnTo>
                    <a:pt x="2322455" y="1622901"/>
                  </a:lnTo>
                  <a:lnTo>
                    <a:pt x="2323389" y="1621815"/>
                  </a:lnTo>
                  <a:lnTo>
                    <a:pt x="2323959" y="1620885"/>
                  </a:lnTo>
                  <a:lnTo>
                    <a:pt x="2324276" y="1619733"/>
                  </a:lnTo>
                  <a:lnTo>
                    <a:pt x="2325094" y="1615696"/>
                  </a:lnTo>
                  <a:lnTo>
                    <a:pt x="2325910" y="1613869"/>
                  </a:lnTo>
                  <a:lnTo>
                    <a:pt x="2326887" y="1612873"/>
                  </a:lnTo>
                  <a:lnTo>
                    <a:pt x="2328005" y="1612496"/>
                  </a:lnTo>
                  <a:lnTo>
                    <a:pt x="2330324" y="1612452"/>
                  </a:lnTo>
                  <a:lnTo>
                    <a:pt x="2331396" y="1612009"/>
                  </a:lnTo>
                  <a:lnTo>
                    <a:pt x="2332432" y="1611026"/>
                  </a:lnTo>
                  <a:lnTo>
                    <a:pt x="2333401" y="1609345"/>
                  </a:lnTo>
                  <a:lnTo>
                    <a:pt x="2332233" y="1607894"/>
                  </a:lnTo>
                  <a:lnTo>
                    <a:pt x="2331879" y="1607080"/>
                  </a:lnTo>
                  <a:lnTo>
                    <a:pt x="2331912" y="1605685"/>
                  </a:lnTo>
                  <a:lnTo>
                    <a:pt x="2332305" y="1604671"/>
                  </a:lnTo>
                  <a:lnTo>
                    <a:pt x="2334738" y="1602507"/>
                  </a:lnTo>
                  <a:lnTo>
                    <a:pt x="2335917" y="1602164"/>
                  </a:lnTo>
                  <a:lnTo>
                    <a:pt x="2336811" y="1600621"/>
                  </a:lnTo>
                  <a:lnTo>
                    <a:pt x="2338548" y="1598705"/>
                  </a:lnTo>
                  <a:lnTo>
                    <a:pt x="2337267" y="1598951"/>
                  </a:lnTo>
                  <a:lnTo>
                    <a:pt x="2333640" y="1601897"/>
                  </a:lnTo>
                  <a:lnTo>
                    <a:pt x="2329090" y="1602718"/>
                  </a:lnTo>
                  <a:lnTo>
                    <a:pt x="2327147" y="1600995"/>
                  </a:lnTo>
                  <a:lnTo>
                    <a:pt x="2326193" y="1599689"/>
                  </a:lnTo>
                  <a:lnTo>
                    <a:pt x="2326109" y="1598068"/>
                  </a:lnTo>
                  <a:lnTo>
                    <a:pt x="2326486" y="1596586"/>
                  </a:lnTo>
                  <a:lnTo>
                    <a:pt x="2327112" y="1593373"/>
                  </a:lnTo>
                  <a:lnTo>
                    <a:pt x="2327584" y="1591651"/>
                  </a:lnTo>
                  <a:lnTo>
                    <a:pt x="2327353" y="1591155"/>
                  </a:lnTo>
                  <a:lnTo>
                    <a:pt x="2326930" y="1589947"/>
                  </a:lnTo>
                  <a:lnTo>
                    <a:pt x="2326702" y="1589460"/>
                  </a:lnTo>
                  <a:lnTo>
                    <a:pt x="2327468" y="1588143"/>
                  </a:lnTo>
                  <a:lnTo>
                    <a:pt x="2328161" y="1586426"/>
                  </a:lnTo>
                  <a:lnTo>
                    <a:pt x="2326481" y="1584879"/>
                  </a:lnTo>
                  <a:lnTo>
                    <a:pt x="2325960" y="1584212"/>
                  </a:lnTo>
                  <a:lnTo>
                    <a:pt x="2327099" y="1581528"/>
                  </a:lnTo>
                  <a:lnTo>
                    <a:pt x="2328720" y="1579897"/>
                  </a:lnTo>
                  <a:lnTo>
                    <a:pt x="2333420" y="1578488"/>
                  </a:lnTo>
                  <a:lnTo>
                    <a:pt x="2336716" y="1576324"/>
                  </a:lnTo>
                  <a:lnTo>
                    <a:pt x="2340416" y="1576159"/>
                  </a:lnTo>
                  <a:lnTo>
                    <a:pt x="2341015" y="1576478"/>
                  </a:lnTo>
                  <a:lnTo>
                    <a:pt x="2341904" y="1578025"/>
                  </a:lnTo>
                  <a:lnTo>
                    <a:pt x="2342259" y="1578377"/>
                  </a:lnTo>
                  <a:lnTo>
                    <a:pt x="2343743" y="1577793"/>
                  </a:lnTo>
                  <a:lnTo>
                    <a:pt x="2345026" y="1576678"/>
                  </a:lnTo>
                  <a:lnTo>
                    <a:pt x="2345632" y="1575664"/>
                  </a:lnTo>
                  <a:lnTo>
                    <a:pt x="2346710" y="1572516"/>
                  </a:lnTo>
                  <a:lnTo>
                    <a:pt x="2347541" y="1571154"/>
                  </a:lnTo>
                  <a:lnTo>
                    <a:pt x="2352242" y="1567595"/>
                  </a:lnTo>
                  <a:lnTo>
                    <a:pt x="2355548" y="1567231"/>
                  </a:lnTo>
                  <a:lnTo>
                    <a:pt x="2354986" y="1568605"/>
                  </a:lnTo>
                  <a:lnTo>
                    <a:pt x="2353107" y="1571935"/>
                  </a:lnTo>
                  <a:lnTo>
                    <a:pt x="2351833" y="1572993"/>
                  </a:lnTo>
                  <a:lnTo>
                    <a:pt x="2351380" y="1573871"/>
                  </a:lnTo>
                  <a:lnTo>
                    <a:pt x="2350610" y="1576048"/>
                  </a:lnTo>
                  <a:lnTo>
                    <a:pt x="2350169" y="1576953"/>
                  </a:lnTo>
                  <a:lnTo>
                    <a:pt x="2349709" y="1577344"/>
                  </a:lnTo>
                  <a:lnTo>
                    <a:pt x="2349224" y="1577585"/>
                  </a:lnTo>
                  <a:lnTo>
                    <a:pt x="2348724" y="1578071"/>
                  </a:lnTo>
                  <a:lnTo>
                    <a:pt x="2346222" y="1581469"/>
                  </a:lnTo>
                  <a:lnTo>
                    <a:pt x="2345342" y="1581950"/>
                  </a:lnTo>
                  <a:lnTo>
                    <a:pt x="2342884" y="1588768"/>
                  </a:lnTo>
                  <a:lnTo>
                    <a:pt x="2343710" y="1588663"/>
                  </a:lnTo>
                  <a:lnTo>
                    <a:pt x="2344749" y="1586925"/>
                  </a:lnTo>
                  <a:lnTo>
                    <a:pt x="2345438" y="1586413"/>
                  </a:lnTo>
                  <a:lnTo>
                    <a:pt x="2344374" y="1589457"/>
                  </a:lnTo>
                  <a:lnTo>
                    <a:pt x="2343735" y="1590539"/>
                  </a:lnTo>
                  <a:lnTo>
                    <a:pt x="2342989" y="1590990"/>
                  </a:lnTo>
                  <a:lnTo>
                    <a:pt x="2343576" y="1592160"/>
                  </a:lnTo>
                  <a:lnTo>
                    <a:pt x="2344239" y="1592179"/>
                  </a:lnTo>
                  <a:lnTo>
                    <a:pt x="2344954" y="1591763"/>
                  </a:lnTo>
                  <a:lnTo>
                    <a:pt x="2345691" y="1591618"/>
                  </a:lnTo>
                  <a:lnTo>
                    <a:pt x="2345727" y="1592353"/>
                  </a:lnTo>
                  <a:lnTo>
                    <a:pt x="2344831" y="1594254"/>
                  </a:lnTo>
                  <a:lnTo>
                    <a:pt x="2344390" y="1595610"/>
                  </a:lnTo>
                  <a:lnTo>
                    <a:pt x="2344353" y="1596885"/>
                  </a:lnTo>
                  <a:lnTo>
                    <a:pt x="2344917" y="1597484"/>
                  </a:lnTo>
                  <a:lnTo>
                    <a:pt x="2345725" y="1596732"/>
                  </a:lnTo>
                  <a:lnTo>
                    <a:pt x="2346508" y="1595377"/>
                  </a:lnTo>
                  <a:lnTo>
                    <a:pt x="2347000" y="1594192"/>
                  </a:lnTo>
                  <a:lnTo>
                    <a:pt x="2347796" y="1592769"/>
                  </a:lnTo>
                  <a:lnTo>
                    <a:pt x="2349922" y="1591060"/>
                  </a:lnTo>
                  <a:lnTo>
                    <a:pt x="2351276" y="1588438"/>
                  </a:lnTo>
                  <a:lnTo>
                    <a:pt x="2353378" y="1586026"/>
                  </a:lnTo>
                  <a:lnTo>
                    <a:pt x="2352963" y="1585452"/>
                  </a:lnTo>
                  <a:lnTo>
                    <a:pt x="2352609" y="1585532"/>
                  </a:lnTo>
                  <a:lnTo>
                    <a:pt x="2352315" y="1586066"/>
                  </a:lnTo>
                  <a:lnTo>
                    <a:pt x="2352071" y="1586841"/>
                  </a:lnTo>
                  <a:lnTo>
                    <a:pt x="2352033" y="1586094"/>
                  </a:lnTo>
                  <a:lnTo>
                    <a:pt x="2352820" y="1585229"/>
                  </a:lnTo>
                  <a:lnTo>
                    <a:pt x="2354291" y="1582759"/>
                  </a:lnTo>
                  <a:lnTo>
                    <a:pt x="2357772" y="1580480"/>
                  </a:lnTo>
                  <a:lnTo>
                    <a:pt x="2358958" y="1578963"/>
                  </a:lnTo>
                  <a:lnTo>
                    <a:pt x="2358998" y="1577550"/>
                  </a:lnTo>
                  <a:lnTo>
                    <a:pt x="2359551" y="1576242"/>
                  </a:lnTo>
                  <a:lnTo>
                    <a:pt x="2362242" y="1574331"/>
                  </a:lnTo>
                  <a:lnTo>
                    <a:pt x="2361281" y="1573660"/>
                  </a:lnTo>
                  <a:lnTo>
                    <a:pt x="2357862" y="1576052"/>
                  </a:lnTo>
                  <a:lnTo>
                    <a:pt x="2356767" y="1576020"/>
                  </a:lnTo>
                  <a:lnTo>
                    <a:pt x="2354810" y="1575056"/>
                  </a:lnTo>
                  <a:lnTo>
                    <a:pt x="2353597" y="1575526"/>
                  </a:lnTo>
                  <a:lnTo>
                    <a:pt x="2353816" y="1574335"/>
                  </a:lnTo>
                  <a:lnTo>
                    <a:pt x="2355632" y="1569286"/>
                  </a:lnTo>
                  <a:lnTo>
                    <a:pt x="2356823" y="1567245"/>
                  </a:lnTo>
                  <a:lnTo>
                    <a:pt x="2357304" y="1565725"/>
                  </a:lnTo>
                  <a:lnTo>
                    <a:pt x="2357143" y="1565378"/>
                  </a:lnTo>
                  <a:lnTo>
                    <a:pt x="2356998" y="1564929"/>
                  </a:lnTo>
                  <a:lnTo>
                    <a:pt x="2357855" y="1564129"/>
                  </a:lnTo>
                  <a:lnTo>
                    <a:pt x="2358225" y="1563550"/>
                  </a:lnTo>
                  <a:lnTo>
                    <a:pt x="2358470" y="1562619"/>
                  </a:lnTo>
                  <a:lnTo>
                    <a:pt x="2358140" y="1561825"/>
                  </a:lnTo>
                  <a:lnTo>
                    <a:pt x="2357817" y="1562401"/>
                  </a:lnTo>
                  <a:lnTo>
                    <a:pt x="2357485" y="1562631"/>
                  </a:lnTo>
                  <a:lnTo>
                    <a:pt x="2357156" y="1562475"/>
                  </a:lnTo>
                  <a:lnTo>
                    <a:pt x="2356834" y="1561893"/>
                  </a:lnTo>
                  <a:lnTo>
                    <a:pt x="2356807" y="1560537"/>
                  </a:lnTo>
                  <a:lnTo>
                    <a:pt x="2355876" y="1559122"/>
                  </a:lnTo>
                  <a:lnTo>
                    <a:pt x="2354667" y="1558013"/>
                  </a:lnTo>
                  <a:lnTo>
                    <a:pt x="2353798" y="1557578"/>
                  </a:lnTo>
                  <a:lnTo>
                    <a:pt x="2348793" y="1558641"/>
                  </a:lnTo>
                  <a:lnTo>
                    <a:pt x="2349030" y="1558629"/>
                  </a:lnTo>
                  <a:lnTo>
                    <a:pt x="2346213" y="1561348"/>
                  </a:lnTo>
                  <a:lnTo>
                    <a:pt x="2345278" y="1562932"/>
                  </a:lnTo>
                  <a:lnTo>
                    <a:pt x="2344684" y="1563311"/>
                  </a:lnTo>
                  <a:lnTo>
                    <a:pt x="2344564" y="1563086"/>
                  </a:lnTo>
                  <a:lnTo>
                    <a:pt x="2344319" y="1562077"/>
                  </a:lnTo>
                  <a:lnTo>
                    <a:pt x="2344243" y="1561841"/>
                  </a:lnTo>
                  <a:lnTo>
                    <a:pt x="2343777" y="1561872"/>
                  </a:lnTo>
                  <a:lnTo>
                    <a:pt x="2342009" y="1562970"/>
                  </a:lnTo>
                  <a:lnTo>
                    <a:pt x="2341769" y="1563886"/>
                  </a:lnTo>
                  <a:lnTo>
                    <a:pt x="2341873" y="1565119"/>
                  </a:lnTo>
                  <a:lnTo>
                    <a:pt x="2342348" y="1566463"/>
                  </a:lnTo>
                  <a:lnTo>
                    <a:pt x="2341304" y="1568148"/>
                  </a:lnTo>
                  <a:lnTo>
                    <a:pt x="2340065" y="1568630"/>
                  </a:lnTo>
                  <a:lnTo>
                    <a:pt x="2337418" y="1568101"/>
                  </a:lnTo>
                  <a:lnTo>
                    <a:pt x="2331665" y="1569093"/>
                  </a:lnTo>
                  <a:lnTo>
                    <a:pt x="2324962" y="1567352"/>
                  </a:lnTo>
                  <a:lnTo>
                    <a:pt x="2324079" y="1566056"/>
                  </a:lnTo>
                  <a:lnTo>
                    <a:pt x="2322476" y="1562770"/>
                  </a:lnTo>
                  <a:lnTo>
                    <a:pt x="2321820" y="1562023"/>
                  </a:lnTo>
                  <a:lnTo>
                    <a:pt x="2320505" y="1561151"/>
                  </a:lnTo>
                  <a:lnTo>
                    <a:pt x="2319882" y="1560230"/>
                  </a:lnTo>
                  <a:lnTo>
                    <a:pt x="2316816" y="1554264"/>
                  </a:lnTo>
                  <a:lnTo>
                    <a:pt x="2316497" y="1552072"/>
                  </a:lnTo>
                  <a:lnTo>
                    <a:pt x="2316275" y="1551371"/>
                  </a:lnTo>
                  <a:lnTo>
                    <a:pt x="2315828" y="1550460"/>
                  </a:lnTo>
                  <a:lnTo>
                    <a:pt x="2315553" y="1549308"/>
                  </a:lnTo>
                  <a:lnTo>
                    <a:pt x="2315339" y="1548163"/>
                  </a:lnTo>
                  <a:lnTo>
                    <a:pt x="2315060" y="1547282"/>
                  </a:lnTo>
                  <a:lnTo>
                    <a:pt x="2314642" y="1546761"/>
                  </a:lnTo>
                  <a:lnTo>
                    <a:pt x="2314115" y="1546487"/>
                  </a:lnTo>
                  <a:lnTo>
                    <a:pt x="2313675" y="1546728"/>
                  </a:lnTo>
                  <a:lnTo>
                    <a:pt x="2313520" y="1547744"/>
                  </a:lnTo>
                  <a:lnTo>
                    <a:pt x="2313350" y="1548189"/>
                  </a:lnTo>
                  <a:lnTo>
                    <a:pt x="2312906" y="1547650"/>
                  </a:lnTo>
                  <a:lnTo>
                    <a:pt x="2312432" y="1546691"/>
                  </a:lnTo>
                  <a:lnTo>
                    <a:pt x="2312155" y="1545903"/>
                  </a:lnTo>
                  <a:lnTo>
                    <a:pt x="2312072" y="1545001"/>
                  </a:lnTo>
                  <a:lnTo>
                    <a:pt x="2312095" y="1543981"/>
                  </a:lnTo>
                  <a:lnTo>
                    <a:pt x="2312262" y="1542242"/>
                  </a:lnTo>
                  <a:lnTo>
                    <a:pt x="2307956" y="1544553"/>
                  </a:lnTo>
                  <a:lnTo>
                    <a:pt x="2307258" y="1545245"/>
                  </a:lnTo>
                  <a:lnTo>
                    <a:pt x="2307465" y="1546803"/>
                  </a:lnTo>
                  <a:lnTo>
                    <a:pt x="2308161" y="1548549"/>
                  </a:lnTo>
                  <a:lnTo>
                    <a:pt x="2308935" y="1549791"/>
                  </a:lnTo>
                  <a:lnTo>
                    <a:pt x="2308208" y="1552550"/>
                  </a:lnTo>
                  <a:lnTo>
                    <a:pt x="2306631" y="1554361"/>
                  </a:lnTo>
                  <a:lnTo>
                    <a:pt x="2304813" y="1555242"/>
                  </a:lnTo>
                  <a:lnTo>
                    <a:pt x="2303359" y="1555177"/>
                  </a:lnTo>
                  <a:lnTo>
                    <a:pt x="2300336" y="1553369"/>
                  </a:lnTo>
                  <a:lnTo>
                    <a:pt x="2299849" y="1552639"/>
                  </a:lnTo>
                  <a:lnTo>
                    <a:pt x="2299573" y="1551197"/>
                  </a:lnTo>
                  <a:lnTo>
                    <a:pt x="2299026" y="1550916"/>
                  </a:lnTo>
                  <a:lnTo>
                    <a:pt x="2298433" y="1551239"/>
                  </a:lnTo>
                  <a:lnTo>
                    <a:pt x="2298020" y="1551614"/>
                  </a:lnTo>
                  <a:lnTo>
                    <a:pt x="2298475" y="1550112"/>
                  </a:lnTo>
                  <a:lnTo>
                    <a:pt x="2297478" y="1549343"/>
                  </a:lnTo>
                  <a:lnTo>
                    <a:pt x="2293915" y="1550238"/>
                  </a:lnTo>
                  <a:lnTo>
                    <a:pt x="2293432" y="1550078"/>
                  </a:lnTo>
                  <a:lnTo>
                    <a:pt x="2292173" y="1549047"/>
                  </a:lnTo>
                  <a:lnTo>
                    <a:pt x="2291338" y="1547526"/>
                  </a:lnTo>
                  <a:lnTo>
                    <a:pt x="2290849" y="1547313"/>
                  </a:lnTo>
                  <a:lnTo>
                    <a:pt x="2289799" y="1547375"/>
                  </a:lnTo>
                  <a:lnTo>
                    <a:pt x="2282658" y="1543275"/>
                  </a:lnTo>
                  <a:lnTo>
                    <a:pt x="2281546" y="1541851"/>
                  </a:lnTo>
                  <a:lnTo>
                    <a:pt x="2279975" y="1540998"/>
                  </a:lnTo>
                  <a:lnTo>
                    <a:pt x="2277711" y="1538492"/>
                  </a:lnTo>
                  <a:lnTo>
                    <a:pt x="2276582" y="1537929"/>
                  </a:lnTo>
                  <a:lnTo>
                    <a:pt x="2275848" y="1537288"/>
                  </a:lnTo>
                  <a:lnTo>
                    <a:pt x="2273359" y="1532793"/>
                  </a:lnTo>
                  <a:lnTo>
                    <a:pt x="2272641" y="1532310"/>
                  </a:lnTo>
                  <a:lnTo>
                    <a:pt x="2270110" y="1532102"/>
                  </a:lnTo>
                  <a:lnTo>
                    <a:pt x="2269551" y="1532696"/>
                  </a:lnTo>
                  <a:lnTo>
                    <a:pt x="2269151" y="1534112"/>
                  </a:lnTo>
                  <a:lnTo>
                    <a:pt x="2268772" y="1535823"/>
                  </a:lnTo>
                  <a:lnTo>
                    <a:pt x="2268275" y="1537333"/>
                  </a:lnTo>
                  <a:lnTo>
                    <a:pt x="2267422" y="1536190"/>
                  </a:lnTo>
                  <a:lnTo>
                    <a:pt x="2267015" y="1535399"/>
                  </a:lnTo>
                  <a:lnTo>
                    <a:pt x="2266675" y="1534390"/>
                  </a:lnTo>
                  <a:lnTo>
                    <a:pt x="2267245" y="1532547"/>
                  </a:lnTo>
                  <a:lnTo>
                    <a:pt x="2267622" y="1532041"/>
                  </a:lnTo>
                  <a:lnTo>
                    <a:pt x="2268188" y="1532134"/>
                  </a:lnTo>
                  <a:lnTo>
                    <a:pt x="2267387" y="1530768"/>
                  </a:lnTo>
                  <a:lnTo>
                    <a:pt x="2266527" y="1530303"/>
                  </a:lnTo>
                  <a:lnTo>
                    <a:pt x="2265852" y="1531044"/>
                  </a:lnTo>
                  <a:lnTo>
                    <a:pt x="2265603" y="1533290"/>
                  </a:lnTo>
                  <a:lnTo>
                    <a:pt x="2265109" y="1533661"/>
                  </a:lnTo>
                  <a:lnTo>
                    <a:pt x="2262720" y="1532096"/>
                  </a:lnTo>
                  <a:lnTo>
                    <a:pt x="2261954" y="1532226"/>
                  </a:lnTo>
                  <a:lnTo>
                    <a:pt x="2262247" y="1532970"/>
                  </a:lnTo>
                  <a:lnTo>
                    <a:pt x="2261057" y="1532734"/>
                  </a:lnTo>
                  <a:lnTo>
                    <a:pt x="2259983" y="1531458"/>
                  </a:lnTo>
                  <a:lnTo>
                    <a:pt x="2258032" y="1527748"/>
                  </a:lnTo>
                  <a:lnTo>
                    <a:pt x="2256791" y="1526243"/>
                  </a:lnTo>
                  <a:lnTo>
                    <a:pt x="2252289" y="1524164"/>
                  </a:lnTo>
                  <a:lnTo>
                    <a:pt x="2253012" y="1523931"/>
                  </a:lnTo>
                  <a:lnTo>
                    <a:pt x="2254108" y="1522170"/>
                  </a:lnTo>
                  <a:lnTo>
                    <a:pt x="2254602" y="1522245"/>
                  </a:lnTo>
                  <a:lnTo>
                    <a:pt x="2255763" y="1524040"/>
                  </a:lnTo>
                  <a:lnTo>
                    <a:pt x="2256325" y="1524003"/>
                  </a:lnTo>
                  <a:lnTo>
                    <a:pt x="2256942" y="1522627"/>
                  </a:lnTo>
                  <a:lnTo>
                    <a:pt x="2256124" y="1521626"/>
                  </a:lnTo>
                  <a:lnTo>
                    <a:pt x="2255374" y="1520345"/>
                  </a:lnTo>
                  <a:lnTo>
                    <a:pt x="2256641" y="1518847"/>
                  </a:lnTo>
                  <a:lnTo>
                    <a:pt x="2256633" y="1518169"/>
                  </a:lnTo>
                  <a:lnTo>
                    <a:pt x="2255941" y="1518217"/>
                  </a:lnTo>
                  <a:lnTo>
                    <a:pt x="2255828" y="1517607"/>
                  </a:lnTo>
                  <a:lnTo>
                    <a:pt x="2255978" y="1516609"/>
                  </a:lnTo>
                  <a:lnTo>
                    <a:pt x="2256089" y="1515474"/>
                  </a:lnTo>
                  <a:lnTo>
                    <a:pt x="2255777" y="1514255"/>
                  </a:lnTo>
                  <a:lnTo>
                    <a:pt x="2255091" y="1513810"/>
                  </a:lnTo>
                  <a:lnTo>
                    <a:pt x="2254347" y="1513646"/>
                  </a:lnTo>
                  <a:lnTo>
                    <a:pt x="2253867" y="1513229"/>
                  </a:lnTo>
                  <a:lnTo>
                    <a:pt x="2253333" y="1512570"/>
                  </a:lnTo>
                  <a:lnTo>
                    <a:pt x="2252713" y="1512776"/>
                  </a:lnTo>
                  <a:lnTo>
                    <a:pt x="2251567" y="1513624"/>
                  </a:lnTo>
                  <a:lnTo>
                    <a:pt x="2250854" y="1513404"/>
                  </a:lnTo>
                  <a:lnTo>
                    <a:pt x="2250281" y="1512812"/>
                  </a:lnTo>
                  <a:lnTo>
                    <a:pt x="2241600" y="1499079"/>
                  </a:lnTo>
                  <a:lnTo>
                    <a:pt x="2240569" y="1496542"/>
                  </a:lnTo>
                  <a:lnTo>
                    <a:pt x="2240110" y="1495840"/>
                  </a:lnTo>
                  <a:lnTo>
                    <a:pt x="2239884" y="1494823"/>
                  </a:lnTo>
                  <a:lnTo>
                    <a:pt x="2239799" y="1493468"/>
                  </a:lnTo>
                  <a:lnTo>
                    <a:pt x="2239785" y="1491754"/>
                  </a:lnTo>
                  <a:lnTo>
                    <a:pt x="2239648" y="1490714"/>
                  </a:lnTo>
                  <a:lnTo>
                    <a:pt x="2238623" y="1486551"/>
                  </a:lnTo>
                  <a:lnTo>
                    <a:pt x="2238289" y="1484134"/>
                  </a:lnTo>
                  <a:lnTo>
                    <a:pt x="2238704" y="1475337"/>
                  </a:lnTo>
                  <a:lnTo>
                    <a:pt x="2239263" y="1472581"/>
                  </a:lnTo>
                  <a:lnTo>
                    <a:pt x="2240551" y="1469546"/>
                  </a:lnTo>
                  <a:lnTo>
                    <a:pt x="2242943" y="1465256"/>
                  </a:lnTo>
                  <a:lnTo>
                    <a:pt x="2243753" y="1464485"/>
                  </a:lnTo>
                  <a:lnTo>
                    <a:pt x="2244458" y="1464706"/>
                  </a:lnTo>
                  <a:lnTo>
                    <a:pt x="2245166" y="1465203"/>
                  </a:lnTo>
                  <a:lnTo>
                    <a:pt x="2245972" y="1465237"/>
                  </a:lnTo>
                  <a:lnTo>
                    <a:pt x="2246521" y="1464533"/>
                  </a:lnTo>
                  <a:lnTo>
                    <a:pt x="2246852" y="1463348"/>
                  </a:lnTo>
                  <a:lnTo>
                    <a:pt x="2247164" y="1460764"/>
                  </a:lnTo>
                  <a:lnTo>
                    <a:pt x="2246926" y="1456613"/>
                  </a:lnTo>
                  <a:lnTo>
                    <a:pt x="2248061" y="1453097"/>
                  </a:lnTo>
                  <a:lnTo>
                    <a:pt x="2249595" y="1450069"/>
                  </a:lnTo>
                  <a:lnTo>
                    <a:pt x="2250542" y="1447408"/>
                  </a:lnTo>
                  <a:lnTo>
                    <a:pt x="2250753" y="1447424"/>
                  </a:lnTo>
                  <a:lnTo>
                    <a:pt x="2251071" y="1448444"/>
                  </a:lnTo>
                  <a:lnTo>
                    <a:pt x="2251256" y="1449828"/>
                  </a:lnTo>
                  <a:lnTo>
                    <a:pt x="2251567" y="1451003"/>
                  </a:lnTo>
                  <a:lnTo>
                    <a:pt x="2252190" y="1451635"/>
                  </a:lnTo>
                  <a:lnTo>
                    <a:pt x="2252838" y="1451482"/>
                  </a:lnTo>
                  <a:lnTo>
                    <a:pt x="2254070" y="1450238"/>
                  </a:lnTo>
                  <a:lnTo>
                    <a:pt x="2253782" y="1448156"/>
                  </a:lnTo>
                  <a:lnTo>
                    <a:pt x="2254423" y="1446502"/>
                  </a:lnTo>
                  <a:lnTo>
                    <a:pt x="2255438" y="1445410"/>
                  </a:lnTo>
                  <a:lnTo>
                    <a:pt x="2256267" y="1445006"/>
                  </a:lnTo>
                  <a:lnTo>
                    <a:pt x="2257270" y="1445579"/>
                  </a:lnTo>
                  <a:lnTo>
                    <a:pt x="2259202" y="1448106"/>
                  </a:lnTo>
                  <a:lnTo>
                    <a:pt x="2264422" y="1450756"/>
                  </a:lnTo>
                  <a:lnTo>
                    <a:pt x="2265813" y="1450823"/>
                  </a:lnTo>
                  <a:lnTo>
                    <a:pt x="2265994" y="1451037"/>
                  </a:lnTo>
                  <a:lnTo>
                    <a:pt x="2266199" y="1451459"/>
                  </a:lnTo>
                  <a:lnTo>
                    <a:pt x="2266403" y="1451558"/>
                  </a:lnTo>
                  <a:lnTo>
                    <a:pt x="2266582" y="1450811"/>
                  </a:lnTo>
                  <a:lnTo>
                    <a:pt x="2266580" y="1450151"/>
                  </a:lnTo>
                  <a:lnTo>
                    <a:pt x="2266444" y="1449697"/>
                  </a:lnTo>
                  <a:lnTo>
                    <a:pt x="2266242" y="1449422"/>
                  </a:lnTo>
                  <a:lnTo>
                    <a:pt x="2262024" y="1448187"/>
                  </a:lnTo>
                  <a:lnTo>
                    <a:pt x="2260539" y="1447251"/>
                  </a:lnTo>
                  <a:lnTo>
                    <a:pt x="2258871" y="1445276"/>
                  </a:lnTo>
                  <a:lnTo>
                    <a:pt x="2257400" y="1444581"/>
                  </a:lnTo>
                  <a:lnTo>
                    <a:pt x="2257007" y="1443439"/>
                  </a:lnTo>
                  <a:lnTo>
                    <a:pt x="2256935" y="1441664"/>
                  </a:lnTo>
                  <a:lnTo>
                    <a:pt x="2256942" y="1439393"/>
                  </a:lnTo>
                  <a:lnTo>
                    <a:pt x="2260349" y="1435298"/>
                  </a:lnTo>
                  <a:lnTo>
                    <a:pt x="2260959" y="1435126"/>
                  </a:lnTo>
                  <a:lnTo>
                    <a:pt x="2262498" y="1434055"/>
                  </a:lnTo>
                  <a:lnTo>
                    <a:pt x="2263684" y="1432687"/>
                  </a:lnTo>
                  <a:lnTo>
                    <a:pt x="2264940" y="1432173"/>
                  </a:lnTo>
                  <a:lnTo>
                    <a:pt x="2265499" y="1431513"/>
                  </a:lnTo>
                  <a:lnTo>
                    <a:pt x="2262303" y="1432238"/>
                  </a:lnTo>
                  <a:lnTo>
                    <a:pt x="2254455" y="1438093"/>
                  </a:lnTo>
                  <a:lnTo>
                    <a:pt x="2253803" y="1439123"/>
                  </a:lnTo>
                  <a:lnTo>
                    <a:pt x="2253220" y="1440586"/>
                  </a:lnTo>
                  <a:lnTo>
                    <a:pt x="2253468" y="1440583"/>
                  </a:lnTo>
                  <a:lnTo>
                    <a:pt x="2252035" y="1441567"/>
                  </a:lnTo>
                  <a:lnTo>
                    <a:pt x="2249227" y="1439972"/>
                  </a:lnTo>
                  <a:lnTo>
                    <a:pt x="2246294" y="1437193"/>
                  </a:lnTo>
                  <a:lnTo>
                    <a:pt x="2244467" y="1434646"/>
                  </a:lnTo>
                  <a:lnTo>
                    <a:pt x="2243820" y="1432725"/>
                  </a:lnTo>
                  <a:lnTo>
                    <a:pt x="2243385" y="1430881"/>
                  </a:lnTo>
                  <a:lnTo>
                    <a:pt x="2242865" y="1429251"/>
                  </a:lnTo>
                  <a:lnTo>
                    <a:pt x="2241983" y="1427977"/>
                  </a:lnTo>
                  <a:lnTo>
                    <a:pt x="2238074" y="1425418"/>
                  </a:lnTo>
                  <a:lnTo>
                    <a:pt x="2237020" y="1423540"/>
                  </a:lnTo>
                  <a:lnTo>
                    <a:pt x="2236504" y="1419796"/>
                  </a:lnTo>
                  <a:lnTo>
                    <a:pt x="2237132" y="1416076"/>
                  </a:lnTo>
                  <a:lnTo>
                    <a:pt x="2239292" y="1409759"/>
                  </a:lnTo>
                  <a:lnTo>
                    <a:pt x="2239635" y="1408244"/>
                  </a:lnTo>
                  <a:lnTo>
                    <a:pt x="2240355" y="1402663"/>
                  </a:lnTo>
                  <a:lnTo>
                    <a:pt x="2240381" y="1402265"/>
                  </a:lnTo>
                  <a:lnTo>
                    <a:pt x="2240345" y="1400773"/>
                  </a:lnTo>
                  <a:lnTo>
                    <a:pt x="2240413" y="1400405"/>
                  </a:lnTo>
                  <a:lnTo>
                    <a:pt x="2240727" y="1400112"/>
                  </a:lnTo>
                  <a:lnTo>
                    <a:pt x="2240826" y="1399620"/>
                  </a:lnTo>
                  <a:lnTo>
                    <a:pt x="2241019" y="1397720"/>
                  </a:lnTo>
                  <a:lnTo>
                    <a:pt x="2240942" y="1396884"/>
                  </a:lnTo>
                  <a:lnTo>
                    <a:pt x="2240567" y="1395912"/>
                  </a:lnTo>
                  <a:lnTo>
                    <a:pt x="2241698" y="1395884"/>
                  </a:lnTo>
                  <a:lnTo>
                    <a:pt x="2242699" y="1395130"/>
                  </a:lnTo>
                  <a:lnTo>
                    <a:pt x="2243567" y="1393744"/>
                  </a:lnTo>
                  <a:lnTo>
                    <a:pt x="2244692" y="1390900"/>
                  </a:lnTo>
                  <a:lnTo>
                    <a:pt x="2244877" y="1390739"/>
                  </a:lnTo>
                  <a:lnTo>
                    <a:pt x="2244933" y="1390562"/>
                  </a:lnTo>
                  <a:lnTo>
                    <a:pt x="2244932" y="1389606"/>
                  </a:lnTo>
                  <a:lnTo>
                    <a:pt x="2243965" y="1388337"/>
                  </a:lnTo>
                  <a:lnTo>
                    <a:pt x="2243689" y="1387786"/>
                  </a:lnTo>
                  <a:lnTo>
                    <a:pt x="2243428" y="1387947"/>
                  </a:lnTo>
                  <a:lnTo>
                    <a:pt x="2243319" y="1388120"/>
                  </a:lnTo>
                  <a:lnTo>
                    <a:pt x="2243209" y="1388466"/>
                  </a:lnTo>
                  <a:lnTo>
                    <a:pt x="2243713" y="1390162"/>
                  </a:lnTo>
                  <a:lnTo>
                    <a:pt x="2243390" y="1391050"/>
                  </a:lnTo>
                  <a:lnTo>
                    <a:pt x="2242673" y="1391390"/>
                  </a:lnTo>
                  <a:lnTo>
                    <a:pt x="2242007" y="1391447"/>
                  </a:lnTo>
                  <a:lnTo>
                    <a:pt x="2241004" y="1390855"/>
                  </a:lnTo>
                  <a:lnTo>
                    <a:pt x="2239277" y="1388004"/>
                  </a:lnTo>
                  <a:lnTo>
                    <a:pt x="2238344" y="1387012"/>
                  </a:lnTo>
                  <a:lnTo>
                    <a:pt x="2238505" y="1385657"/>
                  </a:lnTo>
                  <a:lnTo>
                    <a:pt x="2238780" y="1385151"/>
                  </a:lnTo>
                  <a:lnTo>
                    <a:pt x="2239564" y="1384776"/>
                  </a:lnTo>
                  <a:lnTo>
                    <a:pt x="2241953" y="1382166"/>
                  </a:lnTo>
                  <a:lnTo>
                    <a:pt x="2242675" y="1382423"/>
                  </a:lnTo>
                  <a:lnTo>
                    <a:pt x="2243574" y="1383856"/>
                  </a:lnTo>
                  <a:lnTo>
                    <a:pt x="2244398" y="1384727"/>
                  </a:lnTo>
                  <a:lnTo>
                    <a:pt x="2244887" y="1383329"/>
                  </a:lnTo>
                  <a:lnTo>
                    <a:pt x="2242386" y="1380557"/>
                  </a:lnTo>
                  <a:lnTo>
                    <a:pt x="2241926" y="1379564"/>
                  </a:lnTo>
                  <a:lnTo>
                    <a:pt x="2241955" y="1378050"/>
                  </a:lnTo>
                  <a:lnTo>
                    <a:pt x="2242222" y="1375800"/>
                  </a:lnTo>
                  <a:lnTo>
                    <a:pt x="2242865" y="1372066"/>
                  </a:lnTo>
                  <a:lnTo>
                    <a:pt x="2242423" y="1372112"/>
                  </a:lnTo>
                  <a:lnTo>
                    <a:pt x="2241167" y="1372819"/>
                  </a:lnTo>
                  <a:lnTo>
                    <a:pt x="2241426" y="1372074"/>
                  </a:lnTo>
                  <a:lnTo>
                    <a:pt x="2241134" y="1371469"/>
                  </a:lnTo>
                  <a:lnTo>
                    <a:pt x="2240837" y="1371019"/>
                  </a:lnTo>
                  <a:lnTo>
                    <a:pt x="2240524" y="1370728"/>
                  </a:lnTo>
                  <a:lnTo>
                    <a:pt x="2240195" y="1370597"/>
                  </a:lnTo>
                  <a:lnTo>
                    <a:pt x="2241052" y="1369022"/>
                  </a:lnTo>
                  <a:lnTo>
                    <a:pt x="2242282" y="1368299"/>
                  </a:lnTo>
                  <a:lnTo>
                    <a:pt x="2246507" y="1368341"/>
                  </a:lnTo>
                  <a:lnTo>
                    <a:pt x="2247244" y="1367791"/>
                  </a:lnTo>
                  <a:lnTo>
                    <a:pt x="2248119" y="1366761"/>
                  </a:lnTo>
                  <a:lnTo>
                    <a:pt x="2247853" y="1366086"/>
                  </a:lnTo>
                  <a:lnTo>
                    <a:pt x="2248510" y="1363607"/>
                  </a:lnTo>
                  <a:lnTo>
                    <a:pt x="2249431" y="1360997"/>
                  </a:lnTo>
                  <a:lnTo>
                    <a:pt x="2250444" y="1358682"/>
                  </a:lnTo>
                  <a:lnTo>
                    <a:pt x="2251394" y="1357079"/>
                  </a:lnTo>
                  <a:lnTo>
                    <a:pt x="2253142" y="1355676"/>
                  </a:lnTo>
                  <a:lnTo>
                    <a:pt x="2258291" y="1355517"/>
                  </a:lnTo>
                  <a:lnTo>
                    <a:pt x="2260451" y="1356688"/>
                  </a:lnTo>
                  <a:lnTo>
                    <a:pt x="2261474" y="1357776"/>
                  </a:lnTo>
                  <a:lnTo>
                    <a:pt x="2262183" y="1359916"/>
                  </a:lnTo>
                  <a:lnTo>
                    <a:pt x="2261966" y="1359919"/>
                  </a:lnTo>
                  <a:lnTo>
                    <a:pt x="2263498" y="1362437"/>
                  </a:lnTo>
                  <a:lnTo>
                    <a:pt x="2269968" y="1368777"/>
                  </a:lnTo>
                  <a:lnTo>
                    <a:pt x="2270870" y="1368950"/>
                  </a:lnTo>
                  <a:lnTo>
                    <a:pt x="2271698" y="1368324"/>
                  </a:lnTo>
                  <a:lnTo>
                    <a:pt x="2272496" y="1368163"/>
                  </a:lnTo>
                  <a:lnTo>
                    <a:pt x="2273526" y="1368448"/>
                  </a:lnTo>
                  <a:lnTo>
                    <a:pt x="2274234" y="1368195"/>
                  </a:lnTo>
                  <a:lnTo>
                    <a:pt x="2274056" y="1366392"/>
                  </a:lnTo>
                  <a:lnTo>
                    <a:pt x="2274232" y="1366057"/>
                  </a:lnTo>
                  <a:lnTo>
                    <a:pt x="2274526" y="1365294"/>
                  </a:lnTo>
                  <a:lnTo>
                    <a:pt x="2274765" y="1364957"/>
                  </a:lnTo>
                  <a:lnTo>
                    <a:pt x="2274114" y="1363842"/>
                  </a:lnTo>
                  <a:lnTo>
                    <a:pt x="2272700" y="1362794"/>
                  </a:lnTo>
                  <a:lnTo>
                    <a:pt x="2272276" y="1361231"/>
                  </a:lnTo>
                  <a:lnTo>
                    <a:pt x="2276335" y="1361149"/>
                  </a:lnTo>
                  <a:lnTo>
                    <a:pt x="2276172" y="1360081"/>
                  </a:lnTo>
                  <a:lnTo>
                    <a:pt x="2276085" y="1359667"/>
                  </a:lnTo>
                  <a:lnTo>
                    <a:pt x="2277516" y="1359637"/>
                  </a:lnTo>
                  <a:lnTo>
                    <a:pt x="2277501" y="1358964"/>
                  </a:lnTo>
                  <a:lnTo>
                    <a:pt x="2276713" y="1358698"/>
                  </a:lnTo>
                  <a:lnTo>
                    <a:pt x="2275881" y="1358069"/>
                  </a:lnTo>
                  <a:lnTo>
                    <a:pt x="2275062" y="1357166"/>
                  </a:lnTo>
                  <a:lnTo>
                    <a:pt x="2274317" y="1356056"/>
                  </a:lnTo>
                  <a:lnTo>
                    <a:pt x="2273521" y="1354466"/>
                  </a:lnTo>
                  <a:lnTo>
                    <a:pt x="2273594" y="1353889"/>
                  </a:lnTo>
                  <a:lnTo>
                    <a:pt x="2274007" y="1353363"/>
                  </a:lnTo>
                  <a:lnTo>
                    <a:pt x="2274431" y="1350929"/>
                  </a:lnTo>
                  <a:lnTo>
                    <a:pt x="2274934" y="1350516"/>
                  </a:lnTo>
                  <a:lnTo>
                    <a:pt x="2275497" y="1350349"/>
                  </a:lnTo>
                  <a:lnTo>
                    <a:pt x="2275875" y="1350089"/>
                  </a:lnTo>
                  <a:lnTo>
                    <a:pt x="2276332" y="1349265"/>
                  </a:lnTo>
                  <a:lnTo>
                    <a:pt x="2276344" y="1348973"/>
                  </a:lnTo>
                  <a:lnTo>
                    <a:pt x="2276280" y="1347996"/>
                  </a:lnTo>
                  <a:lnTo>
                    <a:pt x="2276298" y="1347712"/>
                  </a:lnTo>
                  <a:lnTo>
                    <a:pt x="2277013" y="1346679"/>
                  </a:lnTo>
                  <a:lnTo>
                    <a:pt x="2279313" y="1344742"/>
                  </a:lnTo>
                  <a:lnTo>
                    <a:pt x="2277081" y="1345172"/>
                  </a:lnTo>
                  <a:lnTo>
                    <a:pt x="2275854" y="1345969"/>
                  </a:lnTo>
                  <a:lnTo>
                    <a:pt x="2275341" y="1347391"/>
                  </a:lnTo>
                  <a:lnTo>
                    <a:pt x="2270604" y="1346755"/>
                  </a:lnTo>
                  <a:lnTo>
                    <a:pt x="2269470" y="1346058"/>
                  </a:lnTo>
                  <a:lnTo>
                    <a:pt x="2268475" y="1345076"/>
                  </a:lnTo>
                  <a:lnTo>
                    <a:pt x="2264344" y="1345030"/>
                  </a:lnTo>
                  <a:lnTo>
                    <a:pt x="2263781" y="1344429"/>
                  </a:lnTo>
                  <a:lnTo>
                    <a:pt x="2262380" y="1342021"/>
                  </a:lnTo>
                  <a:lnTo>
                    <a:pt x="2261693" y="1341456"/>
                  </a:lnTo>
                  <a:lnTo>
                    <a:pt x="2260224" y="1341078"/>
                  </a:lnTo>
                  <a:lnTo>
                    <a:pt x="2259522" y="1340584"/>
                  </a:lnTo>
                  <a:lnTo>
                    <a:pt x="2259980" y="1338586"/>
                  </a:lnTo>
                  <a:lnTo>
                    <a:pt x="2261438" y="1337517"/>
                  </a:lnTo>
                  <a:lnTo>
                    <a:pt x="2261817" y="1336090"/>
                  </a:lnTo>
                  <a:lnTo>
                    <a:pt x="2261426" y="1336216"/>
                  </a:lnTo>
                  <a:lnTo>
                    <a:pt x="2261079" y="1336026"/>
                  </a:lnTo>
                  <a:lnTo>
                    <a:pt x="2260802" y="1335508"/>
                  </a:lnTo>
                  <a:lnTo>
                    <a:pt x="2260614" y="1334625"/>
                  </a:lnTo>
                  <a:lnTo>
                    <a:pt x="2261531" y="1333387"/>
                  </a:lnTo>
                  <a:lnTo>
                    <a:pt x="2262788" y="1332403"/>
                  </a:lnTo>
                  <a:lnTo>
                    <a:pt x="2265182" y="1331515"/>
                  </a:lnTo>
                  <a:lnTo>
                    <a:pt x="2266430" y="1331769"/>
                  </a:lnTo>
                  <a:lnTo>
                    <a:pt x="2266958" y="1331605"/>
                  </a:lnTo>
                  <a:lnTo>
                    <a:pt x="2268525" y="1329547"/>
                  </a:lnTo>
                  <a:lnTo>
                    <a:pt x="2268747" y="1328755"/>
                  </a:lnTo>
                  <a:lnTo>
                    <a:pt x="2268527" y="1327817"/>
                  </a:lnTo>
                  <a:lnTo>
                    <a:pt x="2268991" y="1327215"/>
                  </a:lnTo>
                  <a:lnTo>
                    <a:pt x="2269487" y="1327007"/>
                  </a:lnTo>
                  <a:lnTo>
                    <a:pt x="2270521" y="1327037"/>
                  </a:lnTo>
                  <a:lnTo>
                    <a:pt x="2270837" y="1326672"/>
                  </a:lnTo>
                  <a:lnTo>
                    <a:pt x="2271444" y="1325081"/>
                  </a:lnTo>
                  <a:lnTo>
                    <a:pt x="2271777" y="1324716"/>
                  </a:lnTo>
                  <a:lnTo>
                    <a:pt x="2272552" y="1324262"/>
                  </a:lnTo>
                  <a:lnTo>
                    <a:pt x="2274007" y="1322259"/>
                  </a:lnTo>
                  <a:lnTo>
                    <a:pt x="2274784" y="1321752"/>
                  </a:lnTo>
                  <a:lnTo>
                    <a:pt x="2281313" y="1321872"/>
                  </a:lnTo>
                  <a:lnTo>
                    <a:pt x="2282153" y="1321440"/>
                  </a:lnTo>
                  <a:lnTo>
                    <a:pt x="2282733" y="1320019"/>
                  </a:lnTo>
                  <a:lnTo>
                    <a:pt x="2282021" y="1319501"/>
                  </a:lnTo>
                  <a:lnTo>
                    <a:pt x="2281700" y="1318450"/>
                  </a:lnTo>
                  <a:lnTo>
                    <a:pt x="2281685" y="1317083"/>
                  </a:lnTo>
                  <a:lnTo>
                    <a:pt x="2281897" y="1315587"/>
                  </a:lnTo>
                  <a:lnTo>
                    <a:pt x="2282066" y="1315016"/>
                  </a:lnTo>
                  <a:lnTo>
                    <a:pt x="2282552" y="1314018"/>
                  </a:lnTo>
                  <a:lnTo>
                    <a:pt x="2282796" y="1313335"/>
                  </a:lnTo>
                  <a:lnTo>
                    <a:pt x="2283204" y="1311032"/>
                  </a:lnTo>
                  <a:lnTo>
                    <a:pt x="2283951" y="1309951"/>
                  </a:lnTo>
                  <a:lnTo>
                    <a:pt x="2286682" y="1309522"/>
                  </a:lnTo>
                  <a:lnTo>
                    <a:pt x="2288440" y="1308107"/>
                  </a:lnTo>
                  <a:lnTo>
                    <a:pt x="2289073" y="1307904"/>
                  </a:lnTo>
                  <a:lnTo>
                    <a:pt x="2290441" y="1308556"/>
                  </a:lnTo>
                  <a:lnTo>
                    <a:pt x="2290794" y="1308454"/>
                  </a:lnTo>
                  <a:lnTo>
                    <a:pt x="2291756" y="1307771"/>
                  </a:lnTo>
                  <a:lnTo>
                    <a:pt x="2296918" y="1308191"/>
                  </a:lnTo>
                  <a:lnTo>
                    <a:pt x="2298581" y="1309174"/>
                  </a:lnTo>
                  <a:lnTo>
                    <a:pt x="2300170" y="1309508"/>
                  </a:lnTo>
                  <a:lnTo>
                    <a:pt x="2301712" y="1308766"/>
                  </a:lnTo>
                  <a:lnTo>
                    <a:pt x="2303179" y="1307230"/>
                  </a:lnTo>
                  <a:lnTo>
                    <a:pt x="2304542" y="1305191"/>
                  </a:lnTo>
                  <a:lnTo>
                    <a:pt x="2303402" y="1304606"/>
                  </a:lnTo>
                  <a:lnTo>
                    <a:pt x="2299508" y="1308401"/>
                  </a:lnTo>
                  <a:lnTo>
                    <a:pt x="2298860" y="1308232"/>
                  </a:lnTo>
                  <a:lnTo>
                    <a:pt x="2297558" y="1307224"/>
                  </a:lnTo>
                  <a:lnTo>
                    <a:pt x="2287758" y="1306449"/>
                  </a:lnTo>
                  <a:lnTo>
                    <a:pt x="2286143" y="1307647"/>
                  </a:lnTo>
                  <a:lnTo>
                    <a:pt x="2285174" y="1308004"/>
                  </a:lnTo>
                  <a:lnTo>
                    <a:pt x="2283868" y="1307431"/>
                  </a:lnTo>
                  <a:lnTo>
                    <a:pt x="2282812" y="1306342"/>
                  </a:lnTo>
                  <a:lnTo>
                    <a:pt x="2282499" y="1304584"/>
                  </a:lnTo>
                  <a:lnTo>
                    <a:pt x="2282628" y="1304183"/>
                  </a:lnTo>
                  <a:lnTo>
                    <a:pt x="2282898" y="1303858"/>
                  </a:lnTo>
                  <a:lnTo>
                    <a:pt x="2283242" y="1303606"/>
                  </a:lnTo>
                  <a:lnTo>
                    <a:pt x="2283224" y="1302933"/>
                  </a:lnTo>
                  <a:lnTo>
                    <a:pt x="2282953" y="1302821"/>
                  </a:lnTo>
                  <a:lnTo>
                    <a:pt x="2282276" y="1302147"/>
                  </a:lnTo>
                  <a:lnTo>
                    <a:pt x="2282691" y="1301575"/>
                  </a:lnTo>
                  <a:lnTo>
                    <a:pt x="2283822" y="1299135"/>
                  </a:lnTo>
                  <a:lnTo>
                    <a:pt x="2283705" y="1298682"/>
                  </a:lnTo>
                  <a:lnTo>
                    <a:pt x="2283637" y="1298303"/>
                  </a:lnTo>
                  <a:lnTo>
                    <a:pt x="2283537" y="1297970"/>
                  </a:lnTo>
                  <a:lnTo>
                    <a:pt x="2283319" y="1297661"/>
                  </a:lnTo>
                  <a:lnTo>
                    <a:pt x="2283300" y="1296918"/>
                  </a:lnTo>
                  <a:lnTo>
                    <a:pt x="2294677" y="1293741"/>
                  </a:lnTo>
                  <a:lnTo>
                    <a:pt x="2306021" y="1290504"/>
                  </a:lnTo>
                  <a:lnTo>
                    <a:pt x="2307985" y="1291708"/>
                  </a:lnTo>
                  <a:lnTo>
                    <a:pt x="2308180" y="1292259"/>
                  </a:lnTo>
                  <a:lnTo>
                    <a:pt x="2308286" y="1293583"/>
                  </a:lnTo>
                  <a:lnTo>
                    <a:pt x="2308444" y="1294852"/>
                  </a:lnTo>
                  <a:lnTo>
                    <a:pt x="2308756" y="1295425"/>
                  </a:lnTo>
                  <a:lnTo>
                    <a:pt x="2311142" y="1296437"/>
                  </a:lnTo>
                  <a:lnTo>
                    <a:pt x="2311541" y="1297135"/>
                  </a:lnTo>
                  <a:lnTo>
                    <a:pt x="2311300" y="1299004"/>
                  </a:lnTo>
                  <a:lnTo>
                    <a:pt x="2310616" y="1300411"/>
                  </a:lnTo>
                  <a:lnTo>
                    <a:pt x="2309712" y="1300808"/>
                  </a:lnTo>
                  <a:lnTo>
                    <a:pt x="2308752" y="1300896"/>
                  </a:lnTo>
                  <a:lnTo>
                    <a:pt x="2307888" y="1301366"/>
                  </a:lnTo>
                  <a:lnTo>
                    <a:pt x="2308515" y="1301901"/>
                  </a:lnTo>
                  <a:lnTo>
                    <a:pt x="2309218" y="1302216"/>
                  </a:lnTo>
                  <a:lnTo>
                    <a:pt x="2309756" y="1303011"/>
                  </a:lnTo>
                  <a:lnTo>
                    <a:pt x="2309886" y="1304998"/>
                  </a:lnTo>
                  <a:lnTo>
                    <a:pt x="2309617" y="1306119"/>
                  </a:lnTo>
                  <a:lnTo>
                    <a:pt x="2309081" y="1306577"/>
                  </a:lnTo>
                  <a:lnTo>
                    <a:pt x="2306543" y="1306979"/>
                  </a:lnTo>
                  <a:lnTo>
                    <a:pt x="2305391" y="1307839"/>
                  </a:lnTo>
                  <a:lnTo>
                    <a:pt x="2303331" y="1310438"/>
                  </a:lnTo>
                  <a:lnTo>
                    <a:pt x="2304631" y="1312956"/>
                  </a:lnTo>
                  <a:lnTo>
                    <a:pt x="2304896" y="1314368"/>
                  </a:lnTo>
                  <a:lnTo>
                    <a:pt x="2304459" y="1316402"/>
                  </a:lnTo>
                  <a:lnTo>
                    <a:pt x="2304693" y="1316394"/>
                  </a:lnTo>
                  <a:lnTo>
                    <a:pt x="2304659" y="1317307"/>
                  </a:lnTo>
                  <a:lnTo>
                    <a:pt x="2304816" y="1317904"/>
                  </a:lnTo>
                  <a:lnTo>
                    <a:pt x="2305107" y="1318305"/>
                  </a:lnTo>
                  <a:lnTo>
                    <a:pt x="2305478" y="1318664"/>
                  </a:lnTo>
                  <a:lnTo>
                    <a:pt x="2306853" y="1316659"/>
                  </a:lnTo>
                  <a:lnTo>
                    <a:pt x="2307256" y="1315569"/>
                  </a:lnTo>
                  <a:lnTo>
                    <a:pt x="2308160" y="1310958"/>
                  </a:lnTo>
                  <a:lnTo>
                    <a:pt x="2308403" y="1310082"/>
                  </a:lnTo>
                  <a:lnTo>
                    <a:pt x="2308665" y="1309572"/>
                  </a:lnTo>
                  <a:lnTo>
                    <a:pt x="2309177" y="1309500"/>
                  </a:lnTo>
                  <a:lnTo>
                    <a:pt x="2309602" y="1310069"/>
                  </a:lnTo>
                  <a:lnTo>
                    <a:pt x="2309819" y="1311123"/>
                  </a:lnTo>
                  <a:lnTo>
                    <a:pt x="2309713" y="1312504"/>
                  </a:lnTo>
                  <a:lnTo>
                    <a:pt x="2310353" y="1313348"/>
                  </a:lnTo>
                  <a:lnTo>
                    <a:pt x="2310662" y="1312708"/>
                  </a:lnTo>
                  <a:lnTo>
                    <a:pt x="2310866" y="1311575"/>
                  </a:lnTo>
                  <a:lnTo>
                    <a:pt x="2311191" y="1310965"/>
                  </a:lnTo>
                  <a:lnTo>
                    <a:pt x="2312277" y="1311004"/>
                  </a:lnTo>
                  <a:lnTo>
                    <a:pt x="2312780" y="1311419"/>
                  </a:lnTo>
                  <a:lnTo>
                    <a:pt x="2313466" y="1312362"/>
                  </a:lnTo>
                  <a:lnTo>
                    <a:pt x="2313274" y="1313060"/>
                  </a:lnTo>
                  <a:lnTo>
                    <a:pt x="2313046" y="1313551"/>
                  </a:lnTo>
                  <a:lnTo>
                    <a:pt x="2312784" y="1313849"/>
                  </a:lnTo>
                  <a:lnTo>
                    <a:pt x="2312487" y="1313958"/>
                  </a:lnTo>
                  <a:lnTo>
                    <a:pt x="2312408" y="1314169"/>
                  </a:lnTo>
                  <a:lnTo>
                    <a:pt x="2312388" y="1315263"/>
                  </a:lnTo>
                  <a:lnTo>
                    <a:pt x="2312326" y="1315753"/>
                  </a:lnTo>
                  <a:lnTo>
                    <a:pt x="2312120" y="1316947"/>
                  </a:lnTo>
                  <a:lnTo>
                    <a:pt x="2312155" y="1318177"/>
                  </a:lnTo>
                  <a:lnTo>
                    <a:pt x="2312357" y="1319404"/>
                  </a:lnTo>
                  <a:lnTo>
                    <a:pt x="2312649" y="1320633"/>
                  </a:lnTo>
                  <a:lnTo>
                    <a:pt x="2312063" y="1324999"/>
                  </a:lnTo>
                  <a:lnTo>
                    <a:pt x="2311966" y="1326915"/>
                  </a:lnTo>
                  <a:lnTo>
                    <a:pt x="2312397" y="1326961"/>
                  </a:lnTo>
                  <a:lnTo>
                    <a:pt x="2316230" y="1319067"/>
                  </a:lnTo>
                  <a:lnTo>
                    <a:pt x="2316738" y="1317612"/>
                  </a:lnTo>
                  <a:lnTo>
                    <a:pt x="2317636" y="1314086"/>
                  </a:lnTo>
                  <a:lnTo>
                    <a:pt x="2318419" y="1312859"/>
                  </a:lnTo>
                  <a:lnTo>
                    <a:pt x="2319444" y="1312790"/>
                  </a:lnTo>
                  <a:lnTo>
                    <a:pt x="2320201" y="1313803"/>
                  </a:lnTo>
                  <a:lnTo>
                    <a:pt x="2320177" y="1315801"/>
                  </a:lnTo>
                  <a:lnTo>
                    <a:pt x="2321612" y="1316192"/>
                  </a:lnTo>
                  <a:lnTo>
                    <a:pt x="2323789" y="1312972"/>
                  </a:lnTo>
                  <a:lnTo>
                    <a:pt x="2325270" y="1314103"/>
                  </a:lnTo>
                  <a:lnTo>
                    <a:pt x="2326194" y="1316166"/>
                  </a:lnTo>
                  <a:lnTo>
                    <a:pt x="2326693" y="1316768"/>
                  </a:lnTo>
                  <a:lnTo>
                    <a:pt x="2327522" y="1316970"/>
                  </a:lnTo>
                  <a:lnTo>
                    <a:pt x="2329332" y="1316661"/>
                  </a:lnTo>
                  <a:lnTo>
                    <a:pt x="2330167" y="1316073"/>
                  </a:lnTo>
                  <a:lnTo>
                    <a:pt x="2330959" y="1314960"/>
                  </a:lnTo>
                  <a:lnTo>
                    <a:pt x="2332223" y="1313705"/>
                  </a:lnTo>
                  <a:lnTo>
                    <a:pt x="2333849" y="1313587"/>
                  </a:lnTo>
                  <a:lnTo>
                    <a:pt x="2335306" y="1315035"/>
                  </a:lnTo>
                  <a:lnTo>
                    <a:pt x="2336064" y="1318467"/>
                  </a:lnTo>
                  <a:lnTo>
                    <a:pt x="2336064" y="1320420"/>
                  </a:lnTo>
                  <a:lnTo>
                    <a:pt x="2335817" y="1321589"/>
                  </a:lnTo>
                  <a:lnTo>
                    <a:pt x="2332484" y="1327144"/>
                  </a:lnTo>
                  <a:lnTo>
                    <a:pt x="2333098" y="1328081"/>
                  </a:lnTo>
                  <a:lnTo>
                    <a:pt x="2335561" y="1329961"/>
                  </a:lnTo>
                  <a:lnTo>
                    <a:pt x="2339298" y="1335066"/>
                  </a:lnTo>
                  <a:lnTo>
                    <a:pt x="2342564" y="1337691"/>
                  </a:lnTo>
                  <a:lnTo>
                    <a:pt x="2346996" y="1339426"/>
                  </a:lnTo>
                  <a:lnTo>
                    <a:pt x="2347886" y="1340224"/>
                  </a:lnTo>
                  <a:lnTo>
                    <a:pt x="2348490" y="1341233"/>
                  </a:lnTo>
                  <a:lnTo>
                    <a:pt x="2348879" y="1342182"/>
                  </a:lnTo>
                  <a:lnTo>
                    <a:pt x="2349298" y="1342970"/>
                  </a:lnTo>
                  <a:lnTo>
                    <a:pt x="2352956" y="1344776"/>
                  </a:lnTo>
                  <a:lnTo>
                    <a:pt x="2354489" y="1346281"/>
                  </a:lnTo>
                  <a:lnTo>
                    <a:pt x="2354780" y="1348498"/>
                  </a:lnTo>
                  <a:lnTo>
                    <a:pt x="2355209" y="1348731"/>
                  </a:lnTo>
                  <a:lnTo>
                    <a:pt x="2355397" y="1349172"/>
                  </a:lnTo>
                  <a:lnTo>
                    <a:pt x="2355489" y="1349792"/>
                  </a:lnTo>
                  <a:lnTo>
                    <a:pt x="2355640" y="1350608"/>
                  </a:lnTo>
                  <a:lnTo>
                    <a:pt x="2355702" y="1351030"/>
                  </a:lnTo>
                  <a:lnTo>
                    <a:pt x="2355713" y="1351451"/>
                  </a:lnTo>
                  <a:lnTo>
                    <a:pt x="2355787" y="1352022"/>
                  </a:lnTo>
                  <a:lnTo>
                    <a:pt x="2356014" y="1352887"/>
                  </a:lnTo>
                  <a:lnTo>
                    <a:pt x="2356633" y="1354337"/>
                  </a:lnTo>
                  <a:lnTo>
                    <a:pt x="2357376" y="1355451"/>
                  </a:lnTo>
                  <a:lnTo>
                    <a:pt x="2358149" y="1356151"/>
                  </a:lnTo>
                  <a:lnTo>
                    <a:pt x="2360990" y="1356480"/>
                  </a:lnTo>
                  <a:lnTo>
                    <a:pt x="2362046" y="1356972"/>
                  </a:lnTo>
                  <a:lnTo>
                    <a:pt x="2363062" y="1357979"/>
                  </a:lnTo>
                  <a:lnTo>
                    <a:pt x="2363495" y="1359017"/>
                  </a:lnTo>
                  <a:lnTo>
                    <a:pt x="2363532" y="1360145"/>
                  </a:lnTo>
                  <a:lnTo>
                    <a:pt x="2363336" y="1361230"/>
                  </a:lnTo>
                  <a:lnTo>
                    <a:pt x="2363083" y="1362141"/>
                  </a:lnTo>
                  <a:lnTo>
                    <a:pt x="2364493" y="1363412"/>
                  </a:lnTo>
                  <a:lnTo>
                    <a:pt x="2364983" y="1364642"/>
                  </a:lnTo>
                  <a:lnTo>
                    <a:pt x="2365505" y="1368552"/>
                  </a:lnTo>
                  <a:lnTo>
                    <a:pt x="2365801" y="1369825"/>
                  </a:lnTo>
                  <a:lnTo>
                    <a:pt x="2365981" y="1371007"/>
                  </a:lnTo>
                  <a:lnTo>
                    <a:pt x="2365850" y="1372389"/>
                  </a:lnTo>
                  <a:lnTo>
                    <a:pt x="2367999" y="1375996"/>
                  </a:lnTo>
                  <a:lnTo>
                    <a:pt x="2368610" y="1377501"/>
                  </a:lnTo>
                  <a:lnTo>
                    <a:pt x="2369066" y="1379242"/>
                  </a:lnTo>
                  <a:lnTo>
                    <a:pt x="2369128" y="1380205"/>
                  </a:lnTo>
                  <a:lnTo>
                    <a:pt x="2369019" y="1381108"/>
                  </a:lnTo>
                  <a:lnTo>
                    <a:pt x="2368946" y="1382692"/>
                  </a:lnTo>
                  <a:lnTo>
                    <a:pt x="2369024" y="1383543"/>
                  </a:lnTo>
                  <a:lnTo>
                    <a:pt x="2369319" y="1384429"/>
                  </a:lnTo>
                  <a:lnTo>
                    <a:pt x="2369357" y="1384959"/>
                  </a:lnTo>
                  <a:lnTo>
                    <a:pt x="2369250" y="1385511"/>
                  </a:lnTo>
                  <a:lnTo>
                    <a:pt x="2368871" y="1386422"/>
                  </a:lnTo>
                  <a:lnTo>
                    <a:pt x="2368753" y="1387165"/>
                  </a:lnTo>
                  <a:lnTo>
                    <a:pt x="2368711" y="1388854"/>
                  </a:lnTo>
                  <a:lnTo>
                    <a:pt x="2368896" y="1389654"/>
                  </a:lnTo>
                  <a:lnTo>
                    <a:pt x="2370028" y="1391553"/>
                  </a:lnTo>
                  <a:lnTo>
                    <a:pt x="2369324" y="1394325"/>
                  </a:lnTo>
                  <a:lnTo>
                    <a:pt x="2369070" y="1395782"/>
                  </a:lnTo>
                  <a:lnTo>
                    <a:pt x="2368956" y="1397572"/>
                  </a:lnTo>
                  <a:lnTo>
                    <a:pt x="2369033" y="1402717"/>
                  </a:lnTo>
                  <a:lnTo>
                    <a:pt x="2368885" y="1404412"/>
                  </a:lnTo>
                  <a:lnTo>
                    <a:pt x="2369192" y="1405062"/>
                  </a:lnTo>
                  <a:lnTo>
                    <a:pt x="2369122" y="1407209"/>
                  </a:lnTo>
                  <a:lnTo>
                    <a:pt x="2369652" y="1409142"/>
                  </a:lnTo>
                  <a:lnTo>
                    <a:pt x="2370489" y="1410691"/>
                  </a:lnTo>
                  <a:lnTo>
                    <a:pt x="2371335" y="1411699"/>
                  </a:lnTo>
                  <a:lnTo>
                    <a:pt x="2370842" y="1412372"/>
                  </a:lnTo>
                  <a:lnTo>
                    <a:pt x="2369322" y="1413221"/>
                  </a:lnTo>
                  <a:lnTo>
                    <a:pt x="2368418" y="1413356"/>
                  </a:lnTo>
                  <a:lnTo>
                    <a:pt x="2368250" y="1413287"/>
                  </a:lnTo>
                  <a:lnTo>
                    <a:pt x="2366016" y="1410601"/>
                  </a:lnTo>
                  <a:lnTo>
                    <a:pt x="2365073" y="1409877"/>
                  </a:lnTo>
                  <a:lnTo>
                    <a:pt x="2364085" y="1409842"/>
                  </a:lnTo>
                  <a:lnTo>
                    <a:pt x="2364633" y="1411806"/>
                  </a:lnTo>
                  <a:lnTo>
                    <a:pt x="2365415" y="1413205"/>
                  </a:lnTo>
                  <a:lnTo>
                    <a:pt x="2368341" y="1416479"/>
                  </a:lnTo>
                  <a:lnTo>
                    <a:pt x="2372902" y="1417017"/>
                  </a:lnTo>
                  <a:lnTo>
                    <a:pt x="2374857" y="1418211"/>
                  </a:lnTo>
                  <a:lnTo>
                    <a:pt x="2375786" y="1419234"/>
                  </a:lnTo>
                  <a:lnTo>
                    <a:pt x="2377726" y="1420555"/>
                  </a:lnTo>
                  <a:lnTo>
                    <a:pt x="2378430" y="1421498"/>
                  </a:lnTo>
                  <a:lnTo>
                    <a:pt x="2377744" y="1422391"/>
                  </a:lnTo>
                  <a:lnTo>
                    <a:pt x="2377976" y="1423308"/>
                  </a:lnTo>
                  <a:lnTo>
                    <a:pt x="2378285" y="1423837"/>
                  </a:lnTo>
                  <a:lnTo>
                    <a:pt x="2378650" y="1424013"/>
                  </a:lnTo>
                  <a:lnTo>
                    <a:pt x="2379058" y="1423863"/>
                  </a:lnTo>
                  <a:lnTo>
                    <a:pt x="2379113" y="1424675"/>
                  </a:lnTo>
                  <a:lnTo>
                    <a:pt x="2377168" y="1425476"/>
                  </a:lnTo>
                  <a:lnTo>
                    <a:pt x="2377218" y="1426219"/>
                  </a:lnTo>
                  <a:lnTo>
                    <a:pt x="2378749" y="1425950"/>
                  </a:lnTo>
                  <a:lnTo>
                    <a:pt x="2379504" y="1426310"/>
                  </a:lnTo>
                  <a:lnTo>
                    <a:pt x="2380046" y="1427525"/>
                  </a:lnTo>
                  <a:lnTo>
                    <a:pt x="2379581" y="1427746"/>
                  </a:lnTo>
                  <a:lnTo>
                    <a:pt x="2379159" y="1428307"/>
                  </a:lnTo>
                  <a:lnTo>
                    <a:pt x="2378450" y="1429857"/>
                  </a:lnTo>
                  <a:lnTo>
                    <a:pt x="2379704" y="1429775"/>
                  </a:lnTo>
                  <a:lnTo>
                    <a:pt x="2378999" y="1430633"/>
                  </a:lnTo>
                  <a:lnTo>
                    <a:pt x="2379539" y="1430904"/>
                  </a:lnTo>
                  <a:lnTo>
                    <a:pt x="2381184" y="1429677"/>
                  </a:lnTo>
                  <a:lnTo>
                    <a:pt x="2388515" y="1431484"/>
                  </a:lnTo>
                  <a:lnTo>
                    <a:pt x="2388475" y="1431886"/>
                  </a:lnTo>
                  <a:lnTo>
                    <a:pt x="2388453" y="1431981"/>
                  </a:lnTo>
                  <a:lnTo>
                    <a:pt x="2388421" y="1432019"/>
                  </a:lnTo>
                  <a:lnTo>
                    <a:pt x="2388344" y="1432241"/>
                  </a:lnTo>
                  <a:lnTo>
                    <a:pt x="2388941" y="1432866"/>
                  </a:lnTo>
                  <a:lnTo>
                    <a:pt x="2390912" y="1433483"/>
                  </a:lnTo>
                  <a:lnTo>
                    <a:pt x="2392454" y="1434723"/>
                  </a:lnTo>
                  <a:lnTo>
                    <a:pt x="2392879" y="1434902"/>
                  </a:lnTo>
                  <a:lnTo>
                    <a:pt x="2393029" y="1435601"/>
                  </a:lnTo>
                  <a:lnTo>
                    <a:pt x="2393006" y="1437090"/>
                  </a:lnTo>
                  <a:lnTo>
                    <a:pt x="2392647" y="1438434"/>
                  </a:lnTo>
                  <a:lnTo>
                    <a:pt x="2391791" y="1438708"/>
                  </a:lnTo>
                  <a:lnTo>
                    <a:pt x="2392331" y="1440619"/>
                  </a:lnTo>
                  <a:lnTo>
                    <a:pt x="2393337" y="1441449"/>
                  </a:lnTo>
                  <a:lnTo>
                    <a:pt x="2394231" y="1440577"/>
                  </a:lnTo>
                  <a:lnTo>
                    <a:pt x="2394431" y="1437402"/>
                  </a:lnTo>
                  <a:lnTo>
                    <a:pt x="2394853" y="1435666"/>
                  </a:lnTo>
                  <a:lnTo>
                    <a:pt x="2396174" y="1436561"/>
                  </a:lnTo>
                  <a:lnTo>
                    <a:pt x="2397683" y="1438631"/>
                  </a:lnTo>
                  <a:lnTo>
                    <a:pt x="2398663" y="1440442"/>
                  </a:lnTo>
                  <a:lnTo>
                    <a:pt x="2397935" y="1441157"/>
                  </a:lnTo>
                  <a:lnTo>
                    <a:pt x="2396896" y="1441366"/>
                  </a:lnTo>
                  <a:lnTo>
                    <a:pt x="2395875" y="1441178"/>
                  </a:lnTo>
                  <a:lnTo>
                    <a:pt x="2395195" y="1440694"/>
                  </a:lnTo>
                  <a:lnTo>
                    <a:pt x="2395480" y="1441486"/>
                  </a:lnTo>
                  <a:lnTo>
                    <a:pt x="2395093" y="1442149"/>
                  </a:lnTo>
                  <a:lnTo>
                    <a:pt x="2394943" y="1443003"/>
                  </a:lnTo>
                  <a:lnTo>
                    <a:pt x="2395075" y="1444019"/>
                  </a:lnTo>
                  <a:lnTo>
                    <a:pt x="2395527" y="1445141"/>
                  </a:lnTo>
                  <a:lnTo>
                    <a:pt x="2395974" y="1445540"/>
                  </a:lnTo>
                  <a:lnTo>
                    <a:pt x="2396386" y="1445417"/>
                  </a:lnTo>
                  <a:lnTo>
                    <a:pt x="2396838" y="1445513"/>
                  </a:lnTo>
                  <a:lnTo>
                    <a:pt x="2397403" y="1446564"/>
                  </a:lnTo>
                  <a:lnTo>
                    <a:pt x="2397850" y="1448028"/>
                  </a:lnTo>
                  <a:lnTo>
                    <a:pt x="2397684" y="1448306"/>
                  </a:lnTo>
                  <a:lnTo>
                    <a:pt x="2397149" y="1448079"/>
                  </a:lnTo>
                  <a:lnTo>
                    <a:pt x="2396493" y="1448056"/>
                  </a:lnTo>
                  <a:lnTo>
                    <a:pt x="2396048" y="1448412"/>
                  </a:lnTo>
                  <a:lnTo>
                    <a:pt x="2394654" y="1450492"/>
                  </a:lnTo>
                  <a:lnTo>
                    <a:pt x="2396041" y="1450730"/>
                  </a:lnTo>
                  <a:lnTo>
                    <a:pt x="2398718" y="1452023"/>
                  </a:lnTo>
                  <a:lnTo>
                    <a:pt x="2400052" y="1452263"/>
                  </a:lnTo>
                  <a:lnTo>
                    <a:pt x="2400773" y="1451743"/>
                  </a:lnTo>
                  <a:lnTo>
                    <a:pt x="2401126" y="1451873"/>
                  </a:lnTo>
                  <a:lnTo>
                    <a:pt x="2401364" y="1452912"/>
                  </a:lnTo>
                  <a:lnTo>
                    <a:pt x="2401409" y="1453881"/>
                  </a:lnTo>
                  <a:lnTo>
                    <a:pt x="2401327" y="1454447"/>
                  </a:lnTo>
                  <a:lnTo>
                    <a:pt x="2401107" y="1454636"/>
                  </a:lnTo>
                  <a:lnTo>
                    <a:pt x="2400909" y="1454571"/>
                  </a:lnTo>
                  <a:lnTo>
                    <a:pt x="2400649" y="1454950"/>
                  </a:lnTo>
                  <a:lnTo>
                    <a:pt x="2400575" y="1455311"/>
                  </a:lnTo>
                  <a:lnTo>
                    <a:pt x="2400599" y="1456019"/>
                  </a:lnTo>
                  <a:lnTo>
                    <a:pt x="2404093" y="1457247"/>
                  </a:lnTo>
                  <a:lnTo>
                    <a:pt x="2404235" y="1457609"/>
                  </a:lnTo>
                  <a:lnTo>
                    <a:pt x="2404102" y="1459476"/>
                  </a:lnTo>
                  <a:lnTo>
                    <a:pt x="2404210" y="1460214"/>
                  </a:lnTo>
                  <a:lnTo>
                    <a:pt x="2404562" y="1460423"/>
                  </a:lnTo>
                  <a:lnTo>
                    <a:pt x="2405499" y="1459992"/>
                  </a:lnTo>
                  <a:lnTo>
                    <a:pt x="2405935" y="1460083"/>
                  </a:lnTo>
                  <a:lnTo>
                    <a:pt x="2405995" y="1460834"/>
                  </a:lnTo>
                  <a:lnTo>
                    <a:pt x="2405814" y="1461168"/>
                  </a:lnTo>
                  <a:lnTo>
                    <a:pt x="2405387" y="1462430"/>
                  </a:lnTo>
                  <a:lnTo>
                    <a:pt x="2405786" y="1462320"/>
                  </a:lnTo>
                  <a:lnTo>
                    <a:pt x="2406190" y="1462409"/>
                  </a:lnTo>
                  <a:lnTo>
                    <a:pt x="2406586" y="1462641"/>
                  </a:lnTo>
                  <a:lnTo>
                    <a:pt x="2406965" y="1462990"/>
                  </a:lnTo>
                  <a:lnTo>
                    <a:pt x="2406404" y="1463925"/>
                  </a:lnTo>
                  <a:lnTo>
                    <a:pt x="2406172" y="1465009"/>
                  </a:lnTo>
                  <a:lnTo>
                    <a:pt x="2406293" y="1466226"/>
                  </a:lnTo>
                  <a:lnTo>
                    <a:pt x="2406798" y="1467547"/>
                  </a:lnTo>
                  <a:lnTo>
                    <a:pt x="2406066" y="1468455"/>
                  </a:lnTo>
                  <a:lnTo>
                    <a:pt x="2405207" y="1468934"/>
                  </a:lnTo>
                  <a:lnTo>
                    <a:pt x="2403398" y="1469225"/>
                  </a:lnTo>
                  <a:lnTo>
                    <a:pt x="2403461" y="1470033"/>
                  </a:lnTo>
                  <a:lnTo>
                    <a:pt x="2405554" y="1469627"/>
                  </a:lnTo>
                  <a:lnTo>
                    <a:pt x="2406658" y="1469957"/>
                  </a:lnTo>
                  <a:lnTo>
                    <a:pt x="2407346" y="1471299"/>
                  </a:lnTo>
                  <a:lnTo>
                    <a:pt x="2407122" y="1471436"/>
                  </a:lnTo>
                  <a:lnTo>
                    <a:pt x="2406644" y="1472023"/>
                  </a:lnTo>
                  <a:lnTo>
                    <a:pt x="2408273" y="1473467"/>
                  </a:lnTo>
                  <a:lnTo>
                    <a:pt x="2408336" y="1473769"/>
                  </a:lnTo>
                  <a:lnTo>
                    <a:pt x="2408424" y="1474379"/>
                  </a:lnTo>
                  <a:lnTo>
                    <a:pt x="2408554" y="1474769"/>
                  </a:lnTo>
                  <a:lnTo>
                    <a:pt x="2408744" y="1474475"/>
                  </a:lnTo>
                  <a:lnTo>
                    <a:pt x="2408818" y="1474030"/>
                  </a:lnTo>
                  <a:lnTo>
                    <a:pt x="2408963" y="1472602"/>
                  </a:lnTo>
                  <a:lnTo>
                    <a:pt x="2409183" y="1471802"/>
                  </a:lnTo>
                  <a:lnTo>
                    <a:pt x="2409354" y="1470949"/>
                  </a:lnTo>
                  <a:lnTo>
                    <a:pt x="2409589" y="1470154"/>
                  </a:lnTo>
                  <a:lnTo>
                    <a:pt x="2410004" y="1469536"/>
                  </a:lnTo>
                  <a:lnTo>
                    <a:pt x="2410464" y="1469304"/>
                  </a:lnTo>
                  <a:lnTo>
                    <a:pt x="2412010" y="1469380"/>
                  </a:lnTo>
                  <a:lnTo>
                    <a:pt x="2410413" y="1467136"/>
                  </a:lnTo>
                  <a:lnTo>
                    <a:pt x="2409802" y="1465704"/>
                  </a:lnTo>
                  <a:lnTo>
                    <a:pt x="2409920" y="1463918"/>
                  </a:lnTo>
                  <a:lnTo>
                    <a:pt x="2410568" y="1462935"/>
                  </a:lnTo>
                  <a:lnTo>
                    <a:pt x="2411497" y="1462622"/>
                  </a:lnTo>
                  <a:lnTo>
                    <a:pt x="2412476" y="1462803"/>
                  </a:lnTo>
                  <a:lnTo>
                    <a:pt x="2413281" y="1463313"/>
                  </a:lnTo>
                  <a:lnTo>
                    <a:pt x="2413583" y="1464048"/>
                  </a:lnTo>
                  <a:lnTo>
                    <a:pt x="2413879" y="1465118"/>
                  </a:lnTo>
                  <a:lnTo>
                    <a:pt x="2414200" y="1465732"/>
                  </a:lnTo>
                  <a:lnTo>
                    <a:pt x="2414560" y="1465077"/>
                  </a:lnTo>
                  <a:lnTo>
                    <a:pt x="2414887" y="1463687"/>
                  </a:lnTo>
                  <a:lnTo>
                    <a:pt x="2415121" y="1463300"/>
                  </a:lnTo>
                  <a:lnTo>
                    <a:pt x="2415533" y="1463133"/>
                  </a:lnTo>
                  <a:lnTo>
                    <a:pt x="2416337" y="1463456"/>
                  </a:lnTo>
                  <a:lnTo>
                    <a:pt x="2416951" y="1464415"/>
                  </a:lnTo>
                  <a:lnTo>
                    <a:pt x="2417454" y="1465792"/>
                  </a:lnTo>
                  <a:lnTo>
                    <a:pt x="2417928" y="1467416"/>
                  </a:lnTo>
                  <a:lnTo>
                    <a:pt x="2417595" y="1467993"/>
                  </a:lnTo>
                  <a:lnTo>
                    <a:pt x="2416923" y="1468781"/>
                  </a:lnTo>
                  <a:lnTo>
                    <a:pt x="2416523" y="1469022"/>
                  </a:lnTo>
                  <a:lnTo>
                    <a:pt x="2418133" y="1474199"/>
                  </a:lnTo>
                  <a:lnTo>
                    <a:pt x="2418799" y="1477238"/>
                  </a:lnTo>
                  <a:lnTo>
                    <a:pt x="2418650" y="1479357"/>
                  </a:lnTo>
                  <a:lnTo>
                    <a:pt x="2418707" y="1480032"/>
                  </a:lnTo>
                  <a:lnTo>
                    <a:pt x="2419098" y="1479751"/>
                  </a:lnTo>
                  <a:lnTo>
                    <a:pt x="2419550" y="1479017"/>
                  </a:lnTo>
                  <a:lnTo>
                    <a:pt x="2419907" y="1478122"/>
                  </a:lnTo>
                  <a:lnTo>
                    <a:pt x="2420026" y="1477352"/>
                  </a:lnTo>
                  <a:lnTo>
                    <a:pt x="2420088" y="1476244"/>
                  </a:lnTo>
                  <a:lnTo>
                    <a:pt x="2420465" y="1476413"/>
                  </a:lnTo>
                  <a:lnTo>
                    <a:pt x="2421317" y="1477651"/>
                  </a:lnTo>
                  <a:lnTo>
                    <a:pt x="2423873" y="1480049"/>
                  </a:lnTo>
                  <a:lnTo>
                    <a:pt x="2425027" y="1481731"/>
                  </a:lnTo>
                  <a:lnTo>
                    <a:pt x="2425938" y="1483909"/>
                  </a:lnTo>
                  <a:lnTo>
                    <a:pt x="2425828" y="1484638"/>
                  </a:lnTo>
                  <a:lnTo>
                    <a:pt x="2425538" y="1485249"/>
                  </a:lnTo>
                  <a:lnTo>
                    <a:pt x="2424824" y="1485789"/>
                  </a:lnTo>
                  <a:lnTo>
                    <a:pt x="2419325" y="1487439"/>
                  </a:lnTo>
                  <a:lnTo>
                    <a:pt x="2414972" y="1487107"/>
                  </a:lnTo>
                  <a:lnTo>
                    <a:pt x="2414100" y="1487402"/>
                  </a:lnTo>
                  <a:lnTo>
                    <a:pt x="2412425" y="1488559"/>
                  </a:lnTo>
                  <a:lnTo>
                    <a:pt x="2408348" y="1489495"/>
                  </a:lnTo>
                  <a:lnTo>
                    <a:pt x="2407228" y="1489193"/>
                  </a:lnTo>
                  <a:lnTo>
                    <a:pt x="2406409" y="1488433"/>
                  </a:lnTo>
                  <a:lnTo>
                    <a:pt x="2404923" y="1486021"/>
                  </a:lnTo>
                  <a:lnTo>
                    <a:pt x="2404103" y="1484953"/>
                  </a:lnTo>
                  <a:lnTo>
                    <a:pt x="2403244" y="1484307"/>
                  </a:lnTo>
                  <a:lnTo>
                    <a:pt x="2399887" y="1483584"/>
                  </a:lnTo>
                  <a:lnTo>
                    <a:pt x="2399283" y="1483082"/>
                  </a:lnTo>
                  <a:lnTo>
                    <a:pt x="2398916" y="1482176"/>
                  </a:lnTo>
                  <a:lnTo>
                    <a:pt x="2398949" y="1480863"/>
                  </a:lnTo>
                  <a:lnTo>
                    <a:pt x="2397459" y="1477587"/>
                  </a:lnTo>
                  <a:lnTo>
                    <a:pt x="2396725" y="1476378"/>
                  </a:lnTo>
                  <a:lnTo>
                    <a:pt x="2396018" y="1475789"/>
                  </a:lnTo>
                  <a:lnTo>
                    <a:pt x="2396138" y="1477574"/>
                  </a:lnTo>
                  <a:lnTo>
                    <a:pt x="2395352" y="1478087"/>
                  </a:lnTo>
                  <a:lnTo>
                    <a:pt x="2393663" y="1478189"/>
                  </a:lnTo>
                  <a:lnTo>
                    <a:pt x="2396411" y="1480019"/>
                  </a:lnTo>
                  <a:lnTo>
                    <a:pt x="2397240" y="1480178"/>
                  </a:lnTo>
                  <a:lnTo>
                    <a:pt x="2397587" y="1480459"/>
                  </a:lnTo>
                  <a:lnTo>
                    <a:pt x="2397671" y="1481169"/>
                  </a:lnTo>
                  <a:lnTo>
                    <a:pt x="2397619" y="1481932"/>
                  </a:lnTo>
                  <a:lnTo>
                    <a:pt x="2397541" y="1482390"/>
                  </a:lnTo>
                  <a:lnTo>
                    <a:pt x="2397269" y="1483000"/>
                  </a:lnTo>
                  <a:lnTo>
                    <a:pt x="2396903" y="1483279"/>
                  </a:lnTo>
                  <a:lnTo>
                    <a:pt x="2396083" y="1483231"/>
                  </a:lnTo>
                  <a:lnTo>
                    <a:pt x="2396259" y="1482482"/>
                  </a:lnTo>
                  <a:lnTo>
                    <a:pt x="2395508" y="1482566"/>
                  </a:lnTo>
                  <a:lnTo>
                    <a:pt x="2394011" y="1483883"/>
                  </a:lnTo>
                  <a:lnTo>
                    <a:pt x="2393204" y="1484246"/>
                  </a:lnTo>
                  <a:lnTo>
                    <a:pt x="2389784" y="1484482"/>
                  </a:lnTo>
                  <a:lnTo>
                    <a:pt x="2389832" y="1485167"/>
                  </a:lnTo>
                  <a:lnTo>
                    <a:pt x="2390943" y="1485135"/>
                  </a:lnTo>
                  <a:lnTo>
                    <a:pt x="2391840" y="1485416"/>
                  </a:lnTo>
                  <a:lnTo>
                    <a:pt x="2392673" y="1486264"/>
                  </a:lnTo>
                  <a:lnTo>
                    <a:pt x="2393588" y="1487949"/>
                  </a:lnTo>
                  <a:lnTo>
                    <a:pt x="2393059" y="1488599"/>
                  </a:lnTo>
                  <a:lnTo>
                    <a:pt x="2391966" y="1489034"/>
                  </a:lnTo>
                  <a:lnTo>
                    <a:pt x="2391577" y="1489913"/>
                  </a:lnTo>
                  <a:lnTo>
                    <a:pt x="2390798" y="1493430"/>
                  </a:lnTo>
                  <a:lnTo>
                    <a:pt x="2388693" y="1494142"/>
                  </a:lnTo>
                  <a:lnTo>
                    <a:pt x="2386740" y="1495862"/>
                  </a:lnTo>
                  <a:lnTo>
                    <a:pt x="2387461" y="1496293"/>
                  </a:lnTo>
                  <a:lnTo>
                    <a:pt x="2388835" y="1495855"/>
                  </a:lnTo>
                  <a:lnTo>
                    <a:pt x="2389358" y="1496498"/>
                  </a:lnTo>
                  <a:lnTo>
                    <a:pt x="2390480" y="1498660"/>
                  </a:lnTo>
                  <a:lnTo>
                    <a:pt x="2391054" y="1499194"/>
                  </a:lnTo>
                  <a:lnTo>
                    <a:pt x="2391566" y="1498519"/>
                  </a:lnTo>
                  <a:lnTo>
                    <a:pt x="2391678" y="1496629"/>
                  </a:lnTo>
                  <a:lnTo>
                    <a:pt x="2396859" y="1493474"/>
                  </a:lnTo>
                  <a:lnTo>
                    <a:pt x="2404326" y="1493555"/>
                  </a:lnTo>
                  <a:lnTo>
                    <a:pt x="2406701" y="1494674"/>
                  </a:lnTo>
                  <a:lnTo>
                    <a:pt x="2408994" y="1496816"/>
                  </a:lnTo>
                  <a:lnTo>
                    <a:pt x="2411147" y="1500081"/>
                  </a:lnTo>
                  <a:lnTo>
                    <a:pt x="2410652" y="1501008"/>
                  </a:lnTo>
                  <a:lnTo>
                    <a:pt x="2408332" y="1503344"/>
                  </a:lnTo>
                  <a:lnTo>
                    <a:pt x="2408045" y="1503476"/>
                  </a:lnTo>
                  <a:lnTo>
                    <a:pt x="2406794" y="1503459"/>
                  </a:lnTo>
                  <a:lnTo>
                    <a:pt x="2406400" y="1503759"/>
                  </a:lnTo>
                  <a:lnTo>
                    <a:pt x="2406297" y="1504420"/>
                  </a:lnTo>
                  <a:lnTo>
                    <a:pt x="2406298" y="1505162"/>
                  </a:lnTo>
                  <a:lnTo>
                    <a:pt x="2406214" y="1505742"/>
                  </a:lnTo>
                  <a:lnTo>
                    <a:pt x="2401589" y="1512731"/>
                  </a:lnTo>
                  <a:lnTo>
                    <a:pt x="2400832" y="1513456"/>
                  </a:lnTo>
                  <a:lnTo>
                    <a:pt x="2399856" y="1513655"/>
                  </a:lnTo>
                  <a:lnTo>
                    <a:pt x="2399911" y="1514397"/>
                  </a:lnTo>
                  <a:lnTo>
                    <a:pt x="2400177" y="1514476"/>
                  </a:lnTo>
                  <a:lnTo>
                    <a:pt x="2400966" y="1515068"/>
                  </a:lnTo>
                  <a:lnTo>
                    <a:pt x="2400362" y="1517137"/>
                  </a:lnTo>
                  <a:lnTo>
                    <a:pt x="2397573" y="1518787"/>
                  </a:lnTo>
                  <a:lnTo>
                    <a:pt x="2396297" y="1520715"/>
                  </a:lnTo>
                  <a:lnTo>
                    <a:pt x="2395928" y="1520759"/>
                  </a:lnTo>
                  <a:lnTo>
                    <a:pt x="2395534" y="1520680"/>
                  </a:lnTo>
                  <a:lnTo>
                    <a:pt x="2395178" y="1520758"/>
                  </a:lnTo>
                  <a:lnTo>
                    <a:pt x="2394872" y="1521161"/>
                  </a:lnTo>
                  <a:lnTo>
                    <a:pt x="2394442" y="1522061"/>
                  </a:lnTo>
                  <a:lnTo>
                    <a:pt x="2394267" y="1522246"/>
                  </a:lnTo>
                  <a:lnTo>
                    <a:pt x="2393579" y="1522507"/>
                  </a:lnTo>
                  <a:lnTo>
                    <a:pt x="2392288" y="1523567"/>
                  </a:lnTo>
                  <a:lnTo>
                    <a:pt x="2391535" y="1523925"/>
                  </a:lnTo>
                  <a:lnTo>
                    <a:pt x="2390597" y="1523882"/>
                  </a:lnTo>
                  <a:lnTo>
                    <a:pt x="2390189" y="1524216"/>
                  </a:lnTo>
                  <a:lnTo>
                    <a:pt x="2390074" y="1525209"/>
                  </a:lnTo>
                  <a:lnTo>
                    <a:pt x="2390176" y="1525882"/>
                  </a:lnTo>
                  <a:lnTo>
                    <a:pt x="2390482" y="1527233"/>
                  </a:lnTo>
                  <a:lnTo>
                    <a:pt x="2390511" y="1527791"/>
                  </a:lnTo>
                  <a:lnTo>
                    <a:pt x="2390255" y="1529083"/>
                  </a:lnTo>
                  <a:lnTo>
                    <a:pt x="2389819" y="1529942"/>
                  </a:lnTo>
                  <a:lnTo>
                    <a:pt x="2389241" y="1530220"/>
                  </a:lnTo>
                  <a:lnTo>
                    <a:pt x="2388568" y="1529781"/>
                  </a:lnTo>
                  <a:lnTo>
                    <a:pt x="2386850" y="1527261"/>
                  </a:lnTo>
                  <a:lnTo>
                    <a:pt x="2386553" y="1526930"/>
                  </a:lnTo>
                  <a:lnTo>
                    <a:pt x="2385717" y="1528441"/>
                  </a:lnTo>
                  <a:lnTo>
                    <a:pt x="2385718" y="1529156"/>
                  </a:lnTo>
                  <a:lnTo>
                    <a:pt x="2386471" y="1529546"/>
                  </a:lnTo>
                  <a:lnTo>
                    <a:pt x="2385491" y="1531062"/>
                  </a:lnTo>
                  <a:lnTo>
                    <a:pt x="2379884" y="1536538"/>
                  </a:lnTo>
                  <a:lnTo>
                    <a:pt x="2378870" y="1536734"/>
                  </a:lnTo>
                  <a:lnTo>
                    <a:pt x="2378918" y="1537477"/>
                  </a:lnTo>
                  <a:lnTo>
                    <a:pt x="2391289" y="1535252"/>
                  </a:lnTo>
                  <a:lnTo>
                    <a:pt x="2391336" y="1535928"/>
                  </a:lnTo>
                  <a:lnTo>
                    <a:pt x="2388188" y="1536511"/>
                  </a:lnTo>
                  <a:lnTo>
                    <a:pt x="2387304" y="1537151"/>
                  </a:lnTo>
                  <a:lnTo>
                    <a:pt x="2384905" y="1539855"/>
                  </a:lnTo>
                  <a:lnTo>
                    <a:pt x="2384075" y="1540198"/>
                  </a:lnTo>
                  <a:lnTo>
                    <a:pt x="2381153" y="1539824"/>
                  </a:lnTo>
                  <a:lnTo>
                    <a:pt x="2379485" y="1538796"/>
                  </a:lnTo>
                  <a:lnTo>
                    <a:pt x="2376992" y="1539829"/>
                  </a:lnTo>
                  <a:lnTo>
                    <a:pt x="2377043" y="1540638"/>
                  </a:lnTo>
                  <a:lnTo>
                    <a:pt x="2379344" y="1541712"/>
                  </a:lnTo>
                  <a:lnTo>
                    <a:pt x="2380528" y="1541812"/>
                  </a:lnTo>
                  <a:lnTo>
                    <a:pt x="2382860" y="1540772"/>
                  </a:lnTo>
                  <a:lnTo>
                    <a:pt x="2385609" y="1542163"/>
                  </a:lnTo>
                  <a:lnTo>
                    <a:pt x="2386809" y="1542192"/>
                  </a:lnTo>
                  <a:lnTo>
                    <a:pt x="2387588" y="1541292"/>
                  </a:lnTo>
                  <a:lnTo>
                    <a:pt x="2389076" y="1538863"/>
                  </a:lnTo>
                  <a:lnTo>
                    <a:pt x="2393970" y="1536971"/>
                  </a:lnTo>
                  <a:lnTo>
                    <a:pt x="2394881" y="1537988"/>
                  </a:lnTo>
                  <a:lnTo>
                    <a:pt x="2396567" y="1538195"/>
                  </a:lnTo>
                  <a:lnTo>
                    <a:pt x="2397181" y="1537829"/>
                  </a:lnTo>
                  <a:lnTo>
                    <a:pt x="2397222" y="1537439"/>
                  </a:lnTo>
                  <a:lnTo>
                    <a:pt x="2397229" y="1536723"/>
                  </a:lnTo>
                  <a:lnTo>
                    <a:pt x="2397299" y="1535982"/>
                  </a:lnTo>
                  <a:lnTo>
                    <a:pt x="2397534" y="1535503"/>
                  </a:lnTo>
                  <a:lnTo>
                    <a:pt x="2397817" y="1535492"/>
                  </a:lnTo>
                  <a:lnTo>
                    <a:pt x="2398900" y="1536153"/>
                  </a:lnTo>
                  <a:lnTo>
                    <a:pt x="2398959" y="1536962"/>
                  </a:lnTo>
                  <a:lnTo>
                    <a:pt x="2398591" y="1537521"/>
                  </a:lnTo>
                  <a:lnTo>
                    <a:pt x="2398277" y="1538169"/>
                  </a:lnTo>
                  <a:lnTo>
                    <a:pt x="2398031" y="1538968"/>
                  </a:lnTo>
                  <a:lnTo>
                    <a:pt x="2397855" y="1539953"/>
                  </a:lnTo>
                  <a:lnTo>
                    <a:pt x="2398737" y="1540585"/>
                  </a:lnTo>
                  <a:lnTo>
                    <a:pt x="2399221" y="1540701"/>
                  </a:lnTo>
                  <a:lnTo>
                    <a:pt x="2399600" y="1540475"/>
                  </a:lnTo>
                  <a:lnTo>
                    <a:pt x="2399493" y="1540482"/>
                  </a:lnTo>
                  <a:lnTo>
                    <a:pt x="2399424" y="1540354"/>
                  </a:lnTo>
                  <a:lnTo>
                    <a:pt x="2399405" y="1539844"/>
                  </a:lnTo>
                  <a:lnTo>
                    <a:pt x="2402115" y="1539869"/>
                  </a:lnTo>
                  <a:lnTo>
                    <a:pt x="2403552" y="1540535"/>
                  </a:lnTo>
                  <a:lnTo>
                    <a:pt x="2405649" y="1543155"/>
                  </a:lnTo>
                  <a:lnTo>
                    <a:pt x="2408010" y="1543105"/>
                  </a:lnTo>
                  <a:lnTo>
                    <a:pt x="2408950" y="1543729"/>
                  </a:lnTo>
                  <a:lnTo>
                    <a:pt x="2409189" y="1544417"/>
                  </a:lnTo>
                  <a:lnTo>
                    <a:pt x="2403032" y="1543304"/>
                  </a:lnTo>
                  <a:lnTo>
                    <a:pt x="2402422" y="1543135"/>
                  </a:lnTo>
                  <a:lnTo>
                    <a:pt x="2402360" y="1543303"/>
                  </a:lnTo>
                  <a:lnTo>
                    <a:pt x="2402048" y="1542695"/>
                  </a:lnTo>
                  <a:lnTo>
                    <a:pt x="2401317" y="1542032"/>
                  </a:lnTo>
                  <a:lnTo>
                    <a:pt x="2400890" y="1542045"/>
                  </a:lnTo>
                  <a:lnTo>
                    <a:pt x="2400939" y="1542712"/>
                  </a:lnTo>
                  <a:lnTo>
                    <a:pt x="2403550" y="1546323"/>
                  </a:lnTo>
                  <a:lnTo>
                    <a:pt x="2405784" y="1547467"/>
                  </a:lnTo>
                  <a:lnTo>
                    <a:pt x="2406336" y="1548356"/>
                  </a:lnTo>
                  <a:lnTo>
                    <a:pt x="2406302" y="1547829"/>
                  </a:lnTo>
                  <a:lnTo>
                    <a:pt x="2406354" y="1547728"/>
                  </a:lnTo>
                  <a:lnTo>
                    <a:pt x="2406464" y="1547933"/>
                  </a:lnTo>
                  <a:lnTo>
                    <a:pt x="2406617" y="1548335"/>
                  </a:lnTo>
                  <a:lnTo>
                    <a:pt x="2406397" y="1549164"/>
                  </a:lnTo>
                  <a:lnTo>
                    <a:pt x="2407317" y="1549088"/>
                  </a:lnTo>
                  <a:lnTo>
                    <a:pt x="2407780" y="1549290"/>
                  </a:lnTo>
                  <a:lnTo>
                    <a:pt x="2408242" y="1549709"/>
                  </a:lnTo>
                  <a:lnTo>
                    <a:pt x="2408189" y="1550126"/>
                  </a:lnTo>
                  <a:lnTo>
                    <a:pt x="2408117" y="1551202"/>
                  </a:lnTo>
                  <a:lnTo>
                    <a:pt x="2409079" y="1551131"/>
                  </a:lnTo>
                  <a:lnTo>
                    <a:pt x="2414463" y="1553392"/>
                  </a:lnTo>
                  <a:lnTo>
                    <a:pt x="2415715" y="1554892"/>
                  </a:lnTo>
                  <a:lnTo>
                    <a:pt x="2418202" y="1555730"/>
                  </a:lnTo>
                  <a:lnTo>
                    <a:pt x="2420451" y="1557608"/>
                  </a:lnTo>
                  <a:lnTo>
                    <a:pt x="2421265" y="1557664"/>
                  </a:lnTo>
                  <a:lnTo>
                    <a:pt x="2420889" y="1555120"/>
                  </a:lnTo>
                  <a:lnTo>
                    <a:pt x="2421848" y="1553644"/>
                  </a:lnTo>
                  <a:lnTo>
                    <a:pt x="2423235" y="1552622"/>
                  </a:lnTo>
                  <a:lnTo>
                    <a:pt x="2424137" y="1551469"/>
                  </a:lnTo>
                  <a:lnTo>
                    <a:pt x="2423038" y="1550811"/>
                  </a:lnTo>
                  <a:lnTo>
                    <a:pt x="2423893" y="1550026"/>
                  </a:lnTo>
                  <a:lnTo>
                    <a:pt x="2426375" y="1549786"/>
                  </a:lnTo>
                  <a:lnTo>
                    <a:pt x="2426935" y="1549140"/>
                  </a:lnTo>
                  <a:lnTo>
                    <a:pt x="2428068" y="1547139"/>
                  </a:lnTo>
                  <a:lnTo>
                    <a:pt x="2428744" y="1546613"/>
                  </a:lnTo>
                  <a:lnTo>
                    <a:pt x="2428295" y="1545066"/>
                  </a:lnTo>
                  <a:lnTo>
                    <a:pt x="2428024" y="1544351"/>
                  </a:lnTo>
                  <a:lnTo>
                    <a:pt x="2427690" y="1543716"/>
                  </a:lnTo>
                  <a:lnTo>
                    <a:pt x="2428118" y="1543000"/>
                  </a:lnTo>
                  <a:lnTo>
                    <a:pt x="2429244" y="1541920"/>
                  </a:lnTo>
                  <a:lnTo>
                    <a:pt x="2429666" y="1540907"/>
                  </a:lnTo>
                  <a:lnTo>
                    <a:pt x="2429977" y="1540419"/>
                  </a:lnTo>
                  <a:lnTo>
                    <a:pt x="2430847" y="1540466"/>
                  </a:lnTo>
                  <a:lnTo>
                    <a:pt x="2431178" y="1540038"/>
                  </a:lnTo>
                  <a:lnTo>
                    <a:pt x="2431204" y="1539632"/>
                  </a:lnTo>
                  <a:lnTo>
                    <a:pt x="2431144" y="1538133"/>
                  </a:lnTo>
                  <a:lnTo>
                    <a:pt x="2432316" y="1537341"/>
                  </a:lnTo>
                  <a:lnTo>
                    <a:pt x="2433773" y="1537111"/>
                  </a:lnTo>
                  <a:lnTo>
                    <a:pt x="2436573" y="1537673"/>
                  </a:lnTo>
                  <a:lnTo>
                    <a:pt x="2437400" y="1538388"/>
                  </a:lnTo>
                  <a:lnTo>
                    <a:pt x="2437881" y="1538467"/>
                  </a:lnTo>
                  <a:lnTo>
                    <a:pt x="2438438" y="1537894"/>
                  </a:lnTo>
                  <a:lnTo>
                    <a:pt x="2439003" y="1537555"/>
                  </a:lnTo>
                  <a:lnTo>
                    <a:pt x="2439543" y="1538176"/>
                  </a:lnTo>
                  <a:lnTo>
                    <a:pt x="2440089" y="1539071"/>
                  </a:lnTo>
                  <a:lnTo>
                    <a:pt x="2440672" y="1539558"/>
                  </a:lnTo>
                  <a:lnTo>
                    <a:pt x="2442635" y="1537730"/>
                  </a:lnTo>
                  <a:lnTo>
                    <a:pt x="2443674" y="1537638"/>
                  </a:lnTo>
                  <a:lnTo>
                    <a:pt x="2443871" y="1540090"/>
                  </a:lnTo>
                  <a:lnTo>
                    <a:pt x="2444573" y="1540094"/>
                  </a:lnTo>
                  <a:lnTo>
                    <a:pt x="2446640" y="1539027"/>
                  </a:lnTo>
                  <a:lnTo>
                    <a:pt x="2446294" y="1540776"/>
                  </a:lnTo>
                  <a:lnTo>
                    <a:pt x="2445392" y="1541458"/>
                  </a:lnTo>
                  <a:lnTo>
                    <a:pt x="2443232" y="1541641"/>
                  </a:lnTo>
                  <a:lnTo>
                    <a:pt x="2442141" y="1542298"/>
                  </a:lnTo>
                  <a:lnTo>
                    <a:pt x="2438638" y="1548169"/>
                  </a:lnTo>
                  <a:lnTo>
                    <a:pt x="2437392" y="1549424"/>
                  </a:lnTo>
                  <a:lnTo>
                    <a:pt x="2430671" y="1552087"/>
                  </a:lnTo>
                  <a:lnTo>
                    <a:pt x="2429577" y="1553325"/>
                  </a:lnTo>
                  <a:lnTo>
                    <a:pt x="2430264" y="1554518"/>
                  </a:lnTo>
                  <a:lnTo>
                    <a:pt x="2430858" y="1554335"/>
                  </a:lnTo>
                  <a:lnTo>
                    <a:pt x="2431459" y="1553582"/>
                  </a:lnTo>
                  <a:lnTo>
                    <a:pt x="2432179" y="1553108"/>
                  </a:lnTo>
                  <a:lnTo>
                    <a:pt x="2438169" y="1552600"/>
                  </a:lnTo>
                  <a:lnTo>
                    <a:pt x="2438402" y="1552269"/>
                  </a:lnTo>
                  <a:lnTo>
                    <a:pt x="2439173" y="1550708"/>
                  </a:lnTo>
                  <a:lnTo>
                    <a:pt x="2439563" y="1550180"/>
                  </a:lnTo>
                  <a:lnTo>
                    <a:pt x="2443769" y="1547636"/>
                  </a:lnTo>
                  <a:lnTo>
                    <a:pt x="2444242" y="1547914"/>
                  </a:lnTo>
                  <a:lnTo>
                    <a:pt x="2444714" y="1548664"/>
                  </a:lnTo>
                  <a:lnTo>
                    <a:pt x="2445610" y="1550462"/>
                  </a:lnTo>
                  <a:lnTo>
                    <a:pt x="2447287" y="1552888"/>
                  </a:lnTo>
                  <a:lnTo>
                    <a:pt x="2448228" y="1553021"/>
                  </a:lnTo>
                  <a:lnTo>
                    <a:pt x="2451061" y="1551028"/>
                  </a:lnTo>
                  <a:lnTo>
                    <a:pt x="2452318" y="1552141"/>
                  </a:lnTo>
                  <a:lnTo>
                    <a:pt x="2455125" y="1549593"/>
                  </a:lnTo>
                  <a:lnTo>
                    <a:pt x="2455611" y="1550109"/>
                  </a:lnTo>
                  <a:lnTo>
                    <a:pt x="2455932" y="1551445"/>
                  </a:lnTo>
                  <a:lnTo>
                    <a:pt x="2456069" y="1553128"/>
                  </a:lnTo>
                  <a:lnTo>
                    <a:pt x="2455994" y="1554671"/>
                  </a:lnTo>
                  <a:lnTo>
                    <a:pt x="2461223" y="1554177"/>
                  </a:lnTo>
                  <a:lnTo>
                    <a:pt x="2460807" y="1550997"/>
                  </a:lnTo>
                  <a:lnTo>
                    <a:pt x="2461752" y="1549260"/>
                  </a:lnTo>
                  <a:lnTo>
                    <a:pt x="2463218" y="1548602"/>
                  </a:lnTo>
                  <a:lnTo>
                    <a:pt x="2464377" y="1548713"/>
                  </a:lnTo>
                  <a:lnTo>
                    <a:pt x="2470414" y="1551102"/>
                  </a:lnTo>
                  <a:lnTo>
                    <a:pt x="2471922" y="1552315"/>
                  </a:lnTo>
                  <a:lnTo>
                    <a:pt x="2473137" y="1552630"/>
                  </a:lnTo>
                  <a:lnTo>
                    <a:pt x="2473589" y="1553346"/>
                  </a:lnTo>
                  <a:lnTo>
                    <a:pt x="2474004" y="1554280"/>
                  </a:lnTo>
                  <a:lnTo>
                    <a:pt x="2474516" y="1555177"/>
                  </a:lnTo>
                  <a:lnTo>
                    <a:pt x="2474852" y="1555575"/>
                  </a:lnTo>
                  <a:lnTo>
                    <a:pt x="2475126" y="1555770"/>
                  </a:lnTo>
                  <a:lnTo>
                    <a:pt x="2475775" y="1555798"/>
                  </a:lnTo>
                  <a:lnTo>
                    <a:pt x="2476081" y="1555994"/>
                  </a:lnTo>
                  <a:lnTo>
                    <a:pt x="2476161" y="1556511"/>
                  </a:lnTo>
                  <a:lnTo>
                    <a:pt x="2476164" y="1557126"/>
                  </a:lnTo>
                  <a:lnTo>
                    <a:pt x="2476242" y="1557622"/>
                  </a:lnTo>
                  <a:lnTo>
                    <a:pt x="2476557" y="1557540"/>
                  </a:lnTo>
                  <a:lnTo>
                    <a:pt x="2477815" y="1556552"/>
                  </a:lnTo>
                  <a:lnTo>
                    <a:pt x="2478346" y="1556351"/>
                  </a:lnTo>
                  <a:lnTo>
                    <a:pt x="2478417" y="1557025"/>
                  </a:lnTo>
                  <a:lnTo>
                    <a:pt x="2476984" y="1558352"/>
                  </a:lnTo>
                  <a:lnTo>
                    <a:pt x="2472141" y="1557661"/>
                  </a:lnTo>
                  <a:lnTo>
                    <a:pt x="2471744" y="1557878"/>
                  </a:lnTo>
                  <a:lnTo>
                    <a:pt x="2470728" y="1559289"/>
                  </a:lnTo>
                  <a:lnTo>
                    <a:pt x="2470054" y="1559806"/>
                  </a:lnTo>
                  <a:lnTo>
                    <a:pt x="2469102" y="1560131"/>
                  </a:lnTo>
                  <a:lnTo>
                    <a:pt x="2468412" y="1560079"/>
                  </a:lnTo>
                  <a:lnTo>
                    <a:pt x="2467671" y="1559787"/>
                  </a:lnTo>
                  <a:lnTo>
                    <a:pt x="2466969" y="1559174"/>
                  </a:lnTo>
                  <a:lnTo>
                    <a:pt x="2466983" y="1558892"/>
                  </a:lnTo>
                  <a:lnTo>
                    <a:pt x="2467208" y="1558790"/>
                  </a:lnTo>
                  <a:lnTo>
                    <a:pt x="2467427" y="1558127"/>
                  </a:lnTo>
                  <a:lnTo>
                    <a:pt x="2466534" y="1557564"/>
                  </a:lnTo>
                  <a:lnTo>
                    <a:pt x="2463426" y="1557834"/>
                  </a:lnTo>
                  <a:lnTo>
                    <a:pt x="2463493" y="1558509"/>
                  </a:lnTo>
                  <a:lnTo>
                    <a:pt x="2464163" y="1558458"/>
                  </a:lnTo>
                  <a:lnTo>
                    <a:pt x="2464930" y="1558918"/>
                  </a:lnTo>
                  <a:lnTo>
                    <a:pt x="2466339" y="1560402"/>
                  </a:lnTo>
                  <a:lnTo>
                    <a:pt x="2466691" y="1560831"/>
                  </a:lnTo>
                  <a:lnTo>
                    <a:pt x="2467676" y="1560632"/>
                  </a:lnTo>
                  <a:lnTo>
                    <a:pt x="2468270" y="1561028"/>
                  </a:lnTo>
                  <a:lnTo>
                    <a:pt x="2467895" y="1561586"/>
                  </a:lnTo>
                  <a:lnTo>
                    <a:pt x="2467094" y="1562052"/>
                  </a:lnTo>
                  <a:lnTo>
                    <a:pt x="2466847" y="1562597"/>
                  </a:lnTo>
                  <a:lnTo>
                    <a:pt x="2465902" y="1562061"/>
                  </a:lnTo>
                  <a:lnTo>
                    <a:pt x="2465083" y="1562778"/>
                  </a:lnTo>
                  <a:lnTo>
                    <a:pt x="2464290" y="1563874"/>
                  </a:lnTo>
                  <a:lnTo>
                    <a:pt x="2462756" y="1564889"/>
                  </a:lnTo>
                  <a:lnTo>
                    <a:pt x="2460735" y="1567736"/>
                  </a:lnTo>
                  <a:lnTo>
                    <a:pt x="2460865" y="1568128"/>
                  </a:lnTo>
                  <a:lnTo>
                    <a:pt x="2461118" y="1569195"/>
                  </a:lnTo>
                  <a:lnTo>
                    <a:pt x="2460433" y="1569941"/>
                  </a:lnTo>
                  <a:lnTo>
                    <a:pt x="2460416" y="1571323"/>
                  </a:lnTo>
                  <a:lnTo>
                    <a:pt x="2460728" y="1572776"/>
                  </a:lnTo>
                  <a:lnTo>
                    <a:pt x="2461033" y="1573749"/>
                  </a:lnTo>
                  <a:lnTo>
                    <a:pt x="2460758" y="1574225"/>
                  </a:lnTo>
                  <a:lnTo>
                    <a:pt x="2460708" y="1574915"/>
                  </a:lnTo>
                  <a:lnTo>
                    <a:pt x="2460891" y="1575762"/>
                  </a:lnTo>
                  <a:lnTo>
                    <a:pt x="2461322" y="1576709"/>
                  </a:lnTo>
                  <a:lnTo>
                    <a:pt x="2460895" y="1577502"/>
                  </a:lnTo>
                  <a:lnTo>
                    <a:pt x="2461129" y="1578036"/>
                  </a:lnTo>
                  <a:lnTo>
                    <a:pt x="2461611" y="1579674"/>
                  </a:lnTo>
                  <a:lnTo>
                    <a:pt x="2456662" y="1580885"/>
                  </a:lnTo>
                  <a:lnTo>
                    <a:pt x="2456591" y="1580144"/>
                  </a:lnTo>
                  <a:lnTo>
                    <a:pt x="2457632" y="1578752"/>
                  </a:lnTo>
                  <a:lnTo>
                    <a:pt x="2458026" y="1578515"/>
                  </a:lnTo>
                  <a:lnTo>
                    <a:pt x="2457478" y="1578503"/>
                  </a:lnTo>
                  <a:lnTo>
                    <a:pt x="2455994" y="1579455"/>
                  </a:lnTo>
                  <a:lnTo>
                    <a:pt x="2456234" y="1579433"/>
                  </a:lnTo>
                  <a:lnTo>
                    <a:pt x="2455943" y="1579513"/>
                  </a:lnTo>
                  <a:lnTo>
                    <a:pt x="2455673" y="1579472"/>
                  </a:lnTo>
                  <a:lnTo>
                    <a:pt x="2455411" y="1579251"/>
                  </a:lnTo>
                  <a:lnTo>
                    <a:pt x="2455134" y="1578783"/>
                  </a:lnTo>
                  <a:lnTo>
                    <a:pt x="2455783" y="1577993"/>
                  </a:lnTo>
                  <a:lnTo>
                    <a:pt x="2456093" y="1577951"/>
                  </a:lnTo>
                  <a:lnTo>
                    <a:pt x="2456022" y="1577205"/>
                  </a:lnTo>
                  <a:lnTo>
                    <a:pt x="2455519" y="1577252"/>
                  </a:lnTo>
                  <a:lnTo>
                    <a:pt x="2455449" y="1576514"/>
                  </a:lnTo>
                  <a:lnTo>
                    <a:pt x="2455975" y="1576613"/>
                  </a:lnTo>
                  <a:lnTo>
                    <a:pt x="2456433" y="1576503"/>
                  </a:lnTo>
                  <a:lnTo>
                    <a:pt x="2456757" y="1575993"/>
                  </a:lnTo>
                  <a:lnTo>
                    <a:pt x="2456882" y="1574886"/>
                  </a:lnTo>
                  <a:lnTo>
                    <a:pt x="2455941" y="1575067"/>
                  </a:lnTo>
                  <a:lnTo>
                    <a:pt x="2451288" y="1579338"/>
                  </a:lnTo>
                  <a:lnTo>
                    <a:pt x="2450643" y="1579192"/>
                  </a:lnTo>
                  <a:lnTo>
                    <a:pt x="2450173" y="1577583"/>
                  </a:lnTo>
                  <a:lnTo>
                    <a:pt x="2451059" y="1576221"/>
                  </a:lnTo>
                  <a:lnTo>
                    <a:pt x="2453139" y="1574483"/>
                  </a:lnTo>
                  <a:lnTo>
                    <a:pt x="2453275" y="1573803"/>
                  </a:lnTo>
                  <a:lnTo>
                    <a:pt x="2453236" y="1572165"/>
                  </a:lnTo>
                  <a:lnTo>
                    <a:pt x="2453353" y="1571406"/>
                  </a:lnTo>
                  <a:lnTo>
                    <a:pt x="2453629" y="1570923"/>
                  </a:lnTo>
                  <a:lnTo>
                    <a:pt x="2454809" y="1569786"/>
                  </a:lnTo>
                  <a:lnTo>
                    <a:pt x="2454739" y="1569045"/>
                  </a:lnTo>
                  <a:lnTo>
                    <a:pt x="2453639" y="1569204"/>
                  </a:lnTo>
                  <a:lnTo>
                    <a:pt x="2452731" y="1570235"/>
                  </a:lnTo>
                  <a:lnTo>
                    <a:pt x="2450091" y="1574649"/>
                  </a:lnTo>
                  <a:lnTo>
                    <a:pt x="2447723" y="1576904"/>
                  </a:lnTo>
                  <a:lnTo>
                    <a:pt x="2446482" y="1577326"/>
                  </a:lnTo>
                  <a:lnTo>
                    <a:pt x="2443895" y="1576655"/>
                  </a:lnTo>
                  <a:lnTo>
                    <a:pt x="2435806" y="1570718"/>
                  </a:lnTo>
                  <a:lnTo>
                    <a:pt x="2435871" y="1571460"/>
                  </a:lnTo>
                  <a:lnTo>
                    <a:pt x="2438297" y="1574176"/>
                  </a:lnTo>
                  <a:lnTo>
                    <a:pt x="2443851" y="1578300"/>
                  </a:lnTo>
                  <a:lnTo>
                    <a:pt x="2446947" y="1579086"/>
                  </a:lnTo>
                  <a:lnTo>
                    <a:pt x="2447636" y="1579835"/>
                  </a:lnTo>
                  <a:lnTo>
                    <a:pt x="2448322" y="1580846"/>
                  </a:lnTo>
                  <a:lnTo>
                    <a:pt x="2448909" y="1581964"/>
                  </a:lnTo>
                  <a:lnTo>
                    <a:pt x="2449441" y="1582709"/>
                  </a:lnTo>
                  <a:lnTo>
                    <a:pt x="2453187" y="1584480"/>
                  </a:lnTo>
                  <a:lnTo>
                    <a:pt x="2460788" y="1591973"/>
                  </a:lnTo>
                  <a:lnTo>
                    <a:pt x="2462206" y="1592547"/>
                  </a:lnTo>
                  <a:lnTo>
                    <a:pt x="2462917" y="1593068"/>
                  </a:lnTo>
                  <a:lnTo>
                    <a:pt x="2464511" y="1595535"/>
                  </a:lnTo>
                  <a:lnTo>
                    <a:pt x="2464950" y="1595858"/>
                  </a:lnTo>
                  <a:lnTo>
                    <a:pt x="2465890" y="1596031"/>
                  </a:lnTo>
                  <a:lnTo>
                    <a:pt x="2468613" y="1597403"/>
                  </a:lnTo>
                  <a:lnTo>
                    <a:pt x="2469351" y="1598427"/>
                  </a:lnTo>
                  <a:lnTo>
                    <a:pt x="2469258" y="1600227"/>
                  </a:lnTo>
                  <a:lnTo>
                    <a:pt x="2467905" y="1602776"/>
                  </a:lnTo>
                  <a:lnTo>
                    <a:pt x="2468281" y="1603831"/>
                  </a:lnTo>
                  <a:lnTo>
                    <a:pt x="2467994" y="1606330"/>
                  </a:lnTo>
                  <a:lnTo>
                    <a:pt x="2469007" y="1607212"/>
                  </a:lnTo>
                  <a:lnTo>
                    <a:pt x="2471576" y="1607243"/>
                  </a:lnTo>
                  <a:lnTo>
                    <a:pt x="2471334" y="1607267"/>
                  </a:lnTo>
                  <a:lnTo>
                    <a:pt x="2471981" y="1608099"/>
                  </a:lnTo>
                  <a:lnTo>
                    <a:pt x="2473697" y="1612270"/>
                  </a:lnTo>
                  <a:lnTo>
                    <a:pt x="2472896" y="1612349"/>
                  </a:lnTo>
                  <a:lnTo>
                    <a:pt x="2472978" y="1613160"/>
                  </a:lnTo>
                  <a:lnTo>
                    <a:pt x="2473223" y="1613480"/>
                  </a:lnTo>
                  <a:lnTo>
                    <a:pt x="2473677" y="1614517"/>
                  </a:lnTo>
                  <a:lnTo>
                    <a:pt x="2472909" y="1614677"/>
                  </a:lnTo>
                  <a:lnTo>
                    <a:pt x="2472398" y="1615257"/>
                  </a:lnTo>
                  <a:lnTo>
                    <a:pt x="2472406" y="1615849"/>
                  </a:lnTo>
                  <a:lnTo>
                    <a:pt x="2475919" y="1616038"/>
                  </a:lnTo>
                  <a:lnTo>
                    <a:pt x="2479567" y="1618428"/>
                  </a:lnTo>
                  <a:lnTo>
                    <a:pt x="2480089" y="1619178"/>
                  </a:lnTo>
                  <a:lnTo>
                    <a:pt x="2479959" y="1620162"/>
                  </a:lnTo>
                  <a:lnTo>
                    <a:pt x="2478814" y="1621150"/>
                  </a:lnTo>
                  <a:lnTo>
                    <a:pt x="2478515" y="1622258"/>
                  </a:lnTo>
                  <a:lnTo>
                    <a:pt x="2480288" y="1621805"/>
                  </a:lnTo>
                  <a:lnTo>
                    <a:pt x="2480924" y="1622017"/>
                  </a:lnTo>
                  <a:lnTo>
                    <a:pt x="2481001" y="1622758"/>
                  </a:lnTo>
                  <a:lnTo>
                    <a:pt x="2480074" y="1623430"/>
                  </a:lnTo>
                  <a:lnTo>
                    <a:pt x="2478017" y="1623141"/>
                  </a:lnTo>
                  <a:lnTo>
                    <a:pt x="2477059" y="1623900"/>
                  </a:lnTo>
                  <a:lnTo>
                    <a:pt x="2476532" y="1624140"/>
                  </a:lnTo>
                  <a:lnTo>
                    <a:pt x="2475719" y="1625186"/>
                  </a:lnTo>
                  <a:lnTo>
                    <a:pt x="2474467" y="1627955"/>
                  </a:lnTo>
                  <a:lnTo>
                    <a:pt x="2475945" y="1628354"/>
                  </a:lnTo>
                  <a:lnTo>
                    <a:pt x="2478848" y="1625037"/>
                  </a:lnTo>
                  <a:lnTo>
                    <a:pt x="2480356" y="1624387"/>
                  </a:lnTo>
                  <a:lnTo>
                    <a:pt x="2480251" y="1625431"/>
                  </a:lnTo>
                  <a:lnTo>
                    <a:pt x="2480003" y="1625893"/>
                  </a:lnTo>
                  <a:lnTo>
                    <a:pt x="2479701" y="1626262"/>
                  </a:lnTo>
                  <a:lnTo>
                    <a:pt x="2479426" y="1627064"/>
                  </a:lnTo>
                  <a:lnTo>
                    <a:pt x="2479420" y="1628277"/>
                  </a:lnTo>
                  <a:lnTo>
                    <a:pt x="2479828" y="1628802"/>
                  </a:lnTo>
                  <a:lnTo>
                    <a:pt x="2480313" y="1628896"/>
                  </a:lnTo>
                  <a:lnTo>
                    <a:pt x="2480546" y="1628851"/>
                  </a:lnTo>
                  <a:lnTo>
                    <a:pt x="2480373" y="1630311"/>
                  </a:lnTo>
                  <a:lnTo>
                    <a:pt x="2479780" y="1631128"/>
                  </a:lnTo>
                  <a:lnTo>
                    <a:pt x="2479052" y="1631027"/>
                  </a:lnTo>
                  <a:lnTo>
                    <a:pt x="2478467" y="1629740"/>
                  </a:lnTo>
                  <a:lnTo>
                    <a:pt x="2478200" y="1629766"/>
                  </a:lnTo>
                  <a:lnTo>
                    <a:pt x="2478243" y="1631285"/>
                  </a:lnTo>
                  <a:lnTo>
                    <a:pt x="2477866" y="1633230"/>
                  </a:lnTo>
                  <a:lnTo>
                    <a:pt x="2477852" y="1634354"/>
                  </a:lnTo>
                  <a:lnTo>
                    <a:pt x="2478134" y="1635315"/>
                  </a:lnTo>
                  <a:lnTo>
                    <a:pt x="2478651" y="1636231"/>
                  </a:lnTo>
                  <a:lnTo>
                    <a:pt x="2479211" y="1636911"/>
                  </a:lnTo>
                  <a:lnTo>
                    <a:pt x="2480086" y="1637568"/>
                  </a:lnTo>
                  <a:lnTo>
                    <a:pt x="2480095" y="1638654"/>
                  </a:lnTo>
                  <a:lnTo>
                    <a:pt x="2479938" y="1640020"/>
                  </a:lnTo>
                  <a:lnTo>
                    <a:pt x="2479865" y="1642339"/>
                  </a:lnTo>
                  <a:lnTo>
                    <a:pt x="2479589" y="1642978"/>
                  </a:lnTo>
                  <a:lnTo>
                    <a:pt x="2478837" y="1644045"/>
                  </a:lnTo>
                  <a:lnTo>
                    <a:pt x="2479132" y="1645219"/>
                  </a:lnTo>
                  <a:lnTo>
                    <a:pt x="2478855" y="1645969"/>
                  </a:lnTo>
                  <a:lnTo>
                    <a:pt x="2477786" y="1647139"/>
                  </a:lnTo>
                  <a:lnTo>
                    <a:pt x="2478538" y="1647443"/>
                  </a:lnTo>
                  <a:lnTo>
                    <a:pt x="2479468" y="1648140"/>
                  </a:lnTo>
                  <a:lnTo>
                    <a:pt x="2480397" y="1649194"/>
                  </a:lnTo>
                  <a:lnTo>
                    <a:pt x="2481140" y="1650550"/>
                  </a:lnTo>
                  <a:lnTo>
                    <a:pt x="2480753" y="1651391"/>
                  </a:lnTo>
                  <a:lnTo>
                    <a:pt x="2479649" y="1651794"/>
                  </a:lnTo>
                  <a:lnTo>
                    <a:pt x="2479362" y="1652147"/>
                  </a:lnTo>
                  <a:lnTo>
                    <a:pt x="2479370" y="1652855"/>
                  </a:lnTo>
                  <a:lnTo>
                    <a:pt x="2479531" y="1653588"/>
                  </a:lnTo>
                  <a:lnTo>
                    <a:pt x="2479773" y="1654175"/>
                  </a:lnTo>
                  <a:lnTo>
                    <a:pt x="2480026" y="1654394"/>
                  </a:lnTo>
                  <a:lnTo>
                    <a:pt x="2480839" y="1654782"/>
                  </a:lnTo>
                  <a:lnTo>
                    <a:pt x="2481797" y="1655716"/>
                  </a:lnTo>
                  <a:lnTo>
                    <a:pt x="2482280" y="1656693"/>
                  </a:lnTo>
                  <a:lnTo>
                    <a:pt x="2481672" y="1657226"/>
                  </a:lnTo>
                  <a:lnTo>
                    <a:pt x="2481551" y="1657919"/>
                  </a:lnTo>
                  <a:lnTo>
                    <a:pt x="2481156" y="1661457"/>
                  </a:lnTo>
                  <a:lnTo>
                    <a:pt x="2480713" y="1661839"/>
                  </a:lnTo>
                  <a:lnTo>
                    <a:pt x="2478187" y="1665108"/>
                  </a:lnTo>
                  <a:lnTo>
                    <a:pt x="2477983" y="1665476"/>
                  </a:lnTo>
                  <a:lnTo>
                    <a:pt x="2477977" y="1666252"/>
                  </a:lnTo>
                  <a:lnTo>
                    <a:pt x="2478098" y="1667015"/>
                  </a:lnTo>
                  <a:lnTo>
                    <a:pt x="2478274" y="1667341"/>
                  </a:lnTo>
                  <a:lnTo>
                    <a:pt x="2479886" y="1667936"/>
                  </a:lnTo>
                  <a:lnTo>
                    <a:pt x="2482814" y="1669888"/>
                  </a:lnTo>
                  <a:lnTo>
                    <a:pt x="2490349" y="1672873"/>
                  </a:lnTo>
                  <a:lnTo>
                    <a:pt x="2490426" y="1673605"/>
                  </a:lnTo>
                  <a:lnTo>
                    <a:pt x="2488837" y="1673780"/>
                  </a:lnTo>
                  <a:lnTo>
                    <a:pt x="2484523" y="1678012"/>
                  </a:lnTo>
                  <a:lnTo>
                    <a:pt x="2487956" y="1676272"/>
                  </a:lnTo>
                  <a:lnTo>
                    <a:pt x="2489866" y="1675904"/>
                  </a:lnTo>
                  <a:lnTo>
                    <a:pt x="2491096" y="1677348"/>
                  </a:lnTo>
                  <a:lnTo>
                    <a:pt x="2491005" y="1677865"/>
                  </a:lnTo>
                  <a:lnTo>
                    <a:pt x="2490951" y="1678071"/>
                  </a:lnTo>
                  <a:lnTo>
                    <a:pt x="2491010" y="1678279"/>
                  </a:lnTo>
                  <a:lnTo>
                    <a:pt x="2491251" y="1678829"/>
                  </a:lnTo>
                  <a:lnTo>
                    <a:pt x="2490916" y="1680415"/>
                  </a:lnTo>
                  <a:lnTo>
                    <a:pt x="2491287" y="1681581"/>
                  </a:lnTo>
                  <a:lnTo>
                    <a:pt x="2492723" y="1683503"/>
                  </a:lnTo>
                  <a:lnTo>
                    <a:pt x="2493237" y="1684752"/>
                  </a:lnTo>
                  <a:lnTo>
                    <a:pt x="2493382" y="1686515"/>
                  </a:lnTo>
                  <a:lnTo>
                    <a:pt x="2493831" y="1687539"/>
                  </a:lnTo>
                  <a:lnTo>
                    <a:pt x="2495306" y="1688484"/>
                  </a:lnTo>
                  <a:lnTo>
                    <a:pt x="2497004" y="1687906"/>
                  </a:lnTo>
                  <a:lnTo>
                    <a:pt x="2498568" y="1686432"/>
                  </a:lnTo>
                  <a:lnTo>
                    <a:pt x="2499663" y="1684684"/>
                  </a:lnTo>
                  <a:lnTo>
                    <a:pt x="2499277" y="1684056"/>
                  </a:lnTo>
                  <a:lnTo>
                    <a:pt x="2498926" y="1683286"/>
                  </a:lnTo>
                  <a:lnTo>
                    <a:pt x="2498651" y="1682392"/>
                  </a:lnTo>
                  <a:lnTo>
                    <a:pt x="2498476" y="1681411"/>
                  </a:lnTo>
                  <a:lnTo>
                    <a:pt x="2497424" y="1680527"/>
                  </a:lnTo>
                  <a:lnTo>
                    <a:pt x="2497072" y="1680060"/>
                  </a:lnTo>
                  <a:lnTo>
                    <a:pt x="2497277" y="1679179"/>
                  </a:lnTo>
                  <a:lnTo>
                    <a:pt x="2499177" y="1676909"/>
                  </a:lnTo>
                  <a:lnTo>
                    <a:pt x="2499606" y="1676463"/>
                  </a:lnTo>
                  <a:lnTo>
                    <a:pt x="2500710" y="1675619"/>
                  </a:lnTo>
                  <a:lnTo>
                    <a:pt x="2502231" y="1672331"/>
                  </a:lnTo>
                  <a:lnTo>
                    <a:pt x="2503091" y="1671538"/>
                  </a:lnTo>
                  <a:lnTo>
                    <a:pt x="2503195" y="1671166"/>
                  </a:lnTo>
                  <a:lnTo>
                    <a:pt x="2503227" y="1670324"/>
                  </a:lnTo>
                  <a:lnTo>
                    <a:pt x="2503193" y="1668597"/>
                  </a:lnTo>
                  <a:lnTo>
                    <a:pt x="2502604" y="1667861"/>
                  </a:lnTo>
                  <a:lnTo>
                    <a:pt x="2502546" y="1667195"/>
                  </a:lnTo>
                  <a:lnTo>
                    <a:pt x="2503231" y="1666211"/>
                  </a:lnTo>
                  <a:lnTo>
                    <a:pt x="2502290" y="1665634"/>
                  </a:lnTo>
                  <a:lnTo>
                    <a:pt x="2503170" y="1664255"/>
                  </a:lnTo>
                  <a:lnTo>
                    <a:pt x="2505253" y="1663374"/>
                  </a:lnTo>
                  <a:lnTo>
                    <a:pt x="2506070" y="1662228"/>
                  </a:lnTo>
                  <a:lnTo>
                    <a:pt x="2505535" y="1661345"/>
                  </a:lnTo>
                  <a:lnTo>
                    <a:pt x="2505478" y="1660272"/>
                  </a:lnTo>
                  <a:lnTo>
                    <a:pt x="2505780" y="1659503"/>
                  </a:lnTo>
                  <a:lnTo>
                    <a:pt x="2506321" y="1659547"/>
                  </a:lnTo>
                  <a:lnTo>
                    <a:pt x="2507011" y="1659864"/>
                  </a:lnTo>
                  <a:lnTo>
                    <a:pt x="2507187" y="1659135"/>
                  </a:lnTo>
                  <a:lnTo>
                    <a:pt x="2507136" y="1657923"/>
                  </a:lnTo>
                  <a:lnTo>
                    <a:pt x="2507138" y="1656808"/>
                  </a:lnTo>
                  <a:lnTo>
                    <a:pt x="2507350" y="1655286"/>
                  </a:lnTo>
                  <a:lnTo>
                    <a:pt x="2507673" y="1653822"/>
                  </a:lnTo>
                  <a:lnTo>
                    <a:pt x="2508235" y="1652859"/>
                  </a:lnTo>
                  <a:lnTo>
                    <a:pt x="2506420" y="1653072"/>
                  </a:lnTo>
                  <a:lnTo>
                    <a:pt x="2505180" y="1652569"/>
                  </a:lnTo>
                  <a:lnTo>
                    <a:pt x="2504033" y="1651155"/>
                  </a:lnTo>
                  <a:lnTo>
                    <a:pt x="2503052" y="1648661"/>
                  </a:lnTo>
                  <a:lnTo>
                    <a:pt x="2502552" y="1646926"/>
                  </a:lnTo>
                  <a:lnTo>
                    <a:pt x="2502454" y="1645679"/>
                  </a:lnTo>
                  <a:lnTo>
                    <a:pt x="2502967" y="1644616"/>
                  </a:lnTo>
                  <a:lnTo>
                    <a:pt x="2503627" y="1643639"/>
                  </a:lnTo>
                  <a:lnTo>
                    <a:pt x="2503998" y="1642434"/>
                  </a:lnTo>
                  <a:lnTo>
                    <a:pt x="2503657" y="1640651"/>
                  </a:lnTo>
                  <a:lnTo>
                    <a:pt x="2505586" y="1638594"/>
                  </a:lnTo>
                  <a:lnTo>
                    <a:pt x="2506053" y="1637458"/>
                  </a:lnTo>
                  <a:lnTo>
                    <a:pt x="2506379" y="1635317"/>
                  </a:lnTo>
                  <a:lnTo>
                    <a:pt x="2506625" y="1634598"/>
                  </a:lnTo>
                  <a:lnTo>
                    <a:pt x="2507190" y="1634277"/>
                  </a:lnTo>
                  <a:lnTo>
                    <a:pt x="2508430" y="1635389"/>
                  </a:lnTo>
                  <a:lnTo>
                    <a:pt x="2509254" y="1638188"/>
                  </a:lnTo>
                  <a:lnTo>
                    <a:pt x="2509557" y="1641434"/>
                  </a:lnTo>
                  <a:lnTo>
                    <a:pt x="2509233" y="1643848"/>
                  </a:lnTo>
                  <a:lnTo>
                    <a:pt x="2509875" y="1643835"/>
                  </a:lnTo>
                  <a:lnTo>
                    <a:pt x="2510365" y="1643258"/>
                  </a:lnTo>
                  <a:lnTo>
                    <a:pt x="2511139" y="1641391"/>
                  </a:lnTo>
                  <a:lnTo>
                    <a:pt x="2511101" y="1640887"/>
                  </a:lnTo>
                  <a:lnTo>
                    <a:pt x="2510956" y="1640033"/>
                  </a:lnTo>
                  <a:lnTo>
                    <a:pt x="2510692" y="1639112"/>
                  </a:lnTo>
                  <a:lnTo>
                    <a:pt x="2510546" y="1638392"/>
                  </a:lnTo>
                  <a:lnTo>
                    <a:pt x="2510185" y="1636893"/>
                  </a:lnTo>
                  <a:lnTo>
                    <a:pt x="2510000" y="1634795"/>
                  </a:lnTo>
                  <a:lnTo>
                    <a:pt x="2509982" y="1632726"/>
                  </a:lnTo>
                  <a:lnTo>
                    <a:pt x="2510130" y="1631327"/>
                  </a:lnTo>
                  <a:lnTo>
                    <a:pt x="2510423" y="1629732"/>
                  </a:lnTo>
                  <a:lnTo>
                    <a:pt x="2510371" y="1628412"/>
                  </a:lnTo>
                  <a:lnTo>
                    <a:pt x="2509999" y="1627165"/>
                  </a:lnTo>
                  <a:lnTo>
                    <a:pt x="2509346" y="1625796"/>
                  </a:lnTo>
                  <a:lnTo>
                    <a:pt x="2509711" y="1625350"/>
                  </a:lnTo>
                  <a:lnTo>
                    <a:pt x="2510011" y="1624700"/>
                  </a:lnTo>
                  <a:lnTo>
                    <a:pt x="2510167" y="1623817"/>
                  </a:lnTo>
                  <a:lnTo>
                    <a:pt x="2510103" y="1622722"/>
                  </a:lnTo>
                  <a:lnTo>
                    <a:pt x="2509734" y="1621483"/>
                  </a:lnTo>
                  <a:lnTo>
                    <a:pt x="2509246" y="1621145"/>
                  </a:lnTo>
                  <a:lnTo>
                    <a:pt x="2508035" y="1621455"/>
                  </a:lnTo>
                  <a:lnTo>
                    <a:pt x="2508262" y="1619904"/>
                  </a:lnTo>
                  <a:lnTo>
                    <a:pt x="2508318" y="1619031"/>
                  </a:lnTo>
                  <a:lnTo>
                    <a:pt x="2508159" y="1618068"/>
                  </a:lnTo>
                  <a:lnTo>
                    <a:pt x="2507362" y="1614922"/>
                  </a:lnTo>
                  <a:lnTo>
                    <a:pt x="2506566" y="1612289"/>
                  </a:lnTo>
                  <a:lnTo>
                    <a:pt x="2506018" y="1608817"/>
                  </a:lnTo>
                  <a:lnTo>
                    <a:pt x="2505984" y="1607969"/>
                  </a:lnTo>
                  <a:lnTo>
                    <a:pt x="2506064" y="1606635"/>
                  </a:lnTo>
                  <a:lnTo>
                    <a:pt x="2506402" y="1603688"/>
                  </a:lnTo>
                  <a:lnTo>
                    <a:pt x="2506893" y="1600854"/>
                  </a:lnTo>
                  <a:lnTo>
                    <a:pt x="2507876" y="1598080"/>
                  </a:lnTo>
                  <a:lnTo>
                    <a:pt x="2512223" y="1592392"/>
                  </a:lnTo>
                  <a:lnTo>
                    <a:pt x="2515408" y="1585218"/>
                  </a:lnTo>
                  <a:lnTo>
                    <a:pt x="2515268" y="1584288"/>
                  </a:lnTo>
                  <a:lnTo>
                    <a:pt x="2516376" y="1582779"/>
                  </a:lnTo>
                  <a:lnTo>
                    <a:pt x="2516594" y="1581736"/>
                  </a:lnTo>
                  <a:lnTo>
                    <a:pt x="2516443" y="1578767"/>
                  </a:lnTo>
                  <a:lnTo>
                    <a:pt x="2516318" y="1578367"/>
                  </a:lnTo>
                  <a:lnTo>
                    <a:pt x="2516774" y="1577841"/>
                  </a:lnTo>
                  <a:lnTo>
                    <a:pt x="2518391" y="1574383"/>
                  </a:lnTo>
                  <a:lnTo>
                    <a:pt x="2519159" y="1573734"/>
                  </a:lnTo>
                  <a:lnTo>
                    <a:pt x="2520870" y="1572914"/>
                  </a:lnTo>
                  <a:lnTo>
                    <a:pt x="2523118" y="1570685"/>
                  </a:lnTo>
                  <a:lnTo>
                    <a:pt x="2529514" y="1571100"/>
                  </a:lnTo>
                  <a:lnTo>
                    <a:pt x="2533583" y="1574287"/>
                  </a:lnTo>
                  <a:lnTo>
                    <a:pt x="2533898" y="1574985"/>
                  </a:lnTo>
                  <a:lnTo>
                    <a:pt x="2533862" y="1576249"/>
                  </a:lnTo>
                  <a:lnTo>
                    <a:pt x="2534361" y="1577577"/>
                  </a:lnTo>
                  <a:lnTo>
                    <a:pt x="2534934" y="1578435"/>
                  </a:lnTo>
                  <a:lnTo>
                    <a:pt x="2535529" y="1578892"/>
                  </a:lnTo>
                  <a:lnTo>
                    <a:pt x="2535818" y="1579008"/>
                  </a:lnTo>
                  <a:lnTo>
                    <a:pt x="2536455" y="1579863"/>
                  </a:lnTo>
                  <a:lnTo>
                    <a:pt x="2537796" y="1582769"/>
                  </a:lnTo>
                  <a:lnTo>
                    <a:pt x="2538599" y="1583977"/>
                  </a:lnTo>
                  <a:lnTo>
                    <a:pt x="2543908" y="1589422"/>
                  </a:lnTo>
                  <a:lnTo>
                    <a:pt x="2551213" y="1594364"/>
                  </a:lnTo>
                  <a:lnTo>
                    <a:pt x="2552951" y="1596069"/>
                  </a:lnTo>
                  <a:lnTo>
                    <a:pt x="2556049" y="1597383"/>
                  </a:lnTo>
                  <a:lnTo>
                    <a:pt x="2564706" y="1603433"/>
                  </a:lnTo>
                  <a:lnTo>
                    <a:pt x="2575433" y="1615486"/>
                  </a:lnTo>
                  <a:lnTo>
                    <a:pt x="2577670" y="1619294"/>
                  </a:lnTo>
                  <a:lnTo>
                    <a:pt x="2579612" y="1623595"/>
                  </a:lnTo>
                  <a:lnTo>
                    <a:pt x="2581081" y="1628065"/>
                  </a:lnTo>
                  <a:lnTo>
                    <a:pt x="2581684" y="1630409"/>
                  </a:lnTo>
                  <a:lnTo>
                    <a:pt x="2581903" y="1631726"/>
                  </a:lnTo>
                  <a:lnTo>
                    <a:pt x="2581903" y="1632877"/>
                  </a:lnTo>
                  <a:lnTo>
                    <a:pt x="2581449" y="1636654"/>
                  </a:lnTo>
                  <a:lnTo>
                    <a:pt x="2582046" y="1638891"/>
                  </a:lnTo>
                  <a:lnTo>
                    <a:pt x="2583016" y="1641138"/>
                  </a:lnTo>
                  <a:lnTo>
                    <a:pt x="2584028" y="1643011"/>
                  </a:lnTo>
                  <a:lnTo>
                    <a:pt x="2584747" y="1644088"/>
                  </a:lnTo>
                  <a:lnTo>
                    <a:pt x="2585195" y="1646310"/>
                  </a:lnTo>
                  <a:lnTo>
                    <a:pt x="2585950" y="1648371"/>
                  </a:lnTo>
                  <a:lnTo>
                    <a:pt x="2586987" y="1650052"/>
                  </a:lnTo>
                  <a:lnTo>
                    <a:pt x="2588274" y="1651107"/>
                  </a:lnTo>
                  <a:lnTo>
                    <a:pt x="2588066" y="1652803"/>
                  </a:lnTo>
                  <a:lnTo>
                    <a:pt x="2588201" y="1654074"/>
                  </a:lnTo>
                  <a:lnTo>
                    <a:pt x="2588612" y="1655060"/>
                  </a:lnTo>
                  <a:lnTo>
                    <a:pt x="2590500" y="1657884"/>
                  </a:lnTo>
                  <a:lnTo>
                    <a:pt x="2590958" y="1659812"/>
                  </a:lnTo>
                  <a:lnTo>
                    <a:pt x="2591073" y="1661889"/>
                  </a:lnTo>
                  <a:lnTo>
                    <a:pt x="2591312" y="1664346"/>
                  </a:lnTo>
                  <a:lnTo>
                    <a:pt x="2591567" y="1665059"/>
                  </a:lnTo>
                  <a:lnTo>
                    <a:pt x="2591842" y="1665306"/>
                  </a:lnTo>
                  <a:lnTo>
                    <a:pt x="2591975" y="1665717"/>
                  </a:lnTo>
                  <a:lnTo>
                    <a:pt x="2591808" y="1666870"/>
                  </a:lnTo>
                  <a:lnTo>
                    <a:pt x="2591728" y="1667809"/>
                  </a:lnTo>
                  <a:lnTo>
                    <a:pt x="2591720" y="1668913"/>
                  </a:lnTo>
                  <a:lnTo>
                    <a:pt x="2591665" y="1669848"/>
                  </a:lnTo>
                  <a:lnTo>
                    <a:pt x="2591454" y="1670268"/>
                  </a:lnTo>
                  <a:lnTo>
                    <a:pt x="2591281" y="1670786"/>
                  </a:lnTo>
                  <a:lnTo>
                    <a:pt x="2591170" y="1673212"/>
                  </a:lnTo>
                  <a:lnTo>
                    <a:pt x="2591069" y="1674153"/>
                  </a:lnTo>
                  <a:lnTo>
                    <a:pt x="2590787" y="1674902"/>
                  </a:lnTo>
                  <a:lnTo>
                    <a:pt x="2589442" y="1676574"/>
                  </a:lnTo>
                  <a:lnTo>
                    <a:pt x="2588899" y="1678102"/>
                  </a:lnTo>
                  <a:lnTo>
                    <a:pt x="2588496" y="1679785"/>
                  </a:lnTo>
                  <a:lnTo>
                    <a:pt x="2587948" y="1680641"/>
                  </a:lnTo>
                  <a:lnTo>
                    <a:pt x="2585516" y="1677877"/>
                  </a:lnTo>
                  <a:lnTo>
                    <a:pt x="2584033" y="1677075"/>
                  </a:lnTo>
                  <a:lnTo>
                    <a:pt x="2581249" y="1677030"/>
                  </a:lnTo>
                  <a:lnTo>
                    <a:pt x="2580949" y="1676932"/>
                  </a:lnTo>
                  <a:lnTo>
                    <a:pt x="2580272" y="1676438"/>
                  </a:lnTo>
                  <a:lnTo>
                    <a:pt x="2579879" y="1676398"/>
                  </a:lnTo>
                  <a:lnTo>
                    <a:pt x="2579748" y="1676658"/>
                  </a:lnTo>
                  <a:lnTo>
                    <a:pt x="2579446" y="1677729"/>
                  </a:lnTo>
                  <a:lnTo>
                    <a:pt x="2579291" y="1677983"/>
                  </a:lnTo>
                  <a:lnTo>
                    <a:pt x="2578789" y="1677981"/>
                  </a:lnTo>
                  <a:lnTo>
                    <a:pt x="2578295" y="1677752"/>
                  </a:lnTo>
                  <a:lnTo>
                    <a:pt x="2577810" y="1677151"/>
                  </a:lnTo>
                  <a:lnTo>
                    <a:pt x="2577349" y="1676059"/>
                  </a:lnTo>
                  <a:lnTo>
                    <a:pt x="2577079" y="1674497"/>
                  </a:lnTo>
                  <a:lnTo>
                    <a:pt x="2576083" y="1664922"/>
                  </a:lnTo>
                  <a:lnTo>
                    <a:pt x="2575842" y="1663652"/>
                  </a:lnTo>
                  <a:lnTo>
                    <a:pt x="2575487" y="1662729"/>
                  </a:lnTo>
                  <a:lnTo>
                    <a:pt x="2574937" y="1662351"/>
                  </a:lnTo>
                  <a:lnTo>
                    <a:pt x="2574480" y="1662723"/>
                  </a:lnTo>
                  <a:lnTo>
                    <a:pt x="2574394" y="1663674"/>
                  </a:lnTo>
                  <a:lnTo>
                    <a:pt x="2574949" y="1665049"/>
                  </a:lnTo>
                  <a:lnTo>
                    <a:pt x="2574674" y="1665638"/>
                  </a:lnTo>
                  <a:lnTo>
                    <a:pt x="2573282" y="1666846"/>
                  </a:lnTo>
                  <a:lnTo>
                    <a:pt x="2572875" y="1667600"/>
                  </a:lnTo>
                  <a:lnTo>
                    <a:pt x="2572022" y="1669953"/>
                  </a:lnTo>
                  <a:lnTo>
                    <a:pt x="2571222" y="1671058"/>
                  </a:lnTo>
                  <a:lnTo>
                    <a:pt x="2568365" y="1673417"/>
                  </a:lnTo>
                  <a:lnTo>
                    <a:pt x="2568398" y="1673767"/>
                  </a:lnTo>
                  <a:lnTo>
                    <a:pt x="2568376" y="1674347"/>
                  </a:lnTo>
                  <a:lnTo>
                    <a:pt x="2568232" y="1674961"/>
                  </a:lnTo>
                  <a:lnTo>
                    <a:pt x="2569294" y="1676981"/>
                  </a:lnTo>
                  <a:lnTo>
                    <a:pt x="2571546" y="1679877"/>
                  </a:lnTo>
                  <a:lnTo>
                    <a:pt x="2572535" y="1681969"/>
                  </a:lnTo>
                  <a:lnTo>
                    <a:pt x="2572676" y="1682635"/>
                  </a:lnTo>
                  <a:lnTo>
                    <a:pt x="2572736" y="1683325"/>
                  </a:lnTo>
                  <a:lnTo>
                    <a:pt x="2572821" y="1683985"/>
                  </a:lnTo>
                  <a:lnTo>
                    <a:pt x="2573044" y="1684564"/>
                  </a:lnTo>
                  <a:lnTo>
                    <a:pt x="2573991" y="1686276"/>
                  </a:lnTo>
                  <a:lnTo>
                    <a:pt x="2575427" y="1690595"/>
                  </a:lnTo>
                  <a:lnTo>
                    <a:pt x="2575627" y="1691912"/>
                  </a:lnTo>
                  <a:lnTo>
                    <a:pt x="2575597" y="1692708"/>
                  </a:lnTo>
                  <a:lnTo>
                    <a:pt x="2574236" y="1695881"/>
                  </a:lnTo>
                  <a:lnTo>
                    <a:pt x="2574078" y="1696104"/>
                  </a:lnTo>
                  <a:lnTo>
                    <a:pt x="2573781" y="1696389"/>
                  </a:lnTo>
                  <a:lnTo>
                    <a:pt x="2573896" y="1696987"/>
                  </a:lnTo>
                  <a:lnTo>
                    <a:pt x="2574140" y="1697697"/>
                  </a:lnTo>
                  <a:lnTo>
                    <a:pt x="2574244" y="1698328"/>
                  </a:lnTo>
                  <a:lnTo>
                    <a:pt x="2574370" y="1698392"/>
                  </a:lnTo>
                  <a:lnTo>
                    <a:pt x="2574541" y="1698933"/>
                  </a:lnTo>
                  <a:lnTo>
                    <a:pt x="2574542" y="1699564"/>
                  </a:lnTo>
                  <a:lnTo>
                    <a:pt x="2573906" y="1700101"/>
                  </a:lnTo>
                  <a:lnTo>
                    <a:pt x="2573138" y="1701054"/>
                  </a:lnTo>
                  <a:lnTo>
                    <a:pt x="2572965" y="1701506"/>
                  </a:lnTo>
                  <a:lnTo>
                    <a:pt x="2573095" y="1702411"/>
                  </a:lnTo>
                  <a:lnTo>
                    <a:pt x="2573468" y="1703118"/>
                  </a:lnTo>
                  <a:lnTo>
                    <a:pt x="2574221" y="1704343"/>
                  </a:lnTo>
                  <a:lnTo>
                    <a:pt x="2573999" y="1707313"/>
                  </a:lnTo>
                  <a:lnTo>
                    <a:pt x="2574659" y="1709373"/>
                  </a:lnTo>
                  <a:lnTo>
                    <a:pt x="2575621" y="1711205"/>
                  </a:lnTo>
                  <a:lnTo>
                    <a:pt x="2576852" y="1715463"/>
                  </a:lnTo>
                  <a:lnTo>
                    <a:pt x="2578526" y="1719129"/>
                  </a:lnTo>
                  <a:lnTo>
                    <a:pt x="2579008" y="1720707"/>
                  </a:lnTo>
                  <a:lnTo>
                    <a:pt x="2579437" y="1722490"/>
                  </a:lnTo>
                  <a:lnTo>
                    <a:pt x="2580210" y="1724615"/>
                  </a:lnTo>
                  <a:lnTo>
                    <a:pt x="2581143" y="1726666"/>
                  </a:lnTo>
                  <a:lnTo>
                    <a:pt x="2582056" y="1728217"/>
                  </a:lnTo>
                  <a:lnTo>
                    <a:pt x="2585014" y="1730373"/>
                  </a:lnTo>
                  <a:lnTo>
                    <a:pt x="2586137" y="1732043"/>
                  </a:lnTo>
                  <a:lnTo>
                    <a:pt x="2586155" y="1735175"/>
                  </a:lnTo>
                  <a:lnTo>
                    <a:pt x="2587408" y="1738009"/>
                  </a:lnTo>
                  <a:lnTo>
                    <a:pt x="2588066" y="1738985"/>
                  </a:lnTo>
                  <a:lnTo>
                    <a:pt x="2589414" y="1740278"/>
                  </a:lnTo>
                  <a:lnTo>
                    <a:pt x="2589981" y="1741074"/>
                  </a:lnTo>
                  <a:lnTo>
                    <a:pt x="2591579" y="1742762"/>
                  </a:lnTo>
                  <a:lnTo>
                    <a:pt x="2595549" y="1743780"/>
                  </a:lnTo>
                  <a:lnTo>
                    <a:pt x="2597291" y="1744980"/>
                  </a:lnTo>
                  <a:lnTo>
                    <a:pt x="2598780" y="1747093"/>
                  </a:lnTo>
                  <a:lnTo>
                    <a:pt x="2600930" y="1749049"/>
                  </a:lnTo>
                  <a:lnTo>
                    <a:pt x="2601626" y="1750004"/>
                  </a:lnTo>
                  <a:lnTo>
                    <a:pt x="2602397" y="1751441"/>
                  </a:lnTo>
                  <a:lnTo>
                    <a:pt x="2603787" y="1753449"/>
                  </a:lnTo>
                  <a:lnTo>
                    <a:pt x="2608545" y="1756994"/>
                  </a:lnTo>
                  <a:lnTo>
                    <a:pt x="2611572" y="1761764"/>
                  </a:lnTo>
                  <a:lnTo>
                    <a:pt x="2612394" y="1762461"/>
                  </a:lnTo>
                  <a:lnTo>
                    <a:pt x="2612890" y="1762703"/>
                  </a:lnTo>
                  <a:lnTo>
                    <a:pt x="2615871" y="1765607"/>
                  </a:lnTo>
                  <a:lnTo>
                    <a:pt x="2620013" y="1768338"/>
                  </a:lnTo>
                  <a:lnTo>
                    <a:pt x="2620888" y="1769406"/>
                  </a:lnTo>
                  <a:lnTo>
                    <a:pt x="2621557" y="1771215"/>
                  </a:lnTo>
                  <a:lnTo>
                    <a:pt x="2622691" y="1777916"/>
                  </a:lnTo>
                  <a:lnTo>
                    <a:pt x="2623139" y="1778819"/>
                  </a:lnTo>
                  <a:lnTo>
                    <a:pt x="2623808" y="1778505"/>
                  </a:lnTo>
                  <a:lnTo>
                    <a:pt x="2624942" y="1777247"/>
                  </a:lnTo>
                  <a:lnTo>
                    <a:pt x="2625909" y="1777278"/>
                  </a:lnTo>
                  <a:lnTo>
                    <a:pt x="2626606" y="1777937"/>
                  </a:lnTo>
                  <a:lnTo>
                    <a:pt x="2626883" y="1779121"/>
                  </a:lnTo>
                  <a:lnTo>
                    <a:pt x="2626615" y="1780763"/>
                  </a:lnTo>
                  <a:lnTo>
                    <a:pt x="2626351" y="1781197"/>
                  </a:lnTo>
                  <a:lnTo>
                    <a:pt x="2625152" y="1782479"/>
                  </a:lnTo>
                  <a:lnTo>
                    <a:pt x="2623760" y="1785014"/>
                  </a:lnTo>
                  <a:lnTo>
                    <a:pt x="2622316" y="1786088"/>
                  </a:lnTo>
                  <a:lnTo>
                    <a:pt x="2621995" y="1786713"/>
                  </a:lnTo>
                  <a:lnTo>
                    <a:pt x="2621802" y="1787791"/>
                  </a:lnTo>
                  <a:lnTo>
                    <a:pt x="2621846" y="1788391"/>
                  </a:lnTo>
                  <a:lnTo>
                    <a:pt x="2622003" y="1788929"/>
                  </a:lnTo>
                  <a:lnTo>
                    <a:pt x="2622135" y="1789775"/>
                  </a:lnTo>
                  <a:lnTo>
                    <a:pt x="2622271" y="1791029"/>
                  </a:lnTo>
                  <a:lnTo>
                    <a:pt x="2622434" y="1792042"/>
                  </a:lnTo>
                  <a:lnTo>
                    <a:pt x="2622569" y="1793197"/>
                  </a:lnTo>
                  <a:lnTo>
                    <a:pt x="2622610" y="1794900"/>
                  </a:lnTo>
                  <a:lnTo>
                    <a:pt x="2623416" y="1794522"/>
                  </a:lnTo>
                  <a:lnTo>
                    <a:pt x="2624122" y="1793830"/>
                  </a:lnTo>
                  <a:lnTo>
                    <a:pt x="2624707" y="1792757"/>
                  </a:lnTo>
                  <a:lnTo>
                    <a:pt x="2625549" y="1789295"/>
                  </a:lnTo>
                  <a:lnTo>
                    <a:pt x="2625958" y="1788202"/>
                  </a:lnTo>
                  <a:lnTo>
                    <a:pt x="2626585" y="1787647"/>
                  </a:lnTo>
                  <a:lnTo>
                    <a:pt x="2627647" y="1787386"/>
                  </a:lnTo>
                  <a:lnTo>
                    <a:pt x="2629618" y="1787846"/>
                  </a:lnTo>
                  <a:lnTo>
                    <a:pt x="2629792" y="1788156"/>
                  </a:lnTo>
                  <a:lnTo>
                    <a:pt x="2630104" y="1789775"/>
                  </a:lnTo>
                  <a:lnTo>
                    <a:pt x="2630791" y="1791853"/>
                  </a:lnTo>
                  <a:lnTo>
                    <a:pt x="2631231" y="1793672"/>
                  </a:lnTo>
                  <a:lnTo>
                    <a:pt x="2631750" y="1795201"/>
                  </a:lnTo>
                  <a:lnTo>
                    <a:pt x="2632479" y="1795765"/>
                  </a:lnTo>
                  <a:lnTo>
                    <a:pt x="2632818" y="1794525"/>
                  </a:lnTo>
                  <a:lnTo>
                    <a:pt x="2632530" y="1786654"/>
                  </a:lnTo>
                  <a:lnTo>
                    <a:pt x="2632692" y="1785997"/>
                  </a:lnTo>
                  <a:lnTo>
                    <a:pt x="2633210" y="1785097"/>
                  </a:lnTo>
                  <a:lnTo>
                    <a:pt x="2633332" y="1784271"/>
                  </a:lnTo>
                  <a:lnTo>
                    <a:pt x="2633177" y="1783738"/>
                  </a:lnTo>
                  <a:lnTo>
                    <a:pt x="2632833" y="1783336"/>
                  </a:lnTo>
                  <a:lnTo>
                    <a:pt x="2632518" y="1782872"/>
                  </a:lnTo>
                  <a:lnTo>
                    <a:pt x="2632447" y="1782142"/>
                  </a:lnTo>
                  <a:lnTo>
                    <a:pt x="2632877" y="1781309"/>
                  </a:lnTo>
                  <a:lnTo>
                    <a:pt x="2634312" y="1781684"/>
                  </a:lnTo>
                  <a:lnTo>
                    <a:pt x="2634871" y="1781020"/>
                  </a:lnTo>
                  <a:lnTo>
                    <a:pt x="2634691" y="1780091"/>
                  </a:lnTo>
                  <a:lnTo>
                    <a:pt x="2635474" y="1779972"/>
                  </a:lnTo>
                  <a:lnTo>
                    <a:pt x="2636661" y="1780653"/>
                  </a:lnTo>
                  <a:lnTo>
                    <a:pt x="2637693" y="1782099"/>
                  </a:lnTo>
                  <a:lnTo>
                    <a:pt x="2637625" y="1783389"/>
                  </a:lnTo>
                  <a:lnTo>
                    <a:pt x="2637956" y="1784942"/>
                  </a:lnTo>
                  <a:lnTo>
                    <a:pt x="2638463" y="1785884"/>
                  </a:lnTo>
                  <a:lnTo>
                    <a:pt x="2638925" y="1785305"/>
                  </a:lnTo>
                  <a:lnTo>
                    <a:pt x="2639301" y="1782755"/>
                  </a:lnTo>
                  <a:lnTo>
                    <a:pt x="2639405" y="1781419"/>
                  </a:lnTo>
                  <a:lnTo>
                    <a:pt x="2639432" y="1780324"/>
                  </a:lnTo>
                  <a:lnTo>
                    <a:pt x="2638825" y="1777641"/>
                  </a:lnTo>
                  <a:lnTo>
                    <a:pt x="2638854" y="1776505"/>
                  </a:lnTo>
                  <a:lnTo>
                    <a:pt x="2639793" y="1776882"/>
                  </a:lnTo>
                  <a:lnTo>
                    <a:pt x="2640772" y="1777571"/>
                  </a:lnTo>
                  <a:lnTo>
                    <a:pt x="2641866" y="1777896"/>
                  </a:lnTo>
                  <a:lnTo>
                    <a:pt x="2642870" y="1777659"/>
                  </a:lnTo>
                  <a:lnTo>
                    <a:pt x="2643575" y="1776674"/>
                  </a:lnTo>
                  <a:lnTo>
                    <a:pt x="2641731" y="1774965"/>
                  </a:lnTo>
                  <a:lnTo>
                    <a:pt x="2641076" y="1773585"/>
                  </a:lnTo>
                  <a:lnTo>
                    <a:pt x="2641340" y="1771742"/>
                  </a:lnTo>
                  <a:lnTo>
                    <a:pt x="2640517" y="1771102"/>
                  </a:lnTo>
                  <a:lnTo>
                    <a:pt x="2638952" y="1770562"/>
                  </a:lnTo>
                  <a:lnTo>
                    <a:pt x="2638115" y="1769909"/>
                  </a:lnTo>
                  <a:lnTo>
                    <a:pt x="2637546" y="1769202"/>
                  </a:lnTo>
                  <a:lnTo>
                    <a:pt x="2636813" y="1768071"/>
                  </a:lnTo>
                  <a:lnTo>
                    <a:pt x="2636443" y="1766973"/>
                  </a:lnTo>
                  <a:lnTo>
                    <a:pt x="2636967" y="1766390"/>
                  </a:lnTo>
                  <a:lnTo>
                    <a:pt x="2638623" y="1766436"/>
                  </a:lnTo>
                  <a:lnTo>
                    <a:pt x="2639497" y="1766853"/>
                  </a:lnTo>
                  <a:lnTo>
                    <a:pt x="2640256" y="1767733"/>
                  </a:lnTo>
                  <a:lnTo>
                    <a:pt x="2640773" y="1768677"/>
                  </a:lnTo>
                  <a:lnTo>
                    <a:pt x="2641257" y="1769370"/>
                  </a:lnTo>
                  <a:lnTo>
                    <a:pt x="2641747" y="1769442"/>
                  </a:lnTo>
                  <a:lnTo>
                    <a:pt x="2642280" y="1768510"/>
                  </a:lnTo>
                  <a:lnTo>
                    <a:pt x="2641811" y="1767276"/>
                  </a:lnTo>
                  <a:lnTo>
                    <a:pt x="2641579" y="1765816"/>
                  </a:lnTo>
                  <a:lnTo>
                    <a:pt x="2641665" y="1764590"/>
                  </a:lnTo>
                  <a:lnTo>
                    <a:pt x="2642789" y="1763323"/>
                  </a:lnTo>
                  <a:lnTo>
                    <a:pt x="2643743" y="1760582"/>
                  </a:lnTo>
                  <a:lnTo>
                    <a:pt x="2644246" y="1759915"/>
                  </a:lnTo>
                  <a:lnTo>
                    <a:pt x="2647002" y="1758250"/>
                  </a:lnTo>
                  <a:lnTo>
                    <a:pt x="2648301" y="1757887"/>
                  </a:lnTo>
                  <a:lnTo>
                    <a:pt x="2650068" y="1758995"/>
                  </a:lnTo>
                  <a:lnTo>
                    <a:pt x="2652946" y="1762132"/>
                  </a:lnTo>
                  <a:lnTo>
                    <a:pt x="2654463" y="1762973"/>
                  </a:lnTo>
                  <a:lnTo>
                    <a:pt x="2655476" y="1761902"/>
                  </a:lnTo>
                  <a:lnTo>
                    <a:pt x="2655078" y="1758639"/>
                  </a:lnTo>
                  <a:lnTo>
                    <a:pt x="2655153" y="1757264"/>
                  </a:lnTo>
                  <a:lnTo>
                    <a:pt x="2656029" y="1758040"/>
                  </a:lnTo>
                  <a:lnTo>
                    <a:pt x="2656321" y="1759059"/>
                  </a:lnTo>
                  <a:lnTo>
                    <a:pt x="2656471" y="1760501"/>
                  </a:lnTo>
                  <a:lnTo>
                    <a:pt x="2656517" y="1761829"/>
                  </a:lnTo>
                  <a:lnTo>
                    <a:pt x="2656498" y="1762497"/>
                  </a:lnTo>
                  <a:lnTo>
                    <a:pt x="2657605" y="1764072"/>
                  </a:lnTo>
                  <a:lnTo>
                    <a:pt x="2658820" y="1763548"/>
                  </a:lnTo>
                  <a:lnTo>
                    <a:pt x="2659865" y="1761938"/>
                  </a:lnTo>
                  <a:lnTo>
                    <a:pt x="2660461" y="1760272"/>
                  </a:lnTo>
                  <a:lnTo>
                    <a:pt x="2659846" y="1759104"/>
                  </a:lnTo>
                  <a:lnTo>
                    <a:pt x="2658722" y="1756444"/>
                  </a:lnTo>
                  <a:lnTo>
                    <a:pt x="2658205" y="1755431"/>
                  </a:lnTo>
                  <a:lnTo>
                    <a:pt x="2658131" y="1755015"/>
                  </a:lnTo>
                  <a:lnTo>
                    <a:pt x="2657974" y="1753894"/>
                  </a:lnTo>
                  <a:lnTo>
                    <a:pt x="2657839" y="1753224"/>
                  </a:lnTo>
                  <a:lnTo>
                    <a:pt x="2659402" y="1752457"/>
                  </a:lnTo>
                  <a:lnTo>
                    <a:pt x="2659906" y="1751556"/>
                  </a:lnTo>
                  <a:lnTo>
                    <a:pt x="2659819" y="1749474"/>
                  </a:lnTo>
                  <a:lnTo>
                    <a:pt x="2659392" y="1748253"/>
                  </a:lnTo>
                  <a:lnTo>
                    <a:pt x="2658827" y="1747266"/>
                  </a:lnTo>
                  <a:lnTo>
                    <a:pt x="2658466" y="1746016"/>
                  </a:lnTo>
                  <a:lnTo>
                    <a:pt x="2658638" y="1743964"/>
                  </a:lnTo>
                  <a:lnTo>
                    <a:pt x="2658139" y="1742692"/>
                  </a:lnTo>
                  <a:lnTo>
                    <a:pt x="2657985" y="1741574"/>
                  </a:lnTo>
                  <a:lnTo>
                    <a:pt x="2657957" y="1740459"/>
                  </a:lnTo>
                  <a:lnTo>
                    <a:pt x="2657842" y="1739192"/>
                  </a:lnTo>
                  <a:lnTo>
                    <a:pt x="2658096" y="1738574"/>
                  </a:lnTo>
                  <a:lnTo>
                    <a:pt x="2658463" y="1737053"/>
                  </a:lnTo>
                  <a:lnTo>
                    <a:pt x="2658412" y="1735563"/>
                  </a:lnTo>
                  <a:lnTo>
                    <a:pt x="2656739" y="1734599"/>
                  </a:lnTo>
                  <a:lnTo>
                    <a:pt x="2656364" y="1733379"/>
                  </a:lnTo>
                  <a:lnTo>
                    <a:pt x="2656127" y="1731915"/>
                  </a:lnTo>
                  <a:lnTo>
                    <a:pt x="2655860" y="1730763"/>
                  </a:lnTo>
                  <a:lnTo>
                    <a:pt x="2655413" y="1729931"/>
                  </a:lnTo>
                  <a:lnTo>
                    <a:pt x="2654315" y="1728302"/>
                  </a:lnTo>
                  <a:lnTo>
                    <a:pt x="2653828" y="1727329"/>
                  </a:lnTo>
                  <a:lnTo>
                    <a:pt x="2655422" y="1723697"/>
                  </a:lnTo>
                  <a:lnTo>
                    <a:pt x="2657269" y="1713219"/>
                  </a:lnTo>
                  <a:lnTo>
                    <a:pt x="2658539" y="1709122"/>
                  </a:lnTo>
                  <a:lnTo>
                    <a:pt x="2660311" y="1706263"/>
                  </a:lnTo>
                  <a:lnTo>
                    <a:pt x="2660760" y="1704605"/>
                  </a:lnTo>
                  <a:lnTo>
                    <a:pt x="2661312" y="1703190"/>
                  </a:lnTo>
                  <a:lnTo>
                    <a:pt x="2663639" y="1700657"/>
                  </a:lnTo>
                  <a:lnTo>
                    <a:pt x="2663804" y="1699981"/>
                  </a:lnTo>
                  <a:lnTo>
                    <a:pt x="2663889" y="1698509"/>
                  </a:lnTo>
                  <a:lnTo>
                    <a:pt x="2664031" y="1697981"/>
                  </a:lnTo>
                  <a:lnTo>
                    <a:pt x="2664928" y="1696321"/>
                  </a:lnTo>
                  <a:lnTo>
                    <a:pt x="2665179" y="1695523"/>
                  </a:lnTo>
                  <a:lnTo>
                    <a:pt x="2665181" y="1694226"/>
                  </a:lnTo>
                  <a:lnTo>
                    <a:pt x="2664811" y="1692627"/>
                  </a:lnTo>
                  <a:lnTo>
                    <a:pt x="2664286" y="1691105"/>
                  </a:lnTo>
                  <a:lnTo>
                    <a:pt x="2663820" y="1690049"/>
                  </a:lnTo>
                  <a:lnTo>
                    <a:pt x="2664004" y="1689280"/>
                  </a:lnTo>
                  <a:lnTo>
                    <a:pt x="2664321" y="1688659"/>
                  </a:lnTo>
                  <a:lnTo>
                    <a:pt x="2664766" y="1688485"/>
                  </a:lnTo>
                  <a:lnTo>
                    <a:pt x="2665343" y="1689039"/>
                  </a:lnTo>
                  <a:lnTo>
                    <a:pt x="2665109" y="1690605"/>
                  </a:lnTo>
                  <a:lnTo>
                    <a:pt x="2665353" y="1691779"/>
                  </a:lnTo>
                  <a:lnTo>
                    <a:pt x="2665928" y="1692492"/>
                  </a:lnTo>
                  <a:lnTo>
                    <a:pt x="2666679" y="1692648"/>
                  </a:lnTo>
                  <a:lnTo>
                    <a:pt x="2667045" y="1692231"/>
                  </a:lnTo>
                  <a:lnTo>
                    <a:pt x="2667219" y="1690594"/>
                  </a:lnTo>
                  <a:lnTo>
                    <a:pt x="2667535" y="1690175"/>
                  </a:lnTo>
                  <a:lnTo>
                    <a:pt x="2668452" y="1689685"/>
                  </a:lnTo>
                  <a:lnTo>
                    <a:pt x="2668921" y="1689240"/>
                  </a:lnTo>
                  <a:lnTo>
                    <a:pt x="2672489" y="1683587"/>
                  </a:lnTo>
                  <a:lnTo>
                    <a:pt x="2672561" y="1682881"/>
                  </a:lnTo>
                  <a:lnTo>
                    <a:pt x="2672150" y="1682078"/>
                  </a:lnTo>
                  <a:lnTo>
                    <a:pt x="2671455" y="1680370"/>
                  </a:lnTo>
                  <a:lnTo>
                    <a:pt x="2671090" y="1678991"/>
                  </a:lnTo>
                  <a:lnTo>
                    <a:pt x="2670881" y="1677550"/>
                  </a:lnTo>
                  <a:lnTo>
                    <a:pt x="2670972" y="1676376"/>
                  </a:lnTo>
                  <a:lnTo>
                    <a:pt x="2671522" y="1675822"/>
                  </a:lnTo>
                  <a:lnTo>
                    <a:pt x="2672535" y="1675241"/>
                  </a:lnTo>
                  <a:lnTo>
                    <a:pt x="2672340" y="1674270"/>
                  </a:lnTo>
                  <a:lnTo>
                    <a:pt x="2671626" y="1673057"/>
                  </a:lnTo>
                  <a:lnTo>
                    <a:pt x="2671086" y="1671772"/>
                  </a:lnTo>
                  <a:lnTo>
                    <a:pt x="2670753" y="1670478"/>
                  </a:lnTo>
                  <a:lnTo>
                    <a:pt x="2670460" y="1669520"/>
                  </a:lnTo>
                  <a:lnTo>
                    <a:pt x="2670434" y="1668632"/>
                  </a:lnTo>
                  <a:lnTo>
                    <a:pt x="2670908" y="1667613"/>
                  </a:lnTo>
                  <a:lnTo>
                    <a:pt x="2671721" y="1667283"/>
                  </a:lnTo>
                  <a:lnTo>
                    <a:pt x="2672716" y="1667384"/>
                  </a:lnTo>
                  <a:lnTo>
                    <a:pt x="2673524" y="1666901"/>
                  </a:lnTo>
                  <a:lnTo>
                    <a:pt x="2673786" y="1664842"/>
                  </a:lnTo>
                  <a:lnTo>
                    <a:pt x="2672704" y="1664828"/>
                  </a:lnTo>
                  <a:lnTo>
                    <a:pt x="2671787" y="1664204"/>
                  </a:lnTo>
                  <a:lnTo>
                    <a:pt x="2671170" y="1662694"/>
                  </a:lnTo>
                  <a:lnTo>
                    <a:pt x="2670990" y="1660035"/>
                  </a:lnTo>
                  <a:lnTo>
                    <a:pt x="2671186" y="1659190"/>
                  </a:lnTo>
                  <a:lnTo>
                    <a:pt x="2671527" y="1658856"/>
                  </a:lnTo>
                  <a:lnTo>
                    <a:pt x="2671739" y="1658324"/>
                  </a:lnTo>
                  <a:lnTo>
                    <a:pt x="2671555" y="1656919"/>
                  </a:lnTo>
                  <a:lnTo>
                    <a:pt x="2671209" y="1656087"/>
                  </a:lnTo>
                  <a:lnTo>
                    <a:pt x="2670164" y="1654936"/>
                  </a:lnTo>
                  <a:lnTo>
                    <a:pt x="2669648" y="1654228"/>
                  </a:lnTo>
                  <a:lnTo>
                    <a:pt x="2670493" y="1653553"/>
                  </a:lnTo>
                  <a:lnTo>
                    <a:pt x="2671029" y="1652659"/>
                  </a:lnTo>
                  <a:lnTo>
                    <a:pt x="2673248" y="1645380"/>
                  </a:lnTo>
                  <a:lnTo>
                    <a:pt x="2673384" y="1643675"/>
                  </a:lnTo>
                  <a:lnTo>
                    <a:pt x="2672752" y="1643237"/>
                  </a:lnTo>
                  <a:lnTo>
                    <a:pt x="2671885" y="1642358"/>
                  </a:lnTo>
                  <a:lnTo>
                    <a:pt x="2671290" y="1641466"/>
                  </a:lnTo>
                  <a:lnTo>
                    <a:pt x="2671482" y="1640982"/>
                  </a:lnTo>
                  <a:lnTo>
                    <a:pt x="2672924" y="1640489"/>
                  </a:lnTo>
                  <a:lnTo>
                    <a:pt x="2673611" y="1639908"/>
                  </a:lnTo>
                  <a:lnTo>
                    <a:pt x="2674207" y="1638992"/>
                  </a:lnTo>
                  <a:lnTo>
                    <a:pt x="2672315" y="1638731"/>
                  </a:lnTo>
                  <a:lnTo>
                    <a:pt x="2671362" y="1638276"/>
                  </a:lnTo>
                  <a:lnTo>
                    <a:pt x="2670750" y="1636924"/>
                  </a:lnTo>
                  <a:lnTo>
                    <a:pt x="2670763" y="1636260"/>
                  </a:lnTo>
                  <a:lnTo>
                    <a:pt x="2670941" y="1635670"/>
                  </a:lnTo>
                  <a:lnTo>
                    <a:pt x="2671092" y="1634917"/>
                  </a:lnTo>
                  <a:lnTo>
                    <a:pt x="2671022" y="1633808"/>
                  </a:lnTo>
                  <a:lnTo>
                    <a:pt x="2670524" y="1631287"/>
                  </a:lnTo>
                  <a:lnTo>
                    <a:pt x="2670427" y="1630515"/>
                  </a:lnTo>
                  <a:lnTo>
                    <a:pt x="2670307" y="1630243"/>
                  </a:lnTo>
                  <a:lnTo>
                    <a:pt x="2670203" y="1630135"/>
                  </a:lnTo>
                  <a:lnTo>
                    <a:pt x="2670140" y="1629840"/>
                  </a:lnTo>
                  <a:lnTo>
                    <a:pt x="2670162" y="1629048"/>
                  </a:lnTo>
                  <a:lnTo>
                    <a:pt x="2669520" y="1628408"/>
                  </a:lnTo>
                  <a:lnTo>
                    <a:pt x="2669146" y="1627528"/>
                  </a:lnTo>
                  <a:lnTo>
                    <a:pt x="2669053" y="1626503"/>
                  </a:lnTo>
                  <a:lnTo>
                    <a:pt x="2669258" y="1625426"/>
                  </a:lnTo>
                  <a:lnTo>
                    <a:pt x="2668085" y="1622506"/>
                  </a:lnTo>
                  <a:lnTo>
                    <a:pt x="2667851" y="1621240"/>
                  </a:lnTo>
                  <a:lnTo>
                    <a:pt x="2667919" y="1619687"/>
                  </a:lnTo>
                  <a:lnTo>
                    <a:pt x="2668151" y="1618754"/>
                  </a:lnTo>
                  <a:lnTo>
                    <a:pt x="2668774" y="1617437"/>
                  </a:lnTo>
                  <a:lnTo>
                    <a:pt x="2668979" y="1616405"/>
                  </a:lnTo>
                  <a:lnTo>
                    <a:pt x="2669003" y="1615558"/>
                  </a:lnTo>
                  <a:lnTo>
                    <a:pt x="2668895" y="1613198"/>
                  </a:lnTo>
                  <a:lnTo>
                    <a:pt x="2668777" y="1612249"/>
                  </a:lnTo>
                  <a:lnTo>
                    <a:pt x="2668786" y="1609760"/>
                  </a:lnTo>
                  <a:lnTo>
                    <a:pt x="2669528" y="1607921"/>
                  </a:lnTo>
                  <a:lnTo>
                    <a:pt x="2670631" y="1607162"/>
                  </a:lnTo>
                  <a:lnTo>
                    <a:pt x="2672859" y="1608600"/>
                  </a:lnTo>
                  <a:lnTo>
                    <a:pt x="2674286" y="1608051"/>
                  </a:lnTo>
                  <a:lnTo>
                    <a:pt x="2675581" y="1606763"/>
                  </a:lnTo>
                  <a:lnTo>
                    <a:pt x="2676327" y="1605195"/>
                  </a:lnTo>
                  <a:lnTo>
                    <a:pt x="2675186" y="1604359"/>
                  </a:lnTo>
                  <a:lnTo>
                    <a:pt x="2671767" y="1602916"/>
                  </a:lnTo>
                  <a:lnTo>
                    <a:pt x="2677764" y="1602892"/>
                  </a:lnTo>
                  <a:lnTo>
                    <a:pt x="2679932" y="1603784"/>
                  </a:lnTo>
                  <a:lnTo>
                    <a:pt x="2679662" y="1605119"/>
                  </a:lnTo>
                  <a:lnTo>
                    <a:pt x="2679488" y="1605678"/>
                  </a:lnTo>
                  <a:lnTo>
                    <a:pt x="2679254" y="1606176"/>
                  </a:lnTo>
                  <a:lnTo>
                    <a:pt x="2680642" y="1606858"/>
                  </a:lnTo>
                  <a:lnTo>
                    <a:pt x="2686174" y="1607253"/>
                  </a:lnTo>
                  <a:lnTo>
                    <a:pt x="2686210" y="1606041"/>
                  </a:lnTo>
                  <a:lnTo>
                    <a:pt x="2685373" y="1604819"/>
                  </a:lnTo>
                  <a:lnTo>
                    <a:pt x="2684202" y="1604587"/>
                  </a:lnTo>
                  <a:lnTo>
                    <a:pt x="2684703" y="1602583"/>
                  </a:lnTo>
                  <a:lnTo>
                    <a:pt x="2686288" y="1602471"/>
                  </a:lnTo>
                  <a:lnTo>
                    <a:pt x="2689513" y="1603606"/>
                  </a:lnTo>
                  <a:lnTo>
                    <a:pt x="2695635" y="1600876"/>
                  </a:lnTo>
                  <a:lnTo>
                    <a:pt x="2696497" y="1601066"/>
                  </a:lnTo>
                  <a:lnTo>
                    <a:pt x="2698375" y="1602278"/>
                  </a:lnTo>
                  <a:lnTo>
                    <a:pt x="2702151" y="1602820"/>
                  </a:lnTo>
                  <a:lnTo>
                    <a:pt x="2702862" y="1602536"/>
                  </a:lnTo>
                  <a:lnTo>
                    <a:pt x="2703049" y="1601975"/>
                  </a:lnTo>
                  <a:lnTo>
                    <a:pt x="2703510" y="1599894"/>
                  </a:lnTo>
                  <a:lnTo>
                    <a:pt x="2703587" y="1599364"/>
                  </a:lnTo>
                  <a:lnTo>
                    <a:pt x="2703024" y="1597777"/>
                  </a:lnTo>
                  <a:lnTo>
                    <a:pt x="2702343" y="1597212"/>
                  </a:lnTo>
                  <a:lnTo>
                    <a:pt x="2701725" y="1596969"/>
                  </a:lnTo>
                  <a:lnTo>
                    <a:pt x="2701351" y="1596376"/>
                  </a:lnTo>
                  <a:lnTo>
                    <a:pt x="2700398" y="1594290"/>
                  </a:lnTo>
                  <a:lnTo>
                    <a:pt x="2698983" y="1593557"/>
                  </a:lnTo>
                  <a:lnTo>
                    <a:pt x="2696476" y="1593830"/>
                  </a:lnTo>
                  <a:lnTo>
                    <a:pt x="2695744" y="1594203"/>
                  </a:lnTo>
                  <a:lnTo>
                    <a:pt x="2694311" y="1595517"/>
                  </a:lnTo>
                  <a:lnTo>
                    <a:pt x="2693563" y="1595897"/>
                  </a:lnTo>
                  <a:lnTo>
                    <a:pt x="2686964" y="1594520"/>
                  </a:lnTo>
                  <a:lnTo>
                    <a:pt x="2685410" y="1593436"/>
                  </a:lnTo>
                  <a:lnTo>
                    <a:pt x="2684404" y="1591162"/>
                  </a:lnTo>
                  <a:lnTo>
                    <a:pt x="2685021" y="1590154"/>
                  </a:lnTo>
                  <a:lnTo>
                    <a:pt x="2690284" y="1590448"/>
                  </a:lnTo>
                  <a:lnTo>
                    <a:pt x="2689850" y="1590122"/>
                  </a:lnTo>
                  <a:lnTo>
                    <a:pt x="2689677" y="1589812"/>
                  </a:lnTo>
                  <a:lnTo>
                    <a:pt x="2689511" y="1589143"/>
                  </a:lnTo>
                  <a:lnTo>
                    <a:pt x="2690644" y="1588985"/>
                  </a:lnTo>
                  <a:lnTo>
                    <a:pt x="2691133" y="1588690"/>
                  </a:lnTo>
                  <a:lnTo>
                    <a:pt x="2691503" y="1588011"/>
                  </a:lnTo>
                  <a:lnTo>
                    <a:pt x="2690761" y="1587442"/>
                  </a:lnTo>
                  <a:lnTo>
                    <a:pt x="2689002" y="1586963"/>
                  </a:lnTo>
                  <a:lnTo>
                    <a:pt x="2688408" y="1586248"/>
                  </a:lnTo>
                  <a:lnTo>
                    <a:pt x="2688414" y="1585068"/>
                  </a:lnTo>
                  <a:lnTo>
                    <a:pt x="2690408" y="1584898"/>
                  </a:lnTo>
                  <a:lnTo>
                    <a:pt x="2690708" y="1583893"/>
                  </a:lnTo>
                  <a:lnTo>
                    <a:pt x="2684650" y="1582407"/>
                  </a:lnTo>
                  <a:lnTo>
                    <a:pt x="2685346" y="1580535"/>
                  </a:lnTo>
                  <a:lnTo>
                    <a:pt x="2686794" y="1580184"/>
                  </a:lnTo>
                  <a:lnTo>
                    <a:pt x="2691910" y="1580737"/>
                  </a:lnTo>
                  <a:lnTo>
                    <a:pt x="2692652" y="1581319"/>
                  </a:lnTo>
                  <a:lnTo>
                    <a:pt x="2693472" y="1581747"/>
                  </a:lnTo>
                  <a:lnTo>
                    <a:pt x="2695030" y="1581217"/>
                  </a:lnTo>
                  <a:lnTo>
                    <a:pt x="2698081" y="1581480"/>
                  </a:lnTo>
                  <a:lnTo>
                    <a:pt x="2698330" y="1580999"/>
                  </a:lnTo>
                  <a:lnTo>
                    <a:pt x="2697984" y="1579682"/>
                  </a:lnTo>
                  <a:lnTo>
                    <a:pt x="2697527" y="1578681"/>
                  </a:lnTo>
                  <a:lnTo>
                    <a:pt x="2696981" y="1578067"/>
                  </a:lnTo>
                  <a:lnTo>
                    <a:pt x="2693348" y="1577904"/>
                  </a:lnTo>
                  <a:lnTo>
                    <a:pt x="2691754" y="1577045"/>
                  </a:lnTo>
                  <a:lnTo>
                    <a:pt x="2691177" y="1575054"/>
                  </a:lnTo>
                  <a:lnTo>
                    <a:pt x="2690781" y="1575223"/>
                  </a:lnTo>
                  <a:lnTo>
                    <a:pt x="2690358" y="1575218"/>
                  </a:lnTo>
                  <a:lnTo>
                    <a:pt x="2689911" y="1575035"/>
                  </a:lnTo>
                  <a:lnTo>
                    <a:pt x="2689452" y="1574688"/>
                  </a:lnTo>
                  <a:lnTo>
                    <a:pt x="2690580" y="1573455"/>
                  </a:lnTo>
                  <a:lnTo>
                    <a:pt x="2695244" y="1573591"/>
                  </a:lnTo>
                  <a:lnTo>
                    <a:pt x="2694875" y="1572523"/>
                  </a:lnTo>
                  <a:lnTo>
                    <a:pt x="2694682" y="1572112"/>
                  </a:lnTo>
                  <a:lnTo>
                    <a:pt x="2695809" y="1570677"/>
                  </a:lnTo>
                  <a:lnTo>
                    <a:pt x="2699545" y="1572749"/>
                  </a:lnTo>
                  <a:lnTo>
                    <a:pt x="2701552" y="1571874"/>
                  </a:lnTo>
                  <a:lnTo>
                    <a:pt x="2703746" y="1572484"/>
                  </a:lnTo>
                  <a:lnTo>
                    <a:pt x="2704546" y="1572908"/>
                  </a:lnTo>
                  <a:lnTo>
                    <a:pt x="2705301" y="1573046"/>
                  </a:lnTo>
                  <a:lnTo>
                    <a:pt x="2705996" y="1572467"/>
                  </a:lnTo>
                  <a:lnTo>
                    <a:pt x="2706523" y="1571332"/>
                  </a:lnTo>
                  <a:lnTo>
                    <a:pt x="2706775" y="1569778"/>
                  </a:lnTo>
                  <a:lnTo>
                    <a:pt x="2705515" y="1569359"/>
                  </a:lnTo>
                  <a:lnTo>
                    <a:pt x="2701922" y="1570040"/>
                  </a:lnTo>
                  <a:lnTo>
                    <a:pt x="2701377" y="1569648"/>
                  </a:lnTo>
                  <a:lnTo>
                    <a:pt x="2700703" y="1568865"/>
                  </a:lnTo>
                  <a:lnTo>
                    <a:pt x="2700084" y="1568469"/>
                  </a:lnTo>
                  <a:lnTo>
                    <a:pt x="2699377" y="1569952"/>
                  </a:lnTo>
                  <a:lnTo>
                    <a:pt x="2698781" y="1569959"/>
                  </a:lnTo>
                  <a:lnTo>
                    <a:pt x="2698102" y="1569448"/>
                  </a:lnTo>
                  <a:lnTo>
                    <a:pt x="2697524" y="1568610"/>
                  </a:lnTo>
                  <a:lnTo>
                    <a:pt x="2697342" y="1567809"/>
                  </a:lnTo>
                  <a:lnTo>
                    <a:pt x="2697346" y="1566922"/>
                  </a:lnTo>
                  <a:lnTo>
                    <a:pt x="2697256" y="1565950"/>
                  </a:lnTo>
                  <a:lnTo>
                    <a:pt x="2696790" y="1564891"/>
                  </a:lnTo>
                  <a:lnTo>
                    <a:pt x="2696252" y="1564669"/>
                  </a:lnTo>
                  <a:lnTo>
                    <a:pt x="2691776" y="1566567"/>
                  </a:lnTo>
                  <a:lnTo>
                    <a:pt x="2690492" y="1566580"/>
                  </a:lnTo>
                  <a:lnTo>
                    <a:pt x="2689071" y="1565602"/>
                  </a:lnTo>
                  <a:lnTo>
                    <a:pt x="2688926" y="1563882"/>
                  </a:lnTo>
                  <a:lnTo>
                    <a:pt x="2687775" y="1563309"/>
                  </a:lnTo>
                  <a:lnTo>
                    <a:pt x="2685608" y="1563219"/>
                  </a:lnTo>
                  <a:lnTo>
                    <a:pt x="2687129" y="1561371"/>
                  </a:lnTo>
                  <a:lnTo>
                    <a:pt x="2687558" y="1560586"/>
                  </a:lnTo>
                  <a:lnTo>
                    <a:pt x="2685752" y="1560253"/>
                  </a:lnTo>
                  <a:lnTo>
                    <a:pt x="2683047" y="1563612"/>
                  </a:lnTo>
                  <a:lnTo>
                    <a:pt x="2681257" y="1563205"/>
                  </a:lnTo>
                  <a:lnTo>
                    <a:pt x="2681608" y="1559985"/>
                  </a:lnTo>
                  <a:lnTo>
                    <a:pt x="2683088" y="1558910"/>
                  </a:lnTo>
                  <a:lnTo>
                    <a:pt x="2684846" y="1558432"/>
                  </a:lnTo>
                  <a:lnTo>
                    <a:pt x="2686032" y="1557013"/>
                  </a:lnTo>
                  <a:lnTo>
                    <a:pt x="2684960" y="1556542"/>
                  </a:lnTo>
                  <a:lnTo>
                    <a:pt x="2679170" y="1558443"/>
                  </a:lnTo>
                  <a:lnTo>
                    <a:pt x="2678347" y="1559277"/>
                  </a:lnTo>
                  <a:lnTo>
                    <a:pt x="2679040" y="1560620"/>
                  </a:lnTo>
                  <a:lnTo>
                    <a:pt x="2679104" y="1561804"/>
                  </a:lnTo>
                  <a:lnTo>
                    <a:pt x="2678706" y="1562689"/>
                  </a:lnTo>
                  <a:lnTo>
                    <a:pt x="2678009" y="1563125"/>
                  </a:lnTo>
                  <a:lnTo>
                    <a:pt x="2675984" y="1562933"/>
                  </a:lnTo>
                  <a:lnTo>
                    <a:pt x="2674938" y="1562404"/>
                  </a:lnTo>
                  <a:lnTo>
                    <a:pt x="2673894" y="1561539"/>
                  </a:lnTo>
                  <a:lnTo>
                    <a:pt x="2674644" y="1560053"/>
                  </a:lnTo>
                  <a:lnTo>
                    <a:pt x="2676985" y="1558739"/>
                  </a:lnTo>
                  <a:lnTo>
                    <a:pt x="2677396" y="1557111"/>
                  </a:lnTo>
                  <a:lnTo>
                    <a:pt x="2675454" y="1556440"/>
                  </a:lnTo>
                  <a:lnTo>
                    <a:pt x="2671789" y="1556714"/>
                  </a:lnTo>
                  <a:lnTo>
                    <a:pt x="2669792" y="1555472"/>
                  </a:lnTo>
                  <a:lnTo>
                    <a:pt x="2670177" y="1554654"/>
                  </a:lnTo>
                  <a:lnTo>
                    <a:pt x="2667279" y="1550639"/>
                  </a:lnTo>
                  <a:lnTo>
                    <a:pt x="2666815" y="1550276"/>
                  </a:lnTo>
                  <a:lnTo>
                    <a:pt x="2665910" y="1549899"/>
                  </a:lnTo>
                  <a:lnTo>
                    <a:pt x="2665449" y="1549454"/>
                  </a:lnTo>
                  <a:lnTo>
                    <a:pt x="2665185" y="1548970"/>
                  </a:lnTo>
                  <a:lnTo>
                    <a:pt x="2664673" y="1547701"/>
                  </a:lnTo>
                  <a:lnTo>
                    <a:pt x="2664295" y="1546980"/>
                  </a:lnTo>
                  <a:lnTo>
                    <a:pt x="2663586" y="1545188"/>
                  </a:lnTo>
                  <a:lnTo>
                    <a:pt x="2663906" y="1544242"/>
                  </a:lnTo>
                  <a:lnTo>
                    <a:pt x="2664739" y="1544033"/>
                  </a:lnTo>
                  <a:lnTo>
                    <a:pt x="2666679" y="1545201"/>
                  </a:lnTo>
                  <a:lnTo>
                    <a:pt x="2667939" y="1545487"/>
                  </a:lnTo>
                  <a:lnTo>
                    <a:pt x="2669077" y="1545158"/>
                  </a:lnTo>
                  <a:lnTo>
                    <a:pt x="2669799" y="1544052"/>
                  </a:lnTo>
                  <a:lnTo>
                    <a:pt x="2669027" y="1543882"/>
                  </a:lnTo>
                  <a:lnTo>
                    <a:pt x="2666542" y="1542372"/>
                  </a:lnTo>
                  <a:lnTo>
                    <a:pt x="2665246" y="1542174"/>
                  </a:lnTo>
                  <a:lnTo>
                    <a:pt x="2664692" y="1541747"/>
                  </a:lnTo>
                  <a:lnTo>
                    <a:pt x="2664041" y="1540562"/>
                  </a:lnTo>
                  <a:lnTo>
                    <a:pt x="2664399" y="1539893"/>
                  </a:lnTo>
                  <a:lnTo>
                    <a:pt x="2664598" y="1539677"/>
                  </a:lnTo>
                  <a:lnTo>
                    <a:pt x="2664937" y="1539642"/>
                  </a:lnTo>
                  <a:lnTo>
                    <a:pt x="2664039" y="1538493"/>
                  </a:lnTo>
                  <a:lnTo>
                    <a:pt x="2663145" y="1538100"/>
                  </a:lnTo>
                  <a:lnTo>
                    <a:pt x="2662296" y="1537482"/>
                  </a:lnTo>
                  <a:lnTo>
                    <a:pt x="2661527" y="1535650"/>
                  </a:lnTo>
                  <a:lnTo>
                    <a:pt x="2662339" y="1534720"/>
                  </a:lnTo>
                  <a:lnTo>
                    <a:pt x="2665040" y="1534326"/>
                  </a:lnTo>
                  <a:lnTo>
                    <a:pt x="2665957" y="1533641"/>
                  </a:lnTo>
                  <a:lnTo>
                    <a:pt x="2665947" y="1532755"/>
                  </a:lnTo>
                  <a:lnTo>
                    <a:pt x="2665313" y="1531756"/>
                  </a:lnTo>
                  <a:lnTo>
                    <a:pt x="2664357" y="1530672"/>
                  </a:lnTo>
                  <a:lnTo>
                    <a:pt x="2667043" y="1530931"/>
                  </a:lnTo>
                  <a:lnTo>
                    <a:pt x="2666315" y="1529788"/>
                  </a:lnTo>
                  <a:lnTo>
                    <a:pt x="2665397" y="1529009"/>
                  </a:lnTo>
                  <a:lnTo>
                    <a:pt x="2664459" y="1528588"/>
                  </a:lnTo>
                  <a:lnTo>
                    <a:pt x="2663677" y="1528523"/>
                  </a:lnTo>
                  <a:lnTo>
                    <a:pt x="2663105" y="1529050"/>
                  </a:lnTo>
                  <a:lnTo>
                    <a:pt x="2662410" y="1531173"/>
                  </a:lnTo>
                  <a:lnTo>
                    <a:pt x="2661915" y="1531861"/>
                  </a:lnTo>
                  <a:lnTo>
                    <a:pt x="2660685" y="1531529"/>
                  </a:lnTo>
                  <a:lnTo>
                    <a:pt x="2659454" y="1529870"/>
                  </a:lnTo>
                  <a:lnTo>
                    <a:pt x="2658828" y="1527626"/>
                  </a:lnTo>
                  <a:lnTo>
                    <a:pt x="2659409" y="1525511"/>
                  </a:lnTo>
                  <a:lnTo>
                    <a:pt x="2658305" y="1523136"/>
                  </a:lnTo>
                  <a:lnTo>
                    <a:pt x="2659012" y="1521512"/>
                  </a:lnTo>
                  <a:lnTo>
                    <a:pt x="2659932" y="1520193"/>
                  </a:lnTo>
                  <a:lnTo>
                    <a:pt x="2659469" y="1518694"/>
                  </a:lnTo>
                  <a:lnTo>
                    <a:pt x="2660068" y="1517887"/>
                  </a:lnTo>
                  <a:lnTo>
                    <a:pt x="2663031" y="1518050"/>
                  </a:lnTo>
                  <a:lnTo>
                    <a:pt x="2657838" y="1513070"/>
                  </a:lnTo>
                  <a:lnTo>
                    <a:pt x="2655307" y="1509550"/>
                  </a:lnTo>
                  <a:lnTo>
                    <a:pt x="2655858" y="1506351"/>
                  </a:lnTo>
                  <a:lnTo>
                    <a:pt x="2657469" y="1506020"/>
                  </a:lnTo>
                  <a:lnTo>
                    <a:pt x="2658130" y="1505066"/>
                  </a:lnTo>
                  <a:lnTo>
                    <a:pt x="2658028" y="1502592"/>
                  </a:lnTo>
                  <a:lnTo>
                    <a:pt x="2657084" y="1499518"/>
                  </a:lnTo>
                  <a:lnTo>
                    <a:pt x="2656109" y="1498887"/>
                  </a:lnTo>
                  <a:lnTo>
                    <a:pt x="2655110" y="1498675"/>
                  </a:lnTo>
                  <a:lnTo>
                    <a:pt x="2654094" y="1496839"/>
                  </a:lnTo>
                  <a:lnTo>
                    <a:pt x="2656902" y="1494308"/>
                  </a:lnTo>
                  <a:lnTo>
                    <a:pt x="2658123" y="1494438"/>
                  </a:lnTo>
                  <a:lnTo>
                    <a:pt x="2658186" y="1497682"/>
                  </a:lnTo>
                  <a:lnTo>
                    <a:pt x="2658941" y="1497535"/>
                  </a:lnTo>
                  <a:lnTo>
                    <a:pt x="2659661" y="1496904"/>
                  </a:lnTo>
                  <a:lnTo>
                    <a:pt x="2660247" y="1495863"/>
                  </a:lnTo>
                  <a:lnTo>
                    <a:pt x="2660606" y="1494522"/>
                  </a:lnTo>
                  <a:lnTo>
                    <a:pt x="2660402" y="1493355"/>
                  </a:lnTo>
                  <a:lnTo>
                    <a:pt x="2659749" y="1491829"/>
                  </a:lnTo>
                  <a:lnTo>
                    <a:pt x="2658954" y="1490527"/>
                  </a:lnTo>
                  <a:lnTo>
                    <a:pt x="2658332" y="1490018"/>
                  </a:lnTo>
                  <a:lnTo>
                    <a:pt x="2650053" y="1490687"/>
                  </a:lnTo>
                  <a:lnTo>
                    <a:pt x="2650168" y="1488689"/>
                  </a:lnTo>
                  <a:lnTo>
                    <a:pt x="2650542" y="1487747"/>
                  </a:lnTo>
                  <a:lnTo>
                    <a:pt x="2658275" y="1486931"/>
                  </a:lnTo>
                  <a:lnTo>
                    <a:pt x="2659758" y="1487309"/>
                  </a:lnTo>
                  <a:lnTo>
                    <a:pt x="2666216" y="1491964"/>
                  </a:lnTo>
                  <a:lnTo>
                    <a:pt x="2669458" y="1493008"/>
                  </a:lnTo>
                  <a:lnTo>
                    <a:pt x="2670983" y="1492980"/>
                  </a:lnTo>
                  <a:lnTo>
                    <a:pt x="2670573" y="1490864"/>
                  </a:lnTo>
                  <a:lnTo>
                    <a:pt x="2671356" y="1489652"/>
                  </a:lnTo>
                  <a:lnTo>
                    <a:pt x="2675725" y="1488051"/>
                  </a:lnTo>
                  <a:lnTo>
                    <a:pt x="2676653" y="1487283"/>
                  </a:lnTo>
                  <a:lnTo>
                    <a:pt x="2677185" y="1485677"/>
                  </a:lnTo>
                  <a:lnTo>
                    <a:pt x="2676747" y="1485002"/>
                  </a:lnTo>
                  <a:lnTo>
                    <a:pt x="2675241" y="1483772"/>
                  </a:lnTo>
                  <a:lnTo>
                    <a:pt x="2676358" y="1482584"/>
                  </a:lnTo>
                  <a:lnTo>
                    <a:pt x="2680115" y="1484426"/>
                  </a:lnTo>
                  <a:lnTo>
                    <a:pt x="2681534" y="1483773"/>
                  </a:lnTo>
                  <a:lnTo>
                    <a:pt x="2682735" y="1482236"/>
                  </a:lnTo>
                  <a:lnTo>
                    <a:pt x="2695694" y="1479033"/>
                  </a:lnTo>
                  <a:lnTo>
                    <a:pt x="2696068" y="1479212"/>
                  </a:lnTo>
                  <a:lnTo>
                    <a:pt x="2696729" y="1480170"/>
                  </a:lnTo>
                  <a:lnTo>
                    <a:pt x="2697298" y="1480528"/>
                  </a:lnTo>
                  <a:lnTo>
                    <a:pt x="2697878" y="1481416"/>
                  </a:lnTo>
                  <a:lnTo>
                    <a:pt x="2698186" y="1481576"/>
                  </a:lnTo>
                  <a:lnTo>
                    <a:pt x="2699558" y="1480609"/>
                  </a:lnTo>
                  <a:lnTo>
                    <a:pt x="2702750" y="1481514"/>
                  </a:lnTo>
                  <a:lnTo>
                    <a:pt x="2709213" y="1486993"/>
                  </a:lnTo>
                  <a:lnTo>
                    <a:pt x="2717986" y="1488552"/>
                  </a:lnTo>
                  <a:lnTo>
                    <a:pt x="2720659" y="1490407"/>
                  </a:lnTo>
                  <a:lnTo>
                    <a:pt x="2721569" y="1490525"/>
                  </a:lnTo>
                  <a:lnTo>
                    <a:pt x="2723261" y="1490188"/>
                  </a:lnTo>
                  <a:lnTo>
                    <a:pt x="2730817" y="1490999"/>
                  </a:lnTo>
                  <a:lnTo>
                    <a:pt x="2732357" y="1489840"/>
                  </a:lnTo>
                  <a:lnTo>
                    <a:pt x="2736085" y="1490507"/>
                  </a:lnTo>
                  <a:lnTo>
                    <a:pt x="2736970" y="1489844"/>
                  </a:lnTo>
                  <a:lnTo>
                    <a:pt x="2738339" y="1487437"/>
                  </a:lnTo>
                  <a:lnTo>
                    <a:pt x="2739260" y="1486774"/>
                  </a:lnTo>
                  <a:lnTo>
                    <a:pt x="2748523" y="1487795"/>
                  </a:lnTo>
                  <a:lnTo>
                    <a:pt x="2752510" y="1485455"/>
                  </a:lnTo>
                  <a:lnTo>
                    <a:pt x="2760793" y="1484987"/>
                  </a:lnTo>
                  <a:lnTo>
                    <a:pt x="2761542" y="1484185"/>
                  </a:lnTo>
                  <a:lnTo>
                    <a:pt x="2761173" y="1484255"/>
                  </a:lnTo>
                  <a:lnTo>
                    <a:pt x="2760776" y="1484062"/>
                  </a:lnTo>
                  <a:lnTo>
                    <a:pt x="2760358" y="1483624"/>
                  </a:lnTo>
                  <a:lnTo>
                    <a:pt x="2759927" y="1482957"/>
                  </a:lnTo>
                  <a:lnTo>
                    <a:pt x="2762426" y="1482322"/>
                  </a:lnTo>
                  <a:lnTo>
                    <a:pt x="2763786" y="1482450"/>
                  </a:lnTo>
                  <a:lnTo>
                    <a:pt x="2765094" y="1483376"/>
                  </a:lnTo>
                  <a:lnTo>
                    <a:pt x="2765069" y="1483819"/>
                  </a:lnTo>
                  <a:lnTo>
                    <a:pt x="2765160" y="1484891"/>
                  </a:lnTo>
                  <a:lnTo>
                    <a:pt x="2771695" y="1486451"/>
                  </a:lnTo>
                  <a:lnTo>
                    <a:pt x="2777906" y="1485697"/>
                  </a:lnTo>
                  <a:lnTo>
                    <a:pt x="2772827" y="1489393"/>
                  </a:lnTo>
                  <a:lnTo>
                    <a:pt x="2771791" y="1489099"/>
                  </a:lnTo>
                  <a:lnTo>
                    <a:pt x="2770440" y="1487561"/>
                  </a:lnTo>
                  <a:lnTo>
                    <a:pt x="2764328" y="1488140"/>
                  </a:lnTo>
                  <a:lnTo>
                    <a:pt x="2764682" y="1488746"/>
                  </a:lnTo>
                  <a:lnTo>
                    <a:pt x="2764972" y="1489127"/>
                  </a:lnTo>
                  <a:lnTo>
                    <a:pt x="2765273" y="1489318"/>
                  </a:lnTo>
                  <a:lnTo>
                    <a:pt x="2765675" y="1489353"/>
                  </a:lnTo>
                  <a:lnTo>
                    <a:pt x="2765113" y="1490069"/>
                  </a:lnTo>
                  <a:lnTo>
                    <a:pt x="2763672" y="1490242"/>
                  </a:lnTo>
                  <a:lnTo>
                    <a:pt x="2763487" y="1491381"/>
                  </a:lnTo>
                  <a:lnTo>
                    <a:pt x="2767804" y="1492624"/>
                  </a:lnTo>
                  <a:lnTo>
                    <a:pt x="2766963" y="1493932"/>
                  </a:lnTo>
                  <a:lnTo>
                    <a:pt x="2760948" y="1496606"/>
                  </a:lnTo>
                  <a:lnTo>
                    <a:pt x="2766180" y="1496300"/>
                  </a:lnTo>
                  <a:lnTo>
                    <a:pt x="2767218" y="1497060"/>
                  </a:lnTo>
                  <a:lnTo>
                    <a:pt x="2768102" y="1498111"/>
                  </a:lnTo>
                  <a:lnTo>
                    <a:pt x="2773016" y="1502264"/>
                  </a:lnTo>
                  <a:lnTo>
                    <a:pt x="2771873" y="1503538"/>
                  </a:lnTo>
                  <a:lnTo>
                    <a:pt x="2757350" y="1503224"/>
                  </a:lnTo>
                  <a:lnTo>
                    <a:pt x="2742848" y="1502821"/>
                  </a:lnTo>
                  <a:lnTo>
                    <a:pt x="2742216" y="1503417"/>
                  </a:lnTo>
                  <a:lnTo>
                    <a:pt x="2741752" y="1504321"/>
                  </a:lnTo>
                  <a:lnTo>
                    <a:pt x="2741769" y="1505081"/>
                  </a:lnTo>
                  <a:lnTo>
                    <a:pt x="2742577" y="1505246"/>
                  </a:lnTo>
                  <a:lnTo>
                    <a:pt x="2745631" y="1504583"/>
                  </a:lnTo>
                  <a:lnTo>
                    <a:pt x="2764032" y="1507064"/>
                  </a:lnTo>
                  <a:lnTo>
                    <a:pt x="2782495" y="1509403"/>
                  </a:lnTo>
                  <a:lnTo>
                    <a:pt x="2784113" y="1510247"/>
                  </a:lnTo>
                  <a:lnTo>
                    <a:pt x="2785251" y="1511660"/>
                  </a:lnTo>
                  <a:lnTo>
                    <a:pt x="2783870" y="1512872"/>
                  </a:lnTo>
                  <a:lnTo>
                    <a:pt x="2778741" y="1511578"/>
                  </a:lnTo>
                  <a:lnTo>
                    <a:pt x="2778929" y="1512369"/>
                  </a:lnTo>
                  <a:lnTo>
                    <a:pt x="2780298" y="1512913"/>
                  </a:lnTo>
                  <a:lnTo>
                    <a:pt x="2783122" y="1515922"/>
                  </a:lnTo>
                  <a:lnTo>
                    <a:pt x="2785812" y="1516740"/>
                  </a:lnTo>
                  <a:lnTo>
                    <a:pt x="2787644" y="1517848"/>
                  </a:lnTo>
                  <a:lnTo>
                    <a:pt x="2789476" y="1519411"/>
                  </a:lnTo>
                  <a:lnTo>
                    <a:pt x="2790769" y="1521082"/>
                  </a:lnTo>
                  <a:lnTo>
                    <a:pt x="2789925" y="1521933"/>
                  </a:lnTo>
                  <a:lnTo>
                    <a:pt x="2787688" y="1521787"/>
                  </a:lnTo>
                  <a:lnTo>
                    <a:pt x="2786832" y="1522840"/>
                  </a:lnTo>
                  <a:lnTo>
                    <a:pt x="2788075" y="1524163"/>
                  </a:lnTo>
                  <a:lnTo>
                    <a:pt x="2787949" y="1525260"/>
                  </a:lnTo>
                  <a:lnTo>
                    <a:pt x="2786163" y="1526821"/>
                  </a:lnTo>
                  <a:lnTo>
                    <a:pt x="2787553" y="1528526"/>
                  </a:lnTo>
                  <a:lnTo>
                    <a:pt x="2788846" y="1528562"/>
                  </a:lnTo>
                  <a:lnTo>
                    <a:pt x="2796396" y="1525183"/>
                  </a:lnTo>
                  <a:lnTo>
                    <a:pt x="2796001" y="1524797"/>
                  </a:lnTo>
                  <a:lnTo>
                    <a:pt x="2795695" y="1524336"/>
                  </a:lnTo>
                  <a:lnTo>
                    <a:pt x="2795099" y="1523190"/>
                  </a:lnTo>
                  <a:lnTo>
                    <a:pt x="2796983" y="1521844"/>
                  </a:lnTo>
                  <a:lnTo>
                    <a:pt x="2806200" y="1520770"/>
                  </a:lnTo>
                  <a:lnTo>
                    <a:pt x="2810972" y="1521819"/>
                  </a:lnTo>
                  <a:lnTo>
                    <a:pt x="2817564" y="1525226"/>
                  </a:lnTo>
                  <a:lnTo>
                    <a:pt x="2818774" y="1525202"/>
                  </a:lnTo>
                  <a:lnTo>
                    <a:pt x="2820310" y="1524013"/>
                  </a:lnTo>
                  <a:lnTo>
                    <a:pt x="2820896" y="1523840"/>
                  </a:lnTo>
                  <a:lnTo>
                    <a:pt x="2822907" y="1524673"/>
                  </a:lnTo>
                  <a:lnTo>
                    <a:pt x="2823480" y="1524737"/>
                  </a:lnTo>
                  <a:lnTo>
                    <a:pt x="2823959" y="1525441"/>
                  </a:lnTo>
                  <a:lnTo>
                    <a:pt x="2825840" y="1530365"/>
                  </a:lnTo>
                  <a:lnTo>
                    <a:pt x="2827226" y="1532492"/>
                  </a:lnTo>
                  <a:lnTo>
                    <a:pt x="2828115" y="1533630"/>
                  </a:lnTo>
                  <a:lnTo>
                    <a:pt x="2828772" y="1534239"/>
                  </a:lnTo>
                  <a:lnTo>
                    <a:pt x="2828958" y="1534962"/>
                  </a:lnTo>
                  <a:lnTo>
                    <a:pt x="2825323" y="1534805"/>
                  </a:lnTo>
                  <a:lnTo>
                    <a:pt x="2824483" y="1535691"/>
                  </a:lnTo>
                  <a:lnTo>
                    <a:pt x="2823892" y="1537031"/>
                  </a:lnTo>
                  <a:lnTo>
                    <a:pt x="2821801" y="1539807"/>
                  </a:lnTo>
                  <a:lnTo>
                    <a:pt x="2821765" y="1540516"/>
                  </a:lnTo>
                  <a:lnTo>
                    <a:pt x="2820767" y="1546963"/>
                  </a:lnTo>
                  <a:lnTo>
                    <a:pt x="2819994" y="1548295"/>
                  </a:lnTo>
                  <a:lnTo>
                    <a:pt x="2819009" y="1549030"/>
                  </a:lnTo>
                  <a:lnTo>
                    <a:pt x="2817969" y="1549256"/>
                  </a:lnTo>
                  <a:lnTo>
                    <a:pt x="2816641" y="1548903"/>
                  </a:lnTo>
                  <a:lnTo>
                    <a:pt x="2816022" y="1549099"/>
                  </a:lnTo>
                  <a:lnTo>
                    <a:pt x="2815986" y="1550122"/>
                  </a:lnTo>
                  <a:lnTo>
                    <a:pt x="2816167" y="1551010"/>
                  </a:lnTo>
                  <a:lnTo>
                    <a:pt x="2816281" y="1551943"/>
                  </a:lnTo>
                  <a:lnTo>
                    <a:pt x="2816313" y="1552808"/>
                  </a:lnTo>
                  <a:lnTo>
                    <a:pt x="2816253" y="1553508"/>
                  </a:lnTo>
                  <a:lnTo>
                    <a:pt x="2815603" y="1554749"/>
                  </a:lnTo>
                  <a:lnTo>
                    <a:pt x="2810048" y="1557817"/>
                  </a:lnTo>
                  <a:lnTo>
                    <a:pt x="2806121" y="1562095"/>
                  </a:lnTo>
                  <a:lnTo>
                    <a:pt x="2804637" y="1564788"/>
                  </a:lnTo>
                  <a:lnTo>
                    <a:pt x="2811155" y="1560689"/>
                  </a:lnTo>
                  <a:lnTo>
                    <a:pt x="2812426" y="1559288"/>
                  </a:lnTo>
                  <a:lnTo>
                    <a:pt x="2813167" y="1558850"/>
                  </a:lnTo>
                  <a:lnTo>
                    <a:pt x="2813533" y="1559022"/>
                  </a:lnTo>
                  <a:lnTo>
                    <a:pt x="2814236" y="1559949"/>
                  </a:lnTo>
                  <a:lnTo>
                    <a:pt x="2814595" y="1560109"/>
                  </a:lnTo>
                  <a:lnTo>
                    <a:pt x="2815060" y="1559887"/>
                  </a:lnTo>
                  <a:lnTo>
                    <a:pt x="2816234" y="1558877"/>
                  </a:lnTo>
                  <a:lnTo>
                    <a:pt x="2817603" y="1558477"/>
                  </a:lnTo>
                  <a:lnTo>
                    <a:pt x="2818909" y="1558718"/>
                  </a:lnTo>
                  <a:lnTo>
                    <a:pt x="2820235" y="1559493"/>
                  </a:lnTo>
                  <a:lnTo>
                    <a:pt x="2821663" y="1560699"/>
                  </a:lnTo>
                  <a:lnTo>
                    <a:pt x="2822073" y="1560915"/>
                  </a:lnTo>
                  <a:lnTo>
                    <a:pt x="2822439" y="1560930"/>
                  </a:lnTo>
                  <a:lnTo>
                    <a:pt x="2822837" y="1561098"/>
                  </a:lnTo>
                  <a:lnTo>
                    <a:pt x="2823335" y="1561759"/>
                  </a:lnTo>
                  <a:lnTo>
                    <a:pt x="2823501" y="1562321"/>
                  </a:lnTo>
                  <a:lnTo>
                    <a:pt x="2823614" y="1563112"/>
                  </a:lnTo>
                  <a:lnTo>
                    <a:pt x="2823657" y="1563788"/>
                  </a:lnTo>
                  <a:lnTo>
                    <a:pt x="2823617" y="1563990"/>
                  </a:lnTo>
                  <a:lnTo>
                    <a:pt x="2824271" y="1564790"/>
                  </a:lnTo>
                  <a:lnTo>
                    <a:pt x="2824986" y="1565205"/>
                  </a:lnTo>
                  <a:lnTo>
                    <a:pt x="2825590" y="1564965"/>
                  </a:lnTo>
                  <a:lnTo>
                    <a:pt x="2825914" y="1563811"/>
                  </a:lnTo>
                  <a:lnTo>
                    <a:pt x="2826090" y="1562190"/>
                  </a:lnTo>
                  <a:lnTo>
                    <a:pt x="2826366" y="1561331"/>
                  </a:lnTo>
                  <a:lnTo>
                    <a:pt x="2826812" y="1560942"/>
                  </a:lnTo>
                  <a:lnTo>
                    <a:pt x="2828170" y="1560311"/>
                  </a:lnTo>
                  <a:lnTo>
                    <a:pt x="2828670" y="1559693"/>
                  </a:lnTo>
                  <a:lnTo>
                    <a:pt x="2829262" y="1559231"/>
                  </a:lnTo>
                  <a:lnTo>
                    <a:pt x="2830213" y="1559298"/>
                  </a:lnTo>
                  <a:lnTo>
                    <a:pt x="2831013" y="1559676"/>
                  </a:lnTo>
                  <a:lnTo>
                    <a:pt x="2831690" y="1560177"/>
                  </a:lnTo>
                  <a:lnTo>
                    <a:pt x="2835667" y="1564521"/>
                  </a:lnTo>
                  <a:lnTo>
                    <a:pt x="2835981" y="1564428"/>
                  </a:lnTo>
                  <a:lnTo>
                    <a:pt x="2836387" y="1565563"/>
                  </a:lnTo>
                  <a:lnTo>
                    <a:pt x="2836858" y="1566187"/>
                  </a:lnTo>
                  <a:lnTo>
                    <a:pt x="2838012" y="1566994"/>
                  </a:lnTo>
                  <a:lnTo>
                    <a:pt x="2839115" y="1568202"/>
                  </a:lnTo>
                  <a:lnTo>
                    <a:pt x="2839194" y="1569052"/>
                  </a:lnTo>
                  <a:lnTo>
                    <a:pt x="2838829" y="1569706"/>
                  </a:lnTo>
                  <a:lnTo>
                    <a:pt x="2838607" y="1570339"/>
                  </a:lnTo>
                  <a:lnTo>
                    <a:pt x="2838916" y="1572239"/>
                  </a:lnTo>
                  <a:lnTo>
                    <a:pt x="2839579" y="1575179"/>
                  </a:lnTo>
                  <a:lnTo>
                    <a:pt x="2840345" y="1577868"/>
                  </a:lnTo>
                  <a:lnTo>
                    <a:pt x="2840941" y="1578973"/>
                  </a:lnTo>
                  <a:lnTo>
                    <a:pt x="2841295" y="1579503"/>
                  </a:lnTo>
                  <a:lnTo>
                    <a:pt x="2841455" y="1580837"/>
                  </a:lnTo>
                  <a:lnTo>
                    <a:pt x="2841492" y="1582819"/>
                  </a:lnTo>
                  <a:lnTo>
                    <a:pt x="2841050" y="1583589"/>
                  </a:lnTo>
                  <a:lnTo>
                    <a:pt x="2839059" y="1585238"/>
                  </a:lnTo>
                  <a:lnTo>
                    <a:pt x="2838941" y="1587611"/>
                  </a:lnTo>
                  <a:lnTo>
                    <a:pt x="2837659" y="1589151"/>
                  </a:lnTo>
                  <a:lnTo>
                    <a:pt x="2836063" y="1590327"/>
                  </a:lnTo>
                  <a:lnTo>
                    <a:pt x="2835007" y="1591617"/>
                  </a:lnTo>
                  <a:lnTo>
                    <a:pt x="2830827" y="1599614"/>
                  </a:lnTo>
                  <a:lnTo>
                    <a:pt x="2830166" y="1600283"/>
                  </a:lnTo>
                  <a:lnTo>
                    <a:pt x="2829212" y="1600487"/>
                  </a:lnTo>
                  <a:lnTo>
                    <a:pt x="2825198" y="1599470"/>
                  </a:lnTo>
                  <a:lnTo>
                    <a:pt x="2823194" y="1599514"/>
                  </a:lnTo>
                  <a:lnTo>
                    <a:pt x="2824283" y="1601239"/>
                  </a:lnTo>
                  <a:lnTo>
                    <a:pt x="2824585" y="1602140"/>
                  </a:lnTo>
                  <a:lnTo>
                    <a:pt x="2824588" y="1603464"/>
                  </a:lnTo>
                  <a:lnTo>
                    <a:pt x="2824307" y="1605880"/>
                  </a:lnTo>
                  <a:lnTo>
                    <a:pt x="2824020" y="1606506"/>
                  </a:lnTo>
                  <a:lnTo>
                    <a:pt x="2823396" y="1607195"/>
                  </a:lnTo>
                  <a:lnTo>
                    <a:pt x="2821144" y="1608624"/>
                  </a:lnTo>
                  <a:lnTo>
                    <a:pt x="2820365" y="1611353"/>
                  </a:lnTo>
                  <a:lnTo>
                    <a:pt x="2819640" y="1611763"/>
                  </a:lnTo>
                  <a:lnTo>
                    <a:pt x="2817830" y="1611590"/>
                  </a:lnTo>
                  <a:lnTo>
                    <a:pt x="2816912" y="1610479"/>
                  </a:lnTo>
                  <a:lnTo>
                    <a:pt x="2814376" y="1605231"/>
                  </a:lnTo>
                  <a:lnTo>
                    <a:pt x="2813085" y="1604218"/>
                  </a:lnTo>
                  <a:lnTo>
                    <a:pt x="2811128" y="1604199"/>
                  </a:lnTo>
                  <a:lnTo>
                    <a:pt x="2807127" y="1603028"/>
                  </a:lnTo>
                  <a:lnTo>
                    <a:pt x="2805186" y="1603002"/>
                  </a:lnTo>
                  <a:lnTo>
                    <a:pt x="2805360" y="1603732"/>
                  </a:lnTo>
                  <a:lnTo>
                    <a:pt x="2806746" y="1605101"/>
                  </a:lnTo>
                  <a:lnTo>
                    <a:pt x="2808174" y="1606127"/>
                  </a:lnTo>
                  <a:lnTo>
                    <a:pt x="2809682" y="1606537"/>
                  </a:lnTo>
                  <a:lnTo>
                    <a:pt x="2810198" y="1607309"/>
                  </a:lnTo>
                  <a:lnTo>
                    <a:pt x="2810185" y="1609142"/>
                  </a:lnTo>
                  <a:lnTo>
                    <a:pt x="2809213" y="1610902"/>
                  </a:lnTo>
                  <a:lnTo>
                    <a:pt x="2807484" y="1611305"/>
                  </a:lnTo>
                  <a:lnTo>
                    <a:pt x="2800654" y="1610893"/>
                  </a:lnTo>
                  <a:lnTo>
                    <a:pt x="2798863" y="1610306"/>
                  </a:lnTo>
                  <a:lnTo>
                    <a:pt x="2793799" y="1606721"/>
                  </a:lnTo>
                  <a:lnTo>
                    <a:pt x="2792220" y="1606739"/>
                  </a:lnTo>
                  <a:lnTo>
                    <a:pt x="2791743" y="1609152"/>
                  </a:lnTo>
                  <a:lnTo>
                    <a:pt x="2792105" y="1610467"/>
                  </a:lnTo>
                  <a:lnTo>
                    <a:pt x="2792719" y="1610638"/>
                  </a:lnTo>
                  <a:lnTo>
                    <a:pt x="2793955" y="1610238"/>
                  </a:lnTo>
                  <a:lnTo>
                    <a:pt x="2794717" y="1610885"/>
                  </a:lnTo>
                  <a:lnTo>
                    <a:pt x="2795421" y="1611722"/>
                  </a:lnTo>
                  <a:lnTo>
                    <a:pt x="2796154" y="1612384"/>
                  </a:lnTo>
                  <a:lnTo>
                    <a:pt x="2798335" y="1612765"/>
                  </a:lnTo>
                  <a:lnTo>
                    <a:pt x="2797842" y="1614026"/>
                  </a:lnTo>
                  <a:lnTo>
                    <a:pt x="2796441" y="1615439"/>
                  </a:lnTo>
                  <a:lnTo>
                    <a:pt x="2795042" y="1616108"/>
                  </a:lnTo>
                  <a:lnTo>
                    <a:pt x="2793528" y="1615569"/>
                  </a:lnTo>
                  <a:lnTo>
                    <a:pt x="2793017" y="1615834"/>
                  </a:lnTo>
                  <a:lnTo>
                    <a:pt x="2793078" y="1617323"/>
                  </a:lnTo>
                  <a:lnTo>
                    <a:pt x="2793580" y="1618794"/>
                  </a:lnTo>
                  <a:lnTo>
                    <a:pt x="2794262" y="1619592"/>
                  </a:lnTo>
                  <a:lnTo>
                    <a:pt x="2794995" y="1619890"/>
                  </a:lnTo>
                  <a:lnTo>
                    <a:pt x="2795648" y="1619865"/>
                  </a:lnTo>
                  <a:lnTo>
                    <a:pt x="2798682" y="1618340"/>
                  </a:lnTo>
                  <a:lnTo>
                    <a:pt x="2799404" y="1618544"/>
                  </a:lnTo>
                  <a:lnTo>
                    <a:pt x="2800121" y="1619259"/>
                  </a:lnTo>
                  <a:lnTo>
                    <a:pt x="2800830" y="1620135"/>
                  </a:lnTo>
                  <a:lnTo>
                    <a:pt x="2801513" y="1620813"/>
                  </a:lnTo>
                  <a:lnTo>
                    <a:pt x="2806004" y="1623061"/>
                  </a:lnTo>
                  <a:lnTo>
                    <a:pt x="2807284" y="1624844"/>
                  </a:lnTo>
                  <a:lnTo>
                    <a:pt x="2806660" y="1627039"/>
                  </a:lnTo>
                  <a:lnTo>
                    <a:pt x="2802966" y="1627315"/>
                  </a:lnTo>
                  <a:lnTo>
                    <a:pt x="2801596" y="1628376"/>
                  </a:lnTo>
                  <a:lnTo>
                    <a:pt x="2803232" y="1630070"/>
                  </a:lnTo>
                  <a:lnTo>
                    <a:pt x="2804987" y="1631390"/>
                  </a:lnTo>
                  <a:lnTo>
                    <a:pt x="2806694" y="1632187"/>
                  </a:lnTo>
                  <a:lnTo>
                    <a:pt x="2808182" y="1632281"/>
                  </a:lnTo>
                  <a:lnTo>
                    <a:pt x="2810296" y="1629408"/>
                  </a:lnTo>
                  <a:lnTo>
                    <a:pt x="2811440" y="1629050"/>
                  </a:lnTo>
                  <a:lnTo>
                    <a:pt x="2812664" y="1632008"/>
                  </a:lnTo>
                  <a:lnTo>
                    <a:pt x="2812901" y="1634252"/>
                  </a:lnTo>
                  <a:lnTo>
                    <a:pt x="2812686" y="1636395"/>
                  </a:lnTo>
                  <a:lnTo>
                    <a:pt x="2811527" y="1642036"/>
                  </a:lnTo>
                  <a:lnTo>
                    <a:pt x="2811715" y="1642690"/>
                  </a:lnTo>
                  <a:lnTo>
                    <a:pt x="2812524" y="1643980"/>
                  </a:lnTo>
                  <a:lnTo>
                    <a:pt x="2813438" y="1644835"/>
                  </a:lnTo>
                  <a:lnTo>
                    <a:pt x="2818274" y="1646163"/>
                  </a:lnTo>
                  <a:lnTo>
                    <a:pt x="2819522" y="1645840"/>
                  </a:lnTo>
                  <a:lnTo>
                    <a:pt x="2820520" y="1644688"/>
                  </a:lnTo>
                  <a:lnTo>
                    <a:pt x="2821510" y="1642639"/>
                  </a:lnTo>
                  <a:lnTo>
                    <a:pt x="2821615" y="1642186"/>
                  </a:lnTo>
                  <a:lnTo>
                    <a:pt x="2821573" y="1641680"/>
                  </a:lnTo>
                  <a:lnTo>
                    <a:pt x="2821249" y="1640369"/>
                  </a:lnTo>
                  <a:lnTo>
                    <a:pt x="2821220" y="1639750"/>
                  </a:lnTo>
                  <a:lnTo>
                    <a:pt x="2821408" y="1639360"/>
                  </a:lnTo>
                  <a:lnTo>
                    <a:pt x="2821661" y="1639058"/>
                  </a:lnTo>
                  <a:lnTo>
                    <a:pt x="2821829" y="1638703"/>
                  </a:lnTo>
                  <a:lnTo>
                    <a:pt x="2822056" y="1636020"/>
                  </a:lnTo>
                  <a:lnTo>
                    <a:pt x="2822306" y="1634825"/>
                  </a:lnTo>
                  <a:lnTo>
                    <a:pt x="2822887" y="1634204"/>
                  </a:lnTo>
                  <a:lnTo>
                    <a:pt x="2824364" y="1634598"/>
                  </a:lnTo>
                  <a:lnTo>
                    <a:pt x="2824942" y="1636347"/>
                  </a:lnTo>
                  <a:lnTo>
                    <a:pt x="2825564" y="1643801"/>
                  </a:lnTo>
                  <a:lnTo>
                    <a:pt x="2824687" y="1645109"/>
                  </a:lnTo>
                  <a:lnTo>
                    <a:pt x="2822446" y="1646632"/>
                  </a:lnTo>
                  <a:lnTo>
                    <a:pt x="2821905" y="1646759"/>
                  </a:lnTo>
                  <a:lnTo>
                    <a:pt x="2823626" y="1648426"/>
                  </a:lnTo>
                  <a:lnTo>
                    <a:pt x="2824292" y="1649488"/>
                  </a:lnTo>
                  <a:lnTo>
                    <a:pt x="2823393" y="1650658"/>
                  </a:lnTo>
                  <a:lnTo>
                    <a:pt x="2823051" y="1651765"/>
                  </a:lnTo>
                  <a:lnTo>
                    <a:pt x="2822835" y="1653098"/>
                  </a:lnTo>
                  <a:lnTo>
                    <a:pt x="2822851" y="1654262"/>
                  </a:lnTo>
                  <a:lnTo>
                    <a:pt x="2823416" y="1654130"/>
                  </a:lnTo>
                  <a:lnTo>
                    <a:pt x="2823159" y="1655326"/>
                  </a:lnTo>
                  <a:lnTo>
                    <a:pt x="2823126" y="1656703"/>
                  </a:lnTo>
                  <a:lnTo>
                    <a:pt x="2822965" y="1657795"/>
                  </a:lnTo>
                  <a:lnTo>
                    <a:pt x="2822347" y="1658141"/>
                  </a:lnTo>
                  <a:lnTo>
                    <a:pt x="2823060" y="1659521"/>
                  </a:lnTo>
                  <a:lnTo>
                    <a:pt x="2824921" y="1661494"/>
                  </a:lnTo>
                  <a:lnTo>
                    <a:pt x="2825750" y="1662768"/>
                  </a:lnTo>
                  <a:lnTo>
                    <a:pt x="2825504" y="1662826"/>
                  </a:lnTo>
                  <a:lnTo>
                    <a:pt x="2825713" y="1663311"/>
                  </a:lnTo>
                  <a:lnTo>
                    <a:pt x="2825809" y="1663452"/>
                  </a:lnTo>
                  <a:lnTo>
                    <a:pt x="2825837" y="1663624"/>
                  </a:lnTo>
                  <a:lnTo>
                    <a:pt x="2825837" y="1664212"/>
                  </a:lnTo>
                  <a:lnTo>
                    <a:pt x="2827140" y="1666695"/>
                  </a:lnTo>
                  <a:lnTo>
                    <a:pt x="2827898" y="1667941"/>
                  </a:lnTo>
                  <a:lnTo>
                    <a:pt x="2828706" y="1668970"/>
                  </a:lnTo>
                  <a:lnTo>
                    <a:pt x="2830132" y="1670057"/>
                  </a:lnTo>
                  <a:lnTo>
                    <a:pt x="2832908" y="1671017"/>
                  </a:lnTo>
                  <a:lnTo>
                    <a:pt x="2834329" y="1671859"/>
                  </a:lnTo>
                  <a:lnTo>
                    <a:pt x="2834817" y="1672460"/>
                  </a:lnTo>
                  <a:lnTo>
                    <a:pt x="2835030" y="1673089"/>
                  </a:lnTo>
                  <a:lnTo>
                    <a:pt x="2835175" y="1673703"/>
                  </a:lnTo>
                  <a:lnTo>
                    <a:pt x="2835463" y="1674265"/>
                  </a:lnTo>
                  <a:lnTo>
                    <a:pt x="2835939" y="1674700"/>
                  </a:lnTo>
                  <a:lnTo>
                    <a:pt x="2838917" y="1676361"/>
                  </a:lnTo>
                  <a:lnTo>
                    <a:pt x="2841491" y="1676335"/>
                  </a:lnTo>
                  <a:lnTo>
                    <a:pt x="2842398" y="1677186"/>
                  </a:lnTo>
                  <a:lnTo>
                    <a:pt x="2842000" y="1677378"/>
                  </a:lnTo>
                  <a:lnTo>
                    <a:pt x="2841665" y="1677742"/>
                  </a:lnTo>
                  <a:lnTo>
                    <a:pt x="2841386" y="1678288"/>
                  </a:lnTo>
                  <a:lnTo>
                    <a:pt x="2842762" y="1679855"/>
                  </a:lnTo>
                  <a:lnTo>
                    <a:pt x="2844488" y="1681167"/>
                  </a:lnTo>
                  <a:lnTo>
                    <a:pt x="2846176" y="1682018"/>
                  </a:lnTo>
                  <a:lnTo>
                    <a:pt x="2847420" y="1682202"/>
                  </a:lnTo>
                  <a:lnTo>
                    <a:pt x="2848483" y="1682682"/>
                  </a:lnTo>
                  <a:lnTo>
                    <a:pt x="2852056" y="1687225"/>
                  </a:lnTo>
                  <a:lnTo>
                    <a:pt x="2855006" y="1689196"/>
                  </a:lnTo>
                  <a:lnTo>
                    <a:pt x="2861072" y="1691633"/>
                  </a:lnTo>
                  <a:lnTo>
                    <a:pt x="2864040" y="1694334"/>
                  </a:lnTo>
                  <a:lnTo>
                    <a:pt x="2865417" y="1696388"/>
                  </a:lnTo>
                  <a:lnTo>
                    <a:pt x="2867806" y="1699162"/>
                  </a:lnTo>
                  <a:lnTo>
                    <a:pt x="2868502" y="1699746"/>
                  </a:lnTo>
                  <a:lnTo>
                    <a:pt x="2869885" y="1701724"/>
                  </a:lnTo>
                  <a:lnTo>
                    <a:pt x="2870485" y="1702427"/>
                  </a:lnTo>
                  <a:lnTo>
                    <a:pt x="2872341" y="1703875"/>
                  </a:lnTo>
                  <a:lnTo>
                    <a:pt x="2874419" y="1707219"/>
                  </a:lnTo>
                  <a:lnTo>
                    <a:pt x="2874535" y="1710611"/>
                  </a:lnTo>
                  <a:lnTo>
                    <a:pt x="2873898" y="1714022"/>
                  </a:lnTo>
                  <a:lnTo>
                    <a:pt x="2873697" y="1717369"/>
                  </a:lnTo>
                  <a:lnTo>
                    <a:pt x="2873973" y="1717301"/>
                  </a:lnTo>
                  <a:lnTo>
                    <a:pt x="2874287" y="1720671"/>
                  </a:lnTo>
                  <a:lnTo>
                    <a:pt x="2874528" y="1727086"/>
                  </a:lnTo>
                  <a:lnTo>
                    <a:pt x="2874842" y="1730218"/>
                  </a:lnTo>
                  <a:lnTo>
                    <a:pt x="2875933" y="1735951"/>
                  </a:lnTo>
                  <a:lnTo>
                    <a:pt x="2876127" y="1737583"/>
                  </a:lnTo>
                  <a:lnTo>
                    <a:pt x="2875873" y="1743794"/>
                  </a:lnTo>
                  <a:lnTo>
                    <a:pt x="2876330" y="1744647"/>
                  </a:lnTo>
                  <a:lnTo>
                    <a:pt x="2876516" y="1745219"/>
                  </a:lnTo>
                  <a:lnTo>
                    <a:pt x="2876614" y="1746747"/>
                  </a:lnTo>
                  <a:lnTo>
                    <a:pt x="2877103" y="1747395"/>
                  </a:lnTo>
                  <a:lnTo>
                    <a:pt x="2876831" y="1747815"/>
                  </a:lnTo>
                  <a:lnTo>
                    <a:pt x="2876780" y="1748391"/>
                  </a:lnTo>
                  <a:lnTo>
                    <a:pt x="2876814" y="1749046"/>
                  </a:lnTo>
                  <a:lnTo>
                    <a:pt x="2876788" y="1749711"/>
                  </a:lnTo>
                  <a:lnTo>
                    <a:pt x="2876627" y="1750602"/>
                  </a:lnTo>
                  <a:lnTo>
                    <a:pt x="2876430" y="1751131"/>
                  </a:lnTo>
                  <a:lnTo>
                    <a:pt x="2876082" y="1751436"/>
                  </a:lnTo>
                  <a:lnTo>
                    <a:pt x="2875451" y="1751646"/>
                  </a:lnTo>
                  <a:lnTo>
                    <a:pt x="2874742" y="1752145"/>
                  </a:lnTo>
                  <a:lnTo>
                    <a:pt x="2874751" y="1753108"/>
                  </a:lnTo>
                  <a:lnTo>
                    <a:pt x="2875785" y="1756589"/>
                  </a:lnTo>
                  <a:lnTo>
                    <a:pt x="2875819" y="1758571"/>
                  </a:lnTo>
                  <a:lnTo>
                    <a:pt x="2874938" y="1759350"/>
                  </a:lnTo>
                  <a:lnTo>
                    <a:pt x="2870248" y="1759050"/>
                  </a:lnTo>
                  <a:lnTo>
                    <a:pt x="2870018" y="1759513"/>
                  </a:lnTo>
                  <a:lnTo>
                    <a:pt x="2869799" y="1761528"/>
                  </a:lnTo>
                  <a:lnTo>
                    <a:pt x="2869651" y="1762268"/>
                  </a:lnTo>
                  <a:lnTo>
                    <a:pt x="2867732" y="1763706"/>
                  </a:lnTo>
                  <a:lnTo>
                    <a:pt x="2862700" y="1761953"/>
                  </a:lnTo>
                  <a:lnTo>
                    <a:pt x="2860630" y="1763320"/>
                  </a:lnTo>
                  <a:lnTo>
                    <a:pt x="2859791" y="1764301"/>
                  </a:lnTo>
                  <a:lnTo>
                    <a:pt x="2857735" y="1765653"/>
                  </a:lnTo>
                  <a:lnTo>
                    <a:pt x="2856990" y="1766834"/>
                  </a:lnTo>
                  <a:lnTo>
                    <a:pt x="2856881" y="1767669"/>
                  </a:lnTo>
                  <a:lnTo>
                    <a:pt x="2856930" y="1769598"/>
                  </a:lnTo>
                  <a:lnTo>
                    <a:pt x="2856828" y="1770006"/>
                  </a:lnTo>
                  <a:lnTo>
                    <a:pt x="2856382" y="1770294"/>
                  </a:lnTo>
                  <a:lnTo>
                    <a:pt x="2855983" y="1770895"/>
                  </a:lnTo>
                  <a:lnTo>
                    <a:pt x="2855704" y="1771696"/>
                  </a:lnTo>
                  <a:lnTo>
                    <a:pt x="2855623" y="1772592"/>
                  </a:lnTo>
                  <a:lnTo>
                    <a:pt x="2855990" y="1772770"/>
                  </a:lnTo>
                  <a:lnTo>
                    <a:pt x="2857132" y="1773770"/>
                  </a:lnTo>
                  <a:lnTo>
                    <a:pt x="2855078" y="1779614"/>
                  </a:lnTo>
                  <a:lnTo>
                    <a:pt x="2855070" y="1779931"/>
                  </a:lnTo>
                  <a:lnTo>
                    <a:pt x="2855814" y="1781395"/>
                  </a:lnTo>
                  <a:lnTo>
                    <a:pt x="2856084" y="1782058"/>
                  </a:lnTo>
                  <a:lnTo>
                    <a:pt x="2855949" y="1782665"/>
                  </a:lnTo>
                  <a:lnTo>
                    <a:pt x="2854615" y="1784730"/>
                  </a:lnTo>
                  <a:lnTo>
                    <a:pt x="2853821" y="1787098"/>
                  </a:lnTo>
                  <a:lnTo>
                    <a:pt x="2853500" y="1788633"/>
                  </a:lnTo>
                  <a:lnTo>
                    <a:pt x="2853463" y="1790015"/>
                  </a:lnTo>
                  <a:lnTo>
                    <a:pt x="2854051" y="1792123"/>
                  </a:lnTo>
                  <a:lnTo>
                    <a:pt x="2854872" y="1793342"/>
                  </a:lnTo>
                  <a:lnTo>
                    <a:pt x="2855626" y="1794275"/>
                  </a:lnTo>
                  <a:lnTo>
                    <a:pt x="2856009" y="1795551"/>
                  </a:lnTo>
                  <a:lnTo>
                    <a:pt x="2846580" y="1796204"/>
                  </a:lnTo>
                  <a:lnTo>
                    <a:pt x="2846353" y="1796534"/>
                  </a:lnTo>
                  <a:lnTo>
                    <a:pt x="2846488" y="1797187"/>
                  </a:lnTo>
                  <a:lnTo>
                    <a:pt x="2847042" y="1798769"/>
                  </a:lnTo>
                  <a:lnTo>
                    <a:pt x="2846998" y="1799600"/>
                  </a:lnTo>
                  <a:lnTo>
                    <a:pt x="2843933" y="1802122"/>
                  </a:lnTo>
                  <a:lnTo>
                    <a:pt x="2843406" y="1803309"/>
                  </a:lnTo>
                  <a:lnTo>
                    <a:pt x="2843995" y="1805281"/>
                  </a:lnTo>
                  <a:lnTo>
                    <a:pt x="2841975" y="1807560"/>
                  </a:lnTo>
                  <a:lnTo>
                    <a:pt x="2841491" y="1808841"/>
                  </a:lnTo>
                  <a:lnTo>
                    <a:pt x="2841342" y="1809791"/>
                  </a:lnTo>
                  <a:lnTo>
                    <a:pt x="2841173" y="1812731"/>
                  </a:lnTo>
                  <a:lnTo>
                    <a:pt x="2841282" y="1814976"/>
                  </a:lnTo>
                  <a:lnTo>
                    <a:pt x="2839667" y="1816188"/>
                  </a:lnTo>
                  <a:lnTo>
                    <a:pt x="2830270" y="1817486"/>
                  </a:lnTo>
                  <a:lnTo>
                    <a:pt x="2828200" y="1819693"/>
                  </a:lnTo>
                  <a:lnTo>
                    <a:pt x="2824412" y="1820496"/>
                  </a:lnTo>
                  <a:lnTo>
                    <a:pt x="2824041" y="1821096"/>
                  </a:lnTo>
                  <a:lnTo>
                    <a:pt x="2824100" y="1822138"/>
                  </a:lnTo>
                  <a:lnTo>
                    <a:pt x="2824457" y="1823821"/>
                  </a:lnTo>
                  <a:lnTo>
                    <a:pt x="2824617" y="1827156"/>
                  </a:lnTo>
                  <a:lnTo>
                    <a:pt x="2823664" y="1829162"/>
                  </a:lnTo>
                  <a:lnTo>
                    <a:pt x="2821067" y="1831847"/>
                  </a:lnTo>
                  <a:lnTo>
                    <a:pt x="2821358" y="1831784"/>
                  </a:lnTo>
                  <a:lnTo>
                    <a:pt x="2820983" y="1832953"/>
                  </a:lnTo>
                  <a:lnTo>
                    <a:pt x="2816940" y="1839901"/>
                  </a:lnTo>
                  <a:lnTo>
                    <a:pt x="2815585" y="1841256"/>
                  </a:lnTo>
                  <a:lnTo>
                    <a:pt x="2814945" y="1841556"/>
                  </a:lnTo>
                  <a:lnTo>
                    <a:pt x="2814526" y="1842137"/>
                  </a:lnTo>
                  <a:lnTo>
                    <a:pt x="2813443" y="1845763"/>
                  </a:lnTo>
                  <a:lnTo>
                    <a:pt x="2812585" y="1845305"/>
                  </a:lnTo>
                  <a:lnTo>
                    <a:pt x="2810030" y="1845985"/>
                  </a:lnTo>
                  <a:lnTo>
                    <a:pt x="2807548" y="1845434"/>
                  </a:lnTo>
                  <a:lnTo>
                    <a:pt x="2805289" y="1847595"/>
                  </a:lnTo>
                  <a:lnTo>
                    <a:pt x="2803890" y="1847021"/>
                  </a:lnTo>
                  <a:lnTo>
                    <a:pt x="2804085" y="1846676"/>
                  </a:lnTo>
                  <a:lnTo>
                    <a:pt x="2804441" y="1845312"/>
                  </a:lnTo>
                  <a:lnTo>
                    <a:pt x="2800666" y="1842453"/>
                  </a:lnTo>
                  <a:lnTo>
                    <a:pt x="2799536" y="1841010"/>
                  </a:lnTo>
                  <a:lnTo>
                    <a:pt x="2799846" y="1841000"/>
                  </a:lnTo>
                  <a:lnTo>
                    <a:pt x="2800424" y="1840783"/>
                  </a:lnTo>
                  <a:lnTo>
                    <a:pt x="2800731" y="1840760"/>
                  </a:lnTo>
                  <a:lnTo>
                    <a:pt x="2799988" y="1839091"/>
                  </a:lnTo>
                  <a:lnTo>
                    <a:pt x="2800247" y="1838383"/>
                  </a:lnTo>
                  <a:lnTo>
                    <a:pt x="2801032" y="1838423"/>
                  </a:lnTo>
                  <a:lnTo>
                    <a:pt x="2801876" y="1838999"/>
                  </a:lnTo>
                  <a:lnTo>
                    <a:pt x="2802289" y="1840820"/>
                  </a:lnTo>
                  <a:lnTo>
                    <a:pt x="2803453" y="1842464"/>
                  </a:lnTo>
                  <a:lnTo>
                    <a:pt x="2804756" y="1843516"/>
                  </a:lnTo>
                  <a:lnTo>
                    <a:pt x="2805587" y="1843545"/>
                  </a:lnTo>
                  <a:lnTo>
                    <a:pt x="2805564" y="1842228"/>
                  </a:lnTo>
                  <a:lnTo>
                    <a:pt x="2804637" y="1840649"/>
                  </a:lnTo>
                  <a:lnTo>
                    <a:pt x="2803435" y="1839339"/>
                  </a:lnTo>
                  <a:lnTo>
                    <a:pt x="2801889" y="1838384"/>
                  </a:lnTo>
                  <a:lnTo>
                    <a:pt x="2798867" y="1834985"/>
                  </a:lnTo>
                  <a:lnTo>
                    <a:pt x="2798176" y="1833741"/>
                  </a:lnTo>
                  <a:lnTo>
                    <a:pt x="2796854" y="1830695"/>
                  </a:lnTo>
                  <a:lnTo>
                    <a:pt x="2796277" y="1829848"/>
                  </a:lnTo>
                  <a:lnTo>
                    <a:pt x="2793718" y="1829083"/>
                  </a:lnTo>
                  <a:lnTo>
                    <a:pt x="2788612" y="1829176"/>
                  </a:lnTo>
                  <a:lnTo>
                    <a:pt x="2786242" y="1826941"/>
                  </a:lnTo>
                  <a:lnTo>
                    <a:pt x="2785135" y="1824483"/>
                  </a:lnTo>
                  <a:lnTo>
                    <a:pt x="2784632" y="1824291"/>
                  </a:lnTo>
                  <a:lnTo>
                    <a:pt x="2783808" y="1825467"/>
                  </a:lnTo>
                  <a:lnTo>
                    <a:pt x="2782851" y="1826120"/>
                  </a:lnTo>
                  <a:lnTo>
                    <a:pt x="2781925" y="1825333"/>
                  </a:lnTo>
                  <a:lnTo>
                    <a:pt x="2781414" y="1823873"/>
                  </a:lnTo>
                  <a:lnTo>
                    <a:pt x="2781694" y="1822479"/>
                  </a:lnTo>
                  <a:lnTo>
                    <a:pt x="2779657" y="1821370"/>
                  </a:lnTo>
                  <a:lnTo>
                    <a:pt x="2779786" y="1819821"/>
                  </a:lnTo>
                  <a:lnTo>
                    <a:pt x="2779498" y="1818768"/>
                  </a:lnTo>
                  <a:lnTo>
                    <a:pt x="2779027" y="1817735"/>
                  </a:lnTo>
                  <a:lnTo>
                    <a:pt x="2778601" y="1816257"/>
                  </a:lnTo>
                  <a:lnTo>
                    <a:pt x="2778607" y="1814348"/>
                  </a:lnTo>
                  <a:lnTo>
                    <a:pt x="2779227" y="1812971"/>
                  </a:lnTo>
                  <a:lnTo>
                    <a:pt x="2780247" y="1812328"/>
                  </a:lnTo>
                  <a:lnTo>
                    <a:pt x="2781453" y="1812630"/>
                  </a:lnTo>
                  <a:lnTo>
                    <a:pt x="2782456" y="1813822"/>
                  </a:lnTo>
                  <a:lnTo>
                    <a:pt x="2782758" y="1815220"/>
                  </a:lnTo>
                  <a:lnTo>
                    <a:pt x="2782935" y="1816762"/>
                  </a:lnTo>
                  <a:lnTo>
                    <a:pt x="2783550" y="1818364"/>
                  </a:lnTo>
                  <a:lnTo>
                    <a:pt x="2784303" y="1818722"/>
                  </a:lnTo>
                  <a:lnTo>
                    <a:pt x="2784758" y="1817500"/>
                  </a:lnTo>
                  <a:lnTo>
                    <a:pt x="2784991" y="1815670"/>
                  </a:lnTo>
                  <a:lnTo>
                    <a:pt x="2785085" y="1814171"/>
                  </a:lnTo>
                  <a:lnTo>
                    <a:pt x="2783570" y="1812097"/>
                  </a:lnTo>
                  <a:lnTo>
                    <a:pt x="2783035" y="1811554"/>
                  </a:lnTo>
                  <a:lnTo>
                    <a:pt x="2782223" y="1811258"/>
                  </a:lnTo>
                  <a:lnTo>
                    <a:pt x="2781418" y="1811259"/>
                  </a:lnTo>
                  <a:lnTo>
                    <a:pt x="2780651" y="1810981"/>
                  </a:lnTo>
                  <a:lnTo>
                    <a:pt x="2779947" y="1809832"/>
                  </a:lnTo>
                  <a:lnTo>
                    <a:pt x="2779973" y="1809120"/>
                  </a:lnTo>
                  <a:lnTo>
                    <a:pt x="2779832" y="1808935"/>
                  </a:lnTo>
                  <a:lnTo>
                    <a:pt x="2779397" y="1808493"/>
                  </a:lnTo>
                  <a:lnTo>
                    <a:pt x="2779535" y="1805921"/>
                  </a:lnTo>
                  <a:lnTo>
                    <a:pt x="2780930" y="1803414"/>
                  </a:lnTo>
                  <a:lnTo>
                    <a:pt x="2780998" y="1800480"/>
                  </a:lnTo>
                  <a:lnTo>
                    <a:pt x="2780562" y="1798157"/>
                  </a:lnTo>
                  <a:lnTo>
                    <a:pt x="2779856" y="1796238"/>
                  </a:lnTo>
                  <a:lnTo>
                    <a:pt x="2778986" y="1794684"/>
                  </a:lnTo>
                  <a:lnTo>
                    <a:pt x="2778054" y="1793410"/>
                  </a:lnTo>
                  <a:lnTo>
                    <a:pt x="2778045" y="1794895"/>
                  </a:lnTo>
                  <a:lnTo>
                    <a:pt x="2778365" y="1798435"/>
                  </a:lnTo>
                  <a:lnTo>
                    <a:pt x="2778339" y="1799922"/>
                  </a:lnTo>
                  <a:lnTo>
                    <a:pt x="2777734" y="1801796"/>
                  </a:lnTo>
                  <a:lnTo>
                    <a:pt x="2775716" y="1803526"/>
                  </a:lnTo>
                  <a:lnTo>
                    <a:pt x="2774709" y="1804809"/>
                  </a:lnTo>
                  <a:lnTo>
                    <a:pt x="2775653" y="1805266"/>
                  </a:lnTo>
                  <a:lnTo>
                    <a:pt x="2775125" y="1806777"/>
                  </a:lnTo>
                  <a:lnTo>
                    <a:pt x="2773297" y="1809730"/>
                  </a:lnTo>
                  <a:lnTo>
                    <a:pt x="2774176" y="1812761"/>
                  </a:lnTo>
                  <a:lnTo>
                    <a:pt x="2772634" y="1813860"/>
                  </a:lnTo>
                  <a:lnTo>
                    <a:pt x="2766740" y="1813299"/>
                  </a:lnTo>
                  <a:lnTo>
                    <a:pt x="2765047" y="1812136"/>
                  </a:lnTo>
                  <a:lnTo>
                    <a:pt x="2764403" y="1810176"/>
                  </a:lnTo>
                  <a:lnTo>
                    <a:pt x="2765615" y="1807463"/>
                  </a:lnTo>
                  <a:lnTo>
                    <a:pt x="2763719" y="1805757"/>
                  </a:lnTo>
                  <a:lnTo>
                    <a:pt x="2759016" y="1805983"/>
                  </a:lnTo>
                  <a:lnTo>
                    <a:pt x="2757358" y="1803710"/>
                  </a:lnTo>
                  <a:lnTo>
                    <a:pt x="2759372" y="1802816"/>
                  </a:lnTo>
                  <a:lnTo>
                    <a:pt x="2765744" y="1802052"/>
                  </a:lnTo>
                  <a:lnTo>
                    <a:pt x="2765596" y="1801320"/>
                  </a:lnTo>
                  <a:lnTo>
                    <a:pt x="2759382" y="1799229"/>
                  </a:lnTo>
                  <a:lnTo>
                    <a:pt x="2757351" y="1797564"/>
                  </a:lnTo>
                  <a:lnTo>
                    <a:pt x="2756704" y="1795261"/>
                  </a:lnTo>
                  <a:lnTo>
                    <a:pt x="2756729" y="1794305"/>
                  </a:lnTo>
                  <a:lnTo>
                    <a:pt x="2757492" y="1793811"/>
                  </a:lnTo>
                  <a:lnTo>
                    <a:pt x="2756433" y="1792286"/>
                  </a:lnTo>
                  <a:lnTo>
                    <a:pt x="2755094" y="1791910"/>
                  </a:lnTo>
                  <a:lnTo>
                    <a:pt x="2752746" y="1792461"/>
                  </a:lnTo>
                  <a:lnTo>
                    <a:pt x="2751852" y="1792069"/>
                  </a:lnTo>
                  <a:lnTo>
                    <a:pt x="2749057" y="1789763"/>
                  </a:lnTo>
                  <a:lnTo>
                    <a:pt x="2748133" y="1788734"/>
                  </a:lnTo>
                  <a:lnTo>
                    <a:pt x="2750321" y="1788580"/>
                  </a:lnTo>
                  <a:lnTo>
                    <a:pt x="2755377" y="1789533"/>
                  </a:lnTo>
                  <a:lnTo>
                    <a:pt x="2757177" y="1787793"/>
                  </a:lnTo>
                  <a:lnTo>
                    <a:pt x="2737656" y="1785436"/>
                  </a:lnTo>
                  <a:lnTo>
                    <a:pt x="2736161" y="1784884"/>
                  </a:lnTo>
                  <a:lnTo>
                    <a:pt x="2732776" y="1782740"/>
                  </a:lnTo>
                  <a:lnTo>
                    <a:pt x="2731686" y="1783600"/>
                  </a:lnTo>
                  <a:lnTo>
                    <a:pt x="2732532" y="1783983"/>
                  </a:lnTo>
                  <a:lnTo>
                    <a:pt x="2733380" y="1784728"/>
                  </a:lnTo>
                  <a:lnTo>
                    <a:pt x="2732831" y="1785428"/>
                  </a:lnTo>
                  <a:lnTo>
                    <a:pt x="2732505" y="1785656"/>
                  </a:lnTo>
                  <a:lnTo>
                    <a:pt x="2732079" y="1785655"/>
                  </a:lnTo>
                  <a:lnTo>
                    <a:pt x="2733153" y="1786429"/>
                  </a:lnTo>
                  <a:lnTo>
                    <a:pt x="2736526" y="1787238"/>
                  </a:lnTo>
                  <a:lnTo>
                    <a:pt x="2736430" y="1788291"/>
                  </a:lnTo>
                  <a:lnTo>
                    <a:pt x="2736147" y="1788950"/>
                  </a:lnTo>
                  <a:lnTo>
                    <a:pt x="2735232" y="1789751"/>
                  </a:lnTo>
                  <a:lnTo>
                    <a:pt x="2736646" y="1790216"/>
                  </a:lnTo>
                  <a:lnTo>
                    <a:pt x="2737736" y="1789413"/>
                  </a:lnTo>
                  <a:lnTo>
                    <a:pt x="2738722" y="1788167"/>
                  </a:lnTo>
                  <a:lnTo>
                    <a:pt x="2739823" y="1787293"/>
                  </a:lnTo>
                  <a:lnTo>
                    <a:pt x="2741173" y="1787143"/>
                  </a:lnTo>
                  <a:lnTo>
                    <a:pt x="2742772" y="1787420"/>
                  </a:lnTo>
                  <a:lnTo>
                    <a:pt x="2744403" y="1788106"/>
                  </a:lnTo>
                  <a:lnTo>
                    <a:pt x="2745848" y="1789176"/>
                  </a:lnTo>
                  <a:lnTo>
                    <a:pt x="2730742" y="1793537"/>
                  </a:lnTo>
                  <a:lnTo>
                    <a:pt x="2722987" y="1800376"/>
                  </a:lnTo>
                  <a:lnTo>
                    <a:pt x="2723753" y="1800944"/>
                  </a:lnTo>
                  <a:lnTo>
                    <a:pt x="2725281" y="1800906"/>
                  </a:lnTo>
                  <a:lnTo>
                    <a:pt x="2726107" y="1801319"/>
                  </a:lnTo>
                  <a:lnTo>
                    <a:pt x="2725451" y="1802474"/>
                  </a:lnTo>
                  <a:lnTo>
                    <a:pt x="2724877" y="1803893"/>
                  </a:lnTo>
                  <a:lnTo>
                    <a:pt x="2724154" y="1804704"/>
                  </a:lnTo>
                  <a:lnTo>
                    <a:pt x="2723056" y="1804079"/>
                  </a:lnTo>
                  <a:lnTo>
                    <a:pt x="2723922" y="1805948"/>
                  </a:lnTo>
                  <a:lnTo>
                    <a:pt x="2725439" y="1807380"/>
                  </a:lnTo>
                  <a:lnTo>
                    <a:pt x="2727054" y="1808270"/>
                  </a:lnTo>
                  <a:lnTo>
                    <a:pt x="2728214" y="1808503"/>
                  </a:lnTo>
                  <a:lnTo>
                    <a:pt x="2729296" y="1807599"/>
                  </a:lnTo>
                  <a:lnTo>
                    <a:pt x="2729878" y="1806872"/>
                  </a:lnTo>
                  <a:lnTo>
                    <a:pt x="2730184" y="1806241"/>
                  </a:lnTo>
                  <a:lnTo>
                    <a:pt x="2730609" y="1805787"/>
                  </a:lnTo>
                  <a:lnTo>
                    <a:pt x="2734056" y="1804936"/>
                  </a:lnTo>
                  <a:lnTo>
                    <a:pt x="2734831" y="1804275"/>
                  </a:lnTo>
                  <a:lnTo>
                    <a:pt x="2735364" y="1803163"/>
                  </a:lnTo>
                  <a:lnTo>
                    <a:pt x="2735833" y="1801362"/>
                  </a:lnTo>
                  <a:lnTo>
                    <a:pt x="2736050" y="1799943"/>
                  </a:lnTo>
                  <a:lnTo>
                    <a:pt x="2735917" y="1799167"/>
                  </a:lnTo>
                  <a:lnTo>
                    <a:pt x="2735437" y="1798901"/>
                  </a:lnTo>
                  <a:lnTo>
                    <a:pt x="2732663" y="1799029"/>
                  </a:lnTo>
                  <a:lnTo>
                    <a:pt x="2731907" y="1798723"/>
                  </a:lnTo>
                  <a:lnTo>
                    <a:pt x="2732802" y="1797476"/>
                  </a:lnTo>
                  <a:lnTo>
                    <a:pt x="2735362" y="1798454"/>
                  </a:lnTo>
                  <a:lnTo>
                    <a:pt x="2736498" y="1797861"/>
                  </a:lnTo>
                  <a:lnTo>
                    <a:pt x="2736619" y="1797051"/>
                  </a:lnTo>
                  <a:lnTo>
                    <a:pt x="2736484" y="1796091"/>
                  </a:lnTo>
                  <a:lnTo>
                    <a:pt x="2736430" y="1795261"/>
                  </a:lnTo>
                  <a:lnTo>
                    <a:pt x="2736791" y="1794840"/>
                  </a:lnTo>
                  <a:lnTo>
                    <a:pt x="2740946" y="1793002"/>
                  </a:lnTo>
                  <a:lnTo>
                    <a:pt x="2741519" y="1793114"/>
                  </a:lnTo>
                  <a:lnTo>
                    <a:pt x="2742020" y="1793561"/>
                  </a:lnTo>
                  <a:lnTo>
                    <a:pt x="2742999" y="1794811"/>
                  </a:lnTo>
                  <a:lnTo>
                    <a:pt x="2743405" y="1795028"/>
                  </a:lnTo>
                  <a:lnTo>
                    <a:pt x="2748153" y="1793354"/>
                  </a:lnTo>
                  <a:lnTo>
                    <a:pt x="2748033" y="1795335"/>
                  </a:lnTo>
                  <a:lnTo>
                    <a:pt x="2748528" y="1796570"/>
                  </a:lnTo>
                  <a:lnTo>
                    <a:pt x="2749403" y="1797015"/>
                  </a:lnTo>
                  <a:lnTo>
                    <a:pt x="2742957" y="1798835"/>
                  </a:lnTo>
                  <a:lnTo>
                    <a:pt x="2745237" y="1798855"/>
                  </a:lnTo>
                  <a:lnTo>
                    <a:pt x="2748916" y="1800155"/>
                  </a:lnTo>
                  <a:lnTo>
                    <a:pt x="2752534" y="1802349"/>
                  </a:lnTo>
                  <a:lnTo>
                    <a:pt x="2754615" y="1805075"/>
                  </a:lnTo>
                  <a:lnTo>
                    <a:pt x="2752618" y="1804911"/>
                  </a:lnTo>
                  <a:lnTo>
                    <a:pt x="2747929" y="1803023"/>
                  </a:lnTo>
                  <a:lnTo>
                    <a:pt x="2746396" y="1804250"/>
                  </a:lnTo>
                  <a:lnTo>
                    <a:pt x="2748626" y="1806141"/>
                  </a:lnTo>
                  <a:lnTo>
                    <a:pt x="2753031" y="1805958"/>
                  </a:lnTo>
                  <a:lnTo>
                    <a:pt x="2755221" y="1806477"/>
                  </a:lnTo>
                  <a:lnTo>
                    <a:pt x="2758233" y="1808482"/>
                  </a:lnTo>
                  <a:lnTo>
                    <a:pt x="2759283" y="1808715"/>
                  </a:lnTo>
                  <a:lnTo>
                    <a:pt x="2762424" y="1807996"/>
                  </a:lnTo>
                  <a:lnTo>
                    <a:pt x="2763473" y="1808581"/>
                  </a:lnTo>
                  <a:lnTo>
                    <a:pt x="2762741" y="1810614"/>
                  </a:lnTo>
                  <a:lnTo>
                    <a:pt x="2760274" y="1814468"/>
                  </a:lnTo>
                  <a:lnTo>
                    <a:pt x="2759155" y="1815580"/>
                  </a:lnTo>
                  <a:lnTo>
                    <a:pt x="2760113" y="1816143"/>
                  </a:lnTo>
                  <a:lnTo>
                    <a:pt x="2762911" y="1816353"/>
                  </a:lnTo>
                  <a:lnTo>
                    <a:pt x="2763815" y="1816877"/>
                  </a:lnTo>
                  <a:lnTo>
                    <a:pt x="2765118" y="1818430"/>
                  </a:lnTo>
                  <a:lnTo>
                    <a:pt x="2765836" y="1818818"/>
                  </a:lnTo>
                  <a:lnTo>
                    <a:pt x="2766132" y="1818555"/>
                  </a:lnTo>
                  <a:lnTo>
                    <a:pt x="2767173" y="1816650"/>
                  </a:lnTo>
                  <a:lnTo>
                    <a:pt x="2767611" y="1816210"/>
                  </a:lnTo>
                  <a:lnTo>
                    <a:pt x="2768083" y="1816275"/>
                  </a:lnTo>
                  <a:lnTo>
                    <a:pt x="2768557" y="1816534"/>
                  </a:lnTo>
                  <a:lnTo>
                    <a:pt x="2769006" y="1816666"/>
                  </a:lnTo>
                  <a:lnTo>
                    <a:pt x="2771887" y="1816253"/>
                  </a:lnTo>
                  <a:lnTo>
                    <a:pt x="2772910" y="1816645"/>
                  </a:lnTo>
                  <a:lnTo>
                    <a:pt x="2772960" y="1817696"/>
                  </a:lnTo>
                  <a:lnTo>
                    <a:pt x="2773156" y="1818332"/>
                  </a:lnTo>
                  <a:lnTo>
                    <a:pt x="2773380" y="1818876"/>
                  </a:lnTo>
                  <a:lnTo>
                    <a:pt x="2773521" y="1819636"/>
                  </a:lnTo>
                  <a:lnTo>
                    <a:pt x="2773471" y="1820692"/>
                  </a:lnTo>
                  <a:lnTo>
                    <a:pt x="2773147" y="1822919"/>
                  </a:lnTo>
                  <a:lnTo>
                    <a:pt x="2773161" y="1824955"/>
                  </a:lnTo>
                  <a:lnTo>
                    <a:pt x="2772697" y="1825442"/>
                  </a:lnTo>
                  <a:lnTo>
                    <a:pt x="2772111" y="1825772"/>
                  </a:lnTo>
                  <a:lnTo>
                    <a:pt x="2771731" y="1826382"/>
                  </a:lnTo>
                  <a:lnTo>
                    <a:pt x="2772104" y="1827069"/>
                  </a:lnTo>
                  <a:lnTo>
                    <a:pt x="2779433" y="1833631"/>
                  </a:lnTo>
                  <a:lnTo>
                    <a:pt x="2781308" y="1834516"/>
                  </a:lnTo>
                  <a:lnTo>
                    <a:pt x="2782908" y="1836336"/>
                  </a:lnTo>
                  <a:lnTo>
                    <a:pt x="2783533" y="1836690"/>
                  </a:lnTo>
                  <a:lnTo>
                    <a:pt x="2784308" y="1836840"/>
                  </a:lnTo>
                  <a:lnTo>
                    <a:pt x="2785203" y="1837420"/>
                  </a:lnTo>
                  <a:lnTo>
                    <a:pt x="2786939" y="1839042"/>
                  </a:lnTo>
                  <a:lnTo>
                    <a:pt x="2789170" y="1841701"/>
                  </a:lnTo>
                  <a:lnTo>
                    <a:pt x="2790293" y="1843521"/>
                  </a:lnTo>
                  <a:lnTo>
                    <a:pt x="2791002" y="1845408"/>
                  </a:lnTo>
                  <a:lnTo>
                    <a:pt x="2791924" y="1850144"/>
                  </a:lnTo>
                  <a:lnTo>
                    <a:pt x="2792486" y="1852423"/>
                  </a:lnTo>
                  <a:lnTo>
                    <a:pt x="2793077" y="1853768"/>
                  </a:lnTo>
                  <a:lnTo>
                    <a:pt x="2794493" y="1854429"/>
                  </a:lnTo>
                  <a:lnTo>
                    <a:pt x="2795720" y="1854167"/>
                  </a:lnTo>
                  <a:lnTo>
                    <a:pt x="2796819" y="1854711"/>
                  </a:lnTo>
                  <a:lnTo>
                    <a:pt x="2797865" y="1857794"/>
                  </a:lnTo>
                  <a:lnTo>
                    <a:pt x="2798811" y="1859503"/>
                  </a:lnTo>
                  <a:lnTo>
                    <a:pt x="2801987" y="1861826"/>
                  </a:lnTo>
                  <a:lnTo>
                    <a:pt x="2803012" y="1863202"/>
                  </a:lnTo>
                  <a:lnTo>
                    <a:pt x="2803104" y="1864803"/>
                  </a:lnTo>
                  <a:lnTo>
                    <a:pt x="2802397" y="1865875"/>
                  </a:lnTo>
                  <a:lnTo>
                    <a:pt x="2800517" y="1867522"/>
                  </a:lnTo>
                  <a:lnTo>
                    <a:pt x="2798920" y="1869685"/>
                  </a:lnTo>
                  <a:lnTo>
                    <a:pt x="2797960" y="1870418"/>
                  </a:lnTo>
                  <a:lnTo>
                    <a:pt x="2796868" y="1870629"/>
                  </a:lnTo>
                  <a:lnTo>
                    <a:pt x="2796960" y="1869058"/>
                  </a:lnTo>
                  <a:lnTo>
                    <a:pt x="2797346" y="1868176"/>
                  </a:lnTo>
                  <a:lnTo>
                    <a:pt x="2797834" y="1867409"/>
                  </a:lnTo>
                  <a:lnTo>
                    <a:pt x="2798245" y="1866127"/>
                  </a:lnTo>
                  <a:lnTo>
                    <a:pt x="2798383" y="1865889"/>
                  </a:lnTo>
                  <a:lnTo>
                    <a:pt x="2798659" y="1865152"/>
                  </a:lnTo>
                  <a:lnTo>
                    <a:pt x="2798778" y="1864410"/>
                  </a:lnTo>
                  <a:lnTo>
                    <a:pt x="2798445" y="1864148"/>
                  </a:lnTo>
                  <a:lnTo>
                    <a:pt x="2796828" y="1864482"/>
                  </a:lnTo>
                  <a:lnTo>
                    <a:pt x="2793043" y="1866418"/>
                  </a:lnTo>
                  <a:lnTo>
                    <a:pt x="2790916" y="1866766"/>
                  </a:lnTo>
                  <a:lnTo>
                    <a:pt x="2790156" y="1865017"/>
                  </a:lnTo>
                  <a:lnTo>
                    <a:pt x="2788899" y="1863834"/>
                  </a:lnTo>
                  <a:lnTo>
                    <a:pt x="2784852" y="1863048"/>
                  </a:lnTo>
                  <a:lnTo>
                    <a:pt x="2783462" y="1862318"/>
                  </a:lnTo>
                  <a:lnTo>
                    <a:pt x="2782731" y="1861735"/>
                  </a:lnTo>
                  <a:lnTo>
                    <a:pt x="2782113" y="1861003"/>
                  </a:lnTo>
                  <a:lnTo>
                    <a:pt x="2781691" y="1860109"/>
                  </a:lnTo>
                  <a:lnTo>
                    <a:pt x="2781124" y="1858143"/>
                  </a:lnTo>
                  <a:lnTo>
                    <a:pt x="2780789" y="1857435"/>
                  </a:lnTo>
                  <a:lnTo>
                    <a:pt x="2779519" y="1856248"/>
                  </a:lnTo>
                  <a:lnTo>
                    <a:pt x="2778281" y="1855935"/>
                  </a:lnTo>
                  <a:lnTo>
                    <a:pt x="2777190" y="1856397"/>
                  </a:lnTo>
                  <a:lnTo>
                    <a:pt x="2776363" y="1857558"/>
                  </a:lnTo>
                  <a:lnTo>
                    <a:pt x="2774488" y="1859040"/>
                  </a:lnTo>
                  <a:lnTo>
                    <a:pt x="2773818" y="1860178"/>
                  </a:lnTo>
                  <a:lnTo>
                    <a:pt x="2774660" y="1861288"/>
                  </a:lnTo>
                  <a:lnTo>
                    <a:pt x="2774039" y="1862041"/>
                  </a:lnTo>
                  <a:lnTo>
                    <a:pt x="2773056" y="1862140"/>
                  </a:lnTo>
                  <a:lnTo>
                    <a:pt x="2771980" y="1861700"/>
                  </a:lnTo>
                  <a:lnTo>
                    <a:pt x="2771080" y="1860881"/>
                  </a:lnTo>
                  <a:lnTo>
                    <a:pt x="2770378" y="1859715"/>
                  </a:lnTo>
                  <a:lnTo>
                    <a:pt x="2770034" y="1858673"/>
                  </a:lnTo>
                  <a:lnTo>
                    <a:pt x="2769789" y="1857590"/>
                  </a:lnTo>
                  <a:lnTo>
                    <a:pt x="2769352" y="1856254"/>
                  </a:lnTo>
                  <a:lnTo>
                    <a:pt x="2768046" y="1853821"/>
                  </a:lnTo>
                  <a:lnTo>
                    <a:pt x="2766639" y="1852481"/>
                  </a:lnTo>
                  <a:lnTo>
                    <a:pt x="2765161" y="1851978"/>
                  </a:lnTo>
                  <a:lnTo>
                    <a:pt x="2763650" y="1852046"/>
                  </a:lnTo>
                  <a:lnTo>
                    <a:pt x="2763934" y="1850411"/>
                  </a:lnTo>
                  <a:lnTo>
                    <a:pt x="2762241" y="1850080"/>
                  </a:lnTo>
                  <a:lnTo>
                    <a:pt x="2761421" y="1852285"/>
                  </a:lnTo>
                  <a:lnTo>
                    <a:pt x="2760796" y="1855111"/>
                  </a:lnTo>
                  <a:lnTo>
                    <a:pt x="2759277" y="1857477"/>
                  </a:lnTo>
                  <a:lnTo>
                    <a:pt x="2760054" y="1858892"/>
                  </a:lnTo>
                  <a:lnTo>
                    <a:pt x="2761301" y="1860212"/>
                  </a:lnTo>
                  <a:lnTo>
                    <a:pt x="2762304" y="1860733"/>
                  </a:lnTo>
                  <a:lnTo>
                    <a:pt x="2763022" y="1860775"/>
                  </a:lnTo>
                  <a:lnTo>
                    <a:pt x="2763698" y="1861173"/>
                  </a:lnTo>
                  <a:lnTo>
                    <a:pt x="2764350" y="1861861"/>
                  </a:lnTo>
                  <a:lnTo>
                    <a:pt x="2766429" y="1864553"/>
                  </a:lnTo>
                  <a:lnTo>
                    <a:pt x="2770843" y="1868185"/>
                  </a:lnTo>
                  <a:lnTo>
                    <a:pt x="2772214" y="1869804"/>
                  </a:lnTo>
                  <a:lnTo>
                    <a:pt x="2773513" y="1871812"/>
                  </a:lnTo>
                  <a:lnTo>
                    <a:pt x="2774024" y="1873604"/>
                  </a:lnTo>
                  <a:lnTo>
                    <a:pt x="2773038" y="1874586"/>
                  </a:lnTo>
                  <a:lnTo>
                    <a:pt x="2769777" y="1875224"/>
                  </a:lnTo>
                  <a:lnTo>
                    <a:pt x="2769174" y="1874957"/>
                  </a:lnTo>
                  <a:lnTo>
                    <a:pt x="2766825" y="1872758"/>
                  </a:lnTo>
                  <a:lnTo>
                    <a:pt x="2763251" y="1871084"/>
                  </a:lnTo>
                  <a:lnTo>
                    <a:pt x="2756864" y="1871550"/>
                  </a:lnTo>
                  <a:lnTo>
                    <a:pt x="2755411" y="1871206"/>
                  </a:lnTo>
                  <a:lnTo>
                    <a:pt x="2753688" y="1869974"/>
                  </a:lnTo>
                  <a:lnTo>
                    <a:pt x="2751588" y="1867872"/>
                  </a:lnTo>
                  <a:lnTo>
                    <a:pt x="2750769" y="1867488"/>
                  </a:lnTo>
                  <a:lnTo>
                    <a:pt x="2749887" y="1867624"/>
                  </a:lnTo>
                  <a:lnTo>
                    <a:pt x="2748637" y="1869084"/>
                  </a:lnTo>
                  <a:lnTo>
                    <a:pt x="2747959" y="1869536"/>
                  </a:lnTo>
                  <a:lnTo>
                    <a:pt x="2746189" y="1869908"/>
                  </a:lnTo>
                  <a:lnTo>
                    <a:pt x="2745330" y="1869540"/>
                  </a:lnTo>
                  <a:lnTo>
                    <a:pt x="2744357" y="1868312"/>
                  </a:lnTo>
                  <a:lnTo>
                    <a:pt x="2743340" y="1867607"/>
                  </a:lnTo>
                  <a:lnTo>
                    <a:pt x="2742178" y="1867593"/>
                  </a:lnTo>
                  <a:lnTo>
                    <a:pt x="2741241" y="1867225"/>
                  </a:lnTo>
                  <a:lnTo>
                    <a:pt x="2740891" y="1865482"/>
                  </a:lnTo>
                  <a:lnTo>
                    <a:pt x="2740570" y="1864855"/>
                  </a:lnTo>
                  <a:lnTo>
                    <a:pt x="2740016" y="1863937"/>
                  </a:lnTo>
                  <a:lnTo>
                    <a:pt x="2739392" y="1863122"/>
                  </a:lnTo>
                  <a:lnTo>
                    <a:pt x="2738868" y="1862826"/>
                  </a:lnTo>
                  <a:lnTo>
                    <a:pt x="2738162" y="1863399"/>
                  </a:lnTo>
                  <a:lnTo>
                    <a:pt x="2738327" y="1864385"/>
                  </a:lnTo>
                  <a:lnTo>
                    <a:pt x="2738801" y="1865558"/>
                  </a:lnTo>
                  <a:lnTo>
                    <a:pt x="2739007" y="1866657"/>
                  </a:lnTo>
                  <a:lnTo>
                    <a:pt x="2738757" y="1867413"/>
                  </a:lnTo>
                  <a:lnTo>
                    <a:pt x="2737465" y="1869968"/>
                  </a:lnTo>
                  <a:lnTo>
                    <a:pt x="2736764" y="1870462"/>
                  </a:lnTo>
                  <a:lnTo>
                    <a:pt x="2735781" y="1870588"/>
                  </a:lnTo>
                  <a:lnTo>
                    <a:pt x="2734744" y="1870277"/>
                  </a:lnTo>
                  <a:lnTo>
                    <a:pt x="2733883" y="1869459"/>
                  </a:lnTo>
                  <a:lnTo>
                    <a:pt x="2733276" y="1868676"/>
                  </a:lnTo>
                  <a:lnTo>
                    <a:pt x="2731615" y="1863805"/>
                  </a:lnTo>
                  <a:lnTo>
                    <a:pt x="2731298" y="1860850"/>
                  </a:lnTo>
                  <a:lnTo>
                    <a:pt x="2729635" y="1859854"/>
                  </a:lnTo>
                  <a:lnTo>
                    <a:pt x="2729199" y="1858210"/>
                  </a:lnTo>
                  <a:lnTo>
                    <a:pt x="2729492" y="1856102"/>
                  </a:lnTo>
                  <a:lnTo>
                    <a:pt x="2728096" y="1852150"/>
                  </a:lnTo>
                  <a:lnTo>
                    <a:pt x="2727110" y="1848430"/>
                  </a:lnTo>
                  <a:lnTo>
                    <a:pt x="2725649" y="1846299"/>
                  </a:lnTo>
                  <a:lnTo>
                    <a:pt x="2724014" y="1844969"/>
                  </a:lnTo>
                  <a:lnTo>
                    <a:pt x="2723150" y="1842974"/>
                  </a:lnTo>
                  <a:lnTo>
                    <a:pt x="2721377" y="1839766"/>
                  </a:lnTo>
                  <a:lnTo>
                    <a:pt x="2719123" y="1839346"/>
                  </a:lnTo>
                  <a:lnTo>
                    <a:pt x="2716535" y="1840660"/>
                  </a:lnTo>
                  <a:lnTo>
                    <a:pt x="2710712" y="1845697"/>
                  </a:lnTo>
                  <a:lnTo>
                    <a:pt x="2707995" y="1847608"/>
                  </a:lnTo>
                  <a:lnTo>
                    <a:pt x="2706990" y="1849729"/>
                  </a:lnTo>
                  <a:lnTo>
                    <a:pt x="2704439" y="1849648"/>
                  </a:lnTo>
                  <a:lnTo>
                    <a:pt x="2703969" y="1850040"/>
                  </a:lnTo>
                  <a:lnTo>
                    <a:pt x="2701434" y="1849000"/>
                  </a:lnTo>
                  <a:lnTo>
                    <a:pt x="2691717" y="1852236"/>
                  </a:lnTo>
                  <a:lnTo>
                    <a:pt x="2690965" y="1851998"/>
                  </a:lnTo>
                  <a:lnTo>
                    <a:pt x="2689216" y="1850684"/>
                  </a:lnTo>
                  <a:lnTo>
                    <a:pt x="2688400" y="1850455"/>
                  </a:lnTo>
                  <a:lnTo>
                    <a:pt x="2685994" y="1851239"/>
                  </a:lnTo>
                  <a:lnTo>
                    <a:pt x="2685155" y="1850996"/>
                  </a:lnTo>
                  <a:lnTo>
                    <a:pt x="2684335" y="1850151"/>
                  </a:lnTo>
                  <a:lnTo>
                    <a:pt x="2682730" y="1848014"/>
                  </a:lnTo>
                  <a:lnTo>
                    <a:pt x="2681929" y="1847754"/>
                  </a:lnTo>
                  <a:lnTo>
                    <a:pt x="2681289" y="1848549"/>
                  </a:lnTo>
                  <a:lnTo>
                    <a:pt x="2681051" y="1849951"/>
                  </a:lnTo>
                  <a:lnTo>
                    <a:pt x="2680911" y="1851446"/>
                  </a:lnTo>
                  <a:lnTo>
                    <a:pt x="2680569" y="1852510"/>
                  </a:lnTo>
                  <a:lnTo>
                    <a:pt x="2679552" y="1852718"/>
                  </a:lnTo>
                  <a:lnTo>
                    <a:pt x="2674263" y="1849765"/>
                  </a:lnTo>
                  <a:lnTo>
                    <a:pt x="2672154" y="1849414"/>
                  </a:lnTo>
                  <a:lnTo>
                    <a:pt x="2671062" y="1849527"/>
                  </a:lnTo>
                  <a:lnTo>
                    <a:pt x="2672010" y="1851218"/>
                  </a:lnTo>
                  <a:lnTo>
                    <a:pt x="2672297" y="1851590"/>
                  </a:lnTo>
                  <a:lnTo>
                    <a:pt x="2670948" y="1855005"/>
                  </a:lnTo>
                  <a:lnTo>
                    <a:pt x="2668210" y="1854445"/>
                  </a:lnTo>
                  <a:lnTo>
                    <a:pt x="2665374" y="1853175"/>
                  </a:lnTo>
                  <a:lnTo>
                    <a:pt x="2663726" y="1854470"/>
                  </a:lnTo>
                  <a:lnTo>
                    <a:pt x="2665693" y="1857049"/>
                  </a:lnTo>
                  <a:lnTo>
                    <a:pt x="2671638" y="1862265"/>
                  </a:lnTo>
                  <a:lnTo>
                    <a:pt x="2670293" y="1863506"/>
                  </a:lnTo>
                  <a:lnTo>
                    <a:pt x="2664615" y="1861873"/>
                  </a:lnTo>
                  <a:lnTo>
                    <a:pt x="2663951" y="1862822"/>
                  </a:lnTo>
                  <a:lnTo>
                    <a:pt x="2664976" y="1864575"/>
                  </a:lnTo>
                  <a:lnTo>
                    <a:pt x="2670279" y="1870707"/>
                  </a:lnTo>
                  <a:lnTo>
                    <a:pt x="2672889" y="1874580"/>
                  </a:lnTo>
                  <a:lnTo>
                    <a:pt x="2674329" y="1875743"/>
                  </a:lnTo>
                  <a:lnTo>
                    <a:pt x="2677702" y="1875357"/>
                  </a:lnTo>
                  <a:lnTo>
                    <a:pt x="2681165" y="1876738"/>
                  </a:lnTo>
                  <a:lnTo>
                    <a:pt x="2686751" y="1876483"/>
                  </a:lnTo>
                  <a:lnTo>
                    <a:pt x="2687568" y="1876726"/>
                  </a:lnTo>
                  <a:lnTo>
                    <a:pt x="2690087" y="1878258"/>
                  </a:lnTo>
                  <a:lnTo>
                    <a:pt x="2705188" y="1883317"/>
                  </a:lnTo>
                  <a:lnTo>
                    <a:pt x="2708088" y="1883510"/>
                  </a:lnTo>
                  <a:lnTo>
                    <a:pt x="2710199" y="1886534"/>
                  </a:lnTo>
                  <a:lnTo>
                    <a:pt x="2708620" y="1888485"/>
                  </a:lnTo>
                  <a:lnTo>
                    <a:pt x="2707722" y="1891227"/>
                  </a:lnTo>
                  <a:lnTo>
                    <a:pt x="2706271" y="1894357"/>
                  </a:lnTo>
                  <a:lnTo>
                    <a:pt x="2706709" y="1896759"/>
                  </a:lnTo>
                  <a:lnTo>
                    <a:pt x="2706478" y="1897975"/>
                  </a:lnTo>
                  <a:lnTo>
                    <a:pt x="2706581" y="1899119"/>
                  </a:lnTo>
                  <a:lnTo>
                    <a:pt x="2706933" y="1900159"/>
                  </a:lnTo>
                  <a:lnTo>
                    <a:pt x="2707461" y="1901096"/>
                  </a:lnTo>
                  <a:lnTo>
                    <a:pt x="2704251" y="1905683"/>
                  </a:lnTo>
                  <a:lnTo>
                    <a:pt x="2702998" y="1906458"/>
                  </a:lnTo>
                  <a:lnTo>
                    <a:pt x="2700096" y="1907276"/>
                  </a:lnTo>
                  <a:lnTo>
                    <a:pt x="2698801" y="1908263"/>
                  </a:lnTo>
                  <a:lnTo>
                    <a:pt x="2698876" y="1910623"/>
                  </a:lnTo>
                  <a:lnTo>
                    <a:pt x="2699219" y="1911978"/>
                  </a:lnTo>
                  <a:lnTo>
                    <a:pt x="2699141" y="1913111"/>
                  </a:lnTo>
                  <a:lnTo>
                    <a:pt x="2698309" y="1913993"/>
                  </a:lnTo>
                  <a:lnTo>
                    <a:pt x="2696926" y="1914667"/>
                  </a:lnTo>
                  <a:lnTo>
                    <a:pt x="2695475" y="1914800"/>
                  </a:lnTo>
                  <a:lnTo>
                    <a:pt x="2694807" y="1915383"/>
                  </a:lnTo>
                  <a:lnTo>
                    <a:pt x="2694593" y="1915833"/>
                  </a:lnTo>
                  <a:lnTo>
                    <a:pt x="2694535" y="1916211"/>
                  </a:lnTo>
                  <a:lnTo>
                    <a:pt x="2694453" y="1916590"/>
                  </a:lnTo>
                  <a:lnTo>
                    <a:pt x="2694153" y="1917000"/>
                  </a:lnTo>
                  <a:lnTo>
                    <a:pt x="2693509" y="1917583"/>
                  </a:lnTo>
                  <a:lnTo>
                    <a:pt x="2692751" y="1917991"/>
                  </a:lnTo>
                  <a:lnTo>
                    <a:pt x="2691321" y="1918159"/>
                  </a:lnTo>
                  <a:lnTo>
                    <a:pt x="2690671" y="1918414"/>
                  </a:lnTo>
                  <a:lnTo>
                    <a:pt x="2690174" y="1919170"/>
                  </a:lnTo>
                  <a:lnTo>
                    <a:pt x="2690674" y="1920830"/>
                  </a:lnTo>
                  <a:lnTo>
                    <a:pt x="2690123" y="1922418"/>
                  </a:lnTo>
                  <a:lnTo>
                    <a:pt x="2689327" y="1924043"/>
                  </a:lnTo>
                  <a:lnTo>
                    <a:pt x="2689084" y="1925801"/>
                  </a:lnTo>
                  <a:lnTo>
                    <a:pt x="2689211" y="1926037"/>
                  </a:lnTo>
                  <a:lnTo>
                    <a:pt x="2689409" y="1926162"/>
                  </a:lnTo>
                  <a:lnTo>
                    <a:pt x="2689569" y="1926356"/>
                  </a:lnTo>
                  <a:lnTo>
                    <a:pt x="2689589" y="1926812"/>
                  </a:lnTo>
                  <a:lnTo>
                    <a:pt x="2689409" y="1927246"/>
                  </a:lnTo>
                  <a:lnTo>
                    <a:pt x="2688763" y="1928256"/>
                  </a:lnTo>
                  <a:lnTo>
                    <a:pt x="2688638" y="1928546"/>
                  </a:lnTo>
                  <a:lnTo>
                    <a:pt x="2689083" y="1929770"/>
                  </a:lnTo>
                  <a:lnTo>
                    <a:pt x="2689755" y="1930493"/>
                  </a:lnTo>
                  <a:lnTo>
                    <a:pt x="2690466" y="1931070"/>
                  </a:lnTo>
                  <a:lnTo>
                    <a:pt x="2691039" y="1931863"/>
                  </a:lnTo>
                  <a:lnTo>
                    <a:pt x="2690678" y="1932489"/>
                  </a:lnTo>
                  <a:lnTo>
                    <a:pt x="2690741" y="1932969"/>
                  </a:lnTo>
                  <a:lnTo>
                    <a:pt x="2690971" y="1933481"/>
                  </a:lnTo>
                  <a:lnTo>
                    <a:pt x="2691117" y="1934186"/>
                  </a:lnTo>
                  <a:lnTo>
                    <a:pt x="2691180" y="1934882"/>
                  </a:lnTo>
                  <a:lnTo>
                    <a:pt x="2691271" y="1935443"/>
                  </a:lnTo>
                  <a:lnTo>
                    <a:pt x="2691249" y="1936126"/>
                  </a:lnTo>
                  <a:lnTo>
                    <a:pt x="2690969" y="1937225"/>
                  </a:lnTo>
                  <a:lnTo>
                    <a:pt x="2689368" y="1940656"/>
                  </a:lnTo>
                  <a:lnTo>
                    <a:pt x="2688974" y="1942079"/>
                  </a:lnTo>
                  <a:lnTo>
                    <a:pt x="2688942" y="1942584"/>
                  </a:lnTo>
                  <a:lnTo>
                    <a:pt x="2688936" y="1943223"/>
                  </a:lnTo>
                  <a:lnTo>
                    <a:pt x="2688889" y="1943865"/>
                  </a:lnTo>
                  <a:lnTo>
                    <a:pt x="2688730" y="1944386"/>
                  </a:lnTo>
                  <a:lnTo>
                    <a:pt x="2688361" y="1944733"/>
                  </a:lnTo>
                  <a:lnTo>
                    <a:pt x="2686915" y="1944679"/>
                  </a:lnTo>
                  <a:lnTo>
                    <a:pt x="2685873" y="1945103"/>
                  </a:lnTo>
                  <a:lnTo>
                    <a:pt x="2683928" y="1946794"/>
                  </a:lnTo>
                  <a:lnTo>
                    <a:pt x="2683070" y="1947970"/>
                  </a:lnTo>
                  <a:lnTo>
                    <a:pt x="2682545" y="1949106"/>
                  </a:lnTo>
                  <a:lnTo>
                    <a:pt x="2681853" y="1951631"/>
                  </a:lnTo>
                  <a:lnTo>
                    <a:pt x="2681325" y="1952776"/>
                  </a:lnTo>
                  <a:lnTo>
                    <a:pt x="2679462" y="1955633"/>
                  </a:lnTo>
                  <a:lnTo>
                    <a:pt x="2679038" y="1956904"/>
                  </a:lnTo>
                  <a:lnTo>
                    <a:pt x="2678383" y="1958284"/>
                  </a:lnTo>
                  <a:lnTo>
                    <a:pt x="2677412" y="1959017"/>
                  </a:lnTo>
                  <a:lnTo>
                    <a:pt x="2675392" y="1959467"/>
                  </a:lnTo>
                  <a:lnTo>
                    <a:pt x="2672270" y="1961426"/>
                  </a:lnTo>
                  <a:lnTo>
                    <a:pt x="2671604" y="1962243"/>
                  </a:lnTo>
                  <a:lnTo>
                    <a:pt x="2671812" y="1962548"/>
                  </a:lnTo>
                  <a:lnTo>
                    <a:pt x="2672442" y="1963624"/>
                  </a:lnTo>
                  <a:lnTo>
                    <a:pt x="2672145" y="1964249"/>
                  </a:lnTo>
                  <a:lnTo>
                    <a:pt x="2671431" y="1964921"/>
                  </a:lnTo>
                  <a:lnTo>
                    <a:pt x="2671149" y="1965333"/>
                  </a:lnTo>
                  <a:lnTo>
                    <a:pt x="2671090" y="1965841"/>
                  </a:lnTo>
                  <a:lnTo>
                    <a:pt x="2671105" y="1966603"/>
                  </a:lnTo>
                  <a:lnTo>
                    <a:pt x="2671155" y="1967296"/>
                  </a:lnTo>
                  <a:lnTo>
                    <a:pt x="2671189" y="1967592"/>
                  </a:lnTo>
                  <a:lnTo>
                    <a:pt x="2670388" y="1968075"/>
                  </a:lnTo>
                  <a:lnTo>
                    <a:pt x="2668863" y="1967854"/>
                  </a:lnTo>
                  <a:lnTo>
                    <a:pt x="2668163" y="1968429"/>
                  </a:lnTo>
                  <a:lnTo>
                    <a:pt x="2667852" y="1969047"/>
                  </a:lnTo>
                  <a:lnTo>
                    <a:pt x="2667488" y="1970032"/>
                  </a:lnTo>
                  <a:lnTo>
                    <a:pt x="2667220" y="1971192"/>
                  </a:lnTo>
                  <a:lnTo>
                    <a:pt x="2667205" y="1972340"/>
                  </a:lnTo>
                  <a:lnTo>
                    <a:pt x="2667822" y="1973863"/>
                  </a:lnTo>
                  <a:lnTo>
                    <a:pt x="2669609" y="1974394"/>
                  </a:lnTo>
                  <a:lnTo>
                    <a:pt x="2670175" y="1975350"/>
                  </a:lnTo>
                  <a:lnTo>
                    <a:pt x="2669784" y="1977238"/>
                  </a:lnTo>
                  <a:lnTo>
                    <a:pt x="2666471" y="1978758"/>
                  </a:lnTo>
                  <a:lnTo>
                    <a:pt x="2665418" y="1980184"/>
                  </a:lnTo>
                  <a:lnTo>
                    <a:pt x="2665050" y="1981250"/>
                  </a:lnTo>
                  <a:lnTo>
                    <a:pt x="2664471" y="1981913"/>
                  </a:lnTo>
                  <a:lnTo>
                    <a:pt x="2662333" y="1982841"/>
                  </a:lnTo>
                  <a:lnTo>
                    <a:pt x="2660348" y="1985131"/>
                  </a:lnTo>
                  <a:lnTo>
                    <a:pt x="2657393" y="1987093"/>
                  </a:lnTo>
                  <a:lnTo>
                    <a:pt x="2645053" y="1988686"/>
                  </a:lnTo>
                  <a:lnTo>
                    <a:pt x="2632706" y="1990227"/>
                  </a:lnTo>
                  <a:lnTo>
                    <a:pt x="2626166" y="1988263"/>
                  </a:lnTo>
                  <a:lnTo>
                    <a:pt x="2620766" y="1984540"/>
                  </a:lnTo>
                  <a:lnTo>
                    <a:pt x="2619113" y="1984199"/>
                  </a:lnTo>
                  <a:lnTo>
                    <a:pt x="2618274" y="1983573"/>
                  </a:lnTo>
                  <a:lnTo>
                    <a:pt x="2617710" y="1982757"/>
                  </a:lnTo>
                  <a:lnTo>
                    <a:pt x="2616754" y="1980820"/>
                  </a:lnTo>
                  <a:lnTo>
                    <a:pt x="2616255" y="1980023"/>
                  </a:lnTo>
                  <a:lnTo>
                    <a:pt x="2614361" y="1978319"/>
                  </a:lnTo>
                  <a:lnTo>
                    <a:pt x="2613937" y="1978075"/>
                  </a:lnTo>
                  <a:lnTo>
                    <a:pt x="2613602" y="1977641"/>
                  </a:lnTo>
                  <a:lnTo>
                    <a:pt x="2612478" y="1975676"/>
                  </a:lnTo>
                  <a:lnTo>
                    <a:pt x="2611996" y="1975261"/>
                  </a:lnTo>
                  <a:lnTo>
                    <a:pt x="2610973" y="1974846"/>
                  </a:lnTo>
                  <a:lnTo>
                    <a:pt x="2607811" y="1972375"/>
                  </a:lnTo>
                  <a:lnTo>
                    <a:pt x="2605460" y="1969670"/>
                  </a:lnTo>
                  <a:lnTo>
                    <a:pt x="2601070" y="1966991"/>
                  </a:lnTo>
                  <a:lnTo>
                    <a:pt x="2599507" y="1966495"/>
                  </a:lnTo>
                  <a:lnTo>
                    <a:pt x="2595906" y="1966303"/>
                  </a:lnTo>
                  <a:lnTo>
                    <a:pt x="2594434" y="1965184"/>
                  </a:lnTo>
                  <a:lnTo>
                    <a:pt x="2592827" y="1963509"/>
                  </a:lnTo>
                  <a:lnTo>
                    <a:pt x="2591044" y="1962638"/>
                  </a:lnTo>
                  <a:lnTo>
                    <a:pt x="2587645" y="1961870"/>
                  </a:lnTo>
                  <a:lnTo>
                    <a:pt x="2598658" y="1960467"/>
                  </a:lnTo>
                  <a:lnTo>
                    <a:pt x="2603538" y="1961704"/>
                  </a:lnTo>
                  <a:lnTo>
                    <a:pt x="2606251" y="1961707"/>
                  </a:lnTo>
                  <a:lnTo>
                    <a:pt x="2606478" y="1960956"/>
                  </a:lnTo>
                  <a:lnTo>
                    <a:pt x="2604773" y="1959886"/>
                  </a:lnTo>
                  <a:lnTo>
                    <a:pt x="2591183" y="1958190"/>
                  </a:lnTo>
                  <a:lnTo>
                    <a:pt x="2589232" y="1957402"/>
                  </a:lnTo>
                  <a:lnTo>
                    <a:pt x="2588300" y="1957287"/>
                  </a:lnTo>
                  <a:lnTo>
                    <a:pt x="2587586" y="1956961"/>
                  </a:lnTo>
                  <a:lnTo>
                    <a:pt x="2586221" y="1955605"/>
                  </a:lnTo>
                  <a:lnTo>
                    <a:pt x="2585622" y="1955774"/>
                  </a:lnTo>
                  <a:lnTo>
                    <a:pt x="2585020" y="1956225"/>
                  </a:lnTo>
                  <a:lnTo>
                    <a:pt x="2580761" y="1957083"/>
                  </a:lnTo>
                  <a:lnTo>
                    <a:pt x="2579872" y="1956830"/>
                  </a:lnTo>
                  <a:lnTo>
                    <a:pt x="2576833" y="1954951"/>
                  </a:lnTo>
                  <a:lnTo>
                    <a:pt x="2574132" y="1954379"/>
                  </a:lnTo>
                  <a:lnTo>
                    <a:pt x="2573337" y="1953871"/>
                  </a:lnTo>
                  <a:lnTo>
                    <a:pt x="2572735" y="1952960"/>
                  </a:lnTo>
                  <a:lnTo>
                    <a:pt x="2572432" y="1951981"/>
                  </a:lnTo>
                  <a:lnTo>
                    <a:pt x="2572222" y="1951041"/>
                  </a:lnTo>
                  <a:lnTo>
                    <a:pt x="2571910" y="1950229"/>
                  </a:lnTo>
                  <a:lnTo>
                    <a:pt x="2571222" y="1949431"/>
                  </a:lnTo>
                  <a:lnTo>
                    <a:pt x="2567955" y="1947286"/>
                  </a:lnTo>
                  <a:lnTo>
                    <a:pt x="2565887" y="1946574"/>
                  </a:lnTo>
                  <a:lnTo>
                    <a:pt x="2564993" y="1946546"/>
                  </a:lnTo>
                  <a:lnTo>
                    <a:pt x="2564063" y="1946257"/>
                  </a:lnTo>
                  <a:lnTo>
                    <a:pt x="2563489" y="1945386"/>
                  </a:lnTo>
                  <a:lnTo>
                    <a:pt x="2563042" y="1944335"/>
                  </a:lnTo>
                  <a:lnTo>
                    <a:pt x="2562495" y="1943505"/>
                  </a:lnTo>
                  <a:lnTo>
                    <a:pt x="2559049" y="1940943"/>
                  </a:lnTo>
                  <a:lnTo>
                    <a:pt x="2557184" y="1940216"/>
                  </a:lnTo>
                  <a:lnTo>
                    <a:pt x="2556017" y="1940847"/>
                  </a:lnTo>
                  <a:lnTo>
                    <a:pt x="2556429" y="1941916"/>
                  </a:lnTo>
                  <a:lnTo>
                    <a:pt x="2556095" y="1942500"/>
                  </a:lnTo>
                  <a:lnTo>
                    <a:pt x="2555377" y="1942582"/>
                  </a:lnTo>
                  <a:lnTo>
                    <a:pt x="2554637" y="1942158"/>
                  </a:lnTo>
                  <a:lnTo>
                    <a:pt x="2554089" y="1941313"/>
                  </a:lnTo>
                  <a:lnTo>
                    <a:pt x="2553496" y="1939317"/>
                  </a:lnTo>
                  <a:lnTo>
                    <a:pt x="2552951" y="1938199"/>
                  </a:lnTo>
                  <a:lnTo>
                    <a:pt x="2552193" y="1937544"/>
                  </a:lnTo>
                  <a:lnTo>
                    <a:pt x="2548174" y="1936020"/>
                  </a:lnTo>
                  <a:lnTo>
                    <a:pt x="2546486" y="1934279"/>
                  </a:lnTo>
                  <a:lnTo>
                    <a:pt x="2545681" y="1933699"/>
                  </a:lnTo>
                  <a:lnTo>
                    <a:pt x="2544930" y="1933850"/>
                  </a:lnTo>
                  <a:lnTo>
                    <a:pt x="2542630" y="1935230"/>
                  </a:lnTo>
                  <a:lnTo>
                    <a:pt x="2541844" y="1934527"/>
                  </a:lnTo>
                  <a:lnTo>
                    <a:pt x="2533224" y="1934080"/>
                  </a:lnTo>
                  <a:lnTo>
                    <a:pt x="2531716" y="1935223"/>
                  </a:lnTo>
                  <a:lnTo>
                    <a:pt x="2542843" y="1939963"/>
                  </a:lnTo>
                  <a:lnTo>
                    <a:pt x="2544079" y="1941443"/>
                  </a:lnTo>
                  <a:lnTo>
                    <a:pt x="2544877" y="1943445"/>
                  </a:lnTo>
                  <a:lnTo>
                    <a:pt x="2544991" y="1945334"/>
                  </a:lnTo>
                  <a:lnTo>
                    <a:pt x="2544514" y="1946798"/>
                  </a:lnTo>
                  <a:lnTo>
                    <a:pt x="2543537" y="1947563"/>
                  </a:lnTo>
                  <a:lnTo>
                    <a:pt x="2542165" y="1947567"/>
                  </a:lnTo>
                  <a:lnTo>
                    <a:pt x="2540467" y="1946998"/>
                  </a:lnTo>
                  <a:lnTo>
                    <a:pt x="2538785" y="1945842"/>
                  </a:lnTo>
                  <a:lnTo>
                    <a:pt x="2537450" y="1944071"/>
                  </a:lnTo>
                  <a:lnTo>
                    <a:pt x="2536827" y="1943580"/>
                  </a:lnTo>
                  <a:lnTo>
                    <a:pt x="2534146" y="1943275"/>
                  </a:lnTo>
                  <a:lnTo>
                    <a:pt x="2531405" y="1941603"/>
                  </a:lnTo>
                  <a:lnTo>
                    <a:pt x="2530576" y="1941406"/>
                  </a:lnTo>
                  <a:lnTo>
                    <a:pt x="2527772" y="1941853"/>
                  </a:lnTo>
                  <a:lnTo>
                    <a:pt x="2526471" y="1942538"/>
                  </a:lnTo>
                  <a:lnTo>
                    <a:pt x="2525297" y="1943834"/>
                  </a:lnTo>
                  <a:lnTo>
                    <a:pt x="2522769" y="1945756"/>
                  </a:lnTo>
                  <a:lnTo>
                    <a:pt x="2519494" y="1946002"/>
                  </a:lnTo>
                  <a:lnTo>
                    <a:pt x="2513317" y="1943931"/>
                  </a:lnTo>
                  <a:lnTo>
                    <a:pt x="2514601" y="1942495"/>
                  </a:lnTo>
                  <a:lnTo>
                    <a:pt x="2516195" y="1941942"/>
                  </a:lnTo>
                  <a:lnTo>
                    <a:pt x="2519563" y="1941806"/>
                  </a:lnTo>
                  <a:lnTo>
                    <a:pt x="2522526" y="1940752"/>
                  </a:lnTo>
                  <a:lnTo>
                    <a:pt x="2522739" y="1940525"/>
                  </a:lnTo>
                  <a:lnTo>
                    <a:pt x="2522792" y="1940024"/>
                  </a:lnTo>
                  <a:lnTo>
                    <a:pt x="2522696" y="1939405"/>
                  </a:lnTo>
                  <a:lnTo>
                    <a:pt x="2522479" y="1938843"/>
                  </a:lnTo>
                  <a:lnTo>
                    <a:pt x="2522100" y="1938507"/>
                  </a:lnTo>
                  <a:lnTo>
                    <a:pt x="2521635" y="1938470"/>
                  </a:lnTo>
                  <a:lnTo>
                    <a:pt x="2514622" y="1941556"/>
                  </a:lnTo>
                  <a:lnTo>
                    <a:pt x="2500138" y="1940983"/>
                  </a:lnTo>
                  <a:lnTo>
                    <a:pt x="2485667" y="1940337"/>
                  </a:lnTo>
                  <a:lnTo>
                    <a:pt x="2483790" y="1939481"/>
                  </a:lnTo>
                  <a:lnTo>
                    <a:pt x="2482868" y="1939332"/>
                  </a:lnTo>
                  <a:lnTo>
                    <a:pt x="2479574" y="1940296"/>
                  </a:lnTo>
                  <a:lnTo>
                    <a:pt x="2473614" y="1937630"/>
                  </a:lnTo>
                  <a:lnTo>
                    <a:pt x="2472050" y="1938366"/>
                  </a:lnTo>
                  <a:lnTo>
                    <a:pt x="2470529" y="1939555"/>
                  </a:lnTo>
                  <a:lnTo>
                    <a:pt x="2466999" y="1940142"/>
                  </a:lnTo>
                  <a:lnTo>
                    <a:pt x="2465603" y="1941492"/>
                  </a:lnTo>
                  <a:lnTo>
                    <a:pt x="2483315" y="1951313"/>
                  </a:lnTo>
                  <a:lnTo>
                    <a:pt x="2486148" y="1954028"/>
                  </a:lnTo>
                  <a:lnTo>
                    <a:pt x="2487615" y="1954747"/>
                  </a:lnTo>
                  <a:lnTo>
                    <a:pt x="2488750" y="1953819"/>
                  </a:lnTo>
                  <a:lnTo>
                    <a:pt x="2485608" y="1949611"/>
                  </a:lnTo>
                  <a:lnTo>
                    <a:pt x="2484157" y="1946720"/>
                  </a:lnTo>
                  <a:lnTo>
                    <a:pt x="2483314" y="1945361"/>
                  </a:lnTo>
                  <a:lnTo>
                    <a:pt x="2482403" y="1944604"/>
                  </a:lnTo>
                  <a:lnTo>
                    <a:pt x="2483102" y="1942590"/>
                  </a:lnTo>
                  <a:lnTo>
                    <a:pt x="2484697" y="1941855"/>
                  </a:lnTo>
                  <a:lnTo>
                    <a:pt x="2489893" y="1942270"/>
                  </a:lnTo>
                  <a:lnTo>
                    <a:pt x="2492692" y="1943831"/>
                  </a:lnTo>
                  <a:lnTo>
                    <a:pt x="2501455" y="1944340"/>
                  </a:lnTo>
                  <a:lnTo>
                    <a:pt x="2509160" y="1944650"/>
                  </a:lnTo>
                  <a:lnTo>
                    <a:pt x="2519786" y="1948150"/>
                  </a:lnTo>
                  <a:lnTo>
                    <a:pt x="2529177" y="1949279"/>
                  </a:lnTo>
                  <a:lnTo>
                    <a:pt x="2535542" y="1951549"/>
                  </a:lnTo>
                  <a:lnTo>
                    <a:pt x="2540819" y="1955667"/>
                  </a:lnTo>
                  <a:lnTo>
                    <a:pt x="2544430" y="1956668"/>
                  </a:lnTo>
                  <a:lnTo>
                    <a:pt x="2546212" y="1957691"/>
                  </a:lnTo>
                  <a:lnTo>
                    <a:pt x="2551043" y="1963218"/>
                  </a:lnTo>
                  <a:lnTo>
                    <a:pt x="2551546" y="1963631"/>
                  </a:lnTo>
                  <a:lnTo>
                    <a:pt x="2552676" y="1965558"/>
                  </a:lnTo>
                  <a:lnTo>
                    <a:pt x="2553196" y="1965968"/>
                  </a:lnTo>
                  <a:lnTo>
                    <a:pt x="2554025" y="1966156"/>
                  </a:lnTo>
                  <a:lnTo>
                    <a:pt x="2558537" y="1968591"/>
                  </a:lnTo>
                  <a:lnTo>
                    <a:pt x="2559705" y="1969543"/>
                  </a:lnTo>
                  <a:lnTo>
                    <a:pt x="2560562" y="1971334"/>
                  </a:lnTo>
                  <a:lnTo>
                    <a:pt x="2561155" y="1974537"/>
                  </a:lnTo>
                  <a:lnTo>
                    <a:pt x="2561626" y="1976038"/>
                  </a:lnTo>
                  <a:lnTo>
                    <a:pt x="2562535" y="1977832"/>
                  </a:lnTo>
                  <a:lnTo>
                    <a:pt x="2563556" y="1979461"/>
                  </a:lnTo>
                  <a:lnTo>
                    <a:pt x="2564368" y="1980507"/>
                  </a:lnTo>
                  <a:lnTo>
                    <a:pt x="2571024" y="1984635"/>
                  </a:lnTo>
                  <a:lnTo>
                    <a:pt x="2572849" y="1984955"/>
                  </a:lnTo>
                  <a:lnTo>
                    <a:pt x="2573731" y="1985400"/>
                  </a:lnTo>
                  <a:lnTo>
                    <a:pt x="2574597" y="1986137"/>
                  </a:lnTo>
                  <a:lnTo>
                    <a:pt x="2575634" y="1987583"/>
                  </a:lnTo>
                  <a:lnTo>
                    <a:pt x="2576124" y="1988047"/>
                  </a:lnTo>
                  <a:lnTo>
                    <a:pt x="2576427" y="1988525"/>
                  </a:lnTo>
                  <a:lnTo>
                    <a:pt x="2576606" y="1989121"/>
                  </a:lnTo>
                  <a:lnTo>
                    <a:pt x="2576741" y="1990513"/>
                  </a:lnTo>
                  <a:lnTo>
                    <a:pt x="2576875" y="1991033"/>
                  </a:lnTo>
                  <a:lnTo>
                    <a:pt x="2577891" y="1992521"/>
                  </a:lnTo>
                  <a:lnTo>
                    <a:pt x="2580152" y="1994784"/>
                  </a:lnTo>
                  <a:lnTo>
                    <a:pt x="2581150" y="1996215"/>
                  </a:lnTo>
                  <a:lnTo>
                    <a:pt x="2582573" y="1997348"/>
                  </a:lnTo>
                  <a:lnTo>
                    <a:pt x="2585647" y="1995348"/>
                  </a:lnTo>
                  <a:lnTo>
                    <a:pt x="2587158" y="1995105"/>
                  </a:lnTo>
                  <a:lnTo>
                    <a:pt x="2589122" y="1996705"/>
                  </a:lnTo>
                  <a:lnTo>
                    <a:pt x="2589910" y="1997077"/>
                  </a:lnTo>
                  <a:lnTo>
                    <a:pt x="2601843" y="1996509"/>
                  </a:lnTo>
                  <a:lnTo>
                    <a:pt x="2605242" y="1997692"/>
                  </a:lnTo>
                  <a:lnTo>
                    <a:pt x="2624763" y="1997167"/>
                  </a:lnTo>
                  <a:lnTo>
                    <a:pt x="2626937" y="1998260"/>
                  </a:lnTo>
                  <a:lnTo>
                    <a:pt x="2628351" y="1998034"/>
                  </a:lnTo>
                  <a:lnTo>
                    <a:pt x="2631197" y="1995871"/>
                  </a:lnTo>
                  <a:lnTo>
                    <a:pt x="2632782" y="1995193"/>
                  </a:lnTo>
                  <a:lnTo>
                    <a:pt x="2637825" y="1995173"/>
                  </a:lnTo>
                  <a:lnTo>
                    <a:pt x="2640451" y="1996229"/>
                  </a:lnTo>
                  <a:lnTo>
                    <a:pt x="2641688" y="1996228"/>
                  </a:lnTo>
                  <a:lnTo>
                    <a:pt x="2642194" y="1994555"/>
                  </a:lnTo>
                  <a:lnTo>
                    <a:pt x="2641454" y="1993974"/>
                  </a:lnTo>
                  <a:lnTo>
                    <a:pt x="2642963" y="1992355"/>
                  </a:lnTo>
                  <a:lnTo>
                    <a:pt x="2645289" y="1992067"/>
                  </a:lnTo>
                  <a:lnTo>
                    <a:pt x="2647747" y="1992704"/>
                  </a:lnTo>
                  <a:lnTo>
                    <a:pt x="2651757" y="1994698"/>
                  </a:lnTo>
                  <a:lnTo>
                    <a:pt x="2658634" y="1992920"/>
                  </a:lnTo>
                  <a:lnTo>
                    <a:pt x="2673952" y="1994720"/>
                  </a:lnTo>
                  <a:lnTo>
                    <a:pt x="2674604" y="1995505"/>
                  </a:lnTo>
                  <a:lnTo>
                    <a:pt x="2674672" y="1996722"/>
                  </a:lnTo>
                  <a:lnTo>
                    <a:pt x="2674031" y="1998199"/>
                  </a:lnTo>
                  <a:lnTo>
                    <a:pt x="2675256" y="1999346"/>
                  </a:lnTo>
                  <a:lnTo>
                    <a:pt x="2678027" y="2000537"/>
                  </a:lnTo>
                  <a:lnTo>
                    <a:pt x="2679379" y="2001905"/>
                  </a:lnTo>
                  <a:lnTo>
                    <a:pt x="2680482" y="2004318"/>
                  </a:lnTo>
                  <a:lnTo>
                    <a:pt x="2680086" y="2005665"/>
                  </a:lnTo>
                  <a:lnTo>
                    <a:pt x="2679128" y="2006865"/>
                  </a:lnTo>
                  <a:lnTo>
                    <a:pt x="2678559" y="2008813"/>
                  </a:lnTo>
                  <a:lnTo>
                    <a:pt x="2679016" y="2011075"/>
                  </a:lnTo>
                  <a:lnTo>
                    <a:pt x="2679907" y="2012434"/>
                  </a:lnTo>
                  <a:lnTo>
                    <a:pt x="2680300" y="2013668"/>
                  </a:lnTo>
                  <a:lnTo>
                    <a:pt x="2679262" y="2015563"/>
                  </a:lnTo>
                  <a:lnTo>
                    <a:pt x="2675949" y="2019000"/>
                  </a:lnTo>
                  <a:lnTo>
                    <a:pt x="2674976" y="2020739"/>
                  </a:lnTo>
                  <a:lnTo>
                    <a:pt x="2675548" y="2021119"/>
                  </a:lnTo>
                  <a:lnTo>
                    <a:pt x="2676093" y="2021688"/>
                  </a:lnTo>
                  <a:lnTo>
                    <a:pt x="2676588" y="2022475"/>
                  </a:lnTo>
                  <a:lnTo>
                    <a:pt x="2676994" y="2023518"/>
                  </a:lnTo>
                  <a:lnTo>
                    <a:pt x="2676061" y="2026019"/>
                  </a:lnTo>
                  <a:lnTo>
                    <a:pt x="2675581" y="2026752"/>
                  </a:lnTo>
                  <a:lnTo>
                    <a:pt x="2674834" y="2027212"/>
                  </a:lnTo>
                  <a:lnTo>
                    <a:pt x="2674064" y="2027347"/>
                  </a:lnTo>
                  <a:lnTo>
                    <a:pt x="2673374" y="2027748"/>
                  </a:lnTo>
                  <a:lnTo>
                    <a:pt x="2672881" y="2029008"/>
                  </a:lnTo>
                  <a:lnTo>
                    <a:pt x="2672308" y="2031116"/>
                  </a:lnTo>
                  <a:lnTo>
                    <a:pt x="2670872" y="2034646"/>
                  </a:lnTo>
                  <a:lnTo>
                    <a:pt x="2669987" y="2038156"/>
                  </a:lnTo>
                  <a:lnTo>
                    <a:pt x="2669251" y="2042389"/>
                  </a:lnTo>
                  <a:lnTo>
                    <a:pt x="2669213" y="2043944"/>
                  </a:lnTo>
                  <a:lnTo>
                    <a:pt x="2669513" y="2045075"/>
                  </a:lnTo>
                  <a:lnTo>
                    <a:pt x="2670214" y="2046879"/>
                  </a:lnTo>
                  <a:lnTo>
                    <a:pt x="2670224" y="2047565"/>
                  </a:lnTo>
                  <a:lnTo>
                    <a:pt x="2669619" y="2048262"/>
                  </a:lnTo>
                  <a:lnTo>
                    <a:pt x="2667767" y="2048658"/>
                  </a:lnTo>
                  <a:lnTo>
                    <a:pt x="2667056" y="2049198"/>
                  </a:lnTo>
                  <a:lnTo>
                    <a:pt x="2665596" y="2053158"/>
                  </a:lnTo>
                  <a:lnTo>
                    <a:pt x="2664487" y="2054682"/>
                  </a:lnTo>
                  <a:lnTo>
                    <a:pt x="2663129" y="2053920"/>
                  </a:lnTo>
                  <a:lnTo>
                    <a:pt x="2662903" y="2052894"/>
                  </a:lnTo>
                  <a:lnTo>
                    <a:pt x="2662953" y="2051755"/>
                  </a:lnTo>
                  <a:lnTo>
                    <a:pt x="2662799" y="2050876"/>
                  </a:lnTo>
                  <a:lnTo>
                    <a:pt x="2661984" y="2050627"/>
                  </a:lnTo>
                  <a:lnTo>
                    <a:pt x="2661534" y="2051182"/>
                  </a:lnTo>
                  <a:lnTo>
                    <a:pt x="2661045" y="2052380"/>
                  </a:lnTo>
                  <a:lnTo>
                    <a:pt x="2660657" y="2053716"/>
                  </a:lnTo>
                  <a:lnTo>
                    <a:pt x="2660510" y="2054680"/>
                  </a:lnTo>
                  <a:lnTo>
                    <a:pt x="2660794" y="2056133"/>
                  </a:lnTo>
                  <a:lnTo>
                    <a:pt x="2662046" y="2059940"/>
                  </a:lnTo>
                  <a:lnTo>
                    <a:pt x="2662458" y="2061586"/>
                  </a:lnTo>
                  <a:lnTo>
                    <a:pt x="2662482" y="2063081"/>
                  </a:lnTo>
                  <a:lnTo>
                    <a:pt x="2662151" y="2064054"/>
                  </a:lnTo>
                  <a:lnTo>
                    <a:pt x="2661278" y="2065519"/>
                  </a:lnTo>
                  <a:lnTo>
                    <a:pt x="2661003" y="2066770"/>
                  </a:lnTo>
                  <a:lnTo>
                    <a:pt x="2660774" y="2069375"/>
                  </a:lnTo>
                  <a:lnTo>
                    <a:pt x="2660538" y="2070486"/>
                  </a:lnTo>
                  <a:lnTo>
                    <a:pt x="2659681" y="2071862"/>
                  </a:lnTo>
                  <a:lnTo>
                    <a:pt x="2652615" y="2076816"/>
                  </a:lnTo>
                  <a:lnTo>
                    <a:pt x="2650758" y="2077348"/>
                  </a:lnTo>
                  <a:lnTo>
                    <a:pt x="2650595" y="2077801"/>
                  </a:lnTo>
                  <a:lnTo>
                    <a:pt x="2650671" y="2078611"/>
                  </a:lnTo>
                  <a:lnTo>
                    <a:pt x="2650864" y="2079875"/>
                  </a:lnTo>
                  <a:lnTo>
                    <a:pt x="2650895" y="2080948"/>
                  </a:lnTo>
                  <a:lnTo>
                    <a:pt x="2650692" y="2081743"/>
                  </a:lnTo>
                  <a:lnTo>
                    <a:pt x="2650043" y="2083409"/>
                  </a:lnTo>
                  <a:lnTo>
                    <a:pt x="2649689" y="2084948"/>
                  </a:lnTo>
                  <a:lnTo>
                    <a:pt x="2649508" y="2086538"/>
                  </a:lnTo>
                  <a:lnTo>
                    <a:pt x="2649525" y="2088352"/>
                  </a:lnTo>
                  <a:lnTo>
                    <a:pt x="2649756" y="2090566"/>
                  </a:lnTo>
                  <a:lnTo>
                    <a:pt x="2649942" y="2095003"/>
                  </a:lnTo>
                  <a:lnTo>
                    <a:pt x="2649211" y="2098163"/>
                  </a:lnTo>
                  <a:lnTo>
                    <a:pt x="2644428" y="2105349"/>
                  </a:lnTo>
                  <a:lnTo>
                    <a:pt x="2643691" y="2107275"/>
                  </a:lnTo>
                  <a:lnTo>
                    <a:pt x="2643580" y="2109541"/>
                  </a:lnTo>
                  <a:lnTo>
                    <a:pt x="2646592" y="2112556"/>
                  </a:lnTo>
                  <a:lnTo>
                    <a:pt x="2647498" y="2114001"/>
                  </a:lnTo>
                  <a:lnTo>
                    <a:pt x="2644661" y="2115185"/>
                  </a:lnTo>
                  <a:lnTo>
                    <a:pt x="2644034" y="2116283"/>
                  </a:lnTo>
                  <a:lnTo>
                    <a:pt x="2643570" y="2117678"/>
                  </a:lnTo>
                  <a:lnTo>
                    <a:pt x="2642876" y="2119144"/>
                  </a:lnTo>
                  <a:lnTo>
                    <a:pt x="2642088" y="2120323"/>
                  </a:lnTo>
                  <a:lnTo>
                    <a:pt x="2641355" y="2120857"/>
                  </a:lnTo>
                  <a:lnTo>
                    <a:pt x="2636904" y="2120638"/>
                  </a:lnTo>
                  <a:lnTo>
                    <a:pt x="2636122" y="2121344"/>
                  </a:lnTo>
                  <a:lnTo>
                    <a:pt x="2634915" y="2124131"/>
                  </a:lnTo>
                  <a:lnTo>
                    <a:pt x="2634175" y="2124834"/>
                  </a:lnTo>
                  <a:lnTo>
                    <a:pt x="2633371" y="2125192"/>
                  </a:lnTo>
                  <a:lnTo>
                    <a:pt x="2625906" y="2132396"/>
                  </a:lnTo>
                  <a:lnTo>
                    <a:pt x="2625070" y="2132778"/>
                  </a:lnTo>
                  <a:lnTo>
                    <a:pt x="2622388" y="2133147"/>
                  </a:lnTo>
                  <a:lnTo>
                    <a:pt x="2622182" y="2133836"/>
                  </a:lnTo>
                  <a:lnTo>
                    <a:pt x="2623049" y="2135310"/>
                  </a:lnTo>
                  <a:lnTo>
                    <a:pt x="2621149" y="2136557"/>
                  </a:lnTo>
                  <a:lnTo>
                    <a:pt x="2617789" y="2137766"/>
                  </a:lnTo>
                  <a:lnTo>
                    <a:pt x="2617555" y="2138579"/>
                  </a:lnTo>
                  <a:lnTo>
                    <a:pt x="2617603" y="2139782"/>
                  </a:lnTo>
                  <a:lnTo>
                    <a:pt x="2617224" y="2141383"/>
                  </a:lnTo>
                  <a:lnTo>
                    <a:pt x="2616348" y="2142210"/>
                  </a:lnTo>
                  <a:lnTo>
                    <a:pt x="2615078" y="2142411"/>
                  </a:lnTo>
                  <a:lnTo>
                    <a:pt x="2612686" y="2141956"/>
                  </a:lnTo>
                  <a:lnTo>
                    <a:pt x="2610439" y="2140938"/>
                  </a:lnTo>
                  <a:lnTo>
                    <a:pt x="2609904" y="2141108"/>
                  </a:lnTo>
                  <a:lnTo>
                    <a:pt x="2609497" y="2141714"/>
                  </a:lnTo>
                  <a:lnTo>
                    <a:pt x="2609164" y="2142060"/>
                  </a:lnTo>
                  <a:lnTo>
                    <a:pt x="2608728" y="2142091"/>
                  </a:lnTo>
                  <a:lnTo>
                    <a:pt x="2608019" y="2141718"/>
                  </a:lnTo>
                  <a:lnTo>
                    <a:pt x="2608073" y="2140570"/>
                  </a:lnTo>
                  <a:lnTo>
                    <a:pt x="2608148" y="2140131"/>
                  </a:lnTo>
                  <a:lnTo>
                    <a:pt x="2606570" y="2139526"/>
                  </a:lnTo>
                  <a:lnTo>
                    <a:pt x="2603826" y="2142033"/>
                  </a:lnTo>
                  <a:lnTo>
                    <a:pt x="2602065" y="2141702"/>
                  </a:lnTo>
                  <a:lnTo>
                    <a:pt x="2602052" y="2141445"/>
                  </a:lnTo>
                  <a:lnTo>
                    <a:pt x="2602137" y="2140311"/>
                  </a:lnTo>
                  <a:lnTo>
                    <a:pt x="2602134" y="2139811"/>
                  </a:lnTo>
                  <a:lnTo>
                    <a:pt x="2601827" y="2139383"/>
                  </a:lnTo>
                  <a:lnTo>
                    <a:pt x="2601214" y="2139108"/>
                  </a:lnTo>
                  <a:lnTo>
                    <a:pt x="2598951" y="2138605"/>
                  </a:lnTo>
                  <a:lnTo>
                    <a:pt x="2596664" y="2136814"/>
                  </a:lnTo>
                  <a:lnTo>
                    <a:pt x="2594367" y="2135744"/>
                  </a:lnTo>
                  <a:lnTo>
                    <a:pt x="2592770" y="2133806"/>
                  </a:lnTo>
                  <a:lnTo>
                    <a:pt x="2591369" y="2131370"/>
                  </a:lnTo>
                  <a:lnTo>
                    <a:pt x="2590639" y="2129118"/>
                  </a:lnTo>
                  <a:lnTo>
                    <a:pt x="2590343" y="2127910"/>
                  </a:lnTo>
                  <a:lnTo>
                    <a:pt x="2589861" y="2127104"/>
                  </a:lnTo>
                  <a:lnTo>
                    <a:pt x="2588627" y="2125980"/>
                  </a:lnTo>
                  <a:lnTo>
                    <a:pt x="2588255" y="2125523"/>
                  </a:lnTo>
                  <a:lnTo>
                    <a:pt x="2588086" y="2125194"/>
                  </a:lnTo>
                  <a:lnTo>
                    <a:pt x="2587924" y="2125110"/>
                  </a:lnTo>
                  <a:lnTo>
                    <a:pt x="2587575" y="2125353"/>
                  </a:lnTo>
                  <a:lnTo>
                    <a:pt x="2586558" y="2127793"/>
                  </a:lnTo>
                  <a:lnTo>
                    <a:pt x="2587410" y="2128297"/>
                  </a:lnTo>
                  <a:lnTo>
                    <a:pt x="2589689" y="2130867"/>
                  </a:lnTo>
                  <a:lnTo>
                    <a:pt x="2590523" y="2132137"/>
                  </a:lnTo>
                  <a:lnTo>
                    <a:pt x="2593189" y="2137821"/>
                  </a:lnTo>
                  <a:lnTo>
                    <a:pt x="2594208" y="2139345"/>
                  </a:lnTo>
                  <a:lnTo>
                    <a:pt x="2597264" y="2143031"/>
                  </a:lnTo>
                  <a:lnTo>
                    <a:pt x="2597724" y="2144013"/>
                  </a:lnTo>
                  <a:lnTo>
                    <a:pt x="2597989" y="2144956"/>
                  </a:lnTo>
                  <a:lnTo>
                    <a:pt x="2598350" y="2145624"/>
                  </a:lnTo>
                  <a:lnTo>
                    <a:pt x="2599094" y="2145807"/>
                  </a:lnTo>
                  <a:lnTo>
                    <a:pt x="2600282" y="2145502"/>
                  </a:lnTo>
                  <a:lnTo>
                    <a:pt x="2600872" y="2145628"/>
                  </a:lnTo>
                  <a:lnTo>
                    <a:pt x="2601637" y="2146251"/>
                  </a:lnTo>
                  <a:lnTo>
                    <a:pt x="2600477" y="2147076"/>
                  </a:lnTo>
                  <a:lnTo>
                    <a:pt x="2595733" y="2146962"/>
                  </a:lnTo>
                  <a:lnTo>
                    <a:pt x="2595986" y="2146646"/>
                  </a:lnTo>
                  <a:lnTo>
                    <a:pt x="2596599" y="2145432"/>
                  </a:lnTo>
                  <a:lnTo>
                    <a:pt x="2595707" y="2144922"/>
                  </a:lnTo>
                  <a:lnTo>
                    <a:pt x="2594069" y="2145242"/>
                  </a:lnTo>
                  <a:lnTo>
                    <a:pt x="2593228" y="2145016"/>
                  </a:lnTo>
                  <a:lnTo>
                    <a:pt x="2592616" y="2144422"/>
                  </a:lnTo>
                  <a:lnTo>
                    <a:pt x="2590701" y="2141899"/>
                  </a:lnTo>
                  <a:lnTo>
                    <a:pt x="2590073" y="2141423"/>
                  </a:lnTo>
                  <a:lnTo>
                    <a:pt x="2589083" y="2140976"/>
                  </a:lnTo>
                  <a:lnTo>
                    <a:pt x="2588312" y="2140880"/>
                  </a:lnTo>
                  <a:lnTo>
                    <a:pt x="2588334" y="2141463"/>
                  </a:lnTo>
                  <a:lnTo>
                    <a:pt x="2588991" y="2142016"/>
                  </a:lnTo>
                  <a:lnTo>
                    <a:pt x="2589767" y="2142398"/>
                  </a:lnTo>
                  <a:lnTo>
                    <a:pt x="2590288" y="2143128"/>
                  </a:lnTo>
                  <a:lnTo>
                    <a:pt x="2590169" y="2144694"/>
                  </a:lnTo>
                  <a:lnTo>
                    <a:pt x="2590483" y="2145346"/>
                  </a:lnTo>
                  <a:lnTo>
                    <a:pt x="2590583" y="2145625"/>
                  </a:lnTo>
                  <a:lnTo>
                    <a:pt x="2590698" y="2146134"/>
                  </a:lnTo>
                  <a:lnTo>
                    <a:pt x="2588521" y="2144074"/>
                  </a:lnTo>
                  <a:lnTo>
                    <a:pt x="2585974" y="2140800"/>
                  </a:lnTo>
                  <a:lnTo>
                    <a:pt x="2583591" y="2138627"/>
                  </a:lnTo>
                  <a:lnTo>
                    <a:pt x="2580984" y="2140828"/>
                  </a:lnTo>
                  <a:lnTo>
                    <a:pt x="2579793" y="2139856"/>
                  </a:lnTo>
                  <a:lnTo>
                    <a:pt x="2577774" y="2136990"/>
                  </a:lnTo>
                  <a:lnTo>
                    <a:pt x="2576161" y="2135645"/>
                  </a:lnTo>
                  <a:lnTo>
                    <a:pt x="2575221" y="2135377"/>
                  </a:lnTo>
                  <a:lnTo>
                    <a:pt x="2574342" y="2135878"/>
                  </a:lnTo>
                  <a:lnTo>
                    <a:pt x="2574853" y="2137894"/>
                  </a:lnTo>
                  <a:lnTo>
                    <a:pt x="2574994" y="2141350"/>
                  </a:lnTo>
                  <a:lnTo>
                    <a:pt x="2575543" y="2143313"/>
                  </a:lnTo>
                  <a:lnTo>
                    <a:pt x="2576445" y="2144833"/>
                  </a:lnTo>
                  <a:lnTo>
                    <a:pt x="2579793" y="2148827"/>
                  </a:lnTo>
                  <a:lnTo>
                    <a:pt x="2578531" y="2149024"/>
                  </a:lnTo>
                  <a:lnTo>
                    <a:pt x="2576800" y="2147022"/>
                  </a:lnTo>
                  <a:lnTo>
                    <a:pt x="2573727" y="2142021"/>
                  </a:lnTo>
                  <a:lnTo>
                    <a:pt x="2570217" y="2137839"/>
                  </a:lnTo>
                  <a:lnTo>
                    <a:pt x="2568194" y="2136313"/>
                  </a:lnTo>
                  <a:lnTo>
                    <a:pt x="2566899" y="2136711"/>
                  </a:lnTo>
                  <a:lnTo>
                    <a:pt x="2567261" y="2137189"/>
                  </a:lnTo>
                  <a:lnTo>
                    <a:pt x="2567653" y="2137941"/>
                  </a:lnTo>
                  <a:lnTo>
                    <a:pt x="2568001" y="2138894"/>
                  </a:lnTo>
                  <a:lnTo>
                    <a:pt x="2568218" y="2139978"/>
                  </a:lnTo>
                  <a:lnTo>
                    <a:pt x="2568160" y="2141450"/>
                  </a:lnTo>
                  <a:lnTo>
                    <a:pt x="2567599" y="2140837"/>
                  </a:lnTo>
                  <a:lnTo>
                    <a:pt x="2566611" y="2138655"/>
                  </a:lnTo>
                  <a:lnTo>
                    <a:pt x="2565520" y="2137265"/>
                  </a:lnTo>
                  <a:lnTo>
                    <a:pt x="2561589" y="2133622"/>
                  </a:lnTo>
                  <a:lnTo>
                    <a:pt x="2561745" y="2132359"/>
                  </a:lnTo>
                  <a:lnTo>
                    <a:pt x="2562013" y="2131535"/>
                  </a:lnTo>
                  <a:lnTo>
                    <a:pt x="2562397" y="2130970"/>
                  </a:lnTo>
                  <a:lnTo>
                    <a:pt x="2562909" y="2130476"/>
                  </a:lnTo>
                  <a:lnTo>
                    <a:pt x="2564387" y="2130367"/>
                  </a:lnTo>
                  <a:lnTo>
                    <a:pt x="2565137" y="2130053"/>
                  </a:lnTo>
                  <a:lnTo>
                    <a:pt x="2565360" y="2129014"/>
                  </a:lnTo>
                  <a:lnTo>
                    <a:pt x="2565181" y="2128136"/>
                  </a:lnTo>
                  <a:lnTo>
                    <a:pt x="2564618" y="2126643"/>
                  </a:lnTo>
                  <a:lnTo>
                    <a:pt x="2564374" y="2125745"/>
                  </a:lnTo>
                  <a:lnTo>
                    <a:pt x="2564220" y="2124757"/>
                  </a:lnTo>
                  <a:lnTo>
                    <a:pt x="2563919" y="2121641"/>
                  </a:lnTo>
                  <a:lnTo>
                    <a:pt x="2563687" y="2120684"/>
                  </a:lnTo>
                  <a:lnTo>
                    <a:pt x="2563308" y="2120006"/>
                  </a:lnTo>
                  <a:lnTo>
                    <a:pt x="2562440" y="2118842"/>
                  </a:lnTo>
                  <a:lnTo>
                    <a:pt x="2561771" y="2118161"/>
                  </a:lnTo>
                  <a:lnTo>
                    <a:pt x="2561439" y="2118737"/>
                  </a:lnTo>
                  <a:lnTo>
                    <a:pt x="2561188" y="2120788"/>
                  </a:lnTo>
                  <a:lnTo>
                    <a:pt x="2561170" y="2121929"/>
                  </a:lnTo>
                  <a:lnTo>
                    <a:pt x="2561389" y="2122883"/>
                  </a:lnTo>
                  <a:lnTo>
                    <a:pt x="2561427" y="2123563"/>
                  </a:lnTo>
                  <a:lnTo>
                    <a:pt x="2560848" y="2123890"/>
                  </a:lnTo>
                  <a:lnTo>
                    <a:pt x="2558380" y="2123412"/>
                  </a:lnTo>
                  <a:lnTo>
                    <a:pt x="2557547" y="2123498"/>
                  </a:lnTo>
                  <a:lnTo>
                    <a:pt x="2558610" y="2125048"/>
                  </a:lnTo>
                  <a:lnTo>
                    <a:pt x="2559747" y="2125501"/>
                  </a:lnTo>
                  <a:lnTo>
                    <a:pt x="2560752" y="2126263"/>
                  </a:lnTo>
                  <a:lnTo>
                    <a:pt x="2561409" y="2128697"/>
                  </a:lnTo>
                  <a:lnTo>
                    <a:pt x="2560900" y="2130200"/>
                  </a:lnTo>
                  <a:lnTo>
                    <a:pt x="2559362" y="2129844"/>
                  </a:lnTo>
                  <a:lnTo>
                    <a:pt x="2556766" y="2128074"/>
                  </a:lnTo>
                  <a:lnTo>
                    <a:pt x="2555501" y="2127808"/>
                  </a:lnTo>
                  <a:lnTo>
                    <a:pt x="2554073" y="2128042"/>
                  </a:lnTo>
                  <a:lnTo>
                    <a:pt x="2552721" y="2128708"/>
                  </a:lnTo>
                  <a:lnTo>
                    <a:pt x="2550623" y="2130988"/>
                  </a:lnTo>
                  <a:lnTo>
                    <a:pt x="2547072" y="2132918"/>
                  </a:lnTo>
                  <a:lnTo>
                    <a:pt x="2549940" y="2134181"/>
                  </a:lnTo>
                  <a:lnTo>
                    <a:pt x="2550781" y="2135115"/>
                  </a:lnTo>
                  <a:lnTo>
                    <a:pt x="2551515" y="2135730"/>
                  </a:lnTo>
                  <a:lnTo>
                    <a:pt x="2552247" y="2135679"/>
                  </a:lnTo>
                  <a:lnTo>
                    <a:pt x="2552564" y="2134842"/>
                  </a:lnTo>
                  <a:lnTo>
                    <a:pt x="2552051" y="2133075"/>
                  </a:lnTo>
                  <a:lnTo>
                    <a:pt x="2554903" y="2132932"/>
                  </a:lnTo>
                  <a:lnTo>
                    <a:pt x="2556462" y="2133305"/>
                  </a:lnTo>
                  <a:lnTo>
                    <a:pt x="2557489" y="2134745"/>
                  </a:lnTo>
                  <a:lnTo>
                    <a:pt x="2556409" y="2135629"/>
                  </a:lnTo>
                  <a:lnTo>
                    <a:pt x="2556122" y="2137053"/>
                  </a:lnTo>
                  <a:lnTo>
                    <a:pt x="2556494" y="2138661"/>
                  </a:lnTo>
                  <a:lnTo>
                    <a:pt x="2557384" y="2140066"/>
                  </a:lnTo>
                  <a:lnTo>
                    <a:pt x="2557453" y="2139924"/>
                  </a:lnTo>
                  <a:lnTo>
                    <a:pt x="2558515" y="2139944"/>
                  </a:lnTo>
                  <a:lnTo>
                    <a:pt x="2558792" y="2140115"/>
                  </a:lnTo>
                  <a:lnTo>
                    <a:pt x="2558950" y="2140549"/>
                  </a:lnTo>
                  <a:lnTo>
                    <a:pt x="2559048" y="2141021"/>
                  </a:lnTo>
                  <a:lnTo>
                    <a:pt x="2559155" y="2141309"/>
                  </a:lnTo>
                  <a:lnTo>
                    <a:pt x="2560189" y="2142135"/>
                  </a:lnTo>
                  <a:lnTo>
                    <a:pt x="2561268" y="2142648"/>
                  </a:lnTo>
                  <a:lnTo>
                    <a:pt x="2561349" y="2143389"/>
                  </a:lnTo>
                  <a:lnTo>
                    <a:pt x="2559643" y="2143426"/>
                  </a:lnTo>
                  <a:lnTo>
                    <a:pt x="2558842" y="2143710"/>
                  </a:lnTo>
                  <a:lnTo>
                    <a:pt x="2558214" y="2144474"/>
                  </a:lnTo>
                  <a:lnTo>
                    <a:pt x="2558617" y="2145051"/>
                  </a:lnTo>
                  <a:lnTo>
                    <a:pt x="2558724" y="2145280"/>
                  </a:lnTo>
                  <a:lnTo>
                    <a:pt x="2558695" y="2145458"/>
                  </a:lnTo>
                  <a:lnTo>
                    <a:pt x="2558692" y="2145856"/>
                  </a:lnTo>
                  <a:lnTo>
                    <a:pt x="2559948" y="2146605"/>
                  </a:lnTo>
                  <a:lnTo>
                    <a:pt x="2562406" y="2146874"/>
                  </a:lnTo>
                  <a:lnTo>
                    <a:pt x="2563572" y="2148396"/>
                  </a:lnTo>
                  <a:lnTo>
                    <a:pt x="2563988" y="2149762"/>
                  </a:lnTo>
                  <a:lnTo>
                    <a:pt x="2564127" y="2151297"/>
                  </a:lnTo>
                  <a:lnTo>
                    <a:pt x="2563964" y="2152699"/>
                  </a:lnTo>
                  <a:lnTo>
                    <a:pt x="2563496" y="2153714"/>
                  </a:lnTo>
                  <a:lnTo>
                    <a:pt x="2562656" y="2154087"/>
                  </a:lnTo>
                  <a:lnTo>
                    <a:pt x="2560325" y="2153924"/>
                  </a:lnTo>
                  <a:lnTo>
                    <a:pt x="2559263" y="2154172"/>
                  </a:lnTo>
                  <a:lnTo>
                    <a:pt x="2558098" y="2154922"/>
                  </a:lnTo>
                  <a:lnTo>
                    <a:pt x="2557503" y="2155044"/>
                  </a:lnTo>
                  <a:lnTo>
                    <a:pt x="2557060" y="2154903"/>
                  </a:lnTo>
                  <a:lnTo>
                    <a:pt x="2555569" y="2153750"/>
                  </a:lnTo>
                  <a:lnTo>
                    <a:pt x="2556721" y="2152993"/>
                  </a:lnTo>
                  <a:lnTo>
                    <a:pt x="2557371" y="2151682"/>
                  </a:lnTo>
                  <a:lnTo>
                    <a:pt x="2557304" y="2150091"/>
                  </a:lnTo>
                  <a:lnTo>
                    <a:pt x="2556321" y="2148495"/>
                  </a:lnTo>
                  <a:lnTo>
                    <a:pt x="2554958" y="2147505"/>
                  </a:lnTo>
                  <a:lnTo>
                    <a:pt x="2553801" y="2147293"/>
                  </a:lnTo>
                  <a:lnTo>
                    <a:pt x="2553369" y="2148116"/>
                  </a:lnTo>
                  <a:lnTo>
                    <a:pt x="2554176" y="2150223"/>
                  </a:lnTo>
                  <a:lnTo>
                    <a:pt x="2553132" y="2150413"/>
                  </a:lnTo>
                  <a:lnTo>
                    <a:pt x="2551933" y="2149941"/>
                  </a:lnTo>
                  <a:lnTo>
                    <a:pt x="2551004" y="2150052"/>
                  </a:lnTo>
                  <a:lnTo>
                    <a:pt x="2550779" y="2152004"/>
                  </a:lnTo>
                  <a:lnTo>
                    <a:pt x="2549522" y="2150886"/>
                  </a:lnTo>
                  <a:lnTo>
                    <a:pt x="2547711" y="2147767"/>
                  </a:lnTo>
                  <a:lnTo>
                    <a:pt x="2546526" y="2146457"/>
                  </a:lnTo>
                  <a:lnTo>
                    <a:pt x="2545265" y="2145935"/>
                  </a:lnTo>
                  <a:lnTo>
                    <a:pt x="2543848" y="2145934"/>
                  </a:lnTo>
                  <a:lnTo>
                    <a:pt x="2542470" y="2146329"/>
                  </a:lnTo>
                  <a:lnTo>
                    <a:pt x="2541329" y="2146990"/>
                  </a:lnTo>
                  <a:lnTo>
                    <a:pt x="2541399" y="2147666"/>
                  </a:lnTo>
                  <a:lnTo>
                    <a:pt x="2544083" y="2148400"/>
                  </a:lnTo>
                  <a:lnTo>
                    <a:pt x="2548730" y="2153089"/>
                  </a:lnTo>
                  <a:lnTo>
                    <a:pt x="2551394" y="2155007"/>
                  </a:lnTo>
                  <a:lnTo>
                    <a:pt x="2550999" y="2155544"/>
                  </a:lnTo>
                  <a:lnTo>
                    <a:pt x="2550543" y="2155833"/>
                  </a:lnTo>
                  <a:lnTo>
                    <a:pt x="2550034" y="2155939"/>
                  </a:lnTo>
                  <a:lnTo>
                    <a:pt x="2549482" y="2155890"/>
                  </a:lnTo>
                  <a:lnTo>
                    <a:pt x="2550978" y="2157297"/>
                  </a:lnTo>
                  <a:lnTo>
                    <a:pt x="2551471" y="2159241"/>
                  </a:lnTo>
                  <a:lnTo>
                    <a:pt x="2556556" y="2163705"/>
                  </a:lnTo>
                  <a:lnTo>
                    <a:pt x="2558149" y="2165531"/>
                  </a:lnTo>
                  <a:lnTo>
                    <a:pt x="2558408" y="2166478"/>
                  </a:lnTo>
                  <a:lnTo>
                    <a:pt x="2558464" y="2167141"/>
                  </a:lnTo>
                  <a:lnTo>
                    <a:pt x="2558449" y="2167844"/>
                  </a:lnTo>
                  <a:lnTo>
                    <a:pt x="2558510" y="2168896"/>
                  </a:lnTo>
                  <a:lnTo>
                    <a:pt x="2558413" y="2170295"/>
                  </a:lnTo>
                  <a:lnTo>
                    <a:pt x="2557866" y="2170594"/>
                  </a:lnTo>
                  <a:lnTo>
                    <a:pt x="2556633" y="2170189"/>
                  </a:lnTo>
                  <a:lnTo>
                    <a:pt x="2551399" y="2170740"/>
                  </a:lnTo>
                  <a:lnTo>
                    <a:pt x="2552164" y="2171387"/>
                  </a:lnTo>
                  <a:lnTo>
                    <a:pt x="2554055" y="2172390"/>
                  </a:lnTo>
                  <a:lnTo>
                    <a:pt x="2554658" y="2173389"/>
                  </a:lnTo>
                  <a:lnTo>
                    <a:pt x="2554634" y="2174544"/>
                  </a:lnTo>
                  <a:lnTo>
                    <a:pt x="2554189" y="2175769"/>
                  </a:lnTo>
                  <a:lnTo>
                    <a:pt x="2553585" y="2176792"/>
                  </a:lnTo>
                  <a:lnTo>
                    <a:pt x="2553082" y="2177305"/>
                  </a:lnTo>
                  <a:lnTo>
                    <a:pt x="2553496" y="2178815"/>
                  </a:lnTo>
                  <a:lnTo>
                    <a:pt x="2553099" y="2179500"/>
                  </a:lnTo>
                  <a:lnTo>
                    <a:pt x="2551509" y="2179719"/>
                  </a:lnTo>
                  <a:lnTo>
                    <a:pt x="2551510" y="2180348"/>
                  </a:lnTo>
                  <a:lnTo>
                    <a:pt x="2550475" y="2184389"/>
                  </a:lnTo>
                  <a:lnTo>
                    <a:pt x="2551187" y="2185739"/>
                  </a:lnTo>
                  <a:lnTo>
                    <a:pt x="2551798" y="2187242"/>
                  </a:lnTo>
                  <a:lnTo>
                    <a:pt x="2550315" y="2187954"/>
                  </a:lnTo>
                  <a:lnTo>
                    <a:pt x="2548460" y="2189475"/>
                  </a:lnTo>
                  <a:lnTo>
                    <a:pt x="2546648" y="2190250"/>
                  </a:lnTo>
                  <a:lnTo>
                    <a:pt x="2545300" y="2188727"/>
                  </a:lnTo>
                  <a:lnTo>
                    <a:pt x="2545948" y="2188085"/>
                  </a:lnTo>
                  <a:lnTo>
                    <a:pt x="2547443" y="2187567"/>
                  </a:lnTo>
                  <a:lnTo>
                    <a:pt x="2548109" y="2186940"/>
                  </a:lnTo>
                  <a:lnTo>
                    <a:pt x="2547005" y="2186089"/>
                  </a:lnTo>
                  <a:lnTo>
                    <a:pt x="2545675" y="2185609"/>
                  </a:lnTo>
                  <a:lnTo>
                    <a:pt x="2544387" y="2185713"/>
                  </a:lnTo>
                  <a:lnTo>
                    <a:pt x="2543392" y="2186603"/>
                  </a:lnTo>
                  <a:lnTo>
                    <a:pt x="2543671" y="2186736"/>
                  </a:lnTo>
                  <a:lnTo>
                    <a:pt x="2544463" y="2187312"/>
                  </a:lnTo>
                  <a:lnTo>
                    <a:pt x="2542508" y="2189170"/>
                  </a:lnTo>
                  <a:lnTo>
                    <a:pt x="2540038" y="2190033"/>
                  </a:lnTo>
                  <a:lnTo>
                    <a:pt x="2537468" y="2189767"/>
                  </a:lnTo>
                  <a:lnTo>
                    <a:pt x="2535220" y="2188236"/>
                  </a:lnTo>
                  <a:lnTo>
                    <a:pt x="2536680" y="2186534"/>
                  </a:lnTo>
                  <a:lnTo>
                    <a:pt x="2533290" y="2186172"/>
                  </a:lnTo>
                  <a:lnTo>
                    <a:pt x="2532289" y="2185467"/>
                  </a:lnTo>
                  <a:lnTo>
                    <a:pt x="2533856" y="2185411"/>
                  </a:lnTo>
                  <a:lnTo>
                    <a:pt x="2534586" y="2185148"/>
                  </a:lnTo>
                  <a:lnTo>
                    <a:pt x="2535176" y="2184434"/>
                  </a:lnTo>
                  <a:lnTo>
                    <a:pt x="2533198" y="2183063"/>
                  </a:lnTo>
                  <a:lnTo>
                    <a:pt x="2528883" y="2181559"/>
                  </a:lnTo>
                  <a:lnTo>
                    <a:pt x="2526869" y="2181499"/>
                  </a:lnTo>
                  <a:lnTo>
                    <a:pt x="2527405" y="2183825"/>
                  </a:lnTo>
                  <a:lnTo>
                    <a:pt x="2526777" y="2184853"/>
                  </a:lnTo>
                  <a:lnTo>
                    <a:pt x="2525649" y="2185398"/>
                  </a:lnTo>
                  <a:lnTo>
                    <a:pt x="2524668" y="2186201"/>
                  </a:lnTo>
                  <a:lnTo>
                    <a:pt x="2525435" y="2186730"/>
                  </a:lnTo>
                  <a:lnTo>
                    <a:pt x="2526386" y="2187014"/>
                  </a:lnTo>
                  <a:lnTo>
                    <a:pt x="2527320" y="2186996"/>
                  </a:lnTo>
                  <a:lnTo>
                    <a:pt x="2528058" y="2186626"/>
                  </a:lnTo>
                  <a:lnTo>
                    <a:pt x="2528707" y="2185711"/>
                  </a:lnTo>
                  <a:lnTo>
                    <a:pt x="2528944" y="2185002"/>
                  </a:lnTo>
                  <a:lnTo>
                    <a:pt x="2529226" y="2184497"/>
                  </a:lnTo>
                  <a:lnTo>
                    <a:pt x="2529999" y="2184257"/>
                  </a:lnTo>
                  <a:lnTo>
                    <a:pt x="2530940" y="2184920"/>
                  </a:lnTo>
                  <a:lnTo>
                    <a:pt x="2531971" y="2186707"/>
                  </a:lnTo>
                  <a:lnTo>
                    <a:pt x="2532735" y="2189041"/>
                  </a:lnTo>
                  <a:lnTo>
                    <a:pt x="2532870" y="2191397"/>
                  </a:lnTo>
                  <a:lnTo>
                    <a:pt x="2532356" y="2192728"/>
                  </a:lnTo>
                  <a:lnTo>
                    <a:pt x="2531616" y="2192652"/>
                  </a:lnTo>
                  <a:lnTo>
                    <a:pt x="2530536" y="2191624"/>
                  </a:lnTo>
                  <a:lnTo>
                    <a:pt x="2527319" y="2192750"/>
                  </a:lnTo>
                  <a:lnTo>
                    <a:pt x="2525004" y="2194803"/>
                  </a:lnTo>
                  <a:lnTo>
                    <a:pt x="2524424" y="2195728"/>
                  </a:lnTo>
                  <a:lnTo>
                    <a:pt x="2523639" y="2196070"/>
                  </a:lnTo>
                  <a:lnTo>
                    <a:pt x="2515635" y="2197493"/>
                  </a:lnTo>
                  <a:lnTo>
                    <a:pt x="2512429" y="2196747"/>
                  </a:lnTo>
                  <a:lnTo>
                    <a:pt x="2509129" y="2194437"/>
                  </a:lnTo>
                  <a:lnTo>
                    <a:pt x="2508190" y="2193394"/>
                  </a:lnTo>
                  <a:lnTo>
                    <a:pt x="2507876" y="2193168"/>
                  </a:lnTo>
                  <a:lnTo>
                    <a:pt x="2505841" y="2192645"/>
                  </a:lnTo>
                  <a:lnTo>
                    <a:pt x="2504184" y="2191477"/>
                  </a:lnTo>
                  <a:lnTo>
                    <a:pt x="2503364" y="2191138"/>
                  </a:lnTo>
                  <a:lnTo>
                    <a:pt x="2501233" y="2192074"/>
                  </a:lnTo>
                  <a:lnTo>
                    <a:pt x="2499337" y="2191861"/>
                  </a:lnTo>
                  <a:lnTo>
                    <a:pt x="2497463" y="2190904"/>
                  </a:lnTo>
                  <a:lnTo>
                    <a:pt x="2495199" y="2189200"/>
                  </a:lnTo>
                  <a:lnTo>
                    <a:pt x="2494307" y="2188938"/>
                  </a:lnTo>
                  <a:lnTo>
                    <a:pt x="2492388" y="2189141"/>
                  </a:lnTo>
                  <a:lnTo>
                    <a:pt x="2491443" y="2188900"/>
                  </a:lnTo>
                  <a:lnTo>
                    <a:pt x="2490538" y="2187826"/>
                  </a:lnTo>
                  <a:lnTo>
                    <a:pt x="2491257" y="2186247"/>
                  </a:lnTo>
                  <a:lnTo>
                    <a:pt x="2492172" y="2186463"/>
                  </a:lnTo>
                  <a:lnTo>
                    <a:pt x="2493178" y="2187282"/>
                  </a:lnTo>
                  <a:lnTo>
                    <a:pt x="2494185" y="2187518"/>
                  </a:lnTo>
                  <a:lnTo>
                    <a:pt x="2493444" y="2186048"/>
                  </a:lnTo>
                  <a:lnTo>
                    <a:pt x="2492125" y="2185050"/>
                  </a:lnTo>
                  <a:lnTo>
                    <a:pt x="2485287" y="2182467"/>
                  </a:lnTo>
                  <a:lnTo>
                    <a:pt x="2483924" y="2182326"/>
                  </a:lnTo>
                  <a:lnTo>
                    <a:pt x="2483324" y="2182562"/>
                  </a:lnTo>
                  <a:lnTo>
                    <a:pt x="2481935" y="2183918"/>
                  </a:lnTo>
                  <a:lnTo>
                    <a:pt x="2481350" y="2184113"/>
                  </a:lnTo>
                  <a:lnTo>
                    <a:pt x="2477379" y="2184018"/>
                  </a:lnTo>
                  <a:lnTo>
                    <a:pt x="2476921" y="2183640"/>
                  </a:lnTo>
                  <a:lnTo>
                    <a:pt x="2476816" y="2182620"/>
                  </a:lnTo>
                  <a:lnTo>
                    <a:pt x="2477115" y="2181911"/>
                  </a:lnTo>
                  <a:lnTo>
                    <a:pt x="2477605" y="2181488"/>
                  </a:lnTo>
                  <a:lnTo>
                    <a:pt x="2478056" y="2181305"/>
                  </a:lnTo>
                  <a:lnTo>
                    <a:pt x="2477414" y="2179700"/>
                  </a:lnTo>
                  <a:lnTo>
                    <a:pt x="2476527" y="2178310"/>
                  </a:lnTo>
                  <a:lnTo>
                    <a:pt x="2475569" y="2177816"/>
                  </a:lnTo>
                  <a:lnTo>
                    <a:pt x="2474725" y="2178894"/>
                  </a:lnTo>
                  <a:lnTo>
                    <a:pt x="2474059" y="2180661"/>
                  </a:lnTo>
                  <a:lnTo>
                    <a:pt x="2473522" y="2181478"/>
                  </a:lnTo>
                  <a:lnTo>
                    <a:pt x="2466324" y="2182277"/>
                  </a:lnTo>
                  <a:lnTo>
                    <a:pt x="2463899" y="2181402"/>
                  </a:lnTo>
                  <a:lnTo>
                    <a:pt x="2461619" y="2178782"/>
                  </a:lnTo>
                  <a:lnTo>
                    <a:pt x="2462665" y="2177532"/>
                  </a:lnTo>
                  <a:lnTo>
                    <a:pt x="2466368" y="2176182"/>
                  </a:lnTo>
                  <a:lnTo>
                    <a:pt x="2466306" y="2175372"/>
                  </a:lnTo>
                  <a:lnTo>
                    <a:pt x="2461661" y="2174349"/>
                  </a:lnTo>
                  <a:lnTo>
                    <a:pt x="2460953" y="2174723"/>
                  </a:lnTo>
                  <a:lnTo>
                    <a:pt x="2461119" y="2176059"/>
                  </a:lnTo>
                  <a:lnTo>
                    <a:pt x="2461249" y="2176580"/>
                  </a:lnTo>
                  <a:lnTo>
                    <a:pt x="2461218" y="2177013"/>
                  </a:lnTo>
                  <a:lnTo>
                    <a:pt x="2460911" y="2178154"/>
                  </a:lnTo>
                  <a:lnTo>
                    <a:pt x="2460502" y="2179097"/>
                  </a:lnTo>
                  <a:lnTo>
                    <a:pt x="2459936" y="2179780"/>
                  </a:lnTo>
                  <a:lnTo>
                    <a:pt x="2459315" y="2180236"/>
                  </a:lnTo>
                  <a:lnTo>
                    <a:pt x="2458746" y="2180492"/>
                  </a:lnTo>
                  <a:lnTo>
                    <a:pt x="2458801" y="2181236"/>
                  </a:lnTo>
                  <a:lnTo>
                    <a:pt x="2459223" y="2182330"/>
                  </a:lnTo>
                  <a:lnTo>
                    <a:pt x="2458357" y="2182564"/>
                  </a:lnTo>
                  <a:lnTo>
                    <a:pt x="2456228" y="2182163"/>
                  </a:lnTo>
                  <a:lnTo>
                    <a:pt x="2454228" y="2182309"/>
                  </a:lnTo>
                  <a:lnTo>
                    <a:pt x="2453582" y="2182062"/>
                  </a:lnTo>
                  <a:lnTo>
                    <a:pt x="2452260" y="2181169"/>
                  </a:lnTo>
                  <a:lnTo>
                    <a:pt x="2446791" y="2179858"/>
                  </a:lnTo>
                  <a:lnTo>
                    <a:pt x="2443223" y="2180337"/>
                  </a:lnTo>
                  <a:lnTo>
                    <a:pt x="2442142" y="2179837"/>
                  </a:lnTo>
                  <a:lnTo>
                    <a:pt x="2438441" y="2176348"/>
                  </a:lnTo>
                  <a:lnTo>
                    <a:pt x="2436472" y="2175123"/>
                  </a:lnTo>
                  <a:lnTo>
                    <a:pt x="2424496" y="2172387"/>
                  </a:lnTo>
                  <a:lnTo>
                    <a:pt x="2424342" y="2169772"/>
                  </a:lnTo>
                  <a:lnTo>
                    <a:pt x="2422551" y="2168373"/>
                  </a:lnTo>
                  <a:lnTo>
                    <a:pt x="2420470" y="2167848"/>
                  </a:lnTo>
                  <a:lnTo>
                    <a:pt x="2419433" y="2167850"/>
                  </a:lnTo>
                  <a:lnTo>
                    <a:pt x="2418854" y="2168415"/>
                  </a:lnTo>
                  <a:lnTo>
                    <a:pt x="2416307" y="2168410"/>
                  </a:lnTo>
                  <a:lnTo>
                    <a:pt x="2415423" y="2168027"/>
                  </a:lnTo>
                  <a:lnTo>
                    <a:pt x="2414986" y="2167022"/>
                  </a:lnTo>
                  <a:lnTo>
                    <a:pt x="2414672" y="2165805"/>
                  </a:lnTo>
                  <a:lnTo>
                    <a:pt x="2414149" y="2164809"/>
                  </a:lnTo>
                  <a:lnTo>
                    <a:pt x="2412661" y="2164560"/>
                  </a:lnTo>
                  <a:lnTo>
                    <a:pt x="2408834" y="2165772"/>
                  </a:lnTo>
                  <a:lnTo>
                    <a:pt x="2407386" y="2164806"/>
                  </a:lnTo>
                  <a:lnTo>
                    <a:pt x="2405855" y="2162836"/>
                  </a:lnTo>
                  <a:lnTo>
                    <a:pt x="2403876" y="2161512"/>
                  </a:lnTo>
                  <a:lnTo>
                    <a:pt x="2396746" y="2159774"/>
                  </a:lnTo>
                  <a:lnTo>
                    <a:pt x="2394055" y="2157946"/>
                  </a:lnTo>
                  <a:lnTo>
                    <a:pt x="2391706" y="2157546"/>
                  </a:lnTo>
                  <a:lnTo>
                    <a:pt x="2390138" y="2156886"/>
                  </a:lnTo>
                  <a:lnTo>
                    <a:pt x="2388609" y="2155788"/>
                  </a:lnTo>
                  <a:lnTo>
                    <a:pt x="2387244" y="2154302"/>
                  </a:lnTo>
                  <a:lnTo>
                    <a:pt x="2385348" y="2151465"/>
                  </a:lnTo>
                  <a:lnTo>
                    <a:pt x="2384482" y="2150718"/>
                  </a:lnTo>
                  <a:lnTo>
                    <a:pt x="2382015" y="2149242"/>
                  </a:lnTo>
                  <a:lnTo>
                    <a:pt x="2381246" y="2148231"/>
                  </a:lnTo>
                  <a:lnTo>
                    <a:pt x="2380768" y="2146224"/>
                  </a:lnTo>
                  <a:lnTo>
                    <a:pt x="2381374" y="2142985"/>
                  </a:lnTo>
                  <a:lnTo>
                    <a:pt x="2380457" y="2141897"/>
                  </a:lnTo>
                  <a:lnTo>
                    <a:pt x="2379509" y="2141824"/>
                  </a:lnTo>
                  <a:lnTo>
                    <a:pt x="2377610" y="2142330"/>
                  </a:lnTo>
                  <a:lnTo>
                    <a:pt x="2376505" y="2141717"/>
                  </a:lnTo>
                  <a:lnTo>
                    <a:pt x="2374939" y="2139459"/>
                  </a:lnTo>
                  <a:lnTo>
                    <a:pt x="2374137" y="2138750"/>
                  </a:lnTo>
                  <a:lnTo>
                    <a:pt x="2373452" y="2139325"/>
                  </a:lnTo>
                  <a:lnTo>
                    <a:pt x="2377553" y="2143532"/>
                  </a:lnTo>
                  <a:lnTo>
                    <a:pt x="2378003" y="2144173"/>
                  </a:lnTo>
                  <a:lnTo>
                    <a:pt x="2378403" y="2144873"/>
                  </a:lnTo>
                  <a:lnTo>
                    <a:pt x="2378743" y="2145634"/>
                  </a:lnTo>
                  <a:lnTo>
                    <a:pt x="2379023" y="2146443"/>
                  </a:lnTo>
                  <a:lnTo>
                    <a:pt x="2379110" y="2147332"/>
                  </a:lnTo>
                  <a:lnTo>
                    <a:pt x="2379169" y="2149689"/>
                  </a:lnTo>
                  <a:lnTo>
                    <a:pt x="2379389" y="2150158"/>
                  </a:lnTo>
                  <a:lnTo>
                    <a:pt x="2380421" y="2150921"/>
                  </a:lnTo>
                  <a:lnTo>
                    <a:pt x="2382407" y="2154413"/>
                  </a:lnTo>
                  <a:lnTo>
                    <a:pt x="2383402" y="2155177"/>
                  </a:lnTo>
                  <a:lnTo>
                    <a:pt x="2383981" y="2155201"/>
                  </a:lnTo>
                  <a:lnTo>
                    <a:pt x="2384528" y="2155440"/>
                  </a:lnTo>
                  <a:lnTo>
                    <a:pt x="2384954" y="2156005"/>
                  </a:lnTo>
                  <a:lnTo>
                    <a:pt x="2385159" y="2157022"/>
                  </a:lnTo>
                  <a:lnTo>
                    <a:pt x="2382903" y="2158251"/>
                  </a:lnTo>
                  <a:lnTo>
                    <a:pt x="2383526" y="2158797"/>
                  </a:lnTo>
                  <a:lnTo>
                    <a:pt x="2384178" y="2158974"/>
                  </a:lnTo>
                  <a:lnTo>
                    <a:pt x="2385548" y="2158864"/>
                  </a:lnTo>
                  <a:lnTo>
                    <a:pt x="2385582" y="2159543"/>
                  </a:lnTo>
                  <a:lnTo>
                    <a:pt x="2383210" y="2160529"/>
                  </a:lnTo>
                  <a:lnTo>
                    <a:pt x="2375126" y="2160873"/>
                  </a:lnTo>
                  <a:lnTo>
                    <a:pt x="2375446" y="2161853"/>
                  </a:lnTo>
                  <a:lnTo>
                    <a:pt x="2375521" y="2162814"/>
                  </a:lnTo>
                  <a:lnTo>
                    <a:pt x="2375372" y="2163737"/>
                  </a:lnTo>
                  <a:lnTo>
                    <a:pt x="2375009" y="2164598"/>
                  </a:lnTo>
                  <a:lnTo>
                    <a:pt x="2375783" y="2164570"/>
                  </a:lnTo>
                  <a:lnTo>
                    <a:pt x="2377215" y="2164093"/>
                  </a:lnTo>
                  <a:lnTo>
                    <a:pt x="2377946" y="2164458"/>
                  </a:lnTo>
                  <a:lnTo>
                    <a:pt x="2378532" y="2165336"/>
                  </a:lnTo>
                  <a:lnTo>
                    <a:pt x="2379139" y="2167427"/>
                  </a:lnTo>
                  <a:lnTo>
                    <a:pt x="2379605" y="2168520"/>
                  </a:lnTo>
                  <a:lnTo>
                    <a:pt x="2380535" y="2169958"/>
                  </a:lnTo>
                  <a:lnTo>
                    <a:pt x="2380803" y="2170785"/>
                  </a:lnTo>
                  <a:lnTo>
                    <a:pt x="2380946" y="2172178"/>
                  </a:lnTo>
                  <a:lnTo>
                    <a:pt x="2381399" y="2172805"/>
                  </a:lnTo>
                  <a:lnTo>
                    <a:pt x="2387054" y="2176006"/>
                  </a:lnTo>
                  <a:lnTo>
                    <a:pt x="2387967" y="2176240"/>
                  </a:lnTo>
                  <a:lnTo>
                    <a:pt x="2390348" y="2175837"/>
                  </a:lnTo>
                  <a:lnTo>
                    <a:pt x="2392011" y="2176466"/>
                  </a:lnTo>
                  <a:lnTo>
                    <a:pt x="2395146" y="2179117"/>
                  </a:lnTo>
                  <a:lnTo>
                    <a:pt x="2396823" y="2179228"/>
                  </a:lnTo>
                  <a:lnTo>
                    <a:pt x="2396229" y="2178433"/>
                  </a:lnTo>
                  <a:lnTo>
                    <a:pt x="2394883" y="2177754"/>
                  </a:lnTo>
                  <a:lnTo>
                    <a:pt x="2394403" y="2177117"/>
                  </a:lnTo>
                  <a:lnTo>
                    <a:pt x="2394342" y="2175982"/>
                  </a:lnTo>
                  <a:lnTo>
                    <a:pt x="2395093" y="2175840"/>
                  </a:lnTo>
                  <a:lnTo>
                    <a:pt x="2397990" y="2177293"/>
                  </a:lnTo>
                  <a:lnTo>
                    <a:pt x="2399467" y="2177199"/>
                  </a:lnTo>
                  <a:lnTo>
                    <a:pt x="2402263" y="2175941"/>
                  </a:lnTo>
                  <a:lnTo>
                    <a:pt x="2402221" y="2175197"/>
                  </a:lnTo>
                  <a:lnTo>
                    <a:pt x="2398912" y="2175380"/>
                  </a:lnTo>
                  <a:lnTo>
                    <a:pt x="2398120" y="2175089"/>
                  </a:lnTo>
                  <a:lnTo>
                    <a:pt x="2396539" y="2173682"/>
                  </a:lnTo>
                  <a:lnTo>
                    <a:pt x="2395683" y="2173390"/>
                  </a:lnTo>
                  <a:lnTo>
                    <a:pt x="2395165" y="2172929"/>
                  </a:lnTo>
                  <a:lnTo>
                    <a:pt x="2393349" y="2169714"/>
                  </a:lnTo>
                  <a:lnTo>
                    <a:pt x="2390543" y="2166812"/>
                  </a:lnTo>
                  <a:lnTo>
                    <a:pt x="2391111" y="2166245"/>
                  </a:lnTo>
                  <a:lnTo>
                    <a:pt x="2391396" y="2166061"/>
                  </a:lnTo>
                  <a:lnTo>
                    <a:pt x="2391816" y="2166066"/>
                  </a:lnTo>
                  <a:lnTo>
                    <a:pt x="2390947" y="2164840"/>
                  </a:lnTo>
                  <a:lnTo>
                    <a:pt x="2390062" y="2163850"/>
                  </a:lnTo>
                  <a:lnTo>
                    <a:pt x="2392672" y="2161753"/>
                  </a:lnTo>
                  <a:lnTo>
                    <a:pt x="2395859" y="2163339"/>
                  </a:lnTo>
                  <a:lnTo>
                    <a:pt x="2401845" y="2168509"/>
                  </a:lnTo>
                  <a:lnTo>
                    <a:pt x="2405187" y="2169063"/>
                  </a:lnTo>
                  <a:lnTo>
                    <a:pt x="2405997" y="2169675"/>
                  </a:lnTo>
                  <a:lnTo>
                    <a:pt x="2407455" y="2171512"/>
                  </a:lnTo>
                  <a:lnTo>
                    <a:pt x="2408290" y="2171873"/>
                  </a:lnTo>
                  <a:lnTo>
                    <a:pt x="2411921" y="2172425"/>
                  </a:lnTo>
                  <a:lnTo>
                    <a:pt x="2417043" y="2175343"/>
                  </a:lnTo>
                  <a:lnTo>
                    <a:pt x="2423973" y="2175827"/>
                  </a:lnTo>
                  <a:lnTo>
                    <a:pt x="2430631" y="2180659"/>
                  </a:lnTo>
                  <a:lnTo>
                    <a:pt x="2431810" y="2180992"/>
                  </a:lnTo>
                  <a:lnTo>
                    <a:pt x="2432881" y="2180241"/>
                  </a:lnTo>
                  <a:lnTo>
                    <a:pt x="2433934" y="2178081"/>
                  </a:lnTo>
                  <a:lnTo>
                    <a:pt x="2435173" y="2176464"/>
                  </a:lnTo>
                  <a:lnTo>
                    <a:pt x="2436878" y="2176230"/>
                  </a:lnTo>
                  <a:lnTo>
                    <a:pt x="2438651" y="2177099"/>
                  </a:lnTo>
                  <a:lnTo>
                    <a:pt x="2440094" y="2178825"/>
                  </a:lnTo>
                  <a:lnTo>
                    <a:pt x="2441223" y="2183278"/>
                  </a:lnTo>
                  <a:lnTo>
                    <a:pt x="2441606" y="2184013"/>
                  </a:lnTo>
                  <a:lnTo>
                    <a:pt x="2446942" y="2184324"/>
                  </a:lnTo>
                  <a:lnTo>
                    <a:pt x="2448748" y="2183471"/>
                  </a:lnTo>
                  <a:lnTo>
                    <a:pt x="2449388" y="2183471"/>
                  </a:lnTo>
                  <a:lnTo>
                    <a:pt x="2449885" y="2183858"/>
                  </a:lnTo>
                  <a:lnTo>
                    <a:pt x="2450937" y="2185150"/>
                  </a:lnTo>
                  <a:lnTo>
                    <a:pt x="2451520" y="2185562"/>
                  </a:lnTo>
                  <a:lnTo>
                    <a:pt x="2455603" y="2186892"/>
                  </a:lnTo>
                  <a:lnTo>
                    <a:pt x="2457025" y="2188088"/>
                  </a:lnTo>
                  <a:lnTo>
                    <a:pt x="2456032" y="2188761"/>
                  </a:lnTo>
                  <a:lnTo>
                    <a:pt x="2453769" y="2189112"/>
                  </a:lnTo>
                  <a:lnTo>
                    <a:pt x="2452830" y="2189950"/>
                  </a:lnTo>
                  <a:lnTo>
                    <a:pt x="2452037" y="2192010"/>
                  </a:lnTo>
                  <a:lnTo>
                    <a:pt x="2452534" y="2192940"/>
                  </a:lnTo>
                  <a:lnTo>
                    <a:pt x="2453505" y="2193467"/>
                  </a:lnTo>
                  <a:lnTo>
                    <a:pt x="2454140" y="2194333"/>
                  </a:lnTo>
                  <a:lnTo>
                    <a:pt x="2452515" y="2194864"/>
                  </a:lnTo>
                  <a:lnTo>
                    <a:pt x="2449111" y="2197122"/>
                  </a:lnTo>
                  <a:lnTo>
                    <a:pt x="2447619" y="2196292"/>
                  </a:lnTo>
                  <a:lnTo>
                    <a:pt x="2448199" y="2195570"/>
                  </a:lnTo>
                  <a:lnTo>
                    <a:pt x="2447494" y="2193867"/>
                  </a:lnTo>
                  <a:lnTo>
                    <a:pt x="2446639" y="2194064"/>
                  </a:lnTo>
                  <a:lnTo>
                    <a:pt x="2445844" y="2195237"/>
                  </a:lnTo>
                  <a:lnTo>
                    <a:pt x="2445307" y="2196453"/>
                  </a:lnTo>
                  <a:lnTo>
                    <a:pt x="2444599" y="2199159"/>
                  </a:lnTo>
                  <a:lnTo>
                    <a:pt x="2444125" y="2200286"/>
                  </a:lnTo>
                  <a:lnTo>
                    <a:pt x="2443278" y="2201078"/>
                  </a:lnTo>
                  <a:lnTo>
                    <a:pt x="2437288" y="2204219"/>
                  </a:lnTo>
                  <a:lnTo>
                    <a:pt x="2436585" y="2205320"/>
                  </a:lnTo>
                  <a:lnTo>
                    <a:pt x="2440571" y="2207937"/>
                  </a:lnTo>
                  <a:lnTo>
                    <a:pt x="2440986" y="2208091"/>
                  </a:lnTo>
                  <a:lnTo>
                    <a:pt x="2441454" y="2207984"/>
                  </a:lnTo>
                  <a:lnTo>
                    <a:pt x="2441596" y="2205665"/>
                  </a:lnTo>
                  <a:lnTo>
                    <a:pt x="2442403" y="2205210"/>
                  </a:lnTo>
                  <a:lnTo>
                    <a:pt x="2445369" y="2205353"/>
                  </a:lnTo>
                  <a:lnTo>
                    <a:pt x="2445758" y="2205242"/>
                  </a:lnTo>
                  <a:lnTo>
                    <a:pt x="2446124" y="2205034"/>
                  </a:lnTo>
                  <a:lnTo>
                    <a:pt x="2446543" y="2204645"/>
                  </a:lnTo>
                  <a:lnTo>
                    <a:pt x="2446564" y="2204296"/>
                  </a:lnTo>
                  <a:lnTo>
                    <a:pt x="2446516" y="2203614"/>
                  </a:lnTo>
                  <a:lnTo>
                    <a:pt x="2446517" y="2202884"/>
                  </a:lnTo>
                  <a:lnTo>
                    <a:pt x="2446689" y="2202401"/>
                  </a:lnTo>
                  <a:lnTo>
                    <a:pt x="2448139" y="2202357"/>
                  </a:lnTo>
                  <a:lnTo>
                    <a:pt x="2450684" y="2205725"/>
                  </a:lnTo>
                  <a:lnTo>
                    <a:pt x="2451973" y="2205767"/>
                  </a:lnTo>
                  <a:lnTo>
                    <a:pt x="2452535" y="2204449"/>
                  </a:lnTo>
                  <a:lnTo>
                    <a:pt x="2452849" y="2202313"/>
                  </a:lnTo>
                  <a:lnTo>
                    <a:pt x="2452834" y="2200008"/>
                  </a:lnTo>
                  <a:lnTo>
                    <a:pt x="2452428" y="2198195"/>
                  </a:lnTo>
                  <a:lnTo>
                    <a:pt x="2453727" y="2196793"/>
                  </a:lnTo>
                  <a:lnTo>
                    <a:pt x="2456598" y="2196599"/>
                  </a:lnTo>
                  <a:lnTo>
                    <a:pt x="2457703" y="2195232"/>
                  </a:lnTo>
                  <a:lnTo>
                    <a:pt x="2458360" y="2193906"/>
                  </a:lnTo>
                  <a:lnTo>
                    <a:pt x="2458976" y="2193580"/>
                  </a:lnTo>
                  <a:lnTo>
                    <a:pt x="2460585" y="2193862"/>
                  </a:lnTo>
                  <a:lnTo>
                    <a:pt x="2461129" y="2193407"/>
                  </a:lnTo>
                  <a:lnTo>
                    <a:pt x="2462840" y="2190368"/>
                  </a:lnTo>
                  <a:lnTo>
                    <a:pt x="2464139" y="2189331"/>
                  </a:lnTo>
                  <a:lnTo>
                    <a:pt x="2466944" y="2188147"/>
                  </a:lnTo>
                  <a:lnTo>
                    <a:pt x="2469717" y="2185899"/>
                  </a:lnTo>
                  <a:lnTo>
                    <a:pt x="2471008" y="2185215"/>
                  </a:lnTo>
                  <a:lnTo>
                    <a:pt x="2472391" y="2185268"/>
                  </a:lnTo>
                  <a:lnTo>
                    <a:pt x="2478376" y="2188855"/>
                  </a:lnTo>
                  <a:lnTo>
                    <a:pt x="2480178" y="2191205"/>
                  </a:lnTo>
                  <a:lnTo>
                    <a:pt x="2480578" y="2191538"/>
                  </a:lnTo>
                  <a:lnTo>
                    <a:pt x="2480860" y="2192085"/>
                  </a:lnTo>
                  <a:lnTo>
                    <a:pt x="2481054" y="2193433"/>
                  </a:lnTo>
                  <a:lnTo>
                    <a:pt x="2481054" y="2194599"/>
                  </a:lnTo>
                  <a:lnTo>
                    <a:pt x="2480998" y="2195660"/>
                  </a:lnTo>
                  <a:lnTo>
                    <a:pt x="2481103" y="2196716"/>
                  </a:lnTo>
                  <a:lnTo>
                    <a:pt x="2481582" y="2197880"/>
                  </a:lnTo>
                  <a:lnTo>
                    <a:pt x="2482207" y="2198648"/>
                  </a:lnTo>
                  <a:lnTo>
                    <a:pt x="2482794" y="2198904"/>
                  </a:lnTo>
                  <a:lnTo>
                    <a:pt x="2485079" y="2198958"/>
                  </a:lnTo>
                  <a:lnTo>
                    <a:pt x="2485703" y="2199334"/>
                  </a:lnTo>
                  <a:lnTo>
                    <a:pt x="2486974" y="2200758"/>
                  </a:lnTo>
                  <a:lnTo>
                    <a:pt x="2492284" y="2203750"/>
                  </a:lnTo>
                  <a:lnTo>
                    <a:pt x="2493395" y="2205528"/>
                  </a:lnTo>
                  <a:lnTo>
                    <a:pt x="2493056" y="2205810"/>
                  </a:lnTo>
                  <a:lnTo>
                    <a:pt x="2492168" y="2207128"/>
                  </a:lnTo>
                  <a:lnTo>
                    <a:pt x="2493134" y="2208397"/>
                  </a:lnTo>
                  <a:lnTo>
                    <a:pt x="2494121" y="2208608"/>
                  </a:lnTo>
                  <a:lnTo>
                    <a:pt x="2495055" y="2208087"/>
                  </a:lnTo>
                  <a:lnTo>
                    <a:pt x="2495870" y="2207189"/>
                  </a:lnTo>
                  <a:lnTo>
                    <a:pt x="2496662" y="2206587"/>
                  </a:lnTo>
                  <a:lnTo>
                    <a:pt x="2503879" y="2206871"/>
                  </a:lnTo>
                  <a:lnTo>
                    <a:pt x="2504929" y="2207470"/>
                  </a:lnTo>
                  <a:lnTo>
                    <a:pt x="2507551" y="2210287"/>
                  </a:lnTo>
                  <a:lnTo>
                    <a:pt x="2508629" y="2210899"/>
                  </a:lnTo>
                  <a:lnTo>
                    <a:pt x="2509421" y="2210802"/>
                  </a:lnTo>
                  <a:lnTo>
                    <a:pt x="2510038" y="2210096"/>
                  </a:lnTo>
                  <a:lnTo>
                    <a:pt x="2510597" y="2208855"/>
                  </a:lnTo>
                  <a:lnTo>
                    <a:pt x="2511414" y="2208621"/>
                  </a:lnTo>
                  <a:lnTo>
                    <a:pt x="2512870" y="2209087"/>
                  </a:lnTo>
                  <a:lnTo>
                    <a:pt x="2514277" y="2209914"/>
                  </a:lnTo>
                  <a:lnTo>
                    <a:pt x="2516202" y="2212462"/>
                  </a:lnTo>
                  <a:lnTo>
                    <a:pt x="2523452" y="2215567"/>
                  </a:lnTo>
                  <a:lnTo>
                    <a:pt x="2522520" y="2216323"/>
                  </a:lnTo>
                  <a:lnTo>
                    <a:pt x="2521085" y="2216292"/>
                  </a:lnTo>
                  <a:lnTo>
                    <a:pt x="2515075" y="2213653"/>
                  </a:lnTo>
                  <a:lnTo>
                    <a:pt x="2513863" y="2213522"/>
                  </a:lnTo>
                  <a:lnTo>
                    <a:pt x="2514597" y="2215181"/>
                  </a:lnTo>
                  <a:lnTo>
                    <a:pt x="2515636" y="2216250"/>
                  </a:lnTo>
                  <a:lnTo>
                    <a:pt x="2516796" y="2216795"/>
                  </a:lnTo>
                  <a:lnTo>
                    <a:pt x="2519294" y="2217238"/>
                  </a:lnTo>
                  <a:lnTo>
                    <a:pt x="2522119" y="2219032"/>
                  </a:lnTo>
                  <a:lnTo>
                    <a:pt x="2523490" y="2219372"/>
                  </a:lnTo>
                  <a:lnTo>
                    <a:pt x="2527506" y="2218797"/>
                  </a:lnTo>
                  <a:lnTo>
                    <a:pt x="2528526" y="2219579"/>
                  </a:lnTo>
                  <a:lnTo>
                    <a:pt x="2529051" y="2221634"/>
                  </a:lnTo>
                  <a:lnTo>
                    <a:pt x="2528192" y="2222612"/>
                  </a:lnTo>
                  <a:lnTo>
                    <a:pt x="2526842" y="2223097"/>
                  </a:lnTo>
                  <a:lnTo>
                    <a:pt x="2525896" y="2223699"/>
                  </a:lnTo>
                  <a:lnTo>
                    <a:pt x="2526726" y="2225053"/>
                  </a:lnTo>
                  <a:lnTo>
                    <a:pt x="2526643" y="2226586"/>
                  </a:lnTo>
                  <a:lnTo>
                    <a:pt x="2527278" y="2227378"/>
                  </a:lnTo>
                  <a:lnTo>
                    <a:pt x="2528216" y="2227864"/>
                  </a:lnTo>
                  <a:lnTo>
                    <a:pt x="2529071" y="2228506"/>
                  </a:lnTo>
                  <a:lnTo>
                    <a:pt x="2528065" y="2230113"/>
                  </a:lnTo>
                  <a:lnTo>
                    <a:pt x="2528206" y="2230920"/>
                  </a:lnTo>
                  <a:lnTo>
                    <a:pt x="2528969" y="2231650"/>
                  </a:lnTo>
                  <a:lnTo>
                    <a:pt x="2529814" y="2233055"/>
                  </a:lnTo>
                  <a:lnTo>
                    <a:pt x="2529992" y="2233958"/>
                  </a:lnTo>
                  <a:lnTo>
                    <a:pt x="2530027" y="2235011"/>
                  </a:lnTo>
                  <a:lnTo>
                    <a:pt x="2529969" y="2236024"/>
                  </a:lnTo>
                  <a:lnTo>
                    <a:pt x="2529862" y="2236797"/>
                  </a:lnTo>
                  <a:lnTo>
                    <a:pt x="2529867" y="2237395"/>
                  </a:lnTo>
                  <a:lnTo>
                    <a:pt x="2529975" y="2237857"/>
                  </a:lnTo>
                  <a:lnTo>
                    <a:pt x="2529981" y="2238174"/>
                  </a:lnTo>
                  <a:lnTo>
                    <a:pt x="2529669" y="2238314"/>
                  </a:lnTo>
                  <a:lnTo>
                    <a:pt x="2528841" y="2237884"/>
                  </a:lnTo>
                  <a:lnTo>
                    <a:pt x="2528423" y="2237857"/>
                  </a:lnTo>
                  <a:lnTo>
                    <a:pt x="2528303" y="2238444"/>
                  </a:lnTo>
                  <a:lnTo>
                    <a:pt x="2528788" y="2239482"/>
                  </a:lnTo>
                  <a:lnTo>
                    <a:pt x="2530589" y="2239860"/>
                  </a:lnTo>
                  <a:lnTo>
                    <a:pt x="2531215" y="2240344"/>
                  </a:lnTo>
                  <a:lnTo>
                    <a:pt x="2531487" y="2241580"/>
                  </a:lnTo>
                  <a:lnTo>
                    <a:pt x="2531199" y="2242223"/>
                  </a:lnTo>
                  <a:lnTo>
                    <a:pt x="2530741" y="2242717"/>
                  </a:lnTo>
                  <a:lnTo>
                    <a:pt x="2530499" y="2243476"/>
                  </a:lnTo>
                  <a:lnTo>
                    <a:pt x="2530796" y="2244777"/>
                  </a:lnTo>
                  <a:lnTo>
                    <a:pt x="2533013" y="2248540"/>
                  </a:lnTo>
                  <a:lnTo>
                    <a:pt x="2532530" y="2248613"/>
                  </a:lnTo>
                  <a:lnTo>
                    <a:pt x="2531378" y="2249445"/>
                  </a:lnTo>
                  <a:lnTo>
                    <a:pt x="2532064" y="2250584"/>
                  </a:lnTo>
                  <a:lnTo>
                    <a:pt x="2533748" y="2250624"/>
                  </a:lnTo>
                  <a:lnTo>
                    <a:pt x="2534672" y="2251374"/>
                  </a:lnTo>
                  <a:lnTo>
                    <a:pt x="2533802" y="2251850"/>
                  </a:lnTo>
                  <a:lnTo>
                    <a:pt x="2533363" y="2254461"/>
                  </a:lnTo>
                  <a:lnTo>
                    <a:pt x="2531652" y="2253795"/>
                  </a:lnTo>
                  <a:lnTo>
                    <a:pt x="2531228" y="2254517"/>
                  </a:lnTo>
                  <a:lnTo>
                    <a:pt x="2530928" y="2255786"/>
                  </a:lnTo>
                  <a:lnTo>
                    <a:pt x="2530395" y="2256951"/>
                  </a:lnTo>
                  <a:lnTo>
                    <a:pt x="2532079" y="2256791"/>
                  </a:lnTo>
                  <a:lnTo>
                    <a:pt x="2531533" y="2258021"/>
                  </a:lnTo>
                  <a:lnTo>
                    <a:pt x="2530776" y="2258530"/>
                  </a:lnTo>
                  <a:lnTo>
                    <a:pt x="2529046" y="2258644"/>
                  </a:lnTo>
                  <a:lnTo>
                    <a:pt x="2528919" y="2259093"/>
                  </a:lnTo>
                  <a:lnTo>
                    <a:pt x="2529458" y="2260006"/>
                  </a:lnTo>
                  <a:lnTo>
                    <a:pt x="2530230" y="2260936"/>
                  </a:lnTo>
                  <a:lnTo>
                    <a:pt x="2530818" y="2261407"/>
                  </a:lnTo>
                  <a:lnTo>
                    <a:pt x="2530214" y="2262133"/>
                  </a:lnTo>
                  <a:lnTo>
                    <a:pt x="2529475" y="2262417"/>
                  </a:lnTo>
                  <a:lnTo>
                    <a:pt x="2527862" y="2262501"/>
                  </a:lnTo>
                  <a:lnTo>
                    <a:pt x="2528608" y="2263796"/>
                  </a:lnTo>
                  <a:lnTo>
                    <a:pt x="2528118" y="2264734"/>
                  </a:lnTo>
                  <a:lnTo>
                    <a:pt x="2526118" y="2265656"/>
                  </a:lnTo>
                  <a:lnTo>
                    <a:pt x="2515839" y="2265165"/>
                  </a:lnTo>
                  <a:lnTo>
                    <a:pt x="2514821" y="2265978"/>
                  </a:lnTo>
                  <a:lnTo>
                    <a:pt x="2512897" y="2268574"/>
                  </a:lnTo>
                  <a:lnTo>
                    <a:pt x="2511930" y="2269191"/>
                  </a:lnTo>
                  <a:lnTo>
                    <a:pt x="2510817" y="2269480"/>
                  </a:lnTo>
                  <a:lnTo>
                    <a:pt x="2509784" y="2270119"/>
                  </a:lnTo>
                  <a:lnTo>
                    <a:pt x="2508034" y="2271837"/>
                  </a:lnTo>
                  <a:lnTo>
                    <a:pt x="2507773" y="2274105"/>
                  </a:lnTo>
                  <a:lnTo>
                    <a:pt x="2507314" y="2275692"/>
                  </a:lnTo>
                  <a:lnTo>
                    <a:pt x="2503066" y="2279525"/>
                  </a:lnTo>
                  <a:lnTo>
                    <a:pt x="2502574" y="2279714"/>
                  </a:lnTo>
                  <a:lnTo>
                    <a:pt x="2498818" y="2280138"/>
                  </a:lnTo>
                  <a:lnTo>
                    <a:pt x="2497694" y="2280884"/>
                  </a:lnTo>
                  <a:lnTo>
                    <a:pt x="2498564" y="2281537"/>
                  </a:lnTo>
                  <a:lnTo>
                    <a:pt x="2500391" y="2282034"/>
                  </a:lnTo>
                  <a:lnTo>
                    <a:pt x="2501279" y="2282885"/>
                  </a:lnTo>
                  <a:lnTo>
                    <a:pt x="2499404" y="2284621"/>
                  </a:lnTo>
                  <a:lnTo>
                    <a:pt x="2497032" y="2284806"/>
                  </a:lnTo>
                  <a:lnTo>
                    <a:pt x="2486088" y="2283036"/>
                  </a:lnTo>
                  <a:lnTo>
                    <a:pt x="2483383" y="2281661"/>
                  </a:lnTo>
                  <a:lnTo>
                    <a:pt x="2481994" y="2281401"/>
                  </a:lnTo>
                  <a:lnTo>
                    <a:pt x="2477232" y="2281772"/>
                  </a:lnTo>
                  <a:lnTo>
                    <a:pt x="2469817" y="2280342"/>
                  </a:lnTo>
                  <a:lnTo>
                    <a:pt x="2464473" y="2277987"/>
                  </a:lnTo>
                  <a:lnTo>
                    <a:pt x="2461871" y="2277701"/>
                  </a:lnTo>
                  <a:lnTo>
                    <a:pt x="2461964" y="2278250"/>
                  </a:lnTo>
                  <a:lnTo>
                    <a:pt x="2462021" y="2278330"/>
                  </a:lnTo>
                  <a:lnTo>
                    <a:pt x="2462105" y="2278294"/>
                  </a:lnTo>
                  <a:lnTo>
                    <a:pt x="2462269" y="2278486"/>
                  </a:lnTo>
                  <a:lnTo>
                    <a:pt x="2462079" y="2280730"/>
                  </a:lnTo>
                  <a:lnTo>
                    <a:pt x="2462955" y="2281931"/>
                  </a:lnTo>
                  <a:lnTo>
                    <a:pt x="2464109" y="2282759"/>
                  </a:lnTo>
                  <a:lnTo>
                    <a:pt x="2464741" y="2283875"/>
                  </a:lnTo>
                  <a:lnTo>
                    <a:pt x="2464233" y="2285514"/>
                  </a:lnTo>
                  <a:lnTo>
                    <a:pt x="2462819" y="2285964"/>
                  </a:lnTo>
                  <a:lnTo>
                    <a:pt x="2461188" y="2285642"/>
                  </a:lnTo>
                  <a:lnTo>
                    <a:pt x="2457595" y="2283229"/>
                  </a:lnTo>
                  <a:lnTo>
                    <a:pt x="2454925" y="2282149"/>
                  </a:lnTo>
                  <a:lnTo>
                    <a:pt x="2452272" y="2281853"/>
                  </a:lnTo>
                  <a:lnTo>
                    <a:pt x="2447618" y="2283442"/>
                  </a:lnTo>
                  <a:lnTo>
                    <a:pt x="2446480" y="2284463"/>
                  </a:lnTo>
                  <a:lnTo>
                    <a:pt x="2446068" y="2285963"/>
                  </a:lnTo>
                  <a:lnTo>
                    <a:pt x="2446650" y="2287841"/>
                  </a:lnTo>
                  <a:lnTo>
                    <a:pt x="2447790" y="2288983"/>
                  </a:lnTo>
                  <a:lnTo>
                    <a:pt x="2449044" y="2289872"/>
                  </a:lnTo>
                  <a:lnTo>
                    <a:pt x="2449975" y="2290966"/>
                  </a:lnTo>
                  <a:lnTo>
                    <a:pt x="2451947" y="2294226"/>
                  </a:lnTo>
                  <a:lnTo>
                    <a:pt x="2454077" y="2296156"/>
                  </a:lnTo>
                  <a:lnTo>
                    <a:pt x="2458874" y="2298146"/>
                  </a:lnTo>
                  <a:lnTo>
                    <a:pt x="2458931" y="2298956"/>
                  </a:lnTo>
                  <a:lnTo>
                    <a:pt x="2458007" y="2298875"/>
                  </a:lnTo>
                  <a:lnTo>
                    <a:pt x="2457140" y="2298482"/>
                  </a:lnTo>
                  <a:lnTo>
                    <a:pt x="2456307" y="2298394"/>
                  </a:lnTo>
                  <a:lnTo>
                    <a:pt x="2455490" y="2299199"/>
                  </a:lnTo>
                  <a:lnTo>
                    <a:pt x="2456298" y="2299770"/>
                  </a:lnTo>
                  <a:lnTo>
                    <a:pt x="2460093" y="2300810"/>
                  </a:lnTo>
                  <a:lnTo>
                    <a:pt x="2471956" y="2301232"/>
                  </a:lnTo>
                  <a:lnTo>
                    <a:pt x="2475608" y="2302629"/>
                  </a:lnTo>
                  <a:lnTo>
                    <a:pt x="2476067" y="2303578"/>
                  </a:lnTo>
                  <a:lnTo>
                    <a:pt x="2476238" y="2304692"/>
                  </a:lnTo>
                  <a:lnTo>
                    <a:pt x="2476319" y="2306903"/>
                  </a:lnTo>
                  <a:lnTo>
                    <a:pt x="2476171" y="2308152"/>
                  </a:lnTo>
                  <a:lnTo>
                    <a:pt x="2475836" y="2309246"/>
                  </a:lnTo>
                  <a:lnTo>
                    <a:pt x="2475294" y="2310116"/>
                  </a:lnTo>
                  <a:lnTo>
                    <a:pt x="2473768" y="2311625"/>
                  </a:lnTo>
                  <a:lnTo>
                    <a:pt x="2473442" y="2312557"/>
                  </a:lnTo>
                  <a:lnTo>
                    <a:pt x="2474146" y="2313533"/>
                  </a:lnTo>
                  <a:lnTo>
                    <a:pt x="2473339" y="2314377"/>
                  </a:lnTo>
                  <a:lnTo>
                    <a:pt x="2472190" y="2314718"/>
                  </a:lnTo>
                  <a:lnTo>
                    <a:pt x="2470095" y="2314647"/>
                  </a:lnTo>
                  <a:lnTo>
                    <a:pt x="2466532" y="2313417"/>
                  </a:lnTo>
                  <a:lnTo>
                    <a:pt x="2463289" y="2314094"/>
                  </a:lnTo>
                  <a:lnTo>
                    <a:pt x="2462423" y="2313715"/>
                  </a:lnTo>
                  <a:lnTo>
                    <a:pt x="2461754" y="2312170"/>
                  </a:lnTo>
                  <a:lnTo>
                    <a:pt x="2462244" y="2311111"/>
                  </a:lnTo>
                  <a:lnTo>
                    <a:pt x="2463862" y="2309806"/>
                  </a:lnTo>
                  <a:lnTo>
                    <a:pt x="2463321" y="2308586"/>
                  </a:lnTo>
                  <a:lnTo>
                    <a:pt x="2462465" y="2307276"/>
                  </a:lnTo>
                  <a:lnTo>
                    <a:pt x="2461535" y="2306644"/>
                  </a:lnTo>
                  <a:lnTo>
                    <a:pt x="2459961" y="2308470"/>
                  </a:lnTo>
                  <a:lnTo>
                    <a:pt x="2457857" y="2308121"/>
                  </a:lnTo>
                  <a:lnTo>
                    <a:pt x="2456884" y="2308808"/>
                  </a:lnTo>
                  <a:lnTo>
                    <a:pt x="2458755" y="2310986"/>
                  </a:lnTo>
                  <a:lnTo>
                    <a:pt x="2458031" y="2312355"/>
                  </a:lnTo>
                  <a:lnTo>
                    <a:pt x="2456747" y="2312249"/>
                  </a:lnTo>
                  <a:lnTo>
                    <a:pt x="2455287" y="2311777"/>
                  </a:lnTo>
                  <a:lnTo>
                    <a:pt x="2454011" y="2311999"/>
                  </a:lnTo>
                  <a:lnTo>
                    <a:pt x="2454312" y="2312522"/>
                  </a:lnTo>
                  <a:lnTo>
                    <a:pt x="2454885" y="2313737"/>
                  </a:lnTo>
                  <a:lnTo>
                    <a:pt x="2455199" y="2314226"/>
                  </a:lnTo>
                  <a:lnTo>
                    <a:pt x="2451291" y="2315457"/>
                  </a:lnTo>
                  <a:lnTo>
                    <a:pt x="2449765" y="2315281"/>
                  </a:lnTo>
                  <a:lnTo>
                    <a:pt x="2448192" y="2314716"/>
                  </a:lnTo>
                  <a:lnTo>
                    <a:pt x="2447232" y="2313904"/>
                  </a:lnTo>
                  <a:lnTo>
                    <a:pt x="2447106" y="2312524"/>
                  </a:lnTo>
                  <a:lnTo>
                    <a:pt x="2448017" y="2310233"/>
                  </a:lnTo>
                  <a:lnTo>
                    <a:pt x="2446809" y="2309140"/>
                  </a:lnTo>
                  <a:lnTo>
                    <a:pt x="2446320" y="2309849"/>
                  </a:lnTo>
                  <a:lnTo>
                    <a:pt x="2446108" y="2311149"/>
                  </a:lnTo>
                  <a:lnTo>
                    <a:pt x="2445723" y="2311882"/>
                  </a:lnTo>
                  <a:lnTo>
                    <a:pt x="2445062" y="2311793"/>
                  </a:lnTo>
                  <a:lnTo>
                    <a:pt x="2444681" y="2311458"/>
                  </a:lnTo>
                  <a:lnTo>
                    <a:pt x="2444367" y="2310998"/>
                  </a:lnTo>
                  <a:lnTo>
                    <a:pt x="2441888" y="2308706"/>
                  </a:lnTo>
                  <a:lnTo>
                    <a:pt x="2441236" y="2307841"/>
                  </a:lnTo>
                  <a:lnTo>
                    <a:pt x="2440353" y="2307058"/>
                  </a:lnTo>
                  <a:lnTo>
                    <a:pt x="2439674" y="2307044"/>
                  </a:lnTo>
                  <a:lnTo>
                    <a:pt x="2439627" y="2308480"/>
                  </a:lnTo>
                  <a:lnTo>
                    <a:pt x="2440348" y="2309750"/>
                  </a:lnTo>
                  <a:lnTo>
                    <a:pt x="2441454" y="2310509"/>
                  </a:lnTo>
                  <a:lnTo>
                    <a:pt x="2442243" y="2311552"/>
                  </a:lnTo>
                  <a:lnTo>
                    <a:pt x="2442023" y="2313622"/>
                  </a:lnTo>
                  <a:lnTo>
                    <a:pt x="2442689" y="2313912"/>
                  </a:lnTo>
                  <a:lnTo>
                    <a:pt x="2443328" y="2314390"/>
                  </a:lnTo>
                  <a:lnTo>
                    <a:pt x="2443885" y="2315194"/>
                  </a:lnTo>
                  <a:lnTo>
                    <a:pt x="2444305" y="2316457"/>
                  </a:lnTo>
                  <a:lnTo>
                    <a:pt x="2443732" y="2317163"/>
                  </a:lnTo>
                  <a:lnTo>
                    <a:pt x="2443335" y="2317803"/>
                  </a:lnTo>
                  <a:lnTo>
                    <a:pt x="2443128" y="2318644"/>
                  </a:lnTo>
                  <a:lnTo>
                    <a:pt x="2443126" y="2319929"/>
                  </a:lnTo>
                  <a:lnTo>
                    <a:pt x="2443573" y="2320977"/>
                  </a:lnTo>
                  <a:lnTo>
                    <a:pt x="2444349" y="2320383"/>
                  </a:lnTo>
                  <a:lnTo>
                    <a:pt x="2445057" y="2319250"/>
                  </a:lnTo>
                  <a:lnTo>
                    <a:pt x="2445295" y="2318634"/>
                  </a:lnTo>
                  <a:lnTo>
                    <a:pt x="2446194" y="2318205"/>
                  </a:lnTo>
                  <a:lnTo>
                    <a:pt x="2446370" y="2318567"/>
                  </a:lnTo>
                  <a:lnTo>
                    <a:pt x="2446299" y="2320053"/>
                  </a:lnTo>
                  <a:lnTo>
                    <a:pt x="2446068" y="2321119"/>
                  </a:lnTo>
                  <a:lnTo>
                    <a:pt x="2445685" y="2321411"/>
                  </a:lnTo>
                  <a:lnTo>
                    <a:pt x="2445122" y="2321636"/>
                  </a:lnTo>
                  <a:lnTo>
                    <a:pt x="2444360" y="2322500"/>
                  </a:lnTo>
                  <a:lnTo>
                    <a:pt x="2444860" y="2323099"/>
                  </a:lnTo>
                  <a:lnTo>
                    <a:pt x="2445044" y="2323523"/>
                  </a:lnTo>
                  <a:lnTo>
                    <a:pt x="2445010" y="2323943"/>
                  </a:lnTo>
                  <a:lnTo>
                    <a:pt x="2444842" y="2324568"/>
                  </a:lnTo>
                  <a:lnTo>
                    <a:pt x="2445128" y="2325283"/>
                  </a:lnTo>
                  <a:lnTo>
                    <a:pt x="2445213" y="2325598"/>
                  </a:lnTo>
                  <a:lnTo>
                    <a:pt x="2445289" y="2326100"/>
                  </a:lnTo>
                  <a:lnTo>
                    <a:pt x="2444400" y="2325821"/>
                  </a:lnTo>
                  <a:lnTo>
                    <a:pt x="2442054" y="2324137"/>
                  </a:lnTo>
                  <a:lnTo>
                    <a:pt x="2440992" y="2323873"/>
                  </a:lnTo>
                  <a:lnTo>
                    <a:pt x="2438057" y="2324396"/>
                  </a:lnTo>
                  <a:lnTo>
                    <a:pt x="2436414" y="2324061"/>
                  </a:lnTo>
                  <a:lnTo>
                    <a:pt x="2435769" y="2324556"/>
                  </a:lnTo>
                  <a:lnTo>
                    <a:pt x="2435609" y="2326354"/>
                  </a:lnTo>
                  <a:lnTo>
                    <a:pt x="2435646" y="2328193"/>
                  </a:lnTo>
                  <a:lnTo>
                    <a:pt x="2435887" y="2329072"/>
                  </a:lnTo>
                  <a:lnTo>
                    <a:pt x="2436557" y="2330400"/>
                  </a:lnTo>
                  <a:lnTo>
                    <a:pt x="2436280" y="2331876"/>
                  </a:lnTo>
                  <a:lnTo>
                    <a:pt x="2436630" y="2332895"/>
                  </a:lnTo>
                  <a:lnTo>
                    <a:pt x="2437330" y="2333407"/>
                  </a:lnTo>
                  <a:lnTo>
                    <a:pt x="2438128" y="2333347"/>
                  </a:lnTo>
                  <a:lnTo>
                    <a:pt x="2438171" y="2334025"/>
                  </a:lnTo>
                  <a:lnTo>
                    <a:pt x="2437276" y="2334331"/>
                  </a:lnTo>
                  <a:lnTo>
                    <a:pt x="2435712" y="2335498"/>
                  </a:lnTo>
                  <a:lnTo>
                    <a:pt x="2434807" y="2335799"/>
                  </a:lnTo>
                  <a:lnTo>
                    <a:pt x="2432807" y="2335884"/>
                  </a:lnTo>
                  <a:lnTo>
                    <a:pt x="2431859" y="2336157"/>
                  </a:lnTo>
                  <a:lnTo>
                    <a:pt x="2431014" y="2336783"/>
                  </a:lnTo>
                  <a:lnTo>
                    <a:pt x="2432178" y="2337378"/>
                  </a:lnTo>
                  <a:lnTo>
                    <a:pt x="2435601" y="2337177"/>
                  </a:lnTo>
                  <a:lnTo>
                    <a:pt x="2439637" y="2338918"/>
                  </a:lnTo>
                  <a:lnTo>
                    <a:pt x="2440923" y="2339142"/>
                  </a:lnTo>
                  <a:lnTo>
                    <a:pt x="2441730" y="2339677"/>
                  </a:lnTo>
                  <a:lnTo>
                    <a:pt x="2442702" y="2340895"/>
                  </a:lnTo>
                  <a:lnTo>
                    <a:pt x="2443416" y="2342130"/>
                  </a:lnTo>
                  <a:lnTo>
                    <a:pt x="2443425" y="2342716"/>
                  </a:lnTo>
                  <a:lnTo>
                    <a:pt x="2443264" y="2343038"/>
                  </a:lnTo>
                  <a:lnTo>
                    <a:pt x="2443138" y="2343780"/>
                  </a:lnTo>
                  <a:lnTo>
                    <a:pt x="2443068" y="2344666"/>
                  </a:lnTo>
                  <a:lnTo>
                    <a:pt x="2443061" y="2345383"/>
                  </a:lnTo>
                  <a:lnTo>
                    <a:pt x="2441373" y="2346577"/>
                  </a:lnTo>
                  <a:lnTo>
                    <a:pt x="2441964" y="2347420"/>
                  </a:lnTo>
                  <a:lnTo>
                    <a:pt x="2443175" y="2348142"/>
                  </a:lnTo>
                  <a:lnTo>
                    <a:pt x="2443656" y="2348671"/>
                  </a:lnTo>
                  <a:lnTo>
                    <a:pt x="2444050" y="2349726"/>
                  </a:lnTo>
                  <a:lnTo>
                    <a:pt x="2444474" y="2351924"/>
                  </a:lnTo>
                  <a:lnTo>
                    <a:pt x="2444779" y="2352775"/>
                  </a:lnTo>
                  <a:lnTo>
                    <a:pt x="2446130" y="2354261"/>
                  </a:lnTo>
                  <a:lnTo>
                    <a:pt x="2449066" y="2355909"/>
                  </a:lnTo>
                  <a:lnTo>
                    <a:pt x="2450137" y="2357198"/>
                  </a:lnTo>
                  <a:lnTo>
                    <a:pt x="2450539" y="2357986"/>
                  </a:lnTo>
                  <a:lnTo>
                    <a:pt x="2449185" y="2357690"/>
                  </a:lnTo>
                  <a:lnTo>
                    <a:pt x="2446041" y="2355949"/>
                  </a:lnTo>
                  <a:lnTo>
                    <a:pt x="2444048" y="2357228"/>
                  </a:lnTo>
                  <a:lnTo>
                    <a:pt x="2443112" y="2355981"/>
                  </a:lnTo>
                  <a:lnTo>
                    <a:pt x="2442485" y="2353806"/>
                  </a:lnTo>
                  <a:lnTo>
                    <a:pt x="2442438" y="2351803"/>
                  </a:lnTo>
                  <a:lnTo>
                    <a:pt x="2438798" y="2349799"/>
                  </a:lnTo>
                  <a:lnTo>
                    <a:pt x="2438855" y="2349368"/>
                  </a:lnTo>
                  <a:lnTo>
                    <a:pt x="2438883" y="2349042"/>
                  </a:lnTo>
                  <a:lnTo>
                    <a:pt x="2438933" y="2348723"/>
                  </a:lnTo>
                  <a:lnTo>
                    <a:pt x="2439083" y="2348286"/>
                  </a:lnTo>
                  <a:lnTo>
                    <a:pt x="2438712" y="2347269"/>
                  </a:lnTo>
                  <a:lnTo>
                    <a:pt x="2438160" y="2346050"/>
                  </a:lnTo>
                  <a:lnTo>
                    <a:pt x="2437530" y="2345022"/>
                  </a:lnTo>
                  <a:lnTo>
                    <a:pt x="2436586" y="2344437"/>
                  </a:lnTo>
                  <a:lnTo>
                    <a:pt x="2435930" y="2343482"/>
                  </a:lnTo>
                  <a:lnTo>
                    <a:pt x="2435634" y="2343216"/>
                  </a:lnTo>
                  <a:lnTo>
                    <a:pt x="2435148" y="2343264"/>
                  </a:lnTo>
                  <a:lnTo>
                    <a:pt x="2434411" y="2343978"/>
                  </a:lnTo>
                  <a:lnTo>
                    <a:pt x="2433924" y="2344137"/>
                  </a:lnTo>
                  <a:lnTo>
                    <a:pt x="2433127" y="2343898"/>
                  </a:lnTo>
                  <a:lnTo>
                    <a:pt x="2432120" y="2343319"/>
                  </a:lnTo>
                  <a:lnTo>
                    <a:pt x="2431162" y="2342538"/>
                  </a:lnTo>
                  <a:lnTo>
                    <a:pt x="2430493" y="2341668"/>
                  </a:lnTo>
                  <a:lnTo>
                    <a:pt x="2429576" y="2341057"/>
                  </a:lnTo>
                  <a:lnTo>
                    <a:pt x="2427198" y="2341749"/>
                  </a:lnTo>
                  <a:lnTo>
                    <a:pt x="2425407" y="2340513"/>
                  </a:lnTo>
                  <a:lnTo>
                    <a:pt x="2415744" y="2338912"/>
                  </a:lnTo>
                  <a:lnTo>
                    <a:pt x="2409474" y="2336480"/>
                  </a:lnTo>
                  <a:lnTo>
                    <a:pt x="2412954" y="2338830"/>
                  </a:lnTo>
                  <a:lnTo>
                    <a:pt x="2414851" y="2339621"/>
                  </a:lnTo>
                  <a:lnTo>
                    <a:pt x="2418486" y="2340262"/>
                  </a:lnTo>
                  <a:lnTo>
                    <a:pt x="2423509" y="2343957"/>
                  </a:lnTo>
                  <a:lnTo>
                    <a:pt x="2425097" y="2344507"/>
                  </a:lnTo>
                  <a:lnTo>
                    <a:pt x="2426823" y="2344573"/>
                  </a:lnTo>
                  <a:lnTo>
                    <a:pt x="2427054" y="2344870"/>
                  </a:lnTo>
                  <a:lnTo>
                    <a:pt x="2427076" y="2345572"/>
                  </a:lnTo>
                  <a:lnTo>
                    <a:pt x="2427051" y="2346311"/>
                  </a:lnTo>
                  <a:lnTo>
                    <a:pt x="2427141" y="2346720"/>
                  </a:lnTo>
                  <a:lnTo>
                    <a:pt x="2427580" y="2346840"/>
                  </a:lnTo>
                  <a:lnTo>
                    <a:pt x="2429031" y="2346605"/>
                  </a:lnTo>
                  <a:lnTo>
                    <a:pt x="2430566" y="2346845"/>
                  </a:lnTo>
                  <a:lnTo>
                    <a:pt x="2432440" y="2347717"/>
                  </a:lnTo>
                  <a:lnTo>
                    <a:pt x="2434129" y="2349266"/>
                  </a:lnTo>
                  <a:lnTo>
                    <a:pt x="2435115" y="2351522"/>
                  </a:lnTo>
                  <a:lnTo>
                    <a:pt x="2434122" y="2351989"/>
                  </a:lnTo>
                  <a:lnTo>
                    <a:pt x="2433922" y="2353345"/>
                  </a:lnTo>
                  <a:lnTo>
                    <a:pt x="2433871" y="2354927"/>
                  </a:lnTo>
                  <a:lnTo>
                    <a:pt x="2433312" y="2356038"/>
                  </a:lnTo>
                  <a:lnTo>
                    <a:pt x="2431998" y="2356084"/>
                  </a:lnTo>
                  <a:lnTo>
                    <a:pt x="2431228" y="2355940"/>
                  </a:lnTo>
                  <a:lnTo>
                    <a:pt x="2430459" y="2355547"/>
                  </a:lnTo>
                  <a:lnTo>
                    <a:pt x="2430104" y="2355079"/>
                  </a:lnTo>
                  <a:lnTo>
                    <a:pt x="2429819" y="2354443"/>
                  </a:lnTo>
                  <a:lnTo>
                    <a:pt x="2429463" y="2353811"/>
                  </a:lnTo>
                  <a:lnTo>
                    <a:pt x="2428903" y="2353400"/>
                  </a:lnTo>
                  <a:lnTo>
                    <a:pt x="2428246" y="2353440"/>
                  </a:lnTo>
                  <a:lnTo>
                    <a:pt x="2426178" y="2354316"/>
                  </a:lnTo>
                  <a:lnTo>
                    <a:pt x="2424323" y="2353786"/>
                  </a:lnTo>
                  <a:lnTo>
                    <a:pt x="2423429" y="2353812"/>
                  </a:lnTo>
                  <a:lnTo>
                    <a:pt x="2422708" y="2354522"/>
                  </a:lnTo>
                  <a:lnTo>
                    <a:pt x="2424877" y="2355883"/>
                  </a:lnTo>
                  <a:lnTo>
                    <a:pt x="2423856" y="2357038"/>
                  </a:lnTo>
                  <a:lnTo>
                    <a:pt x="2422544" y="2357240"/>
                  </a:lnTo>
                  <a:lnTo>
                    <a:pt x="2419695" y="2356859"/>
                  </a:lnTo>
                  <a:lnTo>
                    <a:pt x="2419238" y="2357138"/>
                  </a:lnTo>
                  <a:lnTo>
                    <a:pt x="2418640" y="2358240"/>
                  </a:lnTo>
                  <a:lnTo>
                    <a:pt x="2418035" y="2358515"/>
                  </a:lnTo>
                  <a:lnTo>
                    <a:pt x="2417691" y="2358975"/>
                  </a:lnTo>
                  <a:lnTo>
                    <a:pt x="2417464" y="2360011"/>
                  </a:lnTo>
                  <a:lnTo>
                    <a:pt x="2417204" y="2362298"/>
                  </a:lnTo>
                  <a:lnTo>
                    <a:pt x="2419555" y="2363493"/>
                  </a:lnTo>
                  <a:lnTo>
                    <a:pt x="2420500" y="2363492"/>
                  </a:lnTo>
                  <a:lnTo>
                    <a:pt x="2423074" y="2362234"/>
                  </a:lnTo>
                  <a:lnTo>
                    <a:pt x="2424554" y="2362093"/>
                  </a:lnTo>
                  <a:lnTo>
                    <a:pt x="2426067" y="2362381"/>
                  </a:lnTo>
                  <a:lnTo>
                    <a:pt x="2427403" y="2363124"/>
                  </a:lnTo>
                  <a:lnTo>
                    <a:pt x="2426947" y="2364783"/>
                  </a:lnTo>
                  <a:lnTo>
                    <a:pt x="2425986" y="2366571"/>
                  </a:lnTo>
                  <a:lnTo>
                    <a:pt x="2424858" y="2368012"/>
                  </a:lnTo>
                  <a:lnTo>
                    <a:pt x="2423902" y="2368620"/>
                  </a:lnTo>
                  <a:lnTo>
                    <a:pt x="2421761" y="2367465"/>
                  </a:lnTo>
                  <a:lnTo>
                    <a:pt x="2420693" y="2367366"/>
                  </a:lnTo>
                  <a:lnTo>
                    <a:pt x="2420023" y="2368846"/>
                  </a:lnTo>
                  <a:lnTo>
                    <a:pt x="2420572" y="2369041"/>
                  </a:lnTo>
                  <a:lnTo>
                    <a:pt x="2420917" y="2369435"/>
                  </a:lnTo>
                  <a:lnTo>
                    <a:pt x="2421032" y="2370091"/>
                  </a:lnTo>
                  <a:lnTo>
                    <a:pt x="2420881" y="2371038"/>
                  </a:lnTo>
                  <a:lnTo>
                    <a:pt x="2420445" y="2371792"/>
                  </a:lnTo>
                  <a:lnTo>
                    <a:pt x="2419801" y="2372047"/>
                  </a:lnTo>
                  <a:lnTo>
                    <a:pt x="2418456" y="2371991"/>
                  </a:lnTo>
                  <a:lnTo>
                    <a:pt x="2418838" y="2371969"/>
                  </a:lnTo>
                  <a:lnTo>
                    <a:pt x="2417773" y="2370976"/>
                  </a:lnTo>
                  <a:lnTo>
                    <a:pt x="2417179" y="2370583"/>
                  </a:lnTo>
                  <a:lnTo>
                    <a:pt x="2416661" y="2370599"/>
                  </a:lnTo>
                  <a:lnTo>
                    <a:pt x="2416027" y="2371324"/>
                  </a:lnTo>
                  <a:lnTo>
                    <a:pt x="2416165" y="2371948"/>
                  </a:lnTo>
                  <a:lnTo>
                    <a:pt x="2416601" y="2372653"/>
                  </a:lnTo>
                  <a:lnTo>
                    <a:pt x="2416830" y="2373578"/>
                  </a:lnTo>
                  <a:lnTo>
                    <a:pt x="2416755" y="2375316"/>
                  </a:lnTo>
                  <a:lnTo>
                    <a:pt x="2416515" y="2376979"/>
                  </a:lnTo>
                  <a:lnTo>
                    <a:pt x="2415965" y="2378104"/>
                  </a:lnTo>
                  <a:lnTo>
                    <a:pt x="2414957" y="2378227"/>
                  </a:lnTo>
                  <a:lnTo>
                    <a:pt x="2414036" y="2377336"/>
                  </a:lnTo>
                  <a:lnTo>
                    <a:pt x="2411871" y="2373041"/>
                  </a:lnTo>
                  <a:lnTo>
                    <a:pt x="2410985" y="2372165"/>
                  </a:lnTo>
                  <a:lnTo>
                    <a:pt x="2409723" y="2371448"/>
                  </a:lnTo>
                  <a:lnTo>
                    <a:pt x="2408364" y="2371046"/>
                  </a:lnTo>
                  <a:lnTo>
                    <a:pt x="2407191" y="2371122"/>
                  </a:lnTo>
                  <a:lnTo>
                    <a:pt x="2407835" y="2372061"/>
                  </a:lnTo>
                  <a:lnTo>
                    <a:pt x="2408506" y="2372758"/>
                  </a:lnTo>
                  <a:lnTo>
                    <a:pt x="2409090" y="2373536"/>
                  </a:lnTo>
                  <a:lnTo>
                    <a:pt x="2409480" y="2374733"/>
                  </a:lnTo>
                  <a:lnTo>
                    <a:pt x="2403086" y="2373514"/>
                  </a:lnTo>
                  <a:lnTo>
                    <a:pt x="2403129" y="2374325"/>
                  </a:lnTo>
                  <a:lnTo>
                    <a:pt x="2413723" y="2381208"/>
                  </a:lnTo>
                  <a:lnTo>
                    <a:pt x="2413765" y="2381953"/>
                  </a:lnTo>
                  <a:lnTo>
                    <a:pt x="2406057" y="2381999"/>
                  </a:lnTo>
                  <a:lnTo>
                    <a:pt x="2404989" y="2382429"/>
                  </a:lnTo>
                  <a:lnTo>
                    <a:pt x="2407706" y="2384338"/>
                  </a:lnTo>
                  <a:lnTo>
                    <a:pt x="2408466" y="2384551"/>
                  </a:lnTo>
                  <a:lnTo>
                    <a:pt x="2409167" y="2384975"/>
                  </a:lnTo>
                  <a:lnTo>
                    <a:pt x="2409753" y="2386001"/>
                  </a:lnTo>
                  <a:lnTo>
                    <a:pt x="2410308" y="2387185"/>
                  </a:lnTo>
                  <a:lnTo>
                    <a:pt x="2410909" y="2388082"/>
                  </a:lnTo>
                  <a:lnTo>
                    <a:pt x="2409346" y="2388531"/>
                  </a:lnTo>
                  <a:lnTo>
                    <a:pt x="2407963" y="2388272"/>
                  </a:lnTo>
                  <a:lnTo>
                    <a:pt x="2399562" y="2383992"/>
                  </a:lnTo>
                  <a:lnTo>
                    <a:pt x="2394273" y="2382722"/>
                  </a:lnTo>
                  <a:lnTo>
                    <a:pt x="2393281" y="2382935"/>
                  </a:lnTo>
                  <a:lnTo>
                    <a:pt x="2394543" y="2384868"/>
                  </a:lnTo>
                  <a:lnTo>
                    <a:pt x="2398852" y="2388118"/>
                  </a:lnTo>
                  <a:lnTo>
                    <a:pt x="2400058" y="2389470"/>
                  </a:lnTo>
                  <a:lnTo>
                    <a:pt x="2395362" y="2389988"/>
                  </a:lnTo>
                  <a:lnTo>
                    <a:pt x="2394326" y="2390813"/>
                  </a:lnTo>
                  <a:lnTo>
                    <a:pt x="2393947" y="2392876"/>
                  </a:lnTo>
                  <a:lnTo>
                    <a:pt x="2394795" y="2393580"/>
                  </a:lnTo>
                  <a:lnTo>
                    <a:pt x="2399706" y="2393155"/>
                  </a:lnTo>
                  <a:lnTo>
                    <a:pt x="2400304" y="2394236"/>
                  </a:lnTo>
                  <a:lnTo>
                    <a:pt x="2400869" y="2394980"/>
                  </a:lnTo>
                  <a:lnTo>
                    <a:pt x="2401575" y="2395290"/>
                  </a:lnTo>
                  <a:lnTo>
                    <a:pt x="2407848" y="2396520"/>
                  </a:lnTo>
                  <a:lnTo>
                    <a:pt x="2406876" y="2397302"/>
                  </a:lnTo>
                  <a:lnTo>
                    <a:pt x="2405685" y="2397529"/>
                  </a:lnTo>
                  <a:lnTo>
                    <a:pt x="2403285" y="2397438"/>
                  </a:lnTo>
                  <a:lnTo>
                    <a:pt x="2403328" y="2398253"/>
                  </a:lnTo>
                  <a:lnTo>
                    <a:pt x="2404067" y="2398628"/>
                  </a:lnTo>
                  <a:lnTo>
                    <a:pt x="2405459" y="2400049"/>
                  </a:lnTo>
                  <a:lnTo>
                    <a:pt x="2406111" y="2400343"/>
                  </a:lnTo>
                  <a:lnTo>
                    <a:pt x="2408940" y="2400192"/>
                  </a:lnTo>
                  <a:lnTo>
                    <a:pt x="2411112" y="2399292"/>
                  </a:lnTo>
                  <a:lnTo>
                    <a:pt x="2411907" y="2399355"/>
                  </a:lnTo>
                  <a:lnTo>
                    <a:pt x="2412984" y="2399856"/>
                  </a:lnTo>
                  <a:lnTo>
                    <a:pt x="2413281" y="2400307"/>
                  </a:lnTo>
                  <a:lnTo>
                    <a:pt x="2412770" y="2402215"/>
                  </a:lnTo>
                  <a:lnTo>
                    <a:pt x="2412573" y="2404640"/>
                  </a:lnTo>
                  <a:lnTo>
                    <a:pt x="2412269" y="2405546"/>
                  </a:lnTo>
                  <a:lnTo>
                    <a:pt x="2411667" y="2404930"/>
                  </a:lnTo>
                  <a:lnTo>
                    <a:pt x="2411156" y="2404211"/>
                  </a:lnTo>
                  <a:lnTo>
                    <a:pt x="2410552" y="2403937"/>
                  </a:lnTo>
                  <a:lnTo>
                    <a:pt x="2407246" y="2403955"/>
                  </a:lnTo>
                  <a:lnTo>
                    <a:pt x="2405389" y="2403360"/>
                  </a:lnTo>
                  <a:lnTo>
                    <a:pt x="2403567" y="2402121"/>
                  </a:lnTo>
                  <a:lnTo>
                    <a:pt x="2402665" y="2401995"/>
                  </a:lnTo>
                  <a:lnTo>
                    <a:pt x="2401765" y="2402802"/>
                  </a:lnTo>
                  <a:lnTo>
                    <a:pt x="2402810" y="2403784"/>
                  </a:lnTo>
                  <a:lnTo>
                    <a:pt x="2403615" y="2405239"/>
                  </a:lnTo>
                  <a:lnTo>
                    <a:pt x="2404537" y="2406538"/>
                  </a:lnTo>
                  <a:lnTo>
                    <a:pt x="2405935" y="2407065"/>
                  </a:lnTo>
                  <a:lnTo>
                    <a:pt x="2409009" y="2405914"/>
                  </a:lnTo>
                  <a:lnTo>
                    <a:pt x="2410126" y="2406094"/>
                  </a:lnTo>
                  <a:lnTo>
                    <a:pt x="2403669" y="2410980"/>
                  </a:lnTo>
                  <a:lnTo>
                    <a:pt x="2402751" y="2411392"/>
                  </a:lnTo>
                  <a:lnTo>
                    <a:pt x="2400768" y="2411627"/>
                  </a:lnTo>
                  <a:lnTo>
                    <a:pt x="2399797" y="2411997"/>
                  </a:lnTo>
                  <a:lnTo>
                    <a:pt x="2391297" y="2419805"/>
                  </a:lnTo>
                  <a:lnTo>
                    <a:pt x="2390047" y="2421398"/>
                  </a:lnTo>
                  <a:lnTo>
                    <a:pt x="2387943" y="2425121"/>
                  </a:lnTo>
                  <a:lnTo>
                    <a:pt x="2386658" y="2426741"/>
                  </a:lnTo>
                  <a:lnTo>
                    <a:pt x="2386171" y="2426670"/>
                  </a:lnTo>
                  <a:lnTo>
                    <a:pt x="2385534" y="2426051"/>
                  </a:lnTo>
                  <a:lnTo>
                    <a:pt x="2384899" y="2425249"/>
                  </a:lnTo>
                  <a:lnTo>
                    <a:pt x="2384075" y="2424621"/>
                  </a:lnTo>
                  <a:lnTo>
                    <a:pt x="2383907" y="2426046"/>
                  </a:lnTo>
                  <a:lnTo>
                    <a:pt x="2382059" y="2430623"/>
                  </a:lnTo>
                  <a:lnTo>
                    <a:pt x="2381192" y="2432275"/>
                  </a:lnTo>
                  <a:lnTo>
                    <a:pt x="2380682" y="2432858"/>
                  </a:lnTo>
                  <a:lnTo>
                    <a:pt x="2379630" y="2433421"/>
                  </a:lnTo>
                  <a:lnTo>
                    <a:pt x="2379131" y="2433927"/>
                  </a:lnTo>
                  <a:lnTo>
                    <a:pt x="2376773" y="2437692"/>
                  </a:lnTo>
                  <a:lnTo>
                    <a:pt x="2377420" y="2438055"/>
                  </a:lnTo>
                  <a:lnTo>
                    <a:pt x="2377812" y="2438584"/>
                  </a:lnTo>
                  <a:lnTo>
                    <a:pt x="2377885" y="2439221"/>
                  </a:lnTo>
                  <a:lnTo>
                    <a:pt x="2377583" y="2439954"/>
                  </a:lnTo>
                  <a:lnTo>
                    <a:pt x="2377913" y="2440992"/>
                  </a:lnTo>
                  <a:lnTo>
                    <a:pt x="2378358" y="2441866"/>
                  </a:lnTo>
                  <a:lnTo>
                    <a:pt x="2378901" y="2442491"/>
                  </a:lnTo>
                  <a:lnTo>
                    <a:pt x="2379523" y="2442787"/>
                  </a:lnTo>
                  <a:lnTo>
                    <a:pt x="2378278" y="2443589"/>
                  </a:lnTo>
                  <a:lnTo>
                    <a:pt x="2377746" y="2443679"/>
                  </a:lnTo>
                  <a:lnTo>
                    <a:pt x="2380164" y="2444887"/>
                  </a:lnTo>
                  <a:lnTo>
                    <a:pt x="2381049" y="2445025"/>
                  </a:lnTo>
                  <a:lnTo>
                    <a:pt x="2381788" y="2444845"/>
                  </a:lnTo>
                  <a:lnTo>
                    <a:pt x="2382426" y="2444550"/>
                  </a:lnTo>
                  <a:lnTo>
                    <a:pt x="2383050" y="2444535"/>
                  </a:lnTo>
                  <a:lnTo>
                    <a:pt x="2383752" y="2445237"/>
                  </a:lnTo>
                  <a:lnTo>
                    <a:pt x="2385442" y="2447705"/>
                  </a:lnTo>
                  <a:lnTo>
                    <a:pt x="2385783" y="2449089"/>
                  </a:lnTo>
                  <a:lnTo>
                    <a:pt x="2384852" y="2450075"/>
                  </a:lnTo>
                  <a:lnTo>
                    <a:pt x="2385133" y="2451079"/>
                  </a:lnTo>
                  <a:lnTo>
                    <a:pt x="2385304" y="2451471"/>
                  </a:lnTo>
                  <a:lnTo>
                    <a:pt x="2384051" y="2452671"/>
                  </a:lnTo>
                  <a:lnTo>
                    <a:pt x="2380814" y="2454407"/>
                  </a:lnTo>
                  <a:lnTo>
                    <a:pt x="2379303" y="2454727"/>
                  </a:lnTo>
                  <a:lnTo>
                    <a:pt x="2377092" y="2454305"/>
                  </a:lnTo>
                  <a:lnTo>
                    <a:pt x="2372710" y="2452266"/>
                  </a:lnTo>
                  <a:lnTo>
                    <a:pt x="2370602" y="2452115"/>
                  </a:lnTo>
                  <a:lnTo>
                    <a:pt x="2371669" y="2453950"/>
                  </a:lnTo>
                  <a:lnTo>
                    <a:pt x="2374032" y="2455796"/>
                  </a:lnTo>
                  <a:lnTo>
                    <a:pt x="2375110" y="2457216"/>
                  </a:lnTo>
                  <a:lnTo>
                    <a:pt x="2375329" y="2458082"/>
                  </a:lnTo>
                  <a:lnTo>
                    <a:pt x="2375630" y="2460432"/>
                  </a:lnTo>
                  <a:lnTo>
                    <a:pt x="2375792" y="2460915"/>
                  </a:lnTo>
                  <a:lnTo>
                    <a:pt x="2376265" y="2461138"/>
                  </a:lnTo>
                  <a:lnTo>
                    <a:pt x="2376670" y="2461743"/>
                  </a:lnTo>
                  <a:lnTo>
                    <a:pt x="2376979" y="2462480"/>
                  </a:lnTo>
                  <a:lnTo>
                    <a:pt x="2377160" y="2463161"/>
                  </a:lnTo>
                  <a:lnTo>
                    <a:pt x="2376724" y="2463167"/>
                  </a:lnTo>
                  <a:lnTo>
                    <a:pt x="2375722" y="2463894"/>
                  </a:lnTo>
                  <a:lnTo>
                    <a:pt x="2376304" y="2465784"/>
                  </a:lnTo>
                  <a:lnTo>
                    <a:pt x="2374959" y="2467153"/>
                  </a:lnTo>
                  <a:lnTo>
                    <a:pt x="2373081" y="2468432"/>
                  </a:lnTo>
                  <a:lnTo>
                    <a:pt x="2372065" y="2470083"/>
                  </a:lnTo>
                  <a:lnTo>
                    <a:pt x="2375261" y="2469948"/>
                  </a:lnTo>
                  <a:lnTo>
                    <a:pt x="2374387" y="2472078"/>
                  </a:lnTo>
                  <a:lnTo>
                    <a:pt x="2374024" y="2473239"/>
                  </a:lnTo>
                  <a:lnTo>
                    <a:pt x="2374016" y="2474479"/>
                  </a:lnTo>
                  <a:lnTo>
                    <a:pt x="2374720" y="2476000"/>
                  </a:lnTo>
                  <a:lnTo>
                    <a:pt x="2375645" y="2475729"/>
                  </a:lnTo>
                  <a:lnTo>
                    <a:pt x="2376669" y="2474992"/>
                  </a:lnTo>
                  <a:lnTo>
                    <a:pt x="2377677" y="2475135"/>
                  </a:lnTo>
                  <a:lnTo>
                    <a:pt x="2378397" y="2476641"/>
                  </a:lnTo>
                  <a:lnTo>
                    <a:pt x="2377911" y="2477804"/>
                  </a:lnTo>
                  <a:lnTo>
                    <a:pt x="2376897" y="2478559"/>
                  </a:lnTo>
                  <a:lnTo>
                    <a:pt x="2376033" y="2478862"/>
                  </a:lnTo>
                  <a:lnTo>
                    <a:pt x="2374014" y="2478918"/>
                  </a:lnTo>
                  <a:lnTo>
                    <a:pt x="2373122" y="2479155"/>
                  </a:lnTo>
                  <a:lnTo>
                    <a:pt x="2372078" y="2479843"/>
                  </a:lnTo>
                  <a:lnTo>
                    <a:pt x="2371541" y="2480008"/>
                  </a:lnTo>
                  <a:lnTo>
                    <a:pt x="2371136" y="2480611"/>
                  </a:lnTo>
                  <a:lnTo>
                    <a:pt x="2371058" y="2481378"/>
                  </a:lnTo>
                  <a:lnTo>
                    <a:pt x="2370119" y="2482652"/>
                  </a:lnTo>
                  <a:lnTo>
                    <a:pt x="2369516" y="2484320"/>
                  </a:lnTo>
                  <a:lnTo>
                    <a:pt x="2369213" y="2486301"/>
                  </a:lnTo>
                  <a:lnTo>
                    <a:pt x="2369182" y="2488501"/>
                  </a:lnTo>
                  <a:lnTo>
                    <a:pt x="2368793" y="2489814"/>
                  </a:lnTo>
                  <a:lnTo>
                    <a:pt x="2366847" y="2493917"/>
                  </a:lnTo>
                  <a:lnTo>
                    <a:pt x="2366183" y="2495738"/>
                  </a:lnTo>
                  <a:lnTo>
                    <a:pt x="2365999" y="2496936"/>
                  </a:lnTo>
                  <a:lnTo>
                    <a:pt x="2365924" y="2497881"/>
                  </a:lnTo>
                  <a:lnTo>
                    <a:pt x="2365754" y="2498705"/>
                  </a:lnTo>
                  <a:lnTo>
                    <a:pt x="2365282" y="2499563"/>
                  </a:lnTo>
                  <a:lnTo>
                    <a:pt x="2364542" y="2500152"/>
                  </a:lnTo>
                  <a:lnTo>
                    <a:pt x="2362986" y="2500666"/>
                  </a:lnTo>
                  <a:lnTo>
                    <a:pt x="2361747" y="2502188"/>
                  </a:lnTo>
                  <a:lnTo>
                    <a:pt x="2360652" y="2503074"/>
                  </a:lnTo>
                  <a:lnTo>
                    <a:pt x="2360150" y="2503866"/>
                  </a:lnTo>
                  <a:lnTo>
                    <a:pt x="2360021" y="2504346"/>
                  </a:lnTo>
                  <a:lnTo>
                    <a:pt x="2359994" y="2504885"/>
                  </a:lnTo>
                  <a:lnTo>
                    <a:pt x="2360056" y="2506068"/>
                  </a:lnTo>
                  <a:lnTo>
                    <a:pt x="2359916" y="2506456"/>
                  </a:lnTo>
                  <a:lnTo>
                    <a:pt x="2359222" y="2507002"/>
                  </a:lnTo>
                  <a:lnTo>
                    <a:pt x="2359009" y="2507263"/>
                  </a:lnTo>
                  <a:lnTo>
                    <a:pt x="2357792" y="2511839"/>
                  </a:lnTo>
                  <a:lnTo>
                    <a:pt x="2357448" y="2514228"/>
                  </a:lnTo>
                  <a:lnTo>
                    <a:pt x="2357673" y="2515912"/>
                  </a:lnTo>
                  <a:lnTo>
                    <a:pt x="2358244" y="2518223"/>
                  </a:lnTo>
                  <a:lnTo>
                    <a:pt x="2357673" y="2520163"/>
                  </a:lnTo>
                  <a:lnTo>
                    <a:pt x="2354500" y="2524796"/>
                  </a:lnTo>
                  <a:lnTo>
                    <a:pt x="2353864" y="2526000"/>
                  </a:lnTo>
                  <a:lnTo>
                    <a:pt x="2353496" y="2526910"/>
                  </a:lnTo>
                  <a:lnTo>
                    <a:pt x="2353394" y="2528206"/>
                  </a:lnTo>
                  <a:lnTo>
                    <a:pt x="2353635" y="2528966"/>
                  </a:lnTo>
                  <a:lnTo>
                    <a:pt x="2353797" y="2529720"/>
                  </a:lnTo>
                  <a:lnTo>
                    <a:pt x="2353474" y="2531011"/>
                  </a:lnTo>
                  <a:lnTo>
                    <a:pt x="2352558" y="2532926"/>
                  </a:lnTo>
                  <a:lnTo>
                    <a:pt x="2352212" y="2534013"/>
                  </a:lnTo>
                  <a:lnTo>
                    <a:pt x="2352463" y="2534462"/>
                  </a:lnTo>
                  <a:lnTo>
                    <a:pt x="2353040" y="2534970"/>
                  </a:lnTo>
                  <a:lnTo>
                    <a:pt x="2352990" y="2536144"/>
                  </a:lnTo>
                  <a:lnTo>
                    <a:pt x="2352663" y="2537395"/>
                  </a:lnTo>
                  <a:lnTo>
                    <a:pt x="2352396" y="2538128"/>
                  </a:lnTo>
                  <a:lnTo>
                    <a:pt x="2349698" y="2540310"/>
                  </a:lnTo>
                  <a:lnTo>
                    <a:pt x="2343349" y="2537779"/>
                  </a:lnTo>
                  <a:lnTo>
                    <a:pt x="2340706" y="2539334"/>
                  </a:lnTo>
                  <a:lnTo>
                    <a:pt x="2341966" y="2540213"/>
                  </a:lnTo>
                  <a:lnTo>
                    <a:pt x="2344693" y="2541136"/>
                  </a:lnTo>
                  <a:lnTo>
                    <a:pt x="2345963" y="2542142"/>
                  </a:lnTo>
                  <a:lnTo>
                    <a:pt x="2344660" y="2544121"/>
                  </a:lnTo>
                  <a:lnTo>
                    <a:pt x="2339579" y="2543100"/>
                  </a:lnTo>
                  <a:lnTo>
                    <a:pt x="2337513" y="2543906"/>
                  </a:lnTo>
                  <a:lnTo>
                    <a:pt x="2342813" y="2545154"/>
                  </a:lnTo>
                  <a:lnTo>
                    <a:pt x="2344065" y="2546299"/>
                  </a:lnTo>
                  <a:lnTo>
                    <a:pt x="2346966" y="2552167"/>
                  </a:lnTo>
                  <a:lnTo>
                    <a:pt x="2347114" y="2553059"/>
                  </a:lnTo>
                  <a:lnTo>
                    <a:pt x="2347693" y="2554501"/>
                  </a:lnTo>
                  <a:lnTo>
                    <a:pt x="2347836" y="2555153"/>
                  </a:lnTo>
                  <a:lnTo>
                    <a:pt x="2347706" y="2556436"/>
                  </a:lnTo>
                  <a:lnTo>
                    <a:pt x="2347017" y="2558578"/>
                  </a:lnTo>
                  <a:lnTo>
                    <a:pt x="2346879" y="2559657"/>
                  </a:lnTo>
                  <a:lnTo>
                    <a:pt x="2346534" y="2561232"/>
                  </a:lnTo>
                  <a:lnTo>
                    <a:pt x="2344884" y="2564373"/>
                  </a:lnTo>
                  <a:lnTo>
                    <a:pt x="2344324" y="2566709"/>
                  </a:lnTo>
                  <a:lnTo>
                    <a:pt x="2343093" y="2569125"/>
                  </a:lnTo>
                  <a:lnTo>
                    <a:pt x="2343181" y="2570357"/>
                  </a:lnTo>
                  <a:lnTo>
                    <a:pt x="2343522" y="2570959"/>
                  </a:lnTo>
                  <a:lnTo>
                    <a:pt x="2343961" y="2571384"/>
                  </a:lnTo>
                  <a:lnTo>
                    <a:pt x="2344330" y="2572069"/>
                  </a:lnTo>
                  <a:lnTo>
                    <a:pt x="2344839" y="2574393"/>
                  </a:lnTo>
                  <a:lnTo>
                    <a:pt x="2344969" y="2576537"/>
                  </a:lnTo>
                  <a:lnTo>
                    <a:pt x="2344754" y="2578516"/>
                  </a:lnTo>
                  <a:lnTo>
                    <a:pt x="2344226" y="2580332"/>
                  </a:lnTo>
                  <a:lnTo>
                    <a:pt x="2343960" y="2580740"/>
                  </a:lnTo>
                  <a:lnTo>
                    <a:pt x="2343340" y="2581315"/>
                  </a:lnTo>
                  <a:lnTo>
                    <a:pt x="2343162" y="2581791"/>
                  </a:lnTo>
                  <a:lnTo>
                    <a:pt x="2343107" y="2582686"/>
                  </a:lnTo>
                  <a:lnTo>
                    <a:pt x="2343235" y="2583011"/>
                  </a:lnTo>
                  <a:lnTo>
                    <a:pt x="2343429" y="2583284"/>
                  </a:lnTo>
                  <a:lnTo>
                    <a:pt x="2343717" y="2584757"/>
                  </a:lnTo>
                  <a:lnTo>
                    <a:pt x="2343960" y="2585576"/>
                  </a:lnTo>
                  <a:lnTo>
                    <a:pt x="2344138" y="2586556"/>
                  </a:lnTo>
                  <a:lnTo>
                    <a:pt x="2344098" y="2587792"/>
                  </a:lnTo>
                  <a:lnTo>
                    <a:pt x="2343377" y="2589484"/>
                  </a:lnTo>
                  <a:lnTo>
                    <a:pt x="2341166" y="2590709"/>
                  </a:lnTo>
                  <a:lnTo>
                    <a:pt x="2340488" y="2592440"/>
                  </a:lnTo>
                  <a:lnTo>
                    <a:pt x="2340725" y="2592562"/>
                  </a:lnTo>
                  <a:lnTo>
                    <a:pt x="2341287" y="2593095"/>
                  </a:lnTo>
                  <a:lnTo>
                    <a:pt x="2341012" y="2593658"/>
                  </a:lnTo>
                  <a:lnTo>
                    <a:pt x="2340849" y="2594267"/>
                  </a:lnTo>
                  <a:lnTo>
                    <a:pt x="2340730" y="2594879"/>
                  </a:lnTo>
                  <a:lnTo>
                    <a:pt x="2340581" y="2595421"/>
                  </a:lnTo>
                  <a:lnTo>
                    <a:pt x="2341380" y="2596071"/>
                  </a:lnTo>
                  <a:lnTo>
                    <a:pt x="2340144" y="2596377"/>
                  </a:lnTo>
                  <a:lnTo>
                    <a:pt x="2339130" y="2597101"/>
                  </a:lnTo>
                  <a:lnTo>
                    <a:pt x="2338889" y="2598085"/>
                  </a:lnTo>
                  <a:lnTo>
                    <a:pt x="2339041" y="2598240"/>
                  </a:lnTo>
                  <a:lnTo>
                    <a:pt x="2339953" y="2599166"/>
                  </a:lnTo>
                  <a:lnTo>
                    <a:pt x="2339223" y="2600432"/>
                  </a:lnTo>
                  <a:lnTo>
                    <a:pt x="2338407" y="2602318"/>
                  </a:lnTo>
                  <a:lnTo>
                    <a:pt x="2338218" y="2603935"/>
                  </a:lnTo>
                  <a:lnTo>
                    <a:pt x="2339367" y="2604397"/>
                  </a:lnTo>
                  <a:lnTo>
                    <a:pt x="2338936" y="2606102"/>
                  </a:lnTo>
                  <a:lnTo>
                    <a:pt x="2338688" y="2606656"/>
                  </a:lnTo>
                  <a:lnTo>
                    <a:pt x="2338948" y="2607034"/>
                  </a:lnTo>
                  <a:lnTo>
                    <a:pt x="2339215" y="2607754"/>
                  </a:lnTo>
                  <a:lnTo>
                    <a:pt x="2339480" y="2608119"/>
                  </a:lnTo>
                  <a:lnTo>
                    <a:pt x="2339306" y="2610793"/>
                  </a:lnTo>
                  <a:lnTo>
                    <a:pt x="2340877" y="2615792"/>
                  </a:lnTo>
                  <a:lnTo>
                    <a:pt x="2340189" y="2617852"/>
                  </a:lnTo>
                  <a:lnTo>
                    <a:pt x="2341228" y="2620217"/>
                  </a:lnTo>
                  <a:lnTo>
                    <a:pt x="2341378" y="2621131"/>
                  </a:lnTo>
                  <a:lnTo>
                    <a:pt x="2341304" y="2622421"/>
                  </a:lnTo>
                  <a:lnTo>
                    <a:pt x="2340855" y="2624624"/>
                  </a:lnTo>
                  <a:lnTo>
                    <a:pt x="2340768" y="2625653"/>
                  </a:lnTo>
                  <a:lnTo>
                    <a:pt x="2340640" y="2626358"/>
                  </a:lnTo>
                  <a:lnTo>
                    <a:pt x="2339969" y="2628137"/>
                  </a:lnTo>
                  <a:lnTo>
                    <a:pt x="2339743" y="2629041"/>
                  </a:lnTo>
                  <a:lnTo>
                    <a:pt x="2340527" y="2634438"/>
                  </a:lnTo>
                  <a:lnTo>
                    <a:pt x="2340430" y="2635373"/>
                  </a:lnTo>
                  <a:lnTo>
                    <a:pt x="2339761" y="2635816"/>
                  </a:lnTo>
                  <a:lnTo>
                    <a:pt x="2339170" y="2636397"/>
                  </a:lnTo>
                  <a:lnTo>
                    <a:pt x="2339343" y="2637667"/>
                  </a:lnTo>
                  <a:lnTo>
                    <a:pt x="2340074" y="2639899"/>
                  </a:lnTo>
                  <a:lnTo>
                    <a:pt x="2340075" y="2640699"/>
                  </a:lnTo>
                  <a:lnTo>
                    <a:pt x="2340117" y="2641323"/>
                  </a:lnTo>
                  <a:lnTo>
                    <a:pt x="2340364" y="2642062"/>
                  </a:lnTo>
                  <a:lnTo>
                    <a:pt x="2340966" y="2643224"/>
                  </a:lnTo>
                  <a:lnTo>
                    <a:pt x="2341449" y="2643733"/>
                  </a:lnTo>
                  <a:lnTo>
                    <a:pt x="2341970" y="2643979"/>
                  </a:lnTo>
                  <a:lnTo>
                    <a:pt x="2342478" y="2644393"/>
                  </a:lnTo>
                  <a:lnTo>
                    <a:pt x="2342918" y="2645401"/>
                  </a:lnTo>
                  <a:lnTo>
                    <a:pt x="2341706" y="2645936"/>
                  </a:lnTo>
                  <a:lnTo>
                    <a:pt x="2341368" y="2647234"/>
                  </a:lnTo>
                  <a:lnTo>
                    <a:pt x="2341367" y="2648752"/>
                  </a:lnTo>
                  <a:lnTo>
                    <a:pt x="2341171" y="2649922"/>
                  </a:lnTo>
                  <a:lnTo>
                    <a:pt x="2341560" y="2650988"/>
                  </a:lnTo>
                  <a:lnTo>
                    <a:pt x="2341943" y="2651203"/>
                  </a:lnTo>
                  <a:lnTo>
                    <a:pt x="2342370" y="2651243"/>
                  </a:lnTo>
                  <a:lnTo>
                    <a:pt x="2342910" y="2651799"/>
                  </a:lnTo>
                  <a:lnTo>
                    <a:pt x="2343243" y="2652481"/>
                  </a:lnTo>
                  <a:lnTo>
                    <a:pt x="2343325" y="2652958"/>
                  </a:lnTo>
                  <a:lnTo>
                    <a:pt x="2343366" y="2653485"/>
                  </a:lnTo>
                  <a:lnTo>
                    <a:pt x="2343575" y="2654321"/>
                  </a:lnTo>
                  <a:lnTo>
                    <a:pt x="2343390" y="2654461"/>
                  </a:lnTo>
                  <a:lnTo>
                    <a:pt x="2343236" y="2655305"/>
                  </a:lnTo>
                  <a:lnTo>
                    <a:pt x="2343317" y="2656248"/>
                  </a:lnTo>
                  <a:lnTo>
                    <a:pt x="2343821" y="2656681"/>
                  </a:lnTo>
                  <a:lnTo>
                    <a:pt x="2344257" y="2656870"/>
                  </a:lnTo>
                  <a:lnTo>
                    <a:pt x="2344664" y="2657377"/>
                  </a:lnTo>
                  <a:lnTo>
                    <a:pt x="2345005" y="2658046"/>
                  </a:lnTo>
                  <a:lnTo>
                    <a:pt x="2345264" y="2658739"/>
                  </a:lnTo>
                  <a:lnTo>
                    <a:pt x="2344807" y="2659610"/>
                  </a:lnTo>
                  <a:lnTo>
                    <a:pt x="2344734" y="2660318"/>
                  </a:lnTo>
                  <a:lnTo>
                    <a:pt x="2345088" y="2663251"/>
                  </a:lnTo>
                  <a:lnTo>
                    <a:pt x="2345327" y="2663629"/>
                  </a:lnTo>
                  <a:lnTo>
                    <a:pt x="2345589" y="2663927"/>
                  </a:lnTo>
                  <a:lnTo>
                    <a:pt x="2345800" y="2664746"/>
                  </a:lnTo>
                  <a:lnTo>
                    <a:pt x="2345934" y="2666190"/>
                  </a:lnTo>
                  <a:lnTo>
                    <a:pt x="2345854" y="2667138"/>
                  </a:lnTo>
                  <a:lnTo>
                    <a:pt x="2345492" y="2668015"/>
                  </a:lnTo>
                  <a:lnTo>
                    <a:pt x="2344801" y="2669240"/>
                  </a:lnTo>
                  <a:lnTo>
                    <a:pt x="2345696" y="2669807"/>
                  </a:lnTo>
                  <a:lnTo>
                    <a:pt x="2346761" y="2669164"/>
                  </a:lnTo>
                  <a:lnTo>
                    <a:pt x="2347834" y="2668166"/>
                  </a:lnTo>
                  <a:lnTo>
                    <a:pt x="2348758" y="2667630"/>
                  </a:lnTo>
                  <a:lnTo>
                    <a:pt x="2349120" y="2667897"/>
                  </a:lnTo>
                  <a:lnTo>
                    <a:pt x="2348538" y="2668516"/>
                  </a:lnTo>
                  <a:lnTo>
                    <a:pt x="2347745" y="2669065"/>
                  </a:lnTo>
                  <a:lnTo>
                    <a:pt x="2347458" y="2669155"/>
                  </a:lnTo>
                  <a:lnTo>
                    <a:pt x="2346573" y="2670898"/>
                  </a:lnTo>
                  <a:lnTo>
                    <a:pt x="2346068" y="2671477"/>
                  </a:lnTo>
                  <a:lnTo>
                    <a:pt x="2345254" y="2671539"/>
                  </a:lnTo>
                  <a:lnTo>
                    <a:pt x="2345555" y="2672599"/>
                  </a:lnTo>
                  <a:lnTo>
                    <a:pt x="2345715" y="2673007"/>
                  </a:lnTo>
                  <a:lnTo>
                    <a:pt x="2343734" y="2673962"/>
                  </a:lnTo>
                  <a:lnTo>
                    <a:pt x="2343095" y="2674715"/>
                  </a:lnTo>
                  <a:lnTo>
                    <a:pt x="2343457" y="2676062"/>
                  </a:lnTo>
                  <a:lnTo>
                    <a:pt x="2342992" y="2677382"/>
                  </a:lnTo>
                  <a:lnTo>
                    <a:pt x="2342738" y="2677936"/>
                  </a:lnTo>
                  <a:lnTo>
                    <a:pt x="2342385" y="2678333"/>
                  </a:lnTo>
                  <a:lnTo>
                    <a:pt x="2342958" y="2678954"/>
                  </a:lnTo>
                  <a:lnTo>
                    <a:pt x="2343132" y="2679668"/>
                  </a:lnTo>
                  <a:lnTo>
                    <a:pt x="2342959" y="2680459"/>
                  </a:lnTo>
                  <a:lnTo>
                    <a:pt x="2342476" y="2681300"/>
                  </a:lnTo>
                  <a:lnTo>
                    <a:pt x="2342904" y="2682046"/>
                  </a:lnTo>
                  <a:lnTo>
                    <a:pt x="2343048" y="2682917"/>
                  </a:lnTo>
                  <a:lnTo>
                    <a:pt x="2343008" y="2685013"/>
                  </a:lnTo>
                  <a:lnTo>
                    <a:pt x="2342900" y="2685039"/>
                  </a:lnTo>
                  <a:lnTo>
                    <a:pt x="2342654" y="2685406"/>
                  </a:lnTo>
                  <a:lnTo>
                    <a:pt x="2342410" y="2685973"/>
                  </a:lnTo>
                  <a:lnTo>
                    <a:pt x="2342292" y="2686593"/>
                  </a:lnTo>
                  <a:lnTo>
                    <a:pt x="2342468" y="2687121"/>
                  </a:lnTo>
                  <a:lnTo>
                    <a:pt x="2343266" y="2688228"/>
                  </a:lnTo>
                  <a:lnTo>
                    <a:pt x="2343468" y="2688794"/>
                  </a:lnTo>
                  <a:lnTo>
                    <a:pt x="2343404" y="2689595"/>
                  </a:lnTo>
                  <a:lnTo>
                    <a:pt x="2342962" y="2691447"/>
                  </a:lnTo>
                  <a:lnTo>
                    <a:pt x="2342820" y="2692539"/>
                  </a:lnTo>
                  <a:lnTo>
                    <a:pt x="2342699" y="2696330"/>
                  </a:lnTo>
                  <a:lnTo>
                    <a:pt x="2342610" y="2697011"/>
                  </a:lnTo>
                  <a:lnTo>
                    <a:pt x="2339888" y="2698480"/>
                  </a:lnTo>
                  <a:lnTo>
                    <a:pt x="2336207" y="2697950"/>
                  </a:lnTo>
                  <a:lnTo>
                    <a:pt x="2332877" y="2698162"/>
                  </a:lnTo>
                  <a:lnTo>
                    <a:pt x="2331188" y="2701822"/>
                  </a:lnTo>
                  <a:lnTo>
                    <a:pt x="2332901" y="2700824"/>
                  </a:lnTo>
                  <a:lnTo>
                    <a:pt x="2341387" y="2699859"/>
                  </a:lnTo>
                  <a:lnTo>
                    <a:pt x="2342101" y="2700383"/>
                  </a:lnTo>
                  <a:lnTo>
                    <a:pt x="2342104" y="2700769"/>
                  </a:lnTo>
                  <a:lnTo>
                    <a:pt x="2341984" y="2702398"/>
                  </a:lnTo>
                  <a:lnTo>
                    <a:pt x="2341990" y="2703060"/>
                  </a:lnTo>
                  <a:lnTo>
                    <a:pt x="2342157" y="2703684"/>
                  </a:lnTo>
                  <a:lnTo>
                    <a:pt x="2342319" y="2704026"/>
                  </a:lnTo>
                  <a:lnTo>
                    <a:pt x="2342334" y="2704447"/>
                  </a:lnTo>
                  <a:lnTo>
                    <a:pt x="2342058" y="2705286"/>
                  </a:lnTo>
                  <a:lnTo>
                    <a:pt x="2344495" y="2705552"/>
                  </a:lnTo>
                  <a:lnTo>
                    <a:pt x="2346808" y="2706655"/>
                  </a:lnTo>
                  <a:lnTo>
                    <a:pt x="2348549" y="2708863"/>
                  </a:lnTo>
                  <a:lnTo>
                    <a:pt x="2349268" y="2712449"/>
                  </a:lnTo>
                  <a:lnTo>
                    <a:pt x="2349148" y="2714557"/>
                  </a:lnTo>
                  <a:lnTo>
                    <a:pt x="2348776" y="2716113"/>
                  </a:lnTo>
                  <a:lnTo>
                    <a:pt x="2347526" y="2719270"/>
                  </a:lnTo>
                  <a:lnTo>
                    <a:pt x="2346818" y="2720105"/>
                  </a:lnTo>
                  <a:lnTo>
                    <a:pt x="2346599" y="2720455"/>
                  </a:lnTo>
                  <a:lnTo>
                    <a:pt x="2346498" y="2720955"/>
                  </a:lnTo>
                  <a:lnTo>
                    <a:pt x="2346827" y="2721672"/>
                  </a:lnTo>
                  <a:lnTo>
                    <a:pt x="2346850" y="2722275"/>
                  </a:lnTo>
                  <a:lnTo>
                    <a:pt x="2346583" y="2723722"/>
                  </a:lnTo>
                  <a:lnTo>
                    <a:pt x="2346139" y="2725343"/>
                  </a:lnTo>
                  <a:lnTo>
                    <a:pt x="2349582" y="2720935"/>
                  </a:lnTo>
                  <a:lnTo>
                    <a:pt x="2351371" y="2719514"/>
                  </a:lnTo>
                  <a:lnTo>
                    <a:pt x="2353744" y="2719811"/>
                  </a:lnTo>
                  <a:lnTo>
                    <a:pt x="2357389" y="2722470"/>
                  </a:lnTo>
                  <a:lnTo>
                    <a:pt x="2359329" y="2724333"/>
                  </a:lnTo>
                  <a:lnTo>
                    <a:pt x="2360906" y="2726271"/>
                  </a:lnTo>
                  <a:lnTo>
                    <a:pt x="2361894" y="2728713"/>
                  </a:lnTo>
                  <a:lnTo>
                    <a:pt x="2363074" y="2734588"/>
                  </a:lnTo>
                  <a:lnTo>
                    <a:pt x="2364013" y="2736658"/>
                  </a:lnTo>
                  <a:lnTo>
                    <a:pt x="2366176" y="2737817"/>
                  </a:lnTo>
                  <a:lnTo>
                    <a:pt x="2368247" y="2737035"/>
                  </a:lnTo>
                  <a:lnTo>
                    <a:pt x="2372045" y="2734115"/>
                  </a:lnTo>
                  <a:lnTo>
                    <a:pt x="2371875" y="2733407"/>
                  </a:lnTo>
                  <a:lnTo>
                    <a:pt x="2371781" y="2733113"/>
                  </a:lnTo>
                  <a:lnTo>
                    <a:pt x="2371609" y="2732711"/>
                  </a:lnTo>
                  <a:lnTo>
                    <a:pt x="2372260" y="2731829"/>
                  </a:lnTo>
                  <a:lnTo>
                    <a:pt x="2372878" y="2729851"/>
                  </a:lnTo>
                  <a:lnTo>
                    <a:pt x="2373429" y="2728844"/>
                  </a:lnTo>
                  <a:lnTo>
                    <a:pt x="2374154" y="2728163"/>
                  </a:lnTo>
                  <a:lnTo>
                    <a:pt x="2375967" y="2727327"/>
                  </a:lnTo>
                  <a:lnTo>
                    <a:pt x="2376839" y="2727150"/>
                  </a:lnTo>
                  <a:lnTo>
                    <a:pt x="2376631" y="2728047"/>
                  </a:lnTo>
                  <a:lnTo>
                    <a:pt x="2376303" y="2728726"/>
                  </a:lnTo>
                  <a:lnTo>
                    <a:pt x="2375870" y="2729201"/>
                  </a:lnTo>
                  <a:lnTo>
                    <a:pt x="2375350" y="2729514"/>
                  </a:lnTo>
                  <a:lnTo>
                    <a:pt x="2375844" y="2730654"/>
                  </a:lnTo>
                  <a:lnTo>
                    <a:pt x="2375715" y="2731831"/>
                  </a:lnTo>
                  <a:lnTo>
                    <a:pt x="2375369" y="2733252"/>
                  </a:lnTo>
                  <a:lnTo>
                    <a:pt x="2375215" y="2735110"/>
                  </a:lnTo>
                  <a:lnTo>
                    <a:pt x="2375559" y="2736699"/>
                  </a:lnTo>
                  <a:lnTo>
                    <a:pt x="2376219" y="2737535"/>
                  </a:lnTo>
                  <a:lnTo>
                    <a:pt x="2376905" y="2738151"/>
                  </a:lnTo>
                  <a:lnTo>
                    <a:pt x="2377310" y="2739121"/>
                  </a:lnTo>
                  <a:lnTo>
                    <a:pt x="2377144" y="2740526"/>
                  </a:lnTo>
                  <a:lnTo>
                    <a:pt x="2376516" y="2742012"/>
                  </a:lnTo>
                  <a:lnTo>
                    <a:pt x="2375700" y="2743194"/>
                  </a:lnTo>
                  <a:lnTo>
                    <a:pt x="2374126" y="2744415"/>
                  </a:lnTo>
                  <a:lnTo>
                    <a:pt x="2373471" y="2746065"/>
                  </a:lnTo>
                  <a:lnTo>
                    <a:pt x="2372433" y="2749445"/>
                  </a:lnTo>
                  <a:lnTo>
                    <a:pt x="2371894" y="2752587"/>
                  </a:lnTo>
                  <a:lnTo>
                    <a:pt x="2373301" y="2758460"/>
                  </a:lnTo>
                  <a:lnTo>
                    <a:pt x="2372727" y="2762797"/>
                  </a:lnTo>
                  <a:lnTo>
                    <a:pt x="2373581" y="2766254"/>
                  </a:lnTo>
                  <a:lnTo>
                    <a:pt x="2373712" y="2767643"/>
                  </a:lnTo>
                  <a:lnTo>
                    <a:pt x="2373135" y="2769357"/>
                  </a:lnTo>
                  <a:lnTo>
                    <a:pt x="2371597" y="2771777"/>
                  </a:lnTo>
                  <a:lnTo>
                    <a:pt x="2371209" y="2773750"/>
                  </a:lnTo>
                  <a:lnTo>
                    <a:pt x="2371233" y="2774335"/>
                  </a:lnTo>
                  <a:lnTo>
                    <a:pt x="2371582" y="2776200"/>
                  </a:lnTo>
                  <a:lnTo>
                    <a:pt x="2371687" y="2777138"/>
                  </a:lnTo>
                  <a:lnTo>
                    <a:pt x="2371623" y="2778592"/>
                  </a:lnTo>
                  <a:lnTo>
                    <a:pt x="2371205" y="2781102"/>
                  </a:lnTo>
                  <a:lnTo>
                    <a:pt x="2371008" y="2784080"/>
                  </a:lnTo>
                  <a:lnTo>
                    <a:pt x="2370213" y="2788847"/>
                  </a:lnTo>
                  <a:lnTo>
                    <a:pt x="2369859" y="2790276"/>
                  </a:lnTo>
                  <a:lnTo>
                    <a:pt x="2370281" y="2791068"/>
                  </a:lnTo>
                  <a:lnTo>
                    <a:pt x="2371407" y="2786342"/>
                  </a:lnTo>
                  <a:lnTo>
                    <a:pt x="2372273" y="2783819"/>
                  </a:lnTo>
                  <a:lnTo>
                    <a:pt x="2373322" y="2782695"/>
                  </a:lnTo>
                  <a:lnTo>
                    <a:pt x="2373312" y="2782061"/>
                  </a:lnTo>
                  <a:lnTo>
                    <a:pt x="2374114" y="2778194"/>
                  </a:lnTo>
                  <a:lnTo>
                    <a:pt x="2374637" y="2777481"/>
                  </a:lnTo>
                  <a:lnTo>
                    <a:pt x="2375290" y="2776936"/>
                  </a:lnTo>
                  <a:lnTo>
                    <a:pt x="2375626" y="2776253"/>
                  </a:lnTo>
                  <a:lnTo>
                    <a:pt x="2375203" y="2775102"/>
                  </a:lnTo>
                  <a:lnTo>
                    <a:pt x="2376680" y="2772420"/>
                  </a:lnTo>
                  <a:lnTo>
                    <a:pt x="2376977" y="2771378"/>
                  </a:lnTo>
                  <a:lnTo>
                    <a:pt x="2377001" y="2770369"/>
                  </a:lnTo>
                  <a:lnTo>
                    <a:pt x="2376790" y="2767456"/>
                  </a:lnTo>
                  <a:lnTo>
                    <a:pt x="2376623" y="2766854"/>
                  </a:lnTo>
                  <a:lnTo>
                    <a:pt x="2376234" y="2765946"/>
                  </a:lnTo>
                  <a:lnTo>
                    <a:pt x="2376142" y="2759015"/>
                  </a:lnTo>
                  <a:lnTo>
                    <a:pt x="2376257" y="2756705"/>
                  </a:lnTo>
                  <a:lnTo>
                    <a:pt x="2376190" y="2755692"/>
                  </a:lnTo>
                  <a:lnTo>
                    <a:pt x="2375774" y="2754553"/>
                  </a:lnTo>
                  <a:lnTo>
                    <a:pt x="2375560" y="2753670"/>
                  </a:lnTo>
                  <a:lnTo>
                    <a:pt x="2375402" y="2752233"/>
                  </a:lnTo>
                  <a:lnTo>
                    <a:pt x="2375340" y="2750743"/>
                  </a:lnTo>
                  <a:lnTo>
                    <a:pt x="2375397" y="2749702"/>
                  </a:lnTo>
                  <a:lnTo>
                    <a:pt x="2376284" y="2747150"/>
                  </a:lnTo>
                  <a:lnTo>
                    <a:pt x="2378813" y="2742937"/>
                  </a:lnTo>
                  <a:lnTo>
                    <a:pt x="2379690" y="2740517"/>
                  </a:lnTo>
                  <a:lnTo>
                    <a:pt x="2379292" y="2739360"/>
                  </a:lnTo>
                  <a:lnTo>
                    <a:pt x="2379128" y="2737609"/>
                  </a:lnTo>
                  <a:lnTo>
                    <a:pt x="2379341" y="2736015"/>
                  </a:lnTo>
                  <a:lnTo>
                    <a:pt x="2380080" y="2735288"/>
                  </a:lnTo>
                  <a:lnTo>
                    <a:pt x="2380602" y="2734600"/>
                  </a:lnTo>
                  <a:lnTo>
                    <a:pt x="2379955" y="2733081"/>
                  </a:lnTo>
                  <a:lnTo>
                    <a:pt x="2378962" y="2731364"/>
                  </a:lnTo>
                  <a:lnTo>
                    <a:pt x="2378466" y="2730069"/>
                  </a:lnTo>
                  <a:lnTo>
                    <a:pt x="2380306" y="2731016"/>
                  </a:lnTo>
                  <a:lnTo>
                    <a:pt x="2381942" y="2731135"/>
                  </a:lnTo>
                  <a:lnTo>
                    <a:pt x="2385321" y="2730598"/>
                  </a:lnTo>
                  <a:lnTo>
                    <a:pt x="2395269" y="2731723"/>
                  </a:lnTo>
                  <a:lnTo>
                    <a:pt x="2396189" y="2731611"/>
                  </a:lnTo>
                  <a:lnTo>
                    <a:pt x="2396779" y="2731162"/>
                  </a:lnTo>
                  <a:lnTo>
                    <a:pt x="2397880" y="2729642"/>
                  </a:lnTo>
                  <a:lnTo>
                    <a:pt x="2398737" y="2729114"/>
                  </a:lnTo>
                  <a:lnTo>
                    <a:pt x="2399557" y="2729276"/>
                  </a:lnTo>
                  <a:lnTo>
                    <a:pt x="2400371" y="2729687"/>
                  </a:lnTo>
                  <a:lnTo>
                    <a:pt x="2401201" y="2729892"/>
                  </a:lnTo>
                  <a:lnTo>
                    <a:pt x="2402078" y="2729532"/>
                  </a:lnTo>
                  <a:lnTo>
                    <a:pt x="2403535" y="2727993"/>
                  </a:lnTo>
                  <a:lnTo>
                    <a:pt x="2404394" y="2727503"/>
                  </a:lnTo>
                  <a:lnTo>
                    <a:pt x="2405923" y="2727631"/>
                  </a:lnTo>
                  <a:lnTo>
                    <a:pt x="2412711" y="2730067"/>
                  </a:lnTo>
                  <a:lnTo>
                    <a:pt x="2413680" y="2730209"/>
                  </a:lnTo>
                  <a:lnTo>
                    <a:pt x="2414947" y="2729253"/>
                  </a:lnTo>
                  <a:lnTo>
                    <a:pt x="2417003" y="2728922"/>
                  </a:lnTo>
                  <a:lnTo>
                    <a:pt x="2417649" y="2729089"/>
                  </a:lnTo>
                  <a:lnTo>
                    <a:pt x="2418377" y="2730847"/>
                  </a:lnTo>
                  <a:lnTo>
                    <a:pt x="2418575" y="2733053"/>
                  </a:lnTo>
                  <a:lnTo>
                    <a:pt x="2419079" y="2734930"/>
                  </a:lnTo>
                  <a:lnTo>
                    <a:pt x="2420725" y="2735644"/>
                  </a:lnTo>
                  <a:lnTo>
                    <a:pt x="2421604" y="2735816"/>
                  </a:lnTo>
                  <a:lnTo>
                    <a:pt x="2422296" y="2736123"/>
                  </a:lnTo>
                  <a:lnTo>
                    <a:pt x="2422922" y="2736067"/>
                  </a:lnTo>
                  <a:lnTo>
                    <a:pt x="2423606" y="2735151"/>
                  </a:lnTo>
                  <a:lnTo>
                    <a:pt x="2425011" y="2731798"/>
                  </a:lnTo>
                  <a:lnTo>
                    <a:pt x="2425519" y="2730918"/>
                  </a:lnTo>
                  <a:lnTo>
                    <a:pt x="2426658" y="2729898"/>
                  </a:lnTo>
                  <a:lnTo>
                    <a:pt x="2431816" y="2728805"/>
                  </a:lnTo>
                  <a:lnTo>
                    <a:pt x="2433132" y="2728826"/>
                  </a:lnTo>
                  <a:lnTo>
                    <a:pt x="2434400" y="2729502"/>
                  </a:lnTo>
                  <a:lnTo>
                    <a:pt x="2435593" y="2731111"/>
                  </a:lnTo>
                  <a:lnTo>
                    <a:pt x="2436401" y="2731066"/>
                  </a:lnTo>
                  <a:lnTo>
                    <a:pt x="2436640" y="2733057"/>
                  </a:lnTo>
                  <a:lnTo>
                    <a:pt x="2437995" y="2737673"/>
                  </a:lnTo>
                  <a:lnTo>
                    <a:pt x="2438189" y="2738831"/>
                  </a:lnTo>
                  <a:lnTo>
                    <a:pt x="2437848" y="2740361"/>
                  </a:lnTo>
                  <a:lnTo>
                    <a:pt x="2437881" y="2742408"/>
                  </a:lnTo>
                  <a:lnTo>
                    <a:pt x="2438426" y="2746684"/>
                  </a:lnTo>
                  <a:lnTo>
                    <a:pt x="2438672" y="2747701"/>
                  </a:lnTo>
                  <a:lnTo>
                    <a:pt x="2439265" y="2749520"/>
                  </a:lnTo>
                  <a:lnTo>
                    <a:pt x="2439431" y="2750760"/>
                  </a:lnTo>
                  <a:lnTo>
                    <a:pt x="2439246" y="2753374"/>
                  </a:lnTo>
                  <a:lnTo>
                    <a:pt x="2439248" y="2754494"/>
                  </a:lnTo>
                  <a:lnTo>
                    <a:pt x="2439629" y="2756165"/>
                  </a:lnTo>
                  <a:lnTo>
                    <a:pt x="2441299" y="2760070"/>
                  </a:lnTo>
                  <a:lnTo>
                    <a:pt x="2444323" y="2765785"/>
                  </a:lnTo>
                  <a:lnTo>
                    <a:pt x="2445050" y="2769720"/>
                  </a:lnTo>
                  <a:lnTo>
                    <a:pt x="2445704" y="2771749"/>
                  </a:lnTo>
                  <a:lnTo>
                    <a:pt x="2446447" y="2773488"/>
                  </a:lnTo>
                  <a:lnTo>
                    <a:pt x="2448816" y="2777460"/>
                  </a:lnTo>
                  <a:lnTo>
                    <a:pt x="2449465" y="2779182"/>
                  </a:lnTo>
                  <a:lnTo>
                    <a:pt x="2449814" y="2781575"/>
                  </a:lnTo>
                  <a:lnTo>
                    <a:pt x="2450358" y="2783178"/>
                  </a:lnTo>
                  <a:lnTo>
                    <a:pt x="2452148" y="2785979"/>
                  </a:lnTo>
                  <a:lnTo>
                    <a:pt x="2452066" y="2787104"/>
                  </a:lnTo>
                  <a:lnTo>
                    <a:pt x="2453118" y="2789138"/>
                  </a:lnTo>
                  <a:lnTo>
                    <a:pt x="2453644" y="2789916"/>
                  </a:lnTo>
                  <a:lnTo>
                    <a:pt x="2454308" y="2790636"/>
                  </a:lnTo>
                  <a:lnTo>
                    <a:pt x="2455967" y="2791736"/>
                  </a:lnTo>
                  <a:lnTo>
                    <a:pt x="2456732" y="2792414"/>
                  </a:lnTo>
                  <a:lnTo>
                    <a:pt x="2457230" y="2793447"/>
                  </a:lnTo>
                  <a:lnTo>
                    <a:pt x="2456469" y="2794426"/>
                  </a:lnTo>
                  <a:lnTo>
                    <a:pt x="2456647" y="2795246"/>
                  </a:lnTo>
                  <a:lnTo>
                    <a:pt x="2457282" y="2796101"/>
                  </a:lnTo>
                  <a:lnTo>
                    <a:pt x="2457883" y="2797198"/>
                  </a:lnTo>
                  <a:lnTo>
                    <a:pt x="2458417" y="2799992"/>
                  </a:lnTo>
                  <a:lnTo>
                    <a:pt x="2458788" y="2801138"/>
                  </a:lnTo>
                  <a:lnTo>
                    <a:pt x="2459475" y="2801576"/>
                  </a:lnTo>
                  <a:lnTo>
                    <a:pt x="2460459" y="2802681"/>
                  </a:lnTo>
                  <a:lnTo>
                    <a:pt x="2460851" y="2805426"/>
                  </a:lnTo>
                  <a:lnTo>
                    <a:pt x="2461088" y="2811171"/>
                  </a:lnTo>
                  <a:lnTo>
                    <a:pt x="2463949" y="2820461"/>
                  </a:lnTo>
                  <a:lnTo>
                    <a:pt x="2464775" y="2825334"/>
                  </a:lnTo>
                  <a:lnTo>
                    <a:pt x="2463280" y="2828320"/>
                  </a:lnTo>
                  <a:lnTo>
                    <a:pt x="2464112" y="2828776"/>
                  </a:lnTo>
                  <a:lnTo>
                    <a:pt x="2465792" y="2828964"/>
                  </a:lnTo>
                  <a:lnTo>
                    <a:pt x="2466573" y="2829609"/>
                  </a:lnTo>
                  <a:lnTo>
                    <a:pt x="2467040" y="2830616"/>
                  </a:lnTo>
                  <a:lnTo>
                    <a:pt x="2467706" y="2833125"/>
                  </a:lnTo>
                  <a:lnTo>
                    <a:pt x="2469055" y="2835960"/>
                  </a:lnTo>
                  <a:lnTo>
                    <a:pt x="2470878" y="2841271"/>
                  </a:lnTo>
                  <a:lnTo>
                    <a:pt x="2472419" y="2843413"/>
                  </a:lnTo>
                  <a:lnTo>
                    <a:pt x="2474280" y="2845997"/>
                  </a:lnTo>
                  <a:lnTo>
                    <a:pt x="2474847" y="2847360"/>
                  </a:lnTo>
                  <a:lnTo>
                    <a:pt x="2475343" y="2849160"/>
                  </a:lnTo>
                  <a:lnTo>
                    <a:pt x="2478174" y="2855043"/>
                  </a:lnTo>
                  <a:lnTo>
                    <a:pt x="2478293" y="2856089"/>
                  </a:lnTo>
                  <a:lnTo>
                    <a:pt x="2478275" y="2858584"/>
                  </a:lnTo>
                  <a:lnTo>
                    <a:pt x="2478462" y="2859567"/>
                  </a:lnTo>
                  <a:lnTo>
                    <a:pt x="2479034" y="2860214"/>
                  </a:lnTo>
                  <a:lnTo>
                    <a:pt x="2480901" y="2861306"/>
                  </a:lnTo>
                  <a:lnTo>
                    <a:pt x="2481639" y="2861933"/>
                  </a:lnTo>
                  <a:lnTo>
                    <a:pt x="2482021" y="2862672"/>
                  </a:lnTo>
                  <a:lnTo>
                    <a:pt x="2482406" y="2863736"/>
                  </a:lnTo>
                  <a:lnTo>
                    <a:pt x="2482715" y="2864822"/>
                  </a:lnTo>
                  <a:lnTo>
                    <a:pt x="2483159" y="2866873"/>
                  </a:lnTo>
                  <a:lnTo>
                    <a:pt x="2483752" y="2867745"/>
                  </a:lnTo>
                  <a:lnTo>
                    <a:pt x="2484459" y="2868547"/>
                  </a:lnTo>
                  <a:lnTo>
                    <a:pt x="2485125" y="2869570"/>
                  </a:lnTo>
                  <a:lnTo>
                    <a:pt x="2485594" y="2871325"/>
                  </a:lnTo>
                  <a:lnTo>
                    <a:pt x="2486400" y="2876183"/>
                  </a:lnTo>
                  <a:lnTo>
                    <a:pt x="2487750" y="2879720"/>
                  </a:lnTo>
                  <a:lnTo>
                    <a:pt x="2487967" y="2881919"/>
                  </a:lnTo>
                  <a:lnTo>
                    <a:pt x="2487884" y="2886605"/>
                  </a:lnTo>
                  <a:lnTo>
                    <a:pt x="2487532" y="2890785"/>
                  </a:lnTo>
                  <a:lnTo>
                    <a:pt x="2486730" y="2894150"/>
                  </a:lnTo>
                  <a:lnTo>
                    <a:pt x="2482464" y="2907231"/>
                  </a:lnTo>
                  <a:lnTo>
                    <a:pt x="2479644" y="2913689"/>
                  </a:lnTo>
                  <a:lnTo>
                    <a:pt x="2475899" y="2919146"/>
                  </a:lnTo>
                  <a:lnTo>
                    <a:pt x="2474700" y="2922470"/>
                  </a:lnTo>
                  <a:lnTo>
                    <a:pt x="2473877" y="2924205"/>
                  </a:lnTo>
                  <a:lnTo>
                    <a:pt x="2472983" y="2924990"/>
                  </a:lnTo>
                  <a:lnTo>
                    <a:pt x="2470578" y="2925700"/>
                  </a:lnTo>
                  <a:lnTo>
                    <a:pt x="2465915" y="2928505"/>
                  </a:lnTo>
                  <a:lnTo>
                    <a:pt x="2463612" y="2929297"/>
                  </a:lnTo>
                  <a:lnTo>
                    <a:pt x="2464979" y="2929978"/>
                  </a:lnTo>
                  <a:lnTo>
                    <a:pt x="2472819" y="2927324"/>
                  </a:lnTo>
                  <a:lnTo>
                    <a:pt x="2475650" y="2925569"/>
                  </a:lnTo>
                  <a:lnTo>
                    <a:pt x="2483317" y="2916664"/>
                  </a:lnTo>
                  <a:lnTo>
                    <a:pt x="2486011" y="2914394"/>
                  </a:lnTo>
                  <a:lnTo>
                    <a:pt x="2498391" y="2910572"/>
                  </a:lnTo>
                  <a:lnTo>
                    <a:pt x="2500471" y="2909410"/>
                  </a:lnTo>
                  <a:lnTo>
                    <a:pt x="2501200" y="2909563"/>
                  </a:lnTo>
                  <a:lnTo>
                    <a:pt x="2501998" y="2910600"/>
                  </a:lnTo>
                  <a:lnTo>
                    <a:pt x="2501758" y="2911591"/>
                  </a:lnTo>
                  <a:lnTo>
                    <a:pt x="2500984" y="2912352"/>
                  </a:lnTo>
                  <a:lnTo>
                    <a:pt x="2500178" y="2912684"/>
                  </a:lnTo>
                  <a:lnTo>
                    <a:pt x="2498861" y="2913620"/>
                  </a:lnTo>
                  <a:lnTo>
                    <a:pt x="2495347" y="2919797"/>
                  </a:lnTo>
                  <a:lnTo>
                    <a:pt x="2494525" y="2920520"/>
                  </a:lnTo>
                  <a:lnTo>
                    <a:pt x="2493575" y="2921051"/>
                  </a:lnTo>
                  <a:lnTo>
                    <a:pt x="2491559" y="2921547"/>
                  </a:lnTo>
                  <a:lnTo>
                    <a:pt x="2490498" y="2922028"/>
                  </a:lnTo>
                  <a:lnTo>
                    <a:pt x="2488820" y="2924077"/>
                  </a:lnTo>
                  <a:lnTo>
                    <a:pt x="2487899" y="2924775"/>
                  </a:lnTo>
                  <a:lnTo>
                    <a:pt x="2487947" y="2925518"/>
                  </a:lnTo>
                  <a:lnTo>
                    <a:pt x="2490954" y="2923735"/>
                  </a:lnTo>
                  <a:lnTo>
                    <a:pt x="2495683" y="2922321"/>
                  </a:lnTo>
                  <a:lnTo>
                    <a:pt x="2497017" y="2921131"/>
                  </a:lnTo>
                  <a:lnTo>
                    <a:pt x="2501987" y="2915118"/>
                  </a:lnTo>
                  <a:lnTo>
                    <a:pt x="2508398" y="2912186"/>
                  </a:lnTo>
                  <a:lnTo>
                    <a:pt x="2517205" y="2909781"/>
                  </a:lnTo>
                  <a:lnTo>
                    <a:pt x="2528308" y="2902990"/>
                  </a:lnTo>
                  <a:lnTo>
                    <a:pt x="2544477" y="2895721"/>
                  </a:lnTo>
                  <a:lnTo>
                    <a:pt x="2560143" y="2887885"/>
                  </a:lnTo>
                  <a:lnTo>
                    <a:pt x="2570352" y="2883103"/>
                  </a:lnTo>
                  <a:lnTo>
                    <a:pt x="2580820" y="2882549"/>
                  </a:lnTo>
                  <a:lnTo>
                    <a:pt x="2590804" y="2885036"/>
                  </a:lnTo>
                  <a:lnTo>
                    <a:pt x="2595426" y="2884238"/>
                  </a:lnTo>
                  <a:lnTo>
                    <a:pt x="2596898" y="2884459"/>
                  </a:lnTo>
                  <a:lnTo>
                    <a:pt x="2601323" y="2887131"/>
                  </a:lnTo>
                  <a:lnTo>
                    <a:pt x="2602874" y="2887627"/>
                  </a:lnTo>
                  <a:lnTo>
                    <a:pt x="2606125" y="2887654"/>
                  </a:lnTo>
                  <a:lnTo>
                    <a:pt x="2607704" y="2888060"/>
                  </a:lnTo>
                  <a:lnTo>
                    <a:pt x="2609121" y="2889329"/>
                  </a:lnTo>
                  <a:lnTo>
                    <a:pt x="2609736" y="2891461"/>
                  </a:lnTo>
                  <a:lnTo>
                    <a:pt x="2613708" y="2892271"/>
                  </a:lnTo>
                  <a:lnTo>
                    <a:pt x="2617179" y="2894973"/>
                  </a:lnTo>
                  <a:lnTo>
                    <a:pt x="2622908" y="2896921"/>
                  </a:lnTo>
                  <a:lnTo>
                    <a:pt x="2623559" y="2898027"/>
                  </a:lnTo>
                  <a:lnTo>
                    <a:pt x="2623862" y="2898321"/>
                  </a:lnTo>
                  <a:lnTo>
                    <a:pt x="2628927" y="2899794"/>
                  </a:lnTo>
                  <a:lnTo>
                    <a:pt x="2629835" y="2900325"/>
                  </a:lnTo>
                  <a:lnTo>
                    <a:pt x="2634436" y="2904385"/>
                  </a:lnTo>
                  <a:lnTo>
                    <a:pt x="2636012" y="2905290"/>
                  </a:lnTo>
                  <a:lnTo>
                    <a:pt x="2641421" y="2905436"/>
                  </a:lnTo>
                  <a:lnTo>
                    <a:pt x="2644365" y="2907468"/>
                  </a:lnTo>
                  <a:lnTo>
                    <a:pt x="2659656" y="2909222"/>
                  </a:lnTo>
                  <a:lnTo>
                    <a:pt x="2663530" y="2910735"/>
                  </a:lnTo>
                  <a:lnTo>
                    <a:pt x="2665380" y="2911086"/>
                  </a:lnTo>
                  <a:lnTo>
                    <a:pt x="2670561" y="2909821"/>
                  </a:lnTo>
                  <a:lnTo>
                    <a:pt x="2672211" y="2910231"/>
                  </a:lnTo>
                  <a:lnTo>
                    <a:pt x="2675470" y="2911884"/>
                  </a:lnTo>
                  <a:lnTo>
                    <a:pt x="2678528" y="2912334"/>
                  </a:lnTo>
                  <a:lnTo>
                    <a:pt x="2683400" y="2914393"/>
                  </a:lnTo>
                  <a:lnTo>
                    <a:pt x="2688241" y="2914158"/>
                  </a:lnTo>
                  <a:lnTo>
                    <a:pt x="2689444" y="2914739"/>
                  </a:lnTo>
                  <a:lnTo>
                    <a:pt x="2690349" y="2915650"/>
                  </a:lnTo>
                  <a:lnTo>
                    <a:pt x="2691578" y="2916442"/>
                  </a:lnTo>
                  <a:lnTo>
                    <a:pt x="2692795" y="2916628"/>
                  </a:lnTo>
                  <a:lnTo>
                    <a:pt x="2693660" y="2915738"/>
                  </a:lnTo>
                  <a:lnTo>
                    <a:pt x="2694598" y="2915197"/>
                  </a:lnTo>
                  <a:lnTo>
                    <a:pt x="2697952" y="2914833"/>
                  </a:lnTo>
                  <a:lnTo>
                    <a:pt x="2699507" y="2914659"/>
                  </a:lnTo>
                  <a:lnTo>
                    <a:pt x="2700560" y="2913861"/>
                  </a:lnTo>
                  <a:lnTo>
                    <a:pt x="2701155" y="2913561"/>
                  </a:lnTo>
                  <a:lnTo>
                    <a:pt x="2701881" y="2913620"/>
                  </a:lnTo>
                  <a:lnTo>
                    <a:pt x="2702250" y="2914053"/>
                  </a:lnTo>
                  <a:lnTo>
                    <a:pt x="2702783" y="2915453"/>
                  </a:lnTo>
                  <a:lnTo>
                    <a:pt x="2703118" y="2915717"/>
                  </a:lnTo>
                  <a:lnTo>
                    <a:pt x="2704295" y="2915657"/>
                  </a:lnTo>
                  <a:lnTo>
                    <a:pt x="2705510" y="2915897"/>
                  </a:lnTo>
                  <a:lnTo>
                    <a:pt x="2705977" y="2916747"/>
                  </a:lnTo>
                  <a:lnTo>
                    <a:pt x="2704924" y="2918489"/>
                  </a:lnTo>
                  <a:lnTo>
                    <a:pt x="2707240" y="2920534"/>
                  </a:lnTo>
                  <a:lnTo>
                    <a:pt x="2712389" y="2923839"/>
                  </a:lnTo>
                  <a:lnTo>
                    <a:pt x="2714955" y="2926322"/>
                  </a:lnTo>
                  <a:lnTo>
                    <a:pt x="2716853" y="2928807"/>
                  </a:lnTo>
                  <a:lnTo>
                    <a:pt x="2718015" y="2929913"/>
                  </a:lnTo>
                  <a:lnTo>
                    <a:pt x="2720296" y="2930520"/>
                  </a:lnTo>
                  <a:lnTo>
                    <a:pt x="2724385" y="2932636"/>
                  </a:lnTo>
                  <a:lnTo>
                    <a:pt x="2725589" y="2932443"/>
                  </a:lnTo>
                  <a:lnTo>
                    <a:pt x="2727448" y="2933668"/>
                  </a:lnTo>
                  <a:lnTo>
                    <a:pt x="2729432" y="2935583"/>
                  </a:lnTo>
                  <a:lnTo>
                    <a:pt x="2731568" y="2938112"/>
                  </a:lnTo>
                  <a:lnTo>
                    <a:pt x="2733213" y="2939514"/>
                  </a:lnTo>
                  <a:lnTo>
                    <a:pt x="2733799" y="2939747"/>
                  </a:lnTo>
                  <a:lnTo>
                    <a:pt x="2734779" y="2939858"/>
                  </a:lnTo>
                  <a:lnTo>
                    <a:pt x="2735352" y="2940352"/>
                  </a:lnTo>
                  <a:lnTo>
                    <a:pt x="2735776" y="2941035"/>
                  </a:lnTo>
                  <a:lnTo>
                    <a:pt x="2736301" y="2941678"/>
                  </a:lnTo>
                  <a:lnTo>
                    <a:pt x="2739925" y="2944185"/>
                  </a:lnTo>
                  <a:lnTo>
                    <a:pt x="2753213" y="2949112"/>
                  </a:lnTo>
                  <a:lnTo>
                    <a:pt x="2756910" y="2949605"/>
                  </a:lnTo>
                  <a:lnTo>
                    <a:pt x="2760382" y="2951203"/>
                  </a:lnTo>
                  <a:lnTo>
                    <a:pt x="2761080" y="2951834"/>
                  </a:lnTo>
                  <a:lnTo>
                    <a:pt x="2761486" y="2953041"/>
                  </a:lnTo>
                  <a:lnTo>
                    <a:pt x="2761744" y="2953413"/>
                  </a:lnTo>
                  <a:lnTo>
                    <a:pt x="2763323" y="2956927"/>
                  </a:lnTo>
                  <a:lnTo>
                    <a:pt x="2764412" y="2958296"/>
                  </a:lnTo>
                  <a:lnTo>
                    <a:pt x="2770521" y="2963748"/>
                  </a:lnTo>
                  <a:lnTo>
                    <a:pt x="2780361" y="2976496"/>
                  </a:lnTo>
                  <a:lnTo>
                    <a:pt x="2780623" y="2977163"/>
                  </a:lnTo>
                  <a:lnTo>
                    <a:pt x="2780923" y="2978674"/>
                  </a:lnTo>
                  <a:lnTo>
                    <a:pt x="2781398" y="2980153"/>
                  </a:lnTo>
                  <a:lnTo>
                    <a:pt x="2782209" y="2980742"/>
                  </a:lnTo>
                  <a:lnTo>
                    <a:pt x="2783757" y="2981412"/>
                  </a:lnTo>
                  <a:lnTo>
                    <a:pt x="2785374" y="2983196"/>
                  </a:lnTo>
                  <a:lnTo>
                    <a:pt x="2787574" y="2986379"/>
                  </a:lnTo>
                  <a:lnTo>
                    <a:pt x="2788550" y="2987114"/>
                  </a:lnTo>
                  <a:lnTo>
                    <a:pt x="2789326" y="2987300"/>
                  </a:lnTo>
                  <a:lnTo>
                    <a:pt x="2789802" y="2987797"/>
                  </a:lnTo>
                  <a:lnTo>
                    <a:pt x="2789899" y="2989436"/>
                  </a:lnTo>
                  <a:lnTo>
                    <a:pt x="2789679" y="2990183"/>
                  </a:lnTo>
                  <a:lnTo>
                    <a:pt x="2788306" y="2993414"/>
                  </a:lnTo>
                  <a:lnTo>
                    <a:pt x="2788764" y="2994787"/>
                  </a:lnTo>
                  <a:lnTo>
                    <a:pt x="2789171" y="2996368"/>
                  </a:lnTo>
                  <a:lnTo>
                    <a:pt x="2789873" y="2994666"/>
                  </a:lnTo>
                  <a:lnTo>
                    <a:pt x="2790237" y="2992845"/>
                  </a:lnTo>
                  <a:lnTo>
                    <a:pt x="2790917" y="2991338"/>
                  </a:lnTo>
                  <a:lnTo>
                    <a:pt x="2792573" y="2990552"/>
                  </a:lnTo>
                  <a:lnTo>
                    <a:pt x="2794065" y="2990497"/>
                  </a:lnTo>
                  <a:lnTo>
                    <a:pt x="2795660" y="2990811"/>
                  </a:lnTo>
                  <a:lnTo>
                    <a:pt x="2796781" y="2991779"/>
                  </a:lnTo>
                  <a:lnTo>
                    <a:pt x="2796833" y="2993707"/>
                  </a:lnTo>
                  <a:lnTo>
                    <a:pt x="2798436" y="2994162"/>
                  </a:lnTo>
                  <a:lnTo>
                    <a:pt x="2803330" y="2993523"/>
                  </a:lnTo>
                  <a:lnTo>
                    <a:pt x="2805080" y="2993995"/>
                  </a:lnTo>
                  <a:lnTo>
                    <a:pt x="2805626" y="2995700"/>
                  </a:lnTo>
                  <a:lnTo>
                    <a:pt x="2805304" y="3000066"/>
                  </a:lnTo>
                  <a:lnTo>
                    <a:pt x="2808057" y="2998106"/>
                  </a:lnTo>
                  <a:lnTo>
                    <a:pt x="2824275" y="2999459"/>
                  </a:lnTo>
                  <a:lnTo>
                    <a:pt x="2828836" y="2998190"/>
                  </a:lnTo>
                  <a:lnTo>
                    <a:pt x="2830507" y="2998520"/>
                  </a:lnTo>
                  <a:lnTo>
                    <a:pt x="2830378" y="2999033"/>
                  </a:lnTo>
                  <a:lnTo>
                    <a:pt x="2830332" y="2999417"/>
                  </a:lnTo>
                  <a:lnTo>
                    <a:pt x="2830216" y="2999757"/>
                  </a:lnTo>
                  <a:lnTo>
                    <a:pt x="2829859" y="3000125"/>
                  </a:lnTo>
                  <a:lnTo>
                    <a:pt x="2830826" y="3000647"/>
                  </a:lnTo>
                  <a:lnTo>
                    <a:pt x="2834253" y="2999457"/>
                  </a:lnTo>
                  <a:lnTo>
                    <a:pt x="2835552" y="2999622"/>
                  </a:lnTo>
                  <a:lnTo>
                    <a:pt x="2839434" y="3001742"/>
                  </a:lnTo>
                  <a:lnTo>
                    <a:pt x="2841946" y="3002365"/>
                  </a:lnTo>
                  <a:lnTo>
                    <a:pt x="2844414" y="3002405"/>
                  </a:lnTo>
                  <a:lnTo>
                    <a:pt x="2845708" y="3002725"/>
                  </a:lnTo>
                  <a:lnTo>
                    <a:pt x="2848085" y="3004267"/>
                  </a:lnTo>
                  <a:lnTo>
                    <a:pt x="2854829" y="3007032"/>
                  </a:lnTo>
                  <a:lnTo>
                    <a:pt x="2868403" y="3010926"/>
                  </a:lnTo>
                  <a:lnTo>
                    <a:pt x="2874084" y="3014044"/>
                  </a:lnTo>
                  <a:lnTo>
                    <a:pt x="2889538" y="3016137"/>
                  </a:lnTo>
                  <a:lnTo>
                    <a:pt x="2894280" y="3016296"/>
                  </a:lnTo>
                  <a:lnTo>
                    <a:pt x="2898558" y="3017033"/>
                  </a:lnTo>
                  <a:lnTo>
                    <a:pt x="2900723" y="3018447"/>
                  </a:lnTo>
                  <a:lnTo>
                    <a:pt x="2903390" y="3018842"/>
                  </a:lnTo>
                  <a:lnTo>
                    <a:pt x="2905596" y="3019815"/>
                  </a:lnTo>
                  <a:lnTo>
                    <a:pt x="2907513" y="3020558"/>
                  </a:lnTo>
                  <a:lnTo>
                    <a:pt x="2910008" y="3020973"/>
                  </a:lnTo>
                  <a:lnTo>
                    <a:pt x="2912216" y="3021158"/>
                  </a:lnTo>
                  <a:lnTo>
                    <a:pt x="2913362" y="3022863"/>
                  </a:lnTo>
                  <a:lnTo>
                    <a:pt x="2915720" y="3024430"/>
                  </a:lnTo>
                  <a:lnTo>
                    <a:pt x="2918328" y="3025881"/>
                  </a:lnTo>
                  <a:lnTo>
                    <a:pt x="2920514" y="3027469"/>
                  </a:lnTo>
                  <a:lnTo>
                    <a:pt x="2922466" y="3030132"/>
                  </a:lnTo>
                  <a:lnTo>
                    <a:pt x="2924826" y="3031700"/>
                  </a:lnTo>
                  <a:lnTo>
                    <a:pt x="2926319" y="3033132"/>
                  </a:lnTo>
                  <a:lnTo>
                    <a:pt x="2931040" y="3037293"/>
                  </a:lnTo>
                  <a:lnTo>
                    <a:pt x="2938930" y="3040187"/>
                  </a:lnTo>
                  <a:lnTo>
                    <a:pt x="2942720" y="3041203"/>
                  </a:lnTo>
                  <a:lnTo>
                    <a:pt x="2949827" y="3041487"/>
                  </a:lnTo>
                  <a:lnTo>
                    <a:pt x="2951496" y="3042362"/>
                  </a:lnTo>
                  <a:lnTo>
                    <a:pt x="2952511" y="3044545"/>
                  </a:lnTo>
                  <a:lnTo>
                    <a:pt x="2952457" y="3047420"/>
                  </a:lnTo>
                  <a:lnTo>
                    <a:pt x="2951303" y="3048587"/>
                  </a:lnTo>
                  <a:lnTo>
                    <a:pt x="2949722" y="3049155"/>
                  </a:lnTo>
                  <a:lnTo>
                    <a:pt x="2948363" y="3050209"/>
                  </a:lnTo>
                  <a:lnTo>
                    <a:pt x="2947988" y="3051231"/>
                  </a:lnTo>
                  <a:lnTo>
                    <a:pt x="2948001" y="3053175"/>
                  </a:lnTo>
                  <a:lnTo>
                    <a:pt x="2947722" y="3054238"/>
                  </a:lnTo>
                  <a:lnTo>
                    <a:pt x="2947109" y="3055041"/>
                  </a:lnTo>
                  <a:lnTo>
                    <a:pt x="2945585" y="3056267"/>
                  </a:lnTo>
                  <a:lnTo>
                    <a:pt x="2944988" y="3057269"/>
                  </a:lnTo>
                  <a:lnTo>
                    <a:pt x="2944398" y="3059414"/>
                  </a:lnTo>
                  <a:lnTo>
                    <a:pt x="2943701" y="3063617"/>
                  </a:lnTo>
                  <a:lnTo>
                    <a:pt x="2943186" y="3065554"/>
                  </a:lnTo>
                  <a:lnTo>
                    <a:pt x="2939864" y="3070737"/>
                  </a:lnTo>
                  <a:lnTo>
                    <a:pt x="2939585" y="3072609"/>
                  </a:lnTo>
                  <a:lnTo>
                    <a:pt x="2939817" y="3073203"/>
                  </a:lnTo>
                  <a:lnTo>
                    <a:pt x="2940617" y="3074588"/>
                  </a:lnTo>
                  <a:lnTo>
                    <a:pt x="2940898" y="3075471"/>
                  </a:lnTo>
                  <a:lnTo>
                    <a:pt x="2940836" y="3076125"/>
                  </a:lnTo>
                  <a:lnTo>
                    <a:pt x="2940247" y="3079051"/>
                  </a:lnTo>
                  <a:lnTo>
                    <a:pt x="2939872" y="3082065"/>
                  </a:lnTo>
                  <a:lnTo>
                    <a:pt x="2940173" y="3083173"/>
                  </a:lnTo>
                  <a:lnTo>
                    <a:pt x="2940950" y="3082605"/>
                  </a:lnTo>
                  <a:lnTo>
                    <a:pt x="2941996" y="3080567"/>
                  </a:lnTo>
                  <a:lnTo>
                    <a:pt x="2942594" y="3078359"/>
                  </a:lnTo>
                  <a:lnTo>
                    <a:pt x="2943191" y="3070907"/>
                  </a:lnTo>
                  <a:lnTo>
                    <a:pt x="2943623" y="3068845"/>
                  </a:lnTo>
                  <a:lnTo>
                    <a:pt x="2949134" y="3054675"/>
                  </a:lnTo>
                  <a:lnTo>
                    <a:pt x="2951395" y="3051459"/>
                  </a:lnTo>
                  <a:lnTo>
                    <a:pt x="2954074" y="3049102"/>
                  </a:lnTo>
                  <a:lnTo>
                    <a:pt x="2957060" y="3047521"/>
                  </a:lnTo>
                  <a:lnTo>
                    <a:pt x="2963620" y="3046215"/>
                  </a:lnTo>
                  <a:lnTo>
                    <a:pt x="2984964" y="3047794"/>
                  </a:lnTo>
                  <a:lnTo>
                    <a:pt x="2988421" y="3046758"/>
                  </a:lnTo>
                  <a:lnTo>
                    <a:pt x="2992570" y="3043872"/>
                  </a:lnTo>
                  <a:lnTo>
                    <a:pt x="2994795" y="3042898"/>
                  </a:lnTo>
                  <a:lnTo>
                    <a:pt x="2995952" y="3041634"/>
                  </a:lnTo>
                  <a:lnTo>
                    <a:pt x="3007523" y="3037724"/>
                  </a:lnTo>
                  <a:lnTo>
                    <a:pt x="3009609" y="3037494"/>
                  </a:lnTo>
                  <a:lnTo>
                    <a:pt x="3013718" y="3038372"/>
                  </a:lnTo>
                  <a:lnTo>
                    <a:pt x="3015810" y="3038360"/>
                  </a:lnTo>
                  <a:lnTo>
                    <a:pt x="3016960" y="3038057"/>
                  </a:lnTo>
                  <a:lnTo>
                    <a:pt x="3023474" y="3031810"/>
                  </a:lnTo>
                  <a:lnTo>
                    <a:pt x="3025101" y="3030995"/>
                  </a:lnTo>
                  <a:lnTo>
                    <a:pt x="3026711" y="3031257"/>
                  </a:lnTo>
                  <a:lnTo>
                    <a:pt x="3029675" y="3032460"/>
                  </a:lnTo>
                  <a:lnTo>
                    <a:pt x="3035877" y="3033861"/>
                  </a:lnTo>
                  <a:lnTo>
                    <a:pt x="3038623" y="3035731"/>
                  </a:lnTo>
                  <a:lnTo>
                    <a:pt x="3039304" y="3037359"/>
                  </a:lnTo>
                  <a:lnTo>
                    <a:pt x="3039020" y="3038723"/>
                  </a:lnTo>
                  <a:lnTo>
                    <a:pt x="3038945" y="3039553"/>
                  </a:lnTo>
                  <a:lnTo>
                    <a:pt x="3040242" y="3039585"/>
                  </a:lnTo>
                  <a:lnTo>
                    <a:pt x="3040479" y="3039093"/>
                  </a:lnTo>
                  <a:lnTo>
                    <a:pt x="3040596" y="3037074"/>
                  </a:lnTo>
                  <a:lnTo>
                    <a:pt x="3040741" y="3036511"/>
                  </a:lnTo>
                  <a:lnTo>
                    <a:pt x="3041632" y="3036317"/>
                  </a:lnTo>
                  <a:lnTo>
                    <a:pt x="3042430" y="3036807"/>
                  </a:lnTo>
                  <a:lnTo>
                    <a:pt x="3043212" y="3037507"/>
                  </a:lnTo>
                  <a:lnTo>
                    <a:pt x="3044060" y="3037983"/>
                  </a:lnTo>
                  <a:lnTo>
                    <a:pt x="3044949" y="3037856"/>
                  </a:lnTo>
                  <a:lnTo>
                    <a:pt x="3045695" y="3037409"/>
                  </a:lnTo>
                  <a:lnTo>
                    <a:pt x="3046424" y="3037188"/>
                  </a:lnTo>
                  <a:lnTo>
                    <a:pt x="3047281" y="3037738"/>
                  </a:lnTo>
                  <a:lnTo>
                    <a:pt x="3047835" y="3038643"/>
                  </a:lnTo>
                  <a:lnTo>
                    <a:pt x="3048322" y="3039670"/>
                  </a:lnTo>
                  <a:lnTo>
                    <a:pt x="3048874" y="3040480"/>
                  </a:lnTo>
                  <a:lnTo>
                    <a:pt x="3049622" y="3040708"/>
                  </a:lnTo>
                  <a:lnTo>
                    <a:pt x="3050017" y="3041061"/>
                  </a:lnTo>
                  <a:lnTo>
                    <a:pt x="3049794" y="3042081"/>
                  </a:lnTo>
                  <a:lnTo>
                    <a:pt x="3049141" y="3043780"/>
                  </a:lnTo>
                  <a:lnTo>
                    <a:pt x="3049425" y="3044958"/>
                  </a:lnTo>
                  <a:lnTo>
                    <a:pt x="3049926" y="3045847"/>
                  </a:lnTo>
                  <a:lnTo>
                    <a:pt x="3050649" y="3046550"/>
                  </a:lnTo>
                  <a:lnTo>
                    <a:pt x="3051582" y="3047147"/>
                  </a:lnTo>
                  <a:lnTo>
                    <a:pt x="3051817" y="3046329"/>
                  </a:lnTo>
                  <a:lnTo>
                    <a:pt x="3050440" y="3044977"/>
                  </a:lnTo>
                  <a:lnTo>
                    <a:pt x="3050406" y="3043712"/>
                  </a:lnTo>
                  <a:lnTo>
                    <a:pt x="3050796" y="3042573"/>
                  </a:lnTo>
                  <a:lnTo>
                    <a:pt x="3050687" y="3041599"/>
                  </a:lnTo>
                  <a:lnTo>
                    <a:pt x="3049163" y="3039661"/>
                  </a:lnTo>
                  <a:lnTo>
                    <a:pt x="3048623" y="3038550"/>
                  </a:lnTo>
                  <a:lnTo>
                    <a:pt x="3048162" y="3036797"/>
                  </a:lnTo>
                  <a:lnTo>
                    <a:pt x="3047361" y="3035955"/>
                  </a:lnTo>
                  <a:lnTo>
                    <a:pt x="3045878" y="3035806"/>
                  </a:lnTo>
                  <a:lnTo>
                    <a:pt x="3043238" y="3036004"/>
                  </a:lnTo>
                  <a:lnTo>
                    <a:pt x="3042116" y="3035662"/>
                  </a:lnTo>
                  <a:lnTo>
                    <a:pt x="3041162" y="3035140"/>
                  </a:lnTo>
                  <a:lnTo>
                    <a:pt x="3039287" y="3033701"/>
                  </a:lnTo>
                  <a:lnTo>
                    <a:pt x="3040561" y="3032520"/>
                  </a:lnTo>
                  <a:lnTo>
                    <a:pt x="3047889" y="3032978"/>
                  </a:lnTo>
                  <a:lnTo>
                    <a:pt x="3052984" y="3034703"/>
                  </a:lnTo>
                  <a:lnTo>
                    <a:pt x="3054064" y="3034797"/>
                  </a:lnTo>
                  <a:lnTo>
                    <a:pt x="3056767" y="3033922"/>
                  </a:lnTo>
                  <a:lnTo>
                    <a:pt x="3057655" y="3033970"/>
                  </a:lnTo>
                  <a:lnTo>
                    <a:pt x="3059364" y="3034612"/>
                  </a:lnTo>
                  <a:lnTo>
                    <a:pt x="3066780" y="3034122"/>
                  </a:lnTo>
                  <a:lnTo>
                    <a:pt x="3069289" y="3033410"/>
                  </a:lnTo>
                  <a:lnTo>
                    <a:pt x="3070151" y="3033415"/>
                  </a:lnTo>
                  <a:lnTo>
                    <a:pt x="3070939" y="3033743"/>
                  </a:lnTo>
                  <a:lnTo>
                    <a:pt x="3072524" y="3034878"/>
                  </a:lnTo>
                  <a:lnTo>
                    <a:pt x="3073086" y="3035072"/>
                  </a:lnTo>
                  <a:lnTo>
                    <a:pt x="3074702" y="3034418"/>
                  </a:lnTo>
                  <a:lnTo>
                    <a:pt x="3078341" y="3030855"/>
                  </a:lnTo>
                  <a:lnTo>
                    <a:pt x="3081124" y="3029192"/>
                  </a:lnTo>
                  <a:lnTo>
                    <a:pt x="3085017" y="3028346"/>
                  </a:lnTo>
                  <a:lnTo>
                    <a:pt x="3088798" y="3029603"/>
                  </a:lnTo>
                  <a:lnTo>
                    <a:pt x="3091207" y="3034256"/>
                  </a:lnTo>
                  <a:lnTo>
                    <a:pt x="3091071" y="3034921"/>
                  </a:lnTo>
                  <a:lnTo>
                    <a:pt x="3090616" y="3035527"/>
                  </a:lnTo>
                  <a:lnTo>
                    <a:pt x="3090219" y="3036416"/>
                  </a:lnTo>
                  <a:lnTo>
                    <a:pt x="3090259" y="3037886"/>
                  </a:lnTo>
                  <a:lnTo>
                    <a:pt x="3090175" y="3038534"/>
                  </a:lnTo>
                  <a:lnTo>
                    <a:pt x="3089267" y="3041520"/>
                  </a:lnTo>
                  <a:lnTo>
                    <a:pt x="3090561" y="3040775"/>
                  </a:lnTo>
                  <a:lnTo>
                    <a:pt x="3091760" y="3036896"/>
                  </a:lnTo>
                  <a:lnTo>
                    <a:pt x="3092754" y="3035443"/>
                  </a:lnTo>
                  <a:lnTo>
                    <a:pt x="3093661" y="3035316"/>
                  </a:lnTo>
                  <a:lnTo>
                    <a:pt x="3095823" y="3036009"/>
                  </a:lnTo>
                  <a:lnTo>
                    <a:pt x="3096844" y="3036083"/>
                  </a:lnTo>
                  <a:lnTo>
                    <a:pt x="3100063" y="3035575"/>
                  </a:lnTo>
                  <a:lnTo>
                    <a:pt x="3101044" y="3035171"/>
                  </a:lnTo>
                  <a:lnTo>
                    <a:pt x="3105046" y="3031631"/>
                  </a:lnTo>
                  <a:lnTo>
                    <a:pt x="3106634" y="3030902"/>
                  </a:lnTo>
                  <a:lnTo>
                    <a:pt x="3108403" y="3031108"/>
                  </a:lnTo>
                  <a:lnTo>
                    <a:pt x="3111963" y="3032658"/>
                  </a:lnTo>
                  <a:lnTo>
                    <a:pt x="3113564" y="3032422"/>
                  </a:lnTo>
                  <a:lnTo>
                    <a:pt x="3113337" y="3031941"/>
                  </a:lnTo>
                  <a:lnTo>
                    <a:pt x="3112898" y="3030734"/>
                  </a:lnTo>
                  <a:lnTo>
                    <a:pt x="3112669" y="3030267"/>
                  </a:lnTo>
                  <a:lnTo>
                    <a:pt x="3113787" y="3030056"/>
                  </a:lnTo>
                  <a:lnTo>
                    <a:pt x="3114807" y="3030679"/>
                  </a:lnTo>
                  <a:lnTo>
                    <a:pt x="3115712" y="3031469"/>
                  </a:lnTo>
                  <a:lnTo>
                    <a:pt x="3116494" y="3031773"/>
                  </a:lnTo>
                  <a:lnTo>
                    <a:pt x="3117744" y="3031650"/>
                  </a:lnTo>
                  <a:lnTo>
                    <a:pt x="3118704" y="3031913"/>
                  </a:lnTo>
                  <a:lnTo>
                    <a:pt x="3119591" y="3032561"/>
                  </a:lnTo>
                  <a:lnTo>
                    <a:pt x="3120600" y="3033563"/>
                  </a:lnTo>
                  <a:lnTo>
                    <a:pt x="3121084" y="3033891"/>
                  </a:lnTo>
                  <a:lnTo>
                    <a:pt x="3121859" y="3034018"/>
                  </a:lnTo>
                  <a:lnTo>
                    <a:pt x="3122245" y="3034301"/>
                  </a:lnTo>
                  <a:lnTo>
                    <a:pt x="3122463" y="3034834"/>
                  </a:lnTo>
                  <a:lnTo>
                    <a:pt x="3122401" y="3035366"/>
                  </a:lnTo>
                  <a:lnTo>
                    <a:pt x="3122382" y="3035906"/>
                  </a:lnTo>
                  <a:lnTo>
                    <a:pt x="3122714" y="3036486"/>
                  </a:lnTo>
                  <a:lnTo>
                    <a:pt x="3123929" y="3037083"/>
                  </a:lnTo>
                  <a:lnTo>
                    <a:pt x="3126481" y="3036976"/>
                  </a:lnTo>
                  <a:lnTo>
                    <a:pt x="3127645" y="3036905"/>
                  </a:lnTo>
                  <a:lnTo>
                    <a:pt x="3128688" y="3037507"/>
                  </a:lnTo>
                  <a:lnTo>
                    <a:pt x="3128232" y="3036410"/>
                  </a:lnTo>
                  <a:lnTo>
                    <a:pt x="3126577" y="3034163"/>
                  </a:lnTo>
                  <a:lnTo>
                    <a:pt x="3128182" y="3032316"/>
                  </a:lnTo>
                  <a:lnTo>
                    <a:pt x="3127516" y="3030883"/>
                  </a:lnTo>
                  <a:lnTo>
                    <a:pt x="3125829" y="3029471"/>
                  </a:lnTo>
                  <a:lnTo>
                    <a:pt x="3124341" y="3027668"/>
                  </a:lnTo>
                  <a:lnTo>
                    <a:pt x="3125980" y="3027901"/>
                  </a:lnTo>
                  <a:lnTo>
                    <a:pt x="3128730" y="3030610"/>
                  </a:lnTo>
                  <a:lnTo>
                    <a:pt x="3131799" y="3031578"/>
                  </a:lnTo>
                  <a:lnTo>
                    <a:pt x="3132436" y="3033481"/>
                  </a:lnTo>
                  <a:lnTo>
                    <a:pt x="3132426" y="3035775"/>
                  </a:lnTo>
                  <a:lnTo>
                    <a:pt x="3131865" y="3039656"/>
                  </a:lnTo>
                  <a:lnTo>
                    <a:pt x="3132017" y="3041559"/>
                  </a:lnTo>
                  <a:lnTo>
                    <a:pt x="3132708" y="3043327"/>
                  </a:lnTo>
                  <a:lnTo>
                    <a:pt x="3134660" y="3045996"/>
                  </a:lnTo>
                  <a:lnTo>
                    <a:pt x="3134846" y="3046718"/>
                  </a:lnTo>
                  <a:lnTo>
                    <a:pt x="3134863" y="3047546"/>
                  </a:lnTo>
                  <a:lnTo>
                    <a:pt x="3135018" y="3048739"/>
                  </a:lnTo>
                  <a:lnTo>
                    <a:pt x="3134961" y="3049116"/>
                  </a:lnTo>
                  <a:lnTo>
                    <a:pt x="3134718" y="3049376"/>
                  </a:lnTo>
                  <a:lnTo>
                    <a:pt x="3134488" y="3049714"/>
                  </a:lnTo>
                  <a:lnTo>
                    <a:pt x="3134489" y="3050345"/>
                  </a:lnTo>
                  <a:lnTo>
                    <a:pt x="3134713" y="3051045"/>
                  </a:lnTo>
                  <a:lnTo>
                    <a:pt x="3134989" y="3051569"/>
                  </a:lnTo>
                  <a:lnTo>
                    <a:pt x="3135330" y="3052034"/>
                  </a:lnTo>
                  <a:lnTo>
                    <a:pt x="3136743" y="3055602"/>
                  </a:lnTo>
                  <a:lnTo>
                    <a:pt x="3137086" y="3056279"/>
                  </a:lnTo>
                  <a:lnTo>
                    <a:pt x="3137823" y="3056586"/>
                  </a:lnTo>
                  <a:lnTo>
                    <a:pt x="3139400" y="3056420"/>
                  </a:lnTo>
                  <a:lnTo>
                    <a:pt x="3140083" y="3056747"/>
                  </a:lnTo>
                  <a:lnTo>
                    <a:pt x="3141151" y="3058756"/>
                  </a:lnTo>
                  <a:lnTo>
                    <a:pt x="3141483" y="3061123"/>
                  </a:lnTo>
                  <a:lnTo>
                    <a:pt x="3140607" y="3074538"/>
                  </a:lnTo>
                  <a:lnTo>
                    <a:pt x="3140384" y="3090023"/>
                  </a:lnTo>
                  <a:lnTo>
                    <a:pt x="3138770" y="3101371"/>
                  </a:lnTo>
                  <a:lnTo>
                    <a:pt x="3138792" y="3107199"/>
                  </a:lnTo>
                  <a:lnTo>
                    <a:pt x="3138276" y="3110326"/>
                  </a:lnTo>
                  <a:lnTo>
                    <a:pt x="3138381" y="3111515"/>
                  </a:lnTo>
                  <a:lnTo>
                    <a:pt x="3138266" y="3112113"/>
                  </a:lnTo>
                  <a:lnTo>
                    <a:pt x="3137446" y="3113681"/>
                  </a:lnTo>
                  <a:lnTo>
                    <a:pt x="3137224" y="3114403"/>
                  </a:lnTo>
                  <a:lnTo>
                    <a:pt x="3138188" y="3117359"/>
                  </a:lnTo>
                  <a:lnTo>
                    <a:pt x="3138199" y="3117933"/>
                  </a:lnTo>
                  <a:lnTo>
                    <a:pt x="3139027" y="3118212"/>
                  </a:lnTo>
                  <a:lnTo>
                    <a:pt x="3139388" y="3119248"/>
                  </a:lnTo>
                  <a:lnTo>
                    <a:pt x="3139619" y="3121486"/>
                  </a:lnTo>
                  <a:lnTo>
                    <a:pt x="3141185" y="3128835"/>
                  </a:lnTo>
                  <a:lnTo>
                    <a:pt x="3141768" y="3130473"/>
                  </a:lnTo>
                  <a:lnTo>
                    <a:pt x="3142507" y="3131797"/>
                  </a:lnTo>
                  <a:lnTo>
                    <a:pt x="3143424" y="3132979"/>
                  </a:lnTo>
                  <a:lnTo>
                    <a:pt x="3146647" y="3136283"/>
                  </a:lnTo>
                  <a:lnTo>
                    <a:pt x="3147116" y="3137595"/>
                  </a:lnTo>
                  <a:lnTo>
                    <a:pt x="3146513" y="3139147"/>
                  </a:lnTo>
                  <a:lnTo>
                    <a:pt x="3147367" y="3139529"/>
                  </a:lnTo>
                  <a:lnTo>
                    <a:pt x="3148013" y="3139235"/>
                  </a:lnTo>
                  <a:lnTo>
                    <a:pt x="3148657" y="3138732"/>
                  </a:lnTo>
                  <a:lnTo>
                    <a:pt x="3149495" y="3138481"/>
                  </a:lnTo>
                  <a:lnTo>
                    <a:pt x="3150266" y="3138635"/>
                  </a:lnTo>
                  <a:lnTo>
                    <a:pt x="3151023" y="3139010"/>
                  </a:lnTo>
                  <a:lnTo>
                    <a:pt x="3155478" y="3142244"/>
                  </a:lnTo>
                  <a:lnTo>
                    <a:pt x="3156669" y="3143584"/>
                  </a:lnTo>
                  <a:lnTo>
                    <a:pt x="3164083" y="3158214"/>
                  </a:lnTo>
                  <a:lnTo>
                    <a:pt x="3165642" y="3160069"/>
                  </a:lnTo>
                  <a:lnTo>
                    <a:pt x="3166273" y="3161235"/>
                  </a:lnTo>
                  <a:lnTo>
                    <a:pt x="3168224" y="3166563"/>
                  </a:lnTo>
                  <a:lnTo>
                    <a:pt x="3169091" y="3167675"/>
                  </a:lnTo>
                  <a:lnTo>
                    <a:pt x="3169803" y="3168850"/>
                  </a:lnTo>
                  <a:lnTo>
                    <a:pt x="3170126" y="3171749"/>
                  </a:lnTo>
                  <a:lnTo>
                    <a:pt x="3170250" y="3176216"/>
                  </a:lnTo>
                  <a:lnTo>
                    <a:pt x="3170136" y="3177768"/>
                  </a:lnTo>
                  <a:lnTo>
                    <a:pt x="3168948" y="3183789"/>
                  </a:lnTo>
                  <a:lnTo>
                    <a:pt x="3168355" y="3185004"/>
                  </a:lnTo>
                  <a:lnTo>
                    <a:pt x="3168431" y="3187495"/>
                  </a:lnTo>
                  <a:lnTo>
                    <a:pt x="3168710" y="3190262"/>
                  </a:lnTo>
                  <a:lnTo>
                    <a:pt x="3168705" y="3192298"/>
                  </a:lnTo>
                  <a:lnTo>
                    <a:pt x="3169864" y="3193640"/>
                  </a:lnTo>
                  <a:lnTo>
                    <a:pt x="3170263" y="3195267"/>
                  </a:lnTo>
                  <a:lnTo>
                    <a:pt x="3170349" y="3196997"/>
                  </a:lnTo>
                  <a:lnTo>
                    <a:pt x="3170572" y="3198673"/>
                  </a:lnTo>
                  <a:lnTo>
                    <a:pt x="3171191" y="3200427"/>
                  </a:lnTo>
                  <a:lnTo>
                    <a:pt x="3172048" y="3202250"/>
                  </a:lnTo>
                  <a:lnTo>
                    <a:pt x="3173029" y="3203914"/>
                  </a:lnTo>
                  <a:lnTo>
                    <a:pt x="3175756" y="3207490"/>
                  </a:lnTo>
                  <a:lnTo>
                    <a:pt x="3177262" y="3210247"/>
                  </a:lnTo>
                  <a:lnTo>
                    <a:pt x="3182056" y="3222189"/>
                  </a:lnTo>
                  <a:lnTo>
                    <a:pt x="3182606" y="3224368"/>
                  </a:lnTo>
                  <a:lnTo>
                    <a:pt x="3182614" y="3225674"/>
                  </a:lnTo>
                  <a:lnTo>
                    <a:pt x="3181663" y="3227961"/>
                  </a:lnTo>
                  <a:lnTo>
                    <a:pt x="3179184" y="3231502"/>
                  </a:lnTo>
                  <a:lnTo>
                    <a:pt x="3178442" y="3232082"/>
                  </a:lnTo>
                  <a:lnTo>
                    <a:pt x="3177394" y="3232509"/>
                  </a:lnTo>
                  <a:lnTo>
                    <a:pt x="3176263" y="3233345"/>
                  </a:lnTo>
                  <a:lnTo>
                    <a:pt x="3175664" y="3234424"/>
                  </a:lnTo>
                  <a:lnTo>
                    <a:pt x="3176230" y="3235632"/>
                  </a:lnTo>
                  <a:lnTo>
                    <a:pt x="3175549" y="3242468"/>
                  </a:lnTo>
                  <a:lnTo>
                    <a:pt x="3175500" y="3245929"/>
                  </a:lnTo>
                  <a:lnTo>
                    <a:pt x="3176377" y="3254375"/>
                  </a:lnTo>
                  <a:lnTo>
                    <a:pt x="3177059" y="3255765"/>
                  </a:lnTo>
                  <a:lnTo>
                    <a:pt x="3177953" y="3256968"/>
                  </a:lnTo>
                  <a:lnTo>
                    <a:pt x="3178604" y="3258456"/>
                  </a:lnTo>
                  <a:lnTo>
                    <a:pt x="3178726" y="3259977"/>
                  </a:lnTo>
                  <a:lnTo>
                    <a:pt x="3178000" y="3261274"/>
                  </a:lnTo>
                  <a:lnTo>
                    <a:pt x="3179929" y="3261967"/>
                  </a:lnTo>
                  <a:lnTo>
                    <a:pt x="3183094" y="3264774"/>
                  </a:lnTo>
                  <a:lnTo>
                    <a:pt x="3185902" y="3265204"/>
                  </a:lnTo>
                  <a:lnTo>
                    <a:pt x="3186693" y="3265720"/>
                  </a:lnTo>
                  <a:lnTo>
                    <a:pt x="3187391" y="3266312"/>
                  </a:lnTo>
                  <a:lnTo>
                    <a:pt x="3187936" y="3266652"/>
                  </a:lnTo>
                  <a:lnTo>
                    <a:pt x="3191056" y="3266786"/>
                  </a:lnTo>
                  <a:lnTo>
                    <a:pt x="3192216" y="3267277"/>
                  </a:lnTo>
                  <a:lnTo>
                    <a:pt x="3197533" y="3270782"/>
                  </a:lnTo>
                  <a:lnTo>
                    <a:pt x="3202018" y="3274714"/>
                  </a:lnTo>
                  <a:lnTo>
                    <a:pt x="3203110" y="3276281"/>
                  </a:lnTo>
                  <a:lnTo>
                    <a:pt x="3202863" y="3277878"/>
                  </a:lnTo>
                  <a:lnTo>
                    <a:pt x="3205020" y="3279687"/>
                  </a:lnTo>
                  <a:lnTo>
                    <a:pt x="3209267" y="3286236"/>
                  </a:lnTo>
                  <a:lnTo>
                    <a:pt x="3211669" y="3287292"/>
                  </a:lnTo>
                  <a:lnTo>
                    <a:pt x="3214123" y="3287789"/>
                  </a:lnTo>
                  <a:lnTo>
                    <a:pt x="3216967" y="3289678"/>
                  </a:lnTo>
                  <a:lnTo>
                    <a:pt x="3226116" y="3298726"/>
                  </a:lnTo>
                  <a:lnTo>
                    <a:pt x="3228657" y="3300670"/>
                  </a:lnTo>
                  <a:lnTo>
                    <a:pt x="3231046" y="3301162"/>
                  </a:lnTo>
                  <a:lnTo>
                    <a:pt x="3237469" y="3304716"/>
                  </a:lnTo>
                  <a:lnTo>
                    <a:pt x="3238209" y="3305865"/>
                  </a:lnTo>
                  <a:lnTo>
                    <a:pt x="3238317" y="3307432"/>
                  </a:lnTo>
                  <a:lnTo>
                    <a:pt x="3237794" y="3309575"/>
                  </a:lnTo>
                  <a:lnTo>
                    <a:pt x="3238730" y="3311174"/>
                  </a:lnTo>
                  <a:lnTo>
                    <a:pt x="3240520" y="3315528"/>
                  </a:lnTo>
                  <a:lnTo>
                    <a:pt x="3241437" y="3316281"/>
                  </a:lnTo>
                  <a:lnTo>
                    <a:pt x="3242345" y="3316613"/>
                  </a:lnTo>
                  <a:lnTo>
                    <a:pt x="3245621" y="3318646"/>
                  </a:lnTo>
                  <a:lnTo>
                    <a:pt x="3246629" y="3319636"/>
                  </a:lnTo>
                  <a:lnTo>
                    <a:pt x="3239635" y="3319830"/>
                  </a:lnTo>
                  <a:lnTo>
                    <a:pt x="3238067" y="3320512"/>
                  </a:lnTo>
                  <a:lnTo>
                    <a:pt x="3231439" y="3326166"/>
                  </a:lnTo>
                  <a:lnTo>
                    <a:pt x="3230568" y="3326519"/>
                  </a:lnTo>
                  <a:lnTo>
                    <a:pt x="3230416" y="3328500"/>
                  </a:lnTo>
                  <a:lnTo>
                    <a:pt x="3229935" y="3329393"/>
                  </a:lnTo>
                  <a:lnTo>
                    <a:pt x="3228694" y="3328900"/>
                  </a:lnTo>
                  <a:lnTo>
                    <a:pt x="3227153" y="3328579"/>
                  </a:lnTo>
                  <a:lnTo>
                    <a:pt x="3225419" y="3329522"/>
                  </a:lnTo>
                  <a:lnTo>
                    <a:pt x="3223844" y="3331153"/>
                  </a:lnTo>
                  <a:lnTo>
                    <a:pt x="3222802" y="3332897"/>
                  </a:lnTo>
                  <a:lnTo>
                    <a:pt x="3224134" y="3332099"/>
                  </a:lnTo>
                  <a:lnTo>
                    <a:pt x="3224693" y="3331543"/>
                  </a:lnTo>
                  <a:lnTo>
                    <a:pt x="3225199" y="3330817"/>
                  </a:lnTo>
                  <a:lnTo>
                    <a:pt x="3225776" y="3331515"/>
                  </a:lnTo>
                  <a:lnTo>
                    <a:pt x="3224268" y="3334112"/>
                  </a:lnTo>
                  <a:lnTo>
                    <a:pt x="3222859" y="3337458"/>
                  </a:lnTo>
                  <a:lnTo>
                    <a:pt x="3224464" y="3337034"/>
                  </a:lnTo>
                  <a:lnTo>
                    <a:pt x="3226013" y="3336095"/>
                  </a:lnTo>
                  <a:lnTo>
                    <a:pt x="3227321" y="3334684"/>
                  </a:lnTo>
                  <a:lnTo>
                    <a:pt x="3229143" y="3331222"/>
                  </a:lnTo>
                  <a:lnTo>
                    <a:pt x="3230614" y="3330272"/>
                  </a:lnTo>
                  <a:lnTo>
                    <a:pt x="3245986" y="3326957"/>
                  </a:lnTo>
                  <a:lnTo>
                    <a:pt x="3249500" y="3328250"/>
                  </a:lnTo>
                  <a:lnTo>
                    <a:pt x="3252009" y="3330959"/>
                  </a:lnTo>
                  <a:lnTo>
                    <a:pt x="3256568" y="3336919"/>
                  </a:lnTo>
                  <a:lnTo>
                    <a:pt x="3259446" y="3338868"/>
                  </a:lnTo>
                  <a:lnTo>
                    <a:pt x="3265290" y="3338948"/>
                  </a:lnTo>
                  <a:lnTo>
                    <a:pt x="3268233" y="3340494"/>
                  </a:lnTo>
                  <a:lnTo>
                    <a:pt x="3273912" y="3342267"/>
                  </a:lnTo>
                  <a:lnTo>
                    <a:pt x="3275647" y="3341710"/>
                  </a:lnTo>
                  <a:lnTo>
                    <a:pt x="3276531" y="3340590"/>
                  </a:lnTo>
                  <a:lnTo>
                    <a:pt x="3277411" y="3340094"/>
                  </a:lnTo>
                  <a:lnTo>
                    <a:pt x="3279137" y="3341420"/>
                  </a:lnTo>
                  <a:lnTo>
                    <a:pt x="3280825" y="3342407"/>
                  </a:lnTo>
                  <a:lnTo>
                    <a:pt x="3284672" y="3342782"/>
                  </a:lnTo>
                  <a:lnTo>
                    <a:pt x="3286522" y="3343788"/>
                  </a:lnTo>
                  <a:lnTo>
                    <a:pt x="3287114" y="3344522"/>
                  </a:lnTo>
                  <a:lnTo>
                    <a:pt x="3288757" y="3347137"/>
                  </a:lnTo>
                  <a:lnTo>
                    <a:pt x="3291012" y="3349720"/>
                  </a:lnTo>
                  <a:lnTo>
                    <a:pt x="3291478" y="3350708"/>
                  </a:lnTo>
                  <a:lnTo>
                    <a:pt x="3292604" y="3352647"/>
                  </a:lnTo>
                  <a:lnTo>
                    <a:pt x="3294441" y="3353636"/>
                  </a:lnTo>
                  <a:lnTo>
                    <a:pt x="3297987" y="3354112"/>
                  </a:lnTo>
                  <a:lnTo>
                    <a:pt x="3298429" y="3354021"/>
                  </a:lnTo>
                  <a:lnTo>
                    <a:pt x="3299342" y="3353645"/>
                  </a:lnTo>
                  <a:lnTo>
                    <a:pt x="3299780" y="3353669"/>
                  </a:lnTo>
                  <a:lnTo>
                    <a:pt x="3300146" y="3353980"/>
                  </a:lnTo>
                  <a:lnTo>
                    <a:pt x="3300279" y="3354380"/>
                  </a:lnTo>
                  <a:lnTo>
                    <a:pt x="3300359" y="3354771"/>
                  </a:lnTo>
                  <a:lnTo>
                    <a:pt x="3300578" y="3355077"/>
                  </a:lnTo>
                  <a:lnTo>
                    <a:pt x="3303384" y="3356334"/>
                  </a:lnTo>
                  <a:lnTo>
                    <a:pt x="3304081" y="3356777"/>
                  </a:lnTo>
                  <a:lnTo>
                    <a:pt x="3306495" y="3358795"/>
                  </a:lnTo>
                  <a:lnTo>
                    <a:pt x="3309430" y="3360460"/>
                  </a:lnTo>
                  <a:lnTo>
                    <a:pt x="3310679" y="3361526"/>
                  </a:lnTo>
                  <a:lnTo>
                    <a:pt x="3313752" y="3364742"/>
                  </a:lnTo>
                  <a:lnTo>
                    <a:pt x="3314660" y="3365350"/>
                  </a:lnTo>
                  <a:lnTo>
                    <a:pt x="3315448" y="3365390"/>
                  </a:lnTo>
                  <a:lnTo>
                    <a:pt x="3316298" y="3365807"/>
                  </a:lnTo>
                  <a:lnTo>
                    <a:pt x="3317949" y="3367200"/>
                  </a:lnTo>
                  <a:lnTo>
                    <a:pt x="3318924" y="3368311"/>
                  </a:lnTo>
                  <a:lnTo>
                    <a:pt x="3319175" y="3369001"/>
                  </a:lnTo>
                  <a:lnTo>
                    <a:pt x="3319231" y="3369740"/>
                  </a:lnTo>
                  <a:lnTo>
                    <a:pt x="3319600" y="3371002"/>
                  </a:lnTo>
                  <a:lnTo>
                    <a:pt x="3320693" y="3372959"/>
                  </a:lnTo>
                  <a:lnTo>
                    <a:pt x="3323506" y="3377044"/>
                  </a:lnTo>
                  <a:lnTo>
                    <a:pt x="3324947" y="3380291"/>
                  </a:lnTo>
                  <a:lnTo>
                    <a:pt x="3328338" y="3385721"/>
                  </a:lnTo>
                  <a:lnTo>
                    <a:pt x="3329390" y="3386953"/>
                  </a:lnTo>
                  <a:lnTo>
                    <a:pt x="3330872" y="3388345"/>
                  </a:lnTo>
                  <a:lnTo>
                    <a:pt x="3332456" y="3389424"/>
                  </a:lnTo>
                  <a:lnTo>
                    <a:pt x="3333819" y="3389691"/>
                  </a:lnTo>
                  <a:lnTo>
                    <a:pt x="3335000" y="3390516"/>
                  </a:lnTo>
                  <a:lnTo>
                    <a:pt x="3335850" y="3392861"/>
                  </a:lnTo>
                  <a:lnTo>
                    <a:pt x="3336844" y="3397351"/>
                  </a:lnTo>
                  <a:lnTo>
                    <a:pt x="3338447" y="3401217"/>
                  </a:lnTo>
                  <a:lnTo>
                    <a:pt x="3338725" y="3403046"/>
                  </a:lnTo>
                  <a:lnTo>
                    <a:pt x="3337752" y="3404086"/>
                  </a:lnTo>
                  <a:lnTo>
                    <a:pt x="3336327" y="3404683"/>
                  </a:lnTo>
                  <a:lnTo>
                    <a:pt x="3329537" y="3410081"/>
                  </a:lnTo>
                  <a:lnTo>
                    <a:pt x="3327118" y="3412862"/>
                  </a:lnTo>
                  <a:lnTo>
                    <a:pt x="3325021" y="3416139"/>
                  </a:lnTo>
                  <a:lnTo>
                    <a:pt x="3323385" y="3419934"/>
                  </a:lnTo>
                  <a:lnTo>
                    <a:pt x="3323223" y="3420794"/>
                  </a:lnTo>
                  <a:lnTo>
                    <a:pt x="3322987" y="3423237"/>
                  </a:lnTo>
                  <a:lnTo>
                    <a:pt x="3322750" y="3424330"/>
                  </a:lnTo>
                  <a:lnTo>
                    <a:pt x="3322324" y="3425475"/>
                  </a:lnTo>
                  <a:lnTo>
                    <a:pt x="3321966" y="3426156"/>
                  </a:lnTo>
                  <a:lnTo>
                    <a:pt x="3320866" y="3427509"/>
                  </a:lnTo>
                  <a:lnTo>
                    <a:pt x="3316543" y="3431114"/>
                  </a:lnTo>
                  <a:lnTo>
                    <a:pt x="3315294" y="3432706"/>
                  </a:lnTo>
                  <a:lnTo>
                    <a:pt x="3314780" y="3433980"/>
                  </a:lnTo>
                  <a:lnTo>
                    <a:pt x="3313855" y="3438024"/>
                  </a:lnTo>
                  <a:lnTo>
                    <a:pt x="3313382" y="3438960"/>
                  </a:lnTo>
                  <a:lnTo>
                    <a:pt x="3310001" y="3441836"/>
                  </a:lnTo>
                  <a:lnTo>
                    <a:pt x="3309029" y="3443179"/>
                  </a:lnTo>
                  <a:lnTo>
                    <a:pt x="3308337" y="3444782"/>
                  </a:lnTo>
                  <a:lnTo>
                    <a:pt x="3307887" y="3446745"/>
                  </a:lnTo>
                  <a:lnTo>
                    <a:pt x="3310101" y="3445745"/>
                  </a:lnTo>
                  <a:lnTo>
                    <a:pt x="3311168" y="3444911"/>
                  </a:lnTo>
                  <a:lnTo>
                    <a:pt x="3312250" y="3443417"/>
                  </a:lnTo>
                  <a:lnTo>
                    <a:pt x="3312730" y="3443719"/>
                  </a:lnTo>
                  <a:lnTo>
                    <a:pt x="3313141" y="3444493"/>
                  </a:lnTo>
                  <a:lnTo>
                    <a:pt x="3313369" y="3445406"/>
                  </a:lnTo>
                  <a:lnTo>
                    <a:pt x="3313203" y="3445861"/>
                  </a:lnTo>
                  <a:lnTo>
                    <a:pt x="3312037" y="3448018"/>
                  </a:lnTo>
                  <a:lnTo>
                    <a:pt x="3312661" y="3448630"/>
                  </a:lnTo>
                  <a:lnTo>
                    <a:pt x="3314401" y="3445745"/>
                  </a:lnTo>
                  <a:lnTo>
                    <a:pt x="3315398" y="3438164"/>
                  </a:lnTo>
                  <a:lnTo>
                    <a:pt x="3316724" y="3434718"/>
                  </a:lnTo>
                  <a:lnTo>
                    <a:pt x="3318177" y="3433486"/>
                  </a:lnTo>
                  <a:lnTo>
                    <a:pt x="3321660" y="3432297"/>
                  </a:lnTo>
                  <a:lnTo>
                    <a:pt x="3323160" y="3431147"/>
                  </a:lnTo>
                  <a:lnTo>
                    <a:pt x="3324977" y="3428977"/>
                  </a:lnTo>
                  <a:lnTo>
                    <a:pt x="3325674" y="3428608"/>
                  </a:lnTo>
                  <a:lnTo>
                    <a:pt x="3326345" y="3428077"/>
                  </a:lnTo>
                  <a:lnTo>
                    <a:pt x="3326641" y="3427137"/>
                  </a:lnTo>
                  <a:lnTo>
                    <a:pt x="3326798" y="3426059"/>
                  </a:lnTo>
                  <a:lnTo>
                    <a:pt x="3327050" y="3425139"/>
                  </a:lnTo>
                  <a:lnTo>
                    <a:pt x="3330574" y="3420607"/>
                  </a:lnTo>
                  <a:lnTo>
                    <a:pt x="3330989" y="3419217"/>
                  </a:lnTo>
                  <a:lnTo>
                    <a:pt x="3331076" y="3417194"/>
                  </a:lnTo>
                  <a:lnTo>
                    <a:pt x="3331909" y="3415083"/>
                  </a:lnTo>
                  <a:lnTo>
                    <a:pt x="3334053" y="3411840"/>
                  </a:lnTo>
                  <a:lnTo>
                    <a:pt x="3338298" y="3407891"/>
                  </a:lnTo>
                  <a:lnTo>
                    <a:pt x="3340480" y="3404577"/>
                  </a:lnTo>
                  <a:lnTo>
                    <a:pt x="3342084" y="3403965"/>
                  </a:lnTo>
                  <a:lnTo>
                    <a:pt x="3351630" y="3404473"/>
                  </a:lnTo>
                  <a:lnTo>
                    <a:pt x="3353624" y="3405021"/>
                  </a:lnTo>
                  <a:lnTo>
                    <a:pt x="3355620" y="3405221"/>
                  </a:lnTo>
                  <a:lnTo>
                    <a:pt x="3359604" y="3403976"/>
                  </a:lnTo>
                  <a:lnTo>
                    <a:pt x="3361586" y="3404055"/>
                  </a:lnTo>
                  <a:lnTo>
                    <a:pt x="3362545" y="3404616"/>
                  </a:lnTo>
                  <a:lnTo>
                    <a:pt x="3364020" y="3405989"/>
                  </a:lnTo>
                  <a:lnTo>
                    <a:pt x="3365035" y="3406366"/>
                  </a:lnTo>
                  <a:lnTo>
                    <a:pt x="3369064" y="3406020"/>
                  </a:lnTo>
                  <a:lnTo>
                    <a:pt x="3370747" y="3406282"/>
                  </a:lnTo>
                  <a:lnTo>
                    <a:pt x="3376156" y="3410307"/>
                  </a:lnTo>
                  <a:lnTo>
                    <a:pt x="3379792" y="3412013"/>
                  </a:lnTo>
                  <a:lnTo>
                    <a:pt x="3386944" y="3414145"/>
                  </a:lnTo>
                  <a:lnTo>
                    <a:pt x="3390197" y="3415973"/>
                  </a:lnTo>
                  <a:lnTo>
                    <a:pt x="3394311" y="3421520"/>
                  </a:lnTo>
                  <a:lnTo>
                    <a:pt x="3395369" y="3422279"/>
                  </a:lnTo>
                  <a:lnTo>
                    <a:pt x="3396693" y="3422546"/>
                  </a:lnTo>
                  <a:lnTo>
                    <a:pt x="3405493" y="3427428"/>
                  </a:lnTo>
                  <a:lnTo>
                    <a:pt x="3409843" y="3431068"/>
                  </a:lnTo>
                  <a:lnTo>
                    <a:pt x="3418658" y="3438410"/>
                  </a:lnTo>
                  <a:lnTo>
                    <a:pt x="3419582" y="3439646"/>
                  </a:lnTo>
                  <a:lnTo>
                    <a:pt x="3421183" y="3442196"/>
                  </a:lnTo>
                  <a:lnTo>
                    <a:pt x="3422102" y="3443281"/>
                  </a:lnTo>
                  <a:lnTo>
                    <a:pt x="3425006" y="3445274"/>
                  </a:lnTo>
                  <a:lnTo>
                    <a:pt x="3425545" y="3446196"/>
                  </a:lnTo>
                  <a:lnTo>
                    <a:pt x="3425923" y="3447720"/>
                  </a:lnTo>
                  <a:lnTo>
                    <a:pt x="3426368" y="3449084"/>
                  </a:lnTo>
                  <a:lnTo>
                    <a:pt x="3427033" y="3450068"/>
                  </a:lnTo>
                  <a:lnTo>
                    <a:pt x="3428049" y="3450480"/>
                  </a:lnTo>
                  <a:lnTo>
                    <a:pt x="3426922" y="3446112"/>
                  </a:lnTo>
                  <a:lnTo>
                    <a:pt x="3425958" y="3443738"/>
                  </a:lnTo>
                  <a:lnTo>
                    <a:pt x="3424486" y="3442981"/>
                  </a:lnTo>
                  <a:lnTo>
                    <a:pt x="3423457" y="3442211"/>
                  </a:lnTo>
                  <a:lnTo>
                    <a:pt x="3419206" y="3436724"/>
                  </a:lnTo>
                  <a:lnTo>
                    <a:pt x="3416040" y="3433806"/>
                  </a:lnTo>
                  <a:lnTo>
                    <a:pt x="3414262" y="3432557"/>
                  </a:lnTo>
                  <a:lnTo>
                    <a:pt x="3412932" y="3432186"/>
                  </a:lnTo>
                  <a:lnTo>
                    <a:pt x="3411604" y="3431594"/>
                  </a:lnTo>
                  <a:lnTo>
                    <a:pt x="3409244" y="3428687"/>
                  </a:lnTo>
                  <a:lnTo>
                    <a:pt x="3408403" y="3427643"/>
                  </a:lnTo>
                  <a:lnTo>
                    <a:pt x="3406807" y="3426078"/>
                  </a:lnTo>
                  <a:lnTo>
                    <a:pt x="3396872" y="3421528"/>
                  </a:lnTo>
                  <a:lnTo>
                    <a:pt x="3393795" y="3418787"/>
                  </a:lnTo>
                  <a:lnTo>
                    <a:pt x="3391497" y="3415826"/>
                  </a:lnTo>
                  <a:lnTo>
                    <a:pt x="3389428" y="3412346"/>
                  </a:lnTo>
                  <a:lnTo>
                    <a:pt x="3388137" y="3408423"/>
                  </a:lnTo>
                  <a:lnTo>
                    <a:pt x="3388178" y="3404152"/>
                  </a:lnTo>
                  <a:lnTo>
                    <a:pt x="3389413" y="3398470"/>
                  </a:lnTo>
                  <a:lnTo>
                    <a:pt x="3389521" y="3394820"/>
                  </a:lnTo>
                  <a:lnTo>
                    <a:pt x="3388335" y="3392137"/>
                  </a:lnTo>
                  <a:lnTo>
                    <a:pt x="3387512" y="3391023"/>
                  </a:lnTo>
                  <a:lnTo>
                    <a:pt x="3386742" y="3389350"/>
                  </a:lnTo>
                  <a:lnTo>
                    <a:pt x="3386214" y="3387567"/>
                  </a:lnTo>
                  <a:lnTo>
                    <a:pt x="3386133" y="3386119"/>
                  </a:lnTo>
                  <a:lnTo>
                    <a:pt x="3386532" y="3385904"/>
                  </a:lnTo>
                  <a:lnTo>
                    <a:pt x="3388990" y="3383053"/>
                  </a:lnTo>
                  <a:lnTo>
                    <a:pt x="3389997" y="3382181"/>
                  </a:lnTo>
                  <a:lnTo>
                    <a:pt x="3390878" y="3379309"/>
                  </a:lnTo>
                  <a:lnTo>
                    <a:pt x="3391688" y="3378497"/>
                  </a:lnTo>
                  <a:lnTo>
                    <a:pt x="3395328" y="3376553"/>
                  </a:lnTo>
                  <a:lnTo>
                    <a:pt x="3395925" y="3375834"/>
                  </a:lnTo>
                  <a:lnTo>
                    <a:pt x="3396014" y="3375733"/>
                  </a:lnTo>
                  <a:lnTo>
                    <a:pt x="3395590" y="3374032"/>
                  </a:lnTo>
                  <a:lnTo>
                    <a:pt x="3394196" y="3371455"/>
                  </a:lnTo>
                  <a:lnTo>
                    <a:pt x="3392450" y="3368881"/>
                  </a:lnTo>
                  <a:lnTo>
                    <a:pt x="3390973" y="3367159"/>
                  </a:lnTo>
                  <a:lnTo>
                    <a:pt x="3393721" y="3365887"/>
                  </a:lnTo>
                  <a:lnTo>
                    <a:pt x="3396362" y="3362937"/>
                  </a:lnTo>
                  <a:lnTo>
                    <a:pt x="3402180" y="3352170"/>
                  </a:lnTo>
                  <a:lnTo>
                    <a:pt x="3403532" y="3351221"/>
                  </a:lnTo>
                  <a:lnTo>
                    <a:pt x="3407106" y="3353061"/>
                  </a:lnTo>
                  <a:lnTo>
                    <a:pt x="3408733" y="3352990"/>
                  </a:lnTo>
                  <a:lnTo>
                    <a:pt x="3409661" y="3353618"/>
                  </a:lnTo>
                  <a:lnTo>
                    <a:pt x="3409474" y="3356710"/>
                  </a:lnTo>
                  <a:lnTo>
                    <a:pt x="3408854" y="3360471"/>
                  </a:lnTo>
                  <a:lnTo>
                    <a:pt x="3409101" y="3362670"/>
                  </a:lnTo>
                  <a:lnTo>
                    <a:pt x="3410309" y="3364639"/>
                  </a:lnTo>
                  <a:lnTo>
                    <a:pt x="3411053" y="3364867"/>
                  </a:lnTo>
                  <a:lnTo>
                    <a:pt x="3416475" y="3363622"/>
                  </a:lnTo>
                  <a:lnTo>
                    <a:pt x="3417388" y="3363082"/>
                  </a:lnTo>
                  <a:lnTo>
                    <a:pt x="3417993" y="3362366"/>
                  </a:lnTo>
                  <a:lnTo>
                    <a:pt x="3418378" y="3361641"/>
                  </a:lnTo>
                  <a:lnTo>
                    <a:pt x="3418835" y="3361076"/>
                  </a:lnTo>
                  <a:lnTo>
                    <a:pt x="3419692" y="3360840"/>
                  </a:lnTo>
                  <a:lnTo>
                    <a:pt x="3421232" y="3361753"/>
                  </a:lnTo>
                  <a:lnTo>
                    <a:pt x="3422591" y="3362780"/>
                  </a:lnTo>
                  <a:lnTo>
                    <a:pt x="3423651" y="3363801"/>
                  </a:lnTo>
                  <a:lnTo>
                    <a:pt x="3427904" y="3365644"/>
                  </a:lnTo>
                  <a:lnTo>
                    <a:pt x="3429402" y="3366645"/>
                  </a:lnTo>
                  <a:lnTo>
                    <a:pt x="3430047" y="3367780"/>
                  </a:lnTo>
                  <a:lnTo>
                    <a:pt x="3430662" y="3370306"/>
                  </a:lnTo>
                  <a:lnTo>
                    <a:pt x="3431139" y="3371624"/>
                  </a:lnTo>
                  <a:lnTo>
                    <a:pt x="3431929" y="3372783"/>
                  </a:lnTo>
                  <a:lnTo>
                    <a:pt x="3433711" y="3374283"/>
                  </a:lnTo>
                  <a:lnTo>
                    <a:pt x="3434563" y="3375370"/>
                  </a:lnTo>
                  <a:lnTo>
                    <a:pt x="3437563" y="3381968"/>
                  </a:lnTo>
                  <a:lnTo>
                    <a:pt x="3438917" y="3383728"/>
                  </a:lnTo>
                  <a:lnTo>
                    <a:pt x="3439535" y="3384806"/>
                  </a:lnTo>
                  <a:lnTo>
                    <a:pt x="3439404" y="3385893"/>
                  </a:lnTo>
                  <a:lnTo>
                    <a:pt x="3438499" y="3387766"/>
                  </a:lnTo>
                  <a:lnTo>
                    <a:pt x="3438605" y="3388925"/>
                  </a:lnTo>
                  <a:lnTo>
                    <a:pt x="3439247" y="3390428"/>
                  </a:lnTo>
                  <a:lnTo>
                    <a:pt x="3440050" y="3391702"/>
                  </a:lnTo>
                  <a:lnTo>
                    <a:pt x="3443747" y="3394823"/>
                  </a:lnTo>
                  <a:lnTo>
                    <a:pt x="3444660" y="3395180"/>
                  </a:lnTo>
                  <a:lnTo>
                    <a:pt x="3448570" y="3395511"/>
                  </a:lnTo>
                  <a:lnTo>
                    <a:pt x="3447471" y="3394476"/>
                  </a:lnTo>
                  <a:lnTo>
                    <a:pt x="3446259" y="3392957"/>
                  </a:lnTo>
                  <a:lnTo>
                    <a:pt x="3445020" y="3391673"/>
                  </a:lnTo>
                  <a:lnTo>
                    <a:pt x="3442620" y="3390994"/>
                  </a:lnTo>
                  <a:lnTo>
                    <a:pt x="3441878" y="3389643"/>
                  </a:lnTo>
                  <a:lnTo>
                    <a:pt x="3441442" y="3387776"/>
                  </a:lnTo>
                  <a:lnTo>
                    <a:pt x="3440832" y="3383592"/>
                  </a:lnTo>
                  <a:lnTo>
                    <a:pt x="3440851" y="3382805"/>
                  </a:lnTo>
                  <a:lnTo>
                    <a:pt x="3441001" y="3381827"/>
                  </a:lnTo>
                  <a:lnTo>
                    <a:pt x="3441794" y="3379879"/>
                  </a:lnTo>
                  <a:lnTo>
                    <a:pt x="3442601" y="3376889"/>
                  </a:lnTo>
                  <a:lnTo>
                    <a:pt x="3443358" y="3375920"/>
                  </a:lnTo>
                  <a:lnTo>
                    <a:pt x="3444795" y="3375611"/>
                  </a:lnTo>
                  <a:lnTo>
                    <a:pt x="3443551" y="3374510"/>
                  </a:lnTo>
                  <a:lnTo>
                    <a:pt x="3440624" y="3374017"/>
                  </a:lnTo>
                  <a:lnTo>
                    <a:pt x="3439715" y="3372786"/>
                  </a:lnTo>
                  <a:lnTo>
                    <a:pt x="3439670" y="3371035"/>
                  </a:lnTo>
                  <a:lnTo>
                    <a:pt x="3440330" y="3369675"/>
                  </a:lnTo>
                  <a:lnTo>
                    <a:pt x="3441262" y="3368437"/>
                  </a:lnTo>
                  <a:lnTo>
                    <a:pt x="3442064" y="3367045"/>
                  </a:lnTo>
                  <a:lnTo>
                    <a:pt x="3442846" y="3363684"/>
                  </a:lnTo>
                  <a:lnTo>
                    <a:pt x="3443503" y="3361924"/>
                  </a:lnTo>
                  <a:lnTo>
                    <a:pt x="3445819" y="3359951"/>
                  </a:lnTo>
                  <a:lnTo>
                    <a:pt x="3446397" y="3359664"/>
                  </a:lnTo>
                  <a:lnTo>
                    <a:pt x="3449956" y="3358663"/>
                  </a:lnTo>
                  <a:lnTo>
                    <a:pt x="3447904" y="3357066"/>
                  </a:lnTo>
                  <a:lnTo>
                    <a:pt x="3443451" y="3358647"/>
                  </a:lnTo>
                  <a:lnTo>
                    <a:pt x="3441142" y="3358053"/>
                  </a:lnTo>
                  <a:lnTo>
                    <a:pt x="3439859" y="3355801"/>
                  </a:lnTo>
                  <a:lnTo>
                    <a:pt x="3439213" y="3352563"/>
                  </a:lnTo>
                  <a:lnTo>
                    <a:pt x="3439199" y="3349440"/>
                  </a:lnTo>
                  <a:lnTo>
                    <a:pt x="3439815" y="3347558"/>
                  </a:lnTo>
                  <a:lnTo>
                    <a:pt x="3438978" y="3347485"/>
                  </a:lnTo>
                  <a:lnTo>
                    <a:pt x="3437302" y="3347871"/>
                  </a:lnTo>
                  <a:lnTo>
                    <a:pt x="3436474" y="3347789"/>
                  </a:lnTo>
                  <a:lnTo>
                    <a:pt x="3435791" y="3347180"/>
                  </a:lnTo>
                  <a:lnTo>
                    <a:pt x="3433904" y="3345138"/>
                  </a:lnTo>
                  <a:lnTo>
                    <a:pt x="3433055" y="3344823"/>
                  </a:lnTo>
                  <a:lnTo>
                    <a:pt x="3431261" y="3345120"/>
                  </a:lnTo>
                  <a:lnTo>
                    <a:pt x="3429489" y="3344827"/>
                  </a:lnTo>
                  <a:lnTo>
                    <a:pt x="3428220" y="3343526"/>
                  </a:lnTo>
                  <a:lnTo>
                    <a:pt x="3427930" y="3340781"/>
                  </a:lnTo>
                  <a:lnTo>
                    <a:pt x="3425713" y="3340156"/>
                  </a:lnTo>
                  <a:lnTo>
                    <a:pt x="3424536" y="3339642"/>
                  </a:lnTo>
                  <a:lnTo>
                    <a:pt x="3423582" y="3338969"/>
                  </a:lnTo>
                  <a:lnTo>
                    <a:pt x="3421713" y="3336477"/>
                  </a:lnTo>
                  <a:lnTo>
                    <a:pt x="3420776" y="3335648"/>
                  </a:lnTo>
                  <a:lnTo>
                    <a:pt x="3419363" y="3335436"/>
                  </a:lnTo>
                  <a:lnTo>
                    <a:pt x="3419528" y="3333448"/>
                  </a:lnTo>
                  <a:lnTo>
                    <a:pt x="3420161" y="3332098"/>
                  </a:lnTo>
                  <a:lnTo>
                    <a:pt x="3421161" y="3331243"/>
                  </a:lnTo>
                  <a:lnTo>
                    <a:pt x="3422435" y="3330742"/>
                  </a:lnTo>
                  <a:lnTo>
                    <a:pt x="3423083" y="3330687"/>
                  </a:lnTo>
                  <a:lnTo>
                    <a:pt x="3424514" y="3330841"/>
                  </a:lnTo>
                  <a:lnTo>
                    <a:pt x="3425294" y="3330721"/>
                  </a:lnTo>
                  <a:lnTo>
                    <a:pt x="3426045" y="3330232"/>
                  </a:lnTo>
                  <a:lnTo>
                    <a:pt x="3427216" y="3328808"/>
                  </a:lnTo>
                  <a:lnTo>
                    <a:pt x="3428675" y="3327615"/>
                  </a:lnTo>
                  <a:lnTo>
                    <a:pt x="3429598" y="3326002"/>
                  </a:lnTo>
                  <a:lnTo>
                    <a:pt x="3430247" y="3324083"/>
                  </a:lnTo>
                  <a:lnTo>
                    <a:pt x="3430303" y="3322385"/>
                  </a:lnTo>
                  <a:lnTo>
                    <a:pt x="3429584" y="3321331"/>
                  </a:lnTo>
                  <a:lnTo>
                    <a:pt x="3427104" y="3319532"/>
                  </a:lnTo>
                  <a:lnTo>
                    <a:pt x="3426168" y="3317720"/>
                  </a:lnTo>
                  <a:lnTo>
                    <a:pt x="3424446" y="3315557"/>
                  </a:lnTo>
                  <a:lnTo>
                    <a:pt x="3423971" y="3314030"/>
                  </a:lnTo>
                  <a:lnTo>
                    <a:pt x="3425173" y="3312941"/>
                  </a:lnTo>
                  <a:lnTo>
                    <a:pt x="3427902" y="3311678"/>
                  </a:lnTo>
                  <a:lnTo>
                    <a:pt x="3432568" y="3308221"/>
                  </a:lnTo>
                  <a:lnTo>
                    <a:pt x="3433335" y="3306815"/>
                  </a:lnTo>
                  <a:lnTo>
                    <a:pt x="3433312" y="3303817"/>
                  </a:lnTo>
                  <a:lnTo>
                    <a:pt x="3433906" y="3303535"/>
                  </a:lnTo>
                  <a:lnTo>
                    <a:pt x="3434541" y="3303430"/>
                  </a:lnTo>
                  <a:lnTo>
                    <a:pt x="3434716" y="3302939"/>
                  </a:lnTo>
                  <a:lnTo>
                    <a:pt x="3434395" y="3301732"/>
                  </a:lnTo>
                  <a:lnTo>
                    <a:pt x="3434042" y="3300727"/>
                  </a:lnTo>
                  <a:lnTo>
                    <a:pt x="3433532" y="3299887"/>
                  </a:lnTo>
                  <a:lnTo>
                    <a:pt x="3432761" y="3299170"/>
                  </a:lnTo>
                  <a:lnTo>
                    <a:pt x="3435427" y="3298569"/>
                  </a:lnTo>
                  <a:lnTo>
                    <a:pt x="3436591" y="3297840"/>
                  </a:lnTo>
                  <a:lnTo>
                    <a:pt x="3437257" y="3296433"/>
                  </a:lnTo>
                  <a:lnTo>
                    <a:pt x="3436782" y="3296263"/>
                  </a:lnTo>
                  <a:lnTo>
                    <a:pt x="3435995" y="3295607"/>
                  </a:lnTo>
                  <a:lnTo>
                    <a:pt x="3435529" y="3295306"/>
                  </a:lnTo>
                  <a:lnTo>
                    <a:pt x="3436674" y="3293868"/>
                  </a:lnTo>
                  <a:lnTo>
                    <a:pt x="3437936" y="3292958"/>
                  </a:lnTo>
                  <a:lnTo>
                    <a:pt x="3439034" y="3291777"/>
                  </a:lnTo>
                  <a:lnTo>
                    <a:pt x="3439672" y="3289497"/>
                  </a:lnTo>
                  <a:lnTo>
                    <a:pt x="3439671" y="3288502"/>
                  </a:lnTo>
                  <a:lnTo>
                    <a:pt x="3439456" y="3286059"/>
                  </a:lnTo>
                  <a:lnTo>
                    <a:pt x="3439439" y="3284922"/>
                  </a:lnTo>
                  <a:lnTo>
                    <a:pt x="3439623" y="3283926"/>
                  </a:lnTo>
                  <a:lnTo>
                    <a:pt x="3440187" y="3282085"/>
                  </a:lnTo>
                  <a:lnTo>
                    <a:pt x="3440234" y="3280842"/>
                  </a:lnTo>
                  <a:lnTo>
                    <a:pt x="3437830" y="3277381"/>
                  </a:lnTo>
                  <a:lnTo>
                    <a:pt x="3437941" y="3276190"/>
                  </a:lnTo>
                  <a:lnTo>
                    <a:pt x="3439549" y="3274778"/>
                  </a:lnTo>
                  <a:lnTo>
                    <a:pt x="3441310" y="3274092"/>
                  </a:lnTo>
                  <a:lnTo>
                    <a:pt x="3447025" y="3274258"/>
                  </a:lnTo>
                  <a:lnTo>
                    <a:pt x="3446813" y="3273475"/>
                  </a:lnTo>
                  <a:lnTo>
                    <a:pt x="3445536" y="3272980"/>
                  </a:lnTo>
                  <a:lnTo>
                    <a:pt x="3444526" y="3272251"/>
                  </a:lnTo>
                  <a:lnTo>
                    <a:pt x="3443518" y="3271682"/>
                  </a:lnTo>
                  <a:lnTo>
                    <a:pt x="3442242" y="3271688"/>
                  </a:lnTo>
                  <a:lnTo>
                    <a:pt x="3439284" y="3272307"/>
                  </a:lnTo>
                  <a:lnTo>
                    <a:pt x="3437870" y="3272917"/>
                  </a:lnTo>
                  <a:lnTo>
                    <a:pt x="3436941" y="3274043"/>
                  </a:lnTo>
                  <a:lnTo>
                    <a:pt x="3435964" y="3271982"/>
                  </a:lnTo>
                  <a:lnTo>
                    <a:pt x="3436299" y="3270118"/>
                  </a:lnTo>
                  <a:lnTo>
                    <a:pt x="3437821" y="3266769"/>
                  </a:lnTo>
                  <a:lnTo>
                    <a:pt x="3437881" y="3263850"/>
                  </a:lnTo>
                  <a:lnTo>
                    <a:pt x="3437001" y="3262778"/>
                  </a:lnTo>
                  <a:lnTo>
                    <a:pt x="3435751" y="3262085"/>
                  </a:lnTo>
                  <a:lnTo>
                    <a:pt x="3434697" y="3260285"/>
                  </a:lnTo>
                  <a:lnTo>
                    <a:pt x="3434932" y="3259716"/>
                  </a:lnTo>
                  <a:lnTo>
                    <a:pt x="3435297" y="3258400"/>
                  </a:lnTo>
                  <a:lnTo>
                    <a:pt x="3435360" y="3257148"/>
                  </a:lnTo>
                  <a:lnTo>
                    <a:pt x="3434673" y="3256777"/>
                  </a:lnTo>
                  <a:lnTo>
                    <a:pt x="3433477" y="3256635"/>
                  </a:lnTo>
                  <a:lnTo>
                    <a:pt x="3432703" y="3255791"/>
                  </a:lnTo>
                  <a:lnTo>
                    <a:pt x="3432612" y="3254757"/>
                  </a:lnTo>
                  <a:lnTo>
                    <a:pt x="3434085" y="3253370"/>
                  </a:lnTo>
                  <a:lnTo>
                    <a:pt x="3433918" y="3252354"/>
                  </a:lnTo>
                  <a:lnTo>
                    <a:pt x="3433398" y="3251438"/>
                  </a:lnTo>
                  <a:lnTo>
                    <a:pt x="3432927" y="3251098"/>
                  </a:lnTo>
                  <a:lnTo>
                    <a:pt x="3429850" y="3251191"/>
                  </a:lnTo>
                  <a:lnTo>
                    <a:pt x="3430062" y="3250053"/>
                  </a:lnTo>
                  <a:lnTo>
                    <a:pt x="3430456" y="3249485"/>
                  </a:lnTo>
                  <a:lnTo>
                    <a:pt x="3430700" y="3248955"/>
                  </a:lnTo>
                  <a:lnTo>
                    <a:pt x="3430427" y="3247941"/>
                  </a:lnTo>
                  <a:lnTo>
                    <a:pt x="3429750" y="3247032"/>
                  </a:lnTo>
                  <a:lnTo>
                    <a:pt x="3428783" y="3246354"/>
                  </a:lnTo>
                  <a:lnTo>
                    <a:pt x="3427796" y="3245944"/>
                  </a:lnTo>
                  <a:lnTo>
                    <a:pt x="3427036" y="3245815"/>
                  </a:lnTo>
                  <a:lnTo>
                    <a:pt x="3424375" y="3247785"/>
                  </a:lnTo>
                  <a:lnTo>
                    <a:pt x="3423085" y="3248146"/>
                  </a:lnTo>
                  <a:lnTo>
                    <a:pt x="3422833" y="3246233"/>
                  </a:lnTo>
                  <a:lnTo>
                    <a:pt x="3421449" y="3245865"/>
                  </a:lnTo>
                  <a:lnTo>
                    <a:pt x="3420538" y="3246509"/>
                  </a:lnTo>
                  <a:lnTo>
                    <a:pt x="3419730" y="3247496"/>
                  </a:lnTo>
                  <a:lnTo>
                    <a:pt x="3418660" y="3248185"/>
                  </a:lnTo>
                  <a:lnTo>
                    <a:pt x="3418669" y="3247672"/>
                  </a:lnTo>
                  <a:lnTo>
                    <a:pt x="3418565" y="3246426"/>
                  </a:lnTo>
                  <a:lnTo>
                    <a:pt x="3418558" y="3245894"/>
                  </a:lnTo>
                  <a:lnTo>
                    <a:pt x="3417614" y="3246216"/>
                  </a:lnTo>
                  <a:lnTo>
                    <a:pt x="3415787" y="3246040"/>
                  </a:lnTo>
                  <a:lnTo>
                    <a:pt x="3414815" y="3246106"/>
                  </a:lnTo>
                  <a:lnTo>
                    <a:pt x="3414623" y="3245387"/>
                  </a:lnTo>
                  <a:lnTo>
                    <a:pt x="3415937" y="3244985"/>
                  </a:lnTo>
                  <a:lnTo>
                    <a:pt x="3417644" y="3242589"/>
                  </a:lnTo>
                  <a:lnTo>
                    <a:pt x="3418849" y="3241876"/>
                  </a:lnTo>
                  <a:lnTo>
                    <a:pt x="3418029" y="3241238"/>
                  </a:lnTo>
                  <a:lnTo>
                    <a:pt x="3417254" y="3240817"/>
                  </a:lnTo>
                  <a:lnTo>
                    <a:pt x="3416487" y="3240591"/>
                  </a:lnTo>
                  <a:lnTo>
                    <a:pt x="3415677" y="3240529"/>
                  </a:lnTo>
                  <a:lnTo>
                    <a:pt x="3415468" y="3239746"/>
                  </a:lnTo>
                  <a:lnTo>
                    <a:pt x="3416814" y="3239366"/>
                  </a:lnTo>
                  <a:lnTo>
                    <a:pt x="3415866" y="3238133"/>
                  </a:lnTo>
                  <a:lnTo>
                    <a:pt x="3415132" y="3236752"/>
                  </a:lnTo>
                  <a:lnTo>
                    <a:pt x="3414258" y="3237633"/>
                  </a:lnTo>
                  <a:lnTo>
                    <a:pt x="3413264" y="3237936"/>
                  </a:lnTo>
                  <a:lnTo>
                    <a:pt x="3412178" y="3237749"/>
                  </a:lnTo>
                  <a:lnTo>
                    <a:pt x="3411024" y="3237134"/>
                  </a:lnTo>
                  <a:lnTo>
                    <a:pt x="3411870" y="3234108"/>
                  </a:lnTo>
                  <a:lnTo>
                    <a:pt x="3411464" y="3232837"/>
                  </a:lnTo>
                  <a:lnTo>
                    <a:pt x="3409998" y="3232770"/>
                  </a:lnTo>
                  <a:lnTo>
                    <a:pt x="3407681" y="3233374"/>
                  </a:lnTo>
                  <a:lnTo>
                    <a:pt x="3407507" y="3232719"/>
                  </a:lnTo>
                  <a:lnTo>
                    <a:pt x="3408921" y="3232147"/>
                  </a:lnTo>
                  <a:lnTo>
                    <a:pt x="3409948" y="3231251"/>
                  </a:lnTo>
                  <a:lnTo>
                    <a:pt x="3410062" y="3230046"/>
                  </a:lnTo>
                  <a:lnTo>
                    <a:pt x="3408729" y="3228515"/>
                  </a:lnTo>
                  <a:lnTo>
                    <a:pt x="3407438" y="3228353"/>
                  </a:lnTo>
                  <a:lnTo>
                    <a:pt x="3405630" y="3228446"/>
                  </a:lnTo>
                  <a:lnTo>
                    <a:pt x="3404156" y="3227948"/>
                  </a:lnTo>
                  <a:lnTo>
                    <a:pt x="3403857" y="3226016"/>
                  </a:lnTo>
                  <a:lnTo>
                    <a:pt x="3404686" y="3224956"/>
                  </a:lnTo>
                  <a:lnTo>
                    <a:pt x="3409338" y="3223635"/>
                  </a:lnTo>
                  <a:lnTo>
                    <a:pt x="3410595" y="3222545"/>
                  </a:lnTo>
                  <a:lnTo>
                    <a:pt x="3410888" y="3221454"/>
                  </a:lnTo>
                  <a:lnTo>
                    <a:pt x="3410495" y="3220087"/>
                  </a:lnTo>
                  <a:lnTo>
                    <a:pt x="3409693" y="3218131"/>
                  </a:lnTo>
                  <a:lnTo>
                    <a:pt x="3408742" y="3219481"/>
                  </a:lnTo>
                  <a:lnTo>
                    <a:pt x="3408161" y="3219985"/>
                  </a:lnTo>
                  <a:lnTo>
                    <a:pt x="3407494" y="3220297"/>
                  </a:lnTo>
                  <a:lnTo>
                    <a:pt x="3406854" y="3220150"/>
                  </a:lnTo>
                  <a:lnTo>
                    <a:pt x="3407015" y="3219368"/>
                  </a:lnTo>
                  <a:lnTo>
                    <a:pt x="3410753" y="3211647"/>
                  </a:lnTo>
                  <a:lnTo>
                    <a:pt x="3409788" y="3211851"/>
                  </a:lnTo>
                  <a:lnTo>
                    <a:pt x="3405227" y="3214738"/>
                  </a:lnTo>
                  <a:lnTo>
                    <a:pt x="3404423" y="3215033"/>
                  </a:lnTo>
                  <a:lnTo>
                    <a:pt x="3402276" y="3215263"/>
                  </a:lnTo>
                  <a:lnTo>
                    <a:pt x="3401282" y="3215114"/>
                  </a:lnTo>
                  <a:lnTo>
                    <a:pt x="3400295" y="3214723"/>
                  </a:lnTo>
                  <a:lnTo>
                    <a:pt x="3399279" y="3214031"/>
                  </a:lnTo>
                  <a:lnTo>
                    <a:pt x="3397881" y="3212223"/>
                  </a:lnTo>
                  <a:lnTo>
                    <a:pt x="3397028" y="3211320"/>
                  </a:lnTo>
                  <a:lnTo>
                    <a:pt x="3396158" y="3211048"/>
                  </a:lnTo>
                  <a:lnTo>
                    <a:pt x="3397514" y="3209179"/>
                  </a:lnTo>
                  <a:lnTo>
                    <a:pt x="3397721" y="3208016"/>
                  </a:lnTo>
                  <a:lnTo>
                    <a:pt x="3397181" y="3206128"/>
                  </a:lnTo>
                  <a:lnTo>
                    <a:pt x="3398336" y="3206606"/>
                  </a:lnTo>
                  <a:lnTo>
                    <a:pt x="3400084" y="3205366"/>
                  </a:lnTo>
                  <a:lnTo>
                    <a:pt x="3401283" y="3205821"/>
                  </a:lnTo>
                  <a:lnTo>
                    <a:pt x="3401629" y="3205268"/>
                  </a:lnTo>
                  <a:lnTo>
                    <a:pt x="3401864" y="3204673"/>
                  </a:lnTo>
                  <a:lnTo>
                    <a:pt x="3401979" y="3203992"/>
                  </a:lnTo>
                  <a:lnTo>
                    <a:pt x="3401973" y="3203169"/>
                  </a:lnTo>
                  <a:lnTo>
                    <a:pt x="3400234" y="3203713"/>
                  </a:lnTo>
                  <a:lnTo>
                    <a:pt x="3399365" y="3203676"/>
                  </a:lnTo>
                  <a:lnTo>
                    <a:pt x="3398445" y="3203110"/>
                  </a:lnTo>
                  <a:lnTo>
                    <a:pt x="3397697" y="3202091"/>
                  </a:lnTo>
                  <a:lnTo>
                    <a:pt x="3397136" y="3201157"/>
                  </a:lnTo>
                  <a:lnTo>
                    <a:pt x="3396457" y="3200726"/>
                  </a:lnTo>
                  <a:lnTo>
                    <a:pt x="3395369" y="3201224"/>
                  </a:lnTo>
                  <a:lnTo>
                    <a:pt x="3395607" y="3201526"/>
                  </a:lnTo>
                  <a:lnTo>
                    <a:pt x="3395650" y="3201614"/>
                  </a:lnTo>
                  <a:lnTo>
                    <a:pt x="3395724" y="3201663"/>
                  </a:lnTo>
                  <a:lnTo>
                    <a:pt x="3396034" y="3201811"/>
                  </a:lnTo>
                  <a:lnTo>
                    <a:pt x="3394610" y="3202996"/>
                  </a:lnTo>
                  <a:lnTo>
                    <a:pt x="3392358" y="3203247"/>
                  </a:lnTo>
                  <a:lnTo>
                    <a:pt x="3389952" y="3202772"/>
                  </a:lnTo>
                  <a:lnTo>
                    <a:pt x="3388093" y="3201785"/>
                  </a:lnTo>
                  <a:lnTo>
                    <a:pt x="3389136" y="3201168"/>
                  </a:lnTo>
                  <a:lnTo>
                    <a:pt x="3390270" y="3200038"/>
                  </a:lnTo>
                  <a:lnTo>
                    <a:pt x="3391149" y="3198546"/>
                  </a:lnTo>
                  <a:lnTo>
                    <a:pt x="3391428" y="3196854"/>
                  </a:lnTo>
                  <a:lnTo>
                    <a:pt x="3390340" y="3196209"/>
                  </a:lnTo>
                  <a:lnTo>
                    <a:pt x="3389407" y="3196414"/>
                  </a:lnTo>
                  <a:lnTo>
                    <a:pt x="3388470" y="3196951"/>
                  </a:lnTo>
                  <a:lnTo>
                    <a:pt x="3387370" y="3197284"/>
                  </a:lnTo>
                  <a:lnTo>
                    <a:pt x="3388571" y="3186074"/>
                  </a:lnTo>
                  <a:lnTo>
                    <a:pt x="3386702" y="3184994"/>
                  </a:lnTo>
                  <a:lnTo>
                    <a:pt x="3386646" y="3184292"/>
                  </a:lnTo>
                  <a:lnTo>
                    <a:pt x="3387534" y="3183515"/>
                  </a:lnTo>
                  <a:lnTo>
                    <a:pt x="3388497" y="3182160"/>
                  </a:lnTo>
                  <a:lnTo>
                    <a:pt x="3387982" y="3181448"/>
                  </a:lnTo>
                  <a:lnTo>
                    <a:pt x="3387445" y="3180949"/>
                  </a:lnTo>
                  <a:lnTo>
                    <a:pt x="3386868" y="3180650"/>
                  </a:lnTo>
                  <a:lnTo>
                    <a:pt x="3386223" y="3180544"/>
                  </a:lnTo>
                  <a:lnTo>
                    <a:pt x="3386698" y="3179970"/>
                  </a:lnTo>
                  <a:lnTo>
                    <a:pt x="3388211" y="3178977"/>
                  </a:lnTo>
                  <a:lnTo>
                    <a:pt x="3388498" y="3178681"/>
                  </a:lnTo>
                  <a:lnTo>
                    <a:pt x="3387994" y="3177593"/>
                  </a:lnTo>
                  <a:lnTo>
                    <a:pt x="3387327" y="3177144"/>
                  </a:lnTo>
                  <a:lnTo>
                    <a:pt x="3386579" y="3177187"/>
                  </a:lnTo>
                  <a:lnTo>
                    <a:pt x="3385854" y="3177565"/>
                  </a:lnTo>
                  <a:lnTo>
                    <a:pt x="3386756" y="3176019"/>
                  </a:lnTo>
                  <a:lnTo>
                    <a:pt x="3387192" y="3175649"/>
                  </a:lnTo>
                  <a:lnTo>
                    <a:pt x="3387000" y="3174929"/>
                  </a:lnTo>
                  <a:lnTo>
                    <a:pt x="3386312" y="3175011"/>
                  </a:lnTo>
                  <a:lnTo>
                    <a:pt x="3385319" y="3174925"/>
                  </a:lnTo>
                  <a:lnTo>
                    <a:pt x="3384308" y="3174659"/>
                  </a:lnTo>
                  <a:lnTo>
                    <a:pt x="3383592" y="3174261"/>
                  </a:lnTo>
                  <a:lnTo>
                    <a:pt x="3382801" y="3173515"/>
                  </a:lnTo>
                  <a:lnTo>
                    <a:pt x="3382592" y="3173163"/>
                  </a:lnTo>
                  <a:lnTo>
                    <a:pt x="3383157" y="3171750"/>
                  </a:lnTo>
                  <a:lnTo>
                    <a:pt x="3383009" y="3170572"/>
                  </a:lnTo>
                  <a:lnTo>
                    <a:pt x="3382161" y="3169639"/>
                  </a:lnTo>
                  <a:lnTo>
                    <a:pt x="3381158" y="3168869"/>
                  </a:lnTo>
                  <a:lnTo>
                    <a:pt x="3380549" y="3168156"/>
                  </a:lnTo>
                  <a:lnTo>
                    <a:pt x="3380340" y="3166778"/>
                  </a:lnTo>
                  <a:lnTo>
                    <a:pt x="3380922" y="3165121"/>
                  </a:lnTo>
                  <a:lnTo>
                    <a:pt x="3380829" y="3163840"/>
                  </a:lnTo>
                  <a:lnTo>
                    <a:pt x="3380432" y="3162776"/>
                  </a:lnTo>
                  <a:lnTo>
                    <a:pt x="3379846" y="3161808"/>
                  </a:lnTo>
                  <a:lnTo>
                    <a:pt x="3379164" y="3161156"/>
                  </a:lnTo>
                  <a:lnTo>
                    <a:pt x="3378452" y="3161023"/>
                  </a:lnTo>
                  <a:lnTo>
                    <a:pt x="3377946" y="3160501"/>
                  </a:lnTo>
                  <a:lnTo>
                    <a:pt x="3376386" y="3157857"/>
                  </a:lnTo>
                  <a:lnTo>
                    <a:pt x="3375790" y="3157135"/>
                  </a:lnTo>
                  <a:lnTo>
                    <a:pt x="3374969" y="3157114"/>
                  </a:lnTo>
                  <a:lnTo>
                    <a:pt x="3374079" y="3157559"/>
                  </a:lnTo>
                  <a:lnTo>
                    <a:pt x="3373321" y="3158276"/>
                  </a:lnTo>
                  <a:lnTo>
                    <a:pt x="3372878" y="3159065"/>
                  </a:lnTo>
                  <a:lnTo>
                    <a:pt x="3372322" y="3159712"/>
                  </a:lnTo>
                  <a:lnTo>
                    <a:pt x="3371629" y="3159605"/>
                  </a:lnTo>
                  <a:lnTo>
                    <a:pt x="3371338" y="3159018"/>
                  </a:lnTo>
                  <a:lnTo>
                    <a:pt x="3371979" y="3158192"/>
                  </a:lnTo>
                  <a:lnTo>
                    <a:pt x="3371773" y="3157407"/>
                  </a:lnTo>
                  <a:lnTo>
                    <a:pt x="3370048" y="3156937"/>
                  </a:lnTo>
                  <a:lnTo>
                    <a:pt x="3369024" y="3155978"/>
                  </a:lnTo>
                  <a:lnTo>
                    <a:pt x="3368078" y="3154750"/>
                  </a:lnTo>
                  <a:lnTo>
                    <a:pt x="3366557" y="3153445"/>
                  </a:lnTo>
                  <a:lnTo>
                    <a:pt x="3367436" y="3151685"/>
                  </a:lnTo>
                  <a:lnTo>
                    <a:pt x="3368740" y="3150381"/>
                  </a:lnTo>
                  <a:lnTo>
                    <a:pt x="3370370" y="3149437"/>
                  </a:lnTo>
                  <a:lnTo>
                    <a:pt x="3371120" y="3149215"/>
                  </a:lnTo>
                  <a:lnTo>
                    <a:pt x="3370669" y="3149598"/>
                  </a:lnTo>
                  <a:lnTo>
                    <a:pt x="3370264" y="3150102"/>
                  </a:lnTo>
                  <a:lnTo>
                    <a:pt x="3370920" y="3150693"/>
                  </a:lnTo>
                  <a:lnTo>
                    <a:pt x="3370627" y="3151478"/>
                  </a:lnTo>
                  <a:lnTo>
                    <a:pt x="3372221" y="3152982"/>
                  </a:lnTo>
                  <a:lnTo>
                    <a:pt x="3373782" y="3152710"/>
                  </a:lnTo>
                  <a:lnTo>
                    <a:pt x="3375174" y="3151439"/>
                  </a:lnTo>
                  <a:lnTo>
                    <a:pt x="3376218" y="3149924"/>
                  </a:lnTo>
                  <a:lnTo>
                    <a:pt x="3375396" y="3149573"/>
                  </a:lnTo>
                  <a:lnTo>
                    <a:pt x="3373697" y="3149351"/>
                  </a:lnTo>
                  <a:lnTo>
                    <a:pt x="3372964" y="3148966"/>
                  </a:lnTo>
                  <a:lnTo>
                    <a:pt x="3371771" y="3147586"/>
                  </a:lnTo>
                  <a:lnTo>
                    <a:pt x="3371162" y="3147101"/>
                  </a:lnTo>
                  <a:lnTo>
                    <a:pt x="3370361" y="3146993"/>
                  </a:lnTo>
                  <a:lnTo>
                    <a:pt x="3370781" y="3145265"/>
                  </a:lnTo>
                  <a:lnTo>
                    <a:pt x="3372121" y="3145348"/>
                  </a:lnTo>
                  <a:lnTo>
                    <a:pt x="3373755" y="3146123"/>
                  </a:lnTo>
                  <a:lnTo>
                    <a:pt x="3375051" y="3146462"/>
                  </a:lnTo>
                  <a:lnTo>
                    <a:pt x="3376652" y="3145412"/>
                  </a:lnTo>
                  <a:lnTo>
                    <a:pt x="3376922" y="3144024"/>
                  </a:lnTo>
                  <a:lnTo>
                    <a:pt x="3376077" y="3142917"/>
                  </a:lnTo>
                  <a:lnTo>
                    <a:pt x="3374311" y="3142733"/>
                  </a:lnTo>
                  <a:lnTo>
                    <a:pt x="3374137" y="3142081"/>
                  </a:lnTo>
                  <a:lnTo>
                    <a:pt x="3374014" y="3141062"/>
                  </a:lnTo>
                  <a:lnTo>
                    <a:pt x="3373111" y="3140310"/>
                  </a:lnTo>
                  <a:lnTo>
                    <a:pt x="3371897" y="3139916"/>
                  </a:lnTo>
                  <a:lnTo>
                    <a:pt x="3370816" y="3139913"/>
                  </a:lnTo>
                  <a:lnTo>
                    <a:pt x="3369490" y="3141828"/>
                  </a:lnTo>
                  <a:lnTo>
                    <a:pt x="3368866" y="3142190"/>
                  </a:lnTo>
                  <a:lnTo>
                    <a:pt x="3367681" y="3142619"/>
                  </a:lnTo>
                  <a:lnTo>
                    <a:pt x="3367107" y="3143192"/>
                  </a:lnTo>
                  <a:lnTo>
                    <a:pt x="3367027" y="3141931"/>
                  </a:lnTo>
                  <a:lnTo>
                    <a:pt x="3367106" y="3140690"/>
                  </a:lnTo>
                  <a:lnTo>
                    <a:pt x="3367324" y="3139512"/>
                  </a:lnTo>
                  <a:lnTo>
                    <a:pt x="3367673" y="3138398"/>
                  </a:lnTo>
                  <a:lnTo>
                    <a:pt x="3368853" y="3138881"/>
                  </a:lnTo>
                  <a:lnTo>
                    <a:pt x="3369348" y="3138094"/>
                  </a:lnTo>
                  <a:lnTo>
                    <a:pt x="3369388" y="3136969"/>
                  </a:lnTo>
                  <a:lnTo>
                    <a:pt x="3369190" y="3136440"/>
                  </a:lnTo>
                  <a:lnTo>
                    <a:pt x="3368289" y="3136676"/>
                  </a:lnTo>
                  <a:lnTo>
                    <a:pt x="3367556" y="3136677"/>
                  </a:lnTo>
                  <a:lnTo>
                    <a:pt x="3366918" y="3136201"/>
                  </a:lnTo>
                  <a:lnTo>
                    <a:pt x="3366276" y="3134999"/>
                  </a:lnTo>
                  <a:lnTo>
                    <a:pt x="3366932" y="3134946"/>
                  </a:lnTo>
                  <a:lnTo>
                    <a:pt x="3367696" y="3134609"/>
                  </a:lnTo>
                  <a:lnTo>
                    <a:pt x="3368200" y="3133944"/>
                  </a:lnTo>
                  <a:lnTo>
                    <a:pt x="3368042" y="3132893"/>
                  </a:lnTo>
                  <a:lnTo>
                    <a:pt x="3367367" y="3132298"/>
                  </a:lnTo>
                  <a:lnTo>
                    <a:pt x="3366456" y="3132331"/>
                  </a:lnTo>
                  <a:lnTo>
                    <a:pt x="3364857" y="3132935"/>
                  </a:lnTo>
                  <a:lnTo>
                    <a:pt x="3363180" y="3133155"/>
                  </a:lnTo>
                  <a:lnTo>
                    <a:pt x="3360102" y="3132943"/>
                  </a:lnTo>
                  <a:lnTo>
                    <a:pt x="3358447" y="3133165"/>
                  </a:lnTo>
                  <a:lnTo>
                    <a:pt x="3358794" y="3131786"/>
                  </a:lnTo>
                  <a:lnTo>
                    <a:pt x="3359855" y="3131107"/>
                  </a:lnTo>
                  <a:lnTo>
                    <a:pt x="3364267" y="3130204"/>
                  </a:lnTo>
                  <a:lnTo>
                    <a:pt x="3364643" y="3129465"/>
                  </a:lnTo>
                  <a:lnTo>
                    <a:pt x="3364821" y="3127608"/>
                  </a:lnTo>
                  <a:lnTo>
                    <a:pt x="3363271" y="3127761"/>
                  </a:lnTo>
                  <a:lnTo>
                    <a:pt x="3362860" y="3126398"/>
                  </a:lnTo>
                  <a:lnTo>
                    <a:pt x="3363010" y="3122639"/>
                  </a:lnTo>
                  <a:lnTo>
                    <a:pt x="3362418" y="3122628"/>
                  </a:lnTo>
                  <a:lnTo>
                    <a:pt x="3361981" y="3122445"/>
                  </a:lnTo>
                  <a:lnTo>
                    <a:pt x="3360931" y="3121674"/>
                  </a:lnTo>
                  <a:lnTo>
                    <a:pt x="3363757" y="3118570"/>
                  </a:lnTo>
                  <a:lnTo>
                    <a:pt x="3362585" y="3118233"/>
                  </a:lnTo>
                  <a:lnTo>
                    <a:pt x="3362061" y="3118254"/>
                  </a:lnTo>
                  <a:lnTo>
                    <a:pt x="3361481" y="3118429"/>
                  </a:lnTo>
                  <a:lnTo>
                    <a:pt x="3361291" y="3117709"/>
                  </a:lnTo>
                  <a:lnTo>
                    <a:pt x="3363487" y="3116188"/>
                  </a:lnTo>
                  <a:lnTo>
                    <a:pt x="3366041" y="3116596"/>
                  </a:lnTo>
                  <a:lnTo>
                    <a:pt x="3368700" y="3117442"/>
                  </a:lnTo>
                  <a:lnTo>
                    <a:pt x="3371228" y="3117261"/>
                  </a:lnTo>
                  <a:lnTo>
                    <a:pt x="3368822" y="3114977"/>
                  </a:lnTo>
                  <a:lnTo>
                    <a:pt x="3365840" y="3114493"/>
                  </a:lnTo>
                  <a:lnTo>
                    <a:pt x="3359890" y="3115856"/>
                  </a:lnTo>
                  <a:lnTo>
                    <a:pt x="3359712" y="3113356"/>
                  </a:lnTo>
                  <a:lnTo>
                    <a:pt x="3358845" y="3112004"/>
                  </a:lnTo>
                  <a:lnTo>
                    <a:pt x="3357515" y="3111480"/>
                  </a:lnTo>
                  <a:lnTo>
                    <a:pt x="3355963" y="3111463"/>
                  </a:lnTo>
                  <a:lnTo>
                    <a:pt x="3357389" y="3109913"/>
                  </a:lnTo>
                  <a:lnTo>
                    <a:pt x="3359213" y="3109422"/>
                  </a:lnTo>
                  <a:lnTo>
                    <a:pt x="3361163" y="3109281"/>
                  </a:lnTo>
                  <a:lnTo>
                    <a:pt x="3362966" y="3108751"/>
                  </a:lnTo>
                  <a:lnTo>
                    <a:pt x="3360426" y="3106848"/>
                  </a:lnTo>
                  <a:lnTo>
                    <a:pt x="3355289" y="3106754"/>
                  </a:lnTo>
                  <a:lnTo>
                    <a:pt x="3352734" y="3106107"/>
                  </a:lnTo>
                  <a:lnTo>
                    <a:pt x="3356895" y="3106406"/>
                  </a:lnTo>
                  <a:lnTo>
                    <a:pt x="3358870" y="3106010"/>
                  </a:lnTo>
                  <a:lnTo>
                    <a:pt x="3359536" y="3104223"/>
                  </a:lnTo>
                  <a:lnTo>
                    <a:pt x="3358448" y="3104539"/>
                  </a:lnTo>
                  <a:lnTo>
                    <a:pt x="3356193" y="3104447"/>
                  </a:lnTo>
                  <a:lnTo>
                    <a:pt x="3358520" y="3103801"/>
                  </a:lnTo>
                  <a:lnTo>
                    <a:pt x="3357614" y="3102686"/>
                  </a:lnTo>
                  <a:lnTo>
                    <a:pt x="3356517" y="3102562"/>
                  </a:lnTo>
                  <a:lnTo>
                    <a:pt x="3354282" y="3103370"/>
                  </a:lnTo>
                  <a:lnTo>
                    <a:pt x="3354712" y="3102685"/>
                  </a:lnTo>
                  <a:lnTo>
                    <a:pt x="3355265" y="3102242"/>
                  </a:lnTo>
                  <a:lnTo>
                    <a:pt x="3355922" y="3101991"/>
                  </a:lnTo>
                  <a:lnTo>
                    <a:pt x="3356647" y="3101873"/>
                  </a:lnTo>
                  <a:lnTo>
                    <a:pt x="3356328" y="3101524"/>
                  </a:lnTo>
                  <a:lnTo>
                    <a:pt x="3356104" y="3101227"/>
                  </a:lnTo>
                  <a:lnTo>
                    <a:pt x="3355833" y="3100971"/>
                  </a:lnTo>
                  <a:lnTo>
                    <a:pt x="3355400" y="3100741"/>
                  </a:lnTo>
                  <a:lnTo>
                    <a:pt x="3356704" y="3099496"/>
                  </a:lnTo>
                  <a:lnTo>
                    <a:pt x="3362155" y="3098864"/>
                  </a:lnTo>
                  <a:lnTo>
                    <a:pt x="3360741" y="3097342"/>
                  </a:lnTo>
                  <a:lnTo>
                    <a:pt x="3357614" y="3096551"/>
                  </a:lnTo>
                  <a:lnTo>
                    <a:pt x="3356689" y="3095330"/>
                  </a:lnTo>
                  <a:lnTo>
                    <a:pt x="3356108" y="3095920"/>
                  </a:lnTo>
                  <a:lnTo>
                    <a:pt x="3351578" y="3094845"/>
                  </a:lnTo>
                  <a:lnTo>
                    <a:pt x="3351793" y="3094616"/>
                  </a:lnTo>
                  <a:lnTo>
                    <a:pt x="3351928" y="3094413"/>
                  </a:lnTo>
                  <a:lnTo>
                    <a:pt x="3352216" y="3093827"/>
                  </a:lnTo>
                  <a:lnTo>
                    <a:pt x="3349230" y="3093323"/>
                  </a:lnTo>
                  <a:lnTo>
                    <a:pt x="3341048" y="3095508"/>
                  </a:lnTo>
                  <a:lnTo>
                    <a:pt x="3339404" y="3095112"/>
                  </a:lnTo>
                  <a:lnTo>
                    <a:pt x="3340790" y="3093795"/>
                  </a:lnTo>
                  <a:lnTo>
                    <a:pt x="3347027" y="3093019"/>
                  </a:lnTo>
                  <a:lnTo>
                    <a:pt x="3346097" y="3090961"/>
                  </a:lnTo>
                  <a:lnTo>
                    <a:pt x="3347206" y="3090587"/>
                  </a:lnTo>
                  <a:lnTo>
                    <a:pt x="3349026" y="3090609"/>
                  </a:lnTo>
                  <a:lnTo>
                    <a:pt x="3350233" y="3089751"/>
                  </a:lnTo>
                  <a:lnTo>
                    <a:pt x="3349013" y="3089232"/>
                  </a:lnTo>
                  <a:lnTo>
                    <a:pt x="3348487" y="3088379"/>
                  </a:lnTo>
                  <a:lnTo>
                    <a:pt x="3348744" y="3087857"/>
                  </a:lnTo>
                  <a:lnTo>
                    <a:pt x="3349870" y="3088374"/>
                  </a:lnTo>
                  <a:lnTo>
                    <a:pt x="3349954" y="3087919"/>
                  </a:lnTo>
                  <a:lnTo>
                    <a:pt x="3349981" y="3087584"/>
                  </a:lnTo>
                  <a:lnTo>
                    <a:pt x="3349964" y="3087244"/>
                  </a:lnTo>
                  <a:lnTo>
                    <a:pt x="3349893" y="3086752"/>
                  </a:lnTo>
                  <a:lnTo>
                    <a:pt x="3349209" y="3086528"/>
                  </a:lnTo>
                  <a:lnTo>
                    <a:pt x="3348512" y="3086454"/>
                  </a:lnTo>
                  <a:lnTo>
                    <a:pt x="3347819" y="3086539"/>
                  </a:lnTo>
                  <a:lnTo>
                    <a:pt x="3347159" y="3086804"/>
                  </a:lnTo>
                  <a:lnTo>
                    <a:pt x="3347713" y="3085671"/>
                  </a:lnTo>
                  <a:lnTo>
                    <a:pt x="3348479" y="3085018"/>
                  </a:lnTo>
                  <a:lnTo>
                    <a:pt x="3350414" y="3084367"/>
                  </a:lnTo>
                  <a:lnTo>
                    <a:pt x="3351013" y="3083884"/>
                  </a:lnTo>
                  <a:lnTo>
                    <a:pt x="3351568" y="3082202"/>
                  </a:lnTo>
                  <a:lnTo>
                    <a:pt x="3352115" y="3081497"/>
                  </a:lnTo>
                  <a:lnTo>
                    <a:pt x="3350525" y="3081147"/>
                  </a:lnTo>
                  <a:lnTo>
                    <a:pt x="3348522" y="3081688"/>
                  </a:lnTo>
                  <a:lnTo>
                    <a:pt x="3344966" y="3083475"/>
                  </a:lnTo>
                  <a:lnTo>
                    <a:pt x="3342262" y="3086152"/>
                  </a:lnTo>
                  <a:lnTo>
                    <a:pt x="3340809" y="3086744"/>
                  </a:lnTo>
                  <a:lnTo>
                    <a:pt x="3340304" y="3084758"/>
                  </a:lnTo>
                  <a:lnTo>
                    <a:pt x="3339049" y="3085773"/>
                  </a:lnTo>
                  <a:lnTo>
                    <a:pt x="3338344" y="3086118"/>
                  </a:lnTo>
                  <a:lnTo>
                    <a:pt x="3337544" y="3086287"/>
                  </a:lnTo>
                  <a:lnTo>
                    <a:pt x="3336768" y="3084830"/>
                  </a:lnTo>
                  <a:lnTo>
                    <a:pt x="3334772" y="3084437"/>
                  </a:lnTo>
                  <a:lnTo>
                    <a:pt x="3332540" y="3084839"/>
                  </a:lnTo>
                  <a:lnTo>
                    <a:pt x="3331053" y="3085750"/>
                  </a:lnTo>
                  <a:lnTo>
                    <a:pt x="3331351" y="3084294"/>
                  </a:lnTo>
                  <a:lnTo>
                    <a:pt x="3331978" y="3083085"/>
                  </a:lnTo>
                  <a:lnTo>
                    <a:pt x="3333519" y="3081221"/>
                  </a:lnTo>
                  <a:lnTo>
                    <a:pt x="3333331" y="3080500"/>
                  </a:lnTo>
                  <a:lnTo>
                    <a:pt x="3332287" y="3079943"/>
                  </a:lnTo>
                  <a:lnTo>
                    <a:pt x="3332494" y="3079183"/>
                  </a:lnTo>
                  <a:lnTo>
                    <a:pt x="3333355" y="3079440"/>
                  </a:lnTo>
                  <a:lnTo>
                    <a:pt x="3334469" y="3079454"/>
                  </a:lnTo>
                  <a:lnTo>
                    <a:pt x="3335293" y="3078943"/>
                  </a:lnTo>
                  <a:lnTo>
                    <a:pt x="3335284" y="3077648"/>
                  </a:lnTo>
                  <a:lnTo>
                    <a:pt x="3334671" y="3077149"/>
                  </a:lnTo>
                  <a:lnTo>
                    <a:pt x="3327344" y="3078085"/>
                  </a:lnTo>
                  <a:lnTo>
                    <a:pt x="3324820" y="3077341"/>
                  </a:lnTo>
                  <a:lnTo>
                    <a:pt x="3325318" y="3076061"/>
                  </a:lnTo>
                  <a:lnTo>
                    <a:pt x="3325626" y="3075716"/>
                  </a:lnTo>
                  <a:lnTo>
                    <a:pt x="3326162" y="3075432"/>
                  </a:lnTo>
                  <a:lnTo>
                    <a:pt x="3325367" y="3074545"/>
                  </a:lnTo>
                  <a:lnTo>
                    <a:pt x="3324565" y="3074363"/>
                  </a:lnTo>
                  <a:lnTo>
                    <a:pt x="3322833" y="3074869"/>
                  </a:lnTo>
                  <a:lnTo>
                    <a:pt x="3322672" y="3072574"/>
                  </a:lnTo>
                  <a:lnTo>
                    <a:pt x="3321690" y="3070303"/>
                  </a:lnTo>
                  <a:lnTo>
                    <a:pt x="3320229" y="3068851"/>
                  </a:lnTo>
                  <a:lnTo>
                    <a:pt x="3318618" y="3068997"/>
                  </a:lnTo>
                  <a:lnTo>
                    <a:pt x="3318716" y="3068571"/>
                  </a:lnTo>
                  <a:lnTo>
                    <a:pt x="3318752" y="3068162"/>
                  </a:lnTo>
                  <a:lnTo>
                    <a:pt x="3318840" y="3067761"/>
                  </a:lnTo>
                  <a:lnTo>
                    <a:pt x="3319086" y="3067336"/>
                  </a:lnTo>
                  <a:lnTo>
                    <a:pt x="3318843" y="3066882"/>
                  </a:lnTo>
                  <a:lnTo>
                    <a:pt x="3318351" y="3065720"/>
                  </a:lnTo>
                  <a:lnTo>
                    <a:pt x="3318107" y="3065285"/>
                  </a:lnTo>
                  <a:lnTo>
                    <a:pt x="3318905" y="3065138"/>
                  </a:lnTo>
                  <a:lnTo>
                    <a:pt x="3319605" y="3064770"/>
                  </a:lnTo>
                  <a:lnTo>
                    <a:pt x="3320838" y="3063705"/>
                  </a:lnTo>
                  <a:lnTo>
                    <a:pt x="3320667" y="3063048"/>
                  </a:lnTo>
                  <a:lnTo>
                    <a:pt x="3318023" y="3063010"/>
                  </a:lnTo>
                  <a:lnTo>
                    <a:pt x="3317129" y="3063238"/>
                  </a:lnTo>
                  <a:lnTo>
                    <a:pt x="3317168" y="3060663"/>
                  </a:lnTo>
                  <a:lnTo>
                    <a:pt x="3317033" y="3059225"/>
                  </a:lnTo>
                  <a:lnTo>
                    <a:pt x="3316621" y="3058675"/>
                  </a:lnTo>
                  <a:lnTo>
                    <a:pt x="3315898" y="3058355"/>
                  </a:lnTo>
                  <a:lnTo>
                    <a:pt x="3315047" y="3057413"/>
                  </a:lnTo>
                  <a:lnTo>
                    <a:pt x="3314380" y="3056316"/>
                  </a:lnTo>
                  <a:lnTo>
                    <a:pt x="3314210" y="3055545"/>
                  </a:lnTo>
                  <a:lnTo>
                    <a:pt x="3313645" y="3055729"/>
                  </a:lnTo>
                  <a:lnTo>
                    <a:pt x="3313101" y="3055789"/>
                  </a:lnTo>
                  <a:lnTo>
                    <a:pt x="3312538" y="3055669"/>
                  </a:lnTo>
                  <a:lnTo>
                    <a:pt x="3311915" y="3055323"/>
                  </a:lnTo>
                  <a:lnTo>
                    <a:pt x="3313187" y="3054111"/>
                  </a:lnTo>
                  <a:lnTo>
                    <a:pt x="3312044" y="3052394"/>
                  </a:lnTo>
                  <a:lnTo>
                    <a:pt x="3309783" y="3051077"/>
                  </a:lnTo>
                  <a:lnTo>
                    <a:pt x="3307691" y="3051061"/>
                  </a:lnTo>
                  <a:lnTo>
                    <a:pt x="3307488" y="3050275"/>
                  </a:lnTo>
                  <a:lnTo>
                    <a:pt x="3310454" y="3048907"/>
                  </a:lnTo>
                  <a:lnTo>
                    <a:pt x="3311532" y="3047766"/>
                  </a:lnTo>
                  <a:lnTo>
                    <a:pt x="3311387" y="3046207"/>
                  </a:lnTo>
                  <a:lnTo>
                    <a:pt x="3310222" y="3045055"/>
                  </a:lnTo>
                  <a:lnTo>
                    <a:pt x="3308831" y="3044911"/>
                  </a:lnTo>
                  <a:lnTo>
                    <a:pt x="3307516" y="3045554"/>
                  </a:lnTo>
                  <a:lnTo>
                    <a:pt x="3306578" y="3046739"/>
                  </a:lnTo>
                  <a:lnTo>
                    <a:pt x="3306971" y="3047120"/>
                  </a:lnTo>
                  <a:lnTo>
                    <a:pt x="3307308" y="3047251"/>
                  </a:lnTo>
                  <a:lnTo>
                    <a:pt x="3307634" y="3047218"/>
                  </a:lnTo>
                  <a:lnTo>
                    <a:pt x="3308014" y="3047116"/>
                  </a:lnTo>
                  <a:lnTo>
                    <a:pt x="3306735" y="3048659"/>
                  </a:lnTo>
                  <a:lnTo>
                    <a:pt x="3305999" y="3049228"/>
                  </a:lnTo>
                  <a:lnTo>
                    <a:pt x="3305048" y="3049456"/>
                  </a:lnTo>
                  <a:lnTo>
                    <a:pt x="3305411" y="3047604"/>
                  </a:lnTo>
                  <a:lnTo>
                    <a:pt x="3306097" y="3045784"/>
                  </a:lnTo>
                  <a:lnTo>
                    <a:pt x="3306514" y="3044170"/>
                  </a:lnTo>
                  <a:lnTo>
                    <a:pt x="3306087" y="3042944"/>
                  </a:lnTo>
                  <a:lnTo>
                    <a:pt x="3300180" y="3044527"/>
                  </a:lnTo>
                  <a:lnTo>
                    <a:pt x="3302170" y="3042911"/>
                  </a:lnTo>
                  <a:lnTo>
                    <a:pt x="3302302" y="3042062"/>
                  </a:lnTo>
                  <a:lnTo>
                    <a:pt x="3301806" y="3040923"/>
                  </a:lnTo>
                  <a:lnTo>
                    <a:pt x="3301090" y="3040178"/>
                  </a:lnTo>
                  <a:lnTo>
                    <a:pt x="3300285" y="3039875"/>
                  </a:lnTo>
                  <a:lnTo>
                    <a:pt x="3299526" y="3040078"/>
                  </a:lnTo>
                  <a:lnTo>
                    <a:pt x="3300457" y="3041519"/>
                  </a:lnTo>
                  <a:lnTo>
                    <a:pt x="3299095" y="3042558"/>
                  </a:lnTo>
                  <a:lnTo>
                    <a:pt x="3295062" y="3043651"/>
                  </a:lnTo>
                  <a:lnTo>
                    <a:pt x="3294878" y="3042929"/>
                  </a:lnTo>
                  <a:lnTo>
                    <a:pt x="3296258" y="3042259"/>
                  </a:lnTo>
                  <a:lnTo>
                    <a:pt x="3299399" y="3037866"/>
                  </a:lnTo>
                  <a:lnTo>
                    <a:pt x="3300071" y="3037369"/>
                  </a:lnTo>
                  <a:lnTo>
                    <a:pt x="3300697" y="3037050"/>
                  </a:lnTo>
                  <a:lnTo>
                    <a:pt x="3301208" y="3036596"/>
                  </a:lnTo>
                  <a:lnTo>
                    <a:pt x="3300949" y="3034939"/>
                  </a:lnTo>
                  <a:lnTo>
                    <a:pt x="3300374" y="3033967"/>
                  </a:lnTo>
                  <a:lnTo>
                    <a:pt x="3300229" y="3032628"/>
                  </a:lnTo>
                  <a:lnTo>
                    <a:pt x="3301001" y="3031976"/>
                  </a:lnTo>
                  <a:lnTo>
                    <a:pt x="3300585" y="3032790"/>
                  </a:lnTo>
                  <a:lnTo>
                    <a:pt x="3300556" y="3033643"/>
                  </a:lnTo>
                  <a:lnTo>
                    <a:pt x="3301148" y="3034463"/>
                  </a:lnTo>
                  <a:lnTo>
                    <a:pt x="3301743" y="3034863"/>
                  </a:lnTo>
                  <a:lnTo>
                    <a:pt x="3302451" y="3034691"/>
                  </a:lnTo>
                  <a:lnTo>
                    <a:pt x="3303466" y="3033179"/>
                  </a:lnTo>
                  <a:lnTo>
                    <a:pt x="3304729" y="3032274"/>
                  </a:lnTo>
                  <a:lnTo>
                    <a:pt x="3306012" y="3030876"/>
                  </a:lnTo>
                  <a:lnTo>
                    <a:pt x="3307796" y="3029953"/>
                  </a:lnTo>
                  <a:lnTo>
                    <a:pt x="3308342" y="3029341"/>
                  </a:lnTo>
                  <a:lnTo>
                    <a:pt x="3308771" y="3028687"/>
                  </a:lnTo>
                  <a:lnTo>
                    <a:pt x="3309370" y="3028111"/>
                  </a:lnTo>
                  <a:lnTo>
                    <a:pt x="3313672" y="3026236"/>
                  </a:lnTo>
                  <a:lnTo>
                    <a:pt x="3314531" y="3024816"/>
                  </a:lnTo>
                  <a:lnTo>
                    <a:pt x="3314948" y="3024459"/>
                  </a:lnTo>
                  <a:lnTo>
                    <a:pt x="3317743" y="3023516"/>
                  </a:lnTo>
                  <a:lnTo>
                    <a:pt x="3318442" y="3023008"/>
                  </a:lnTo>
                  <a:lnTo>
                    <a:pt x="3319893" y="3020610"/>
                  </a:lnTo>
                  <a:lnTo>
                    <a:pt x="3338072" y="3009407"/>
                  </a:lnTo>
                  <a:lnTo>
                    <a:pt x="3338887" y="3008501"/>
                  </a:lnTo>
                  <a:lnTo>
                    <a:pt x="3341076" y="3003156"/>
                  </a:lnTo>
                  <a:lnTo>
                    <a:pt x="3342093" y="3001976"/>
                  </a:lnTo>
                  <a:lnTo>
                    <a:pt x="3347713" y="2998299"/>
                  </a:lnTo>
                  <a:lnTo>
                    <a:pt x="3349991" y="2995592"/>
                  </a:lnTo>
                  <a:lnTo>
                    <a:pt x="3352750" y="2994020"/>
                  </a:lnTo>
                  <a:lnTo>
                    <a:pt x="3355270" y="2991753"/>
                  </a:lnTo>
                  <a:lnTo>
                    <a:pt x="3356716" y="2990984"/>
                  </a:lnTo>
                  <a:lnTo>
                    <a:pt x="3358031" y="2989746"/>
                  </a:lnTo>
                  <a:lnTo>
                    <a:pt x="3360144" y="2985946"/>
                  </a:lnTo>
                  <a:lnTo>
                    <a:pt x="3361692" y="2985612"/>
                  </a:lnTo>
                  <a:lnTo>
                    <a:pt x="3364380" y="2982511"/>
                  </a:lnTo>
                  <a:lnTo>
                    <a:pt x="3367716" y="2981077"/>
                  </a:lnTo>
                  <a:lnTo>
                    <a:pt x="3368399" y="2980228"/>
                  </a:lnTo>
                  <a:lnTo>
                    <a:pt x="3368993" y="2979221"/>
                  </a:lnTo>
                  <a:lnTo>
                    <a:pt x="3371605" y="2976485"/>
                  </a:lnTo>
                  <a:lnTo>
                    <a:pt x="3373460" y="2973265"/>
                  </a:lnTo>
                  <a:lnTo>
                    <a:pt x="3373891" y="2972713"/>
                  </a:lnTo>
                  <a:lnTo>
                    <a:pt x="3375112" y="2971581"/>
                  </a:lnTo>
                  <a:lnTo>
                    <a:pt x="3378603" y="2965121"/>
                  </a:lnTo>
                  <a:lnTo>
                    <a:pt x="3383959" y="2958896"/>
                  </a:lnTo>
                  <a:lnTo>
                    <a:pt x="3383590" y="2959005"/>
                  </a:lnTo>
                  <a:lnTo>
                    <a:pt x="3385995" y="2957420"/>
                  </a:lnTo>
                  <a:lnTo>
                    <a:pt x="3392160" y="2948765"/>
                  </a:lnTo>
                  <a:lnTo>
                    <a:pt x="3396096" y="2945828"/>
                  </a:lnTo>
                  <a:lnTo>
                    <a:pt x="3396939" y="2944506"/>
                  </a:lnTo>
                  <a:lnTo>
                    <a:pt x="3400453" y="2932806"/>
                  </a:lnTo>
                  <a:lnTo>
                    <a:pt x="3401294" y="2931884"/>
                  </a:lnTo>
                  <a:lnTo>
                    <a:pt x="3402465" y="2931072"/>
                  </a:lnTo>
                  <a:lnTo>
                    <a:pt x="3419406" y="2901371"/>
                  </a:lnTo>
                  <a:lnTo>
                    <a:pt x="3422092" y="2894654"/>
                  </a:lnTo>
                  <a:lnTo>
                    <a:pt x="3423205" y="2892657"/>
                  </a:lnTo>
                  <a:lnTo>
                    <a:pt x="3424127" y="2890352"/>
                  </a:lnTo>
                  <a:lnTo>
                    <a:pt x="3424489" y="2887295"/>
                  </a:lnTo>
                  <a:lnTo>
                    <a:pt x="3424332" y="2885846"/>
                  </a:lnTo>
                  <a:lnTo>
                    <a:pt x="3423962" y="2886129"/>
                  </a:lnTo>
                  <a:lnTo>
                    <a:pt x="3423406" y="2887129"/>
                  </a:lnTo>
                  <a:lnTo>
                    <a:pt x="3421882" y="2888524"/>
                  </a:lnTo>
                  <a:lnTo>
                    <a:pt x="3420539" y="2890597"/>
                  </a:lnTo>
                  <a:lnTo>
                    <a:pt x="3419445" y="2891062"/>
                  </a:lnTo>
                  <a:lnTo>
                    <a:pt x="3420084" y="2887743"/>
                  </a:lnTo>
                  <a:lnTo>
                    <a:pt x="3424760" y="2877844"/>
                  </a:lnTo>
                  <a:lnTo>
                    <a:pt x="3429433" y="2862957"/>
                  </a:lnTo>
                  <a:lnTo>
                    <a:pt x="3431830" y="2858386"/>
                  </a:lnTo>
                  <a:lnTo>
                    <a:pt x="3432411" y="2856120"/>
                  </a:lnTo>
                  <a:lnTo>
                    <a:pt x="3432434" y="2855157"/>
                  </a:lnTo>
                  <a:lnTo>
                    <a:pt x="3432099" y="2853283"/>
                  </a:lnTo>
                  <a:lnTo>
                    <a:pt x="3432098" y="2852305"/>
                  </a:lnTo>
                  <a:lnTo>
                    <a:pt x="3432518" y="2851235"/>
                  </a:lnTo>
                  <a:lnTo>
                    <a:pt x="3433272" y="2850544"/>
                  </a:lnTo>
                  <a:lnTo>
                    <a:pt x="3434955" y="2849483"/>
                  </a:lnTo>
                  <a:lnTo>
                    <a:pt x="3436702" y="2847110"/>
                  </a:lnTo>
                  <a:lnTo>
                    <a:pt x="3437665" y="2844020"/>
                  </a:lnTo>
                  <a:lnTo>
                    <a:pt x="3438027" y="2840458"/>
                  </a:lnTo>
                  <a:lnTo>
                    <a:pt x="3438013" y="2832841"/>
                  </a:lnTo>
                  <a:lnTo>
                    <a:pt x="3437348" y="2830003"/>
                  </a:lnTo>
                  <a:lnTo>
                    <a:pt x="3437193" y="2828834"/>
                  </a:lnTo>
                  <a:lnTo>
                    <a:pt x="3436764" y="2821959"/>
                  </a:lnTo>
                  <a:lnTo>
                    <a:pt x="3436784" y="2819895"/>
                  </a:lnTo>
                  <a:lnTo>
                    <a:pt x="3437438" y="2815186"/>
                  </a:lnTo>
                  <a:lnTo>
                    <a:pt x="3437222" y="2812567"/>
                  </a:lnTo>
                  <a:lnTo>
                    <a:pt x="3436651" y="2809866"/>
                  </a:lnTo>
                  <a:lnTo>
                    <a:pt x="3435863" y="2807137"/>
                  </a:lnTo>
                  <a:lnTo>
                    <a:pt x="3435448" y="2804903"/>
                  </a:lnTo>
                  <a:lnTo>
                    <a:pt x="3435140" y="2802318"/>
                  </a:lnTo>
                  <a:lnTo>
                    <a:pt x="3434535" y="2799697"/>
                  </a:lnTo>
                  <a:lnTo>
                    <a:pt x="3433228" y="2797373"/>
                  </a:lnTo>
                  <a:lnTo>
                    <a:pt x="3433414" y="2796459"/>
                  </a:lnTo>
                  <a:lnTo>
                    <a:pt x="3432708" y="2795299"/>
                  </a:lnTo>
                  <a:lnTo>
                    <a:pt x="3432103" y="2794079"/>
                  </a:lnTo>
                  <a:lnTo>
                    <a:pt x="3431714" y="2793014"/>
                  </a:lnTo>
                  <a:lnTo>
                    <a:pt x="3431661" y="2792326"/>
                  </a:lnTo>
                  <a:lnTo>
                    <a:pt x="3430757" y="2790171"/>
                  </a:lnTo>
                  <a:lnTo>
                    <a:pt x="3428767" y="2783621"/>
                  </a:lnTo>
                  <a:lnTo>
                    <a:pt x="3426127" y="2771042"/>
                  </a:lnTo>
                  <a:lnTo>
                    <a:pt x="3425338" y="2769218"/>
                  </a:lnTo>
                  <a:lnTo>
                    <a:pt x="3424584" y="2765501"/>
                  </a:lnTo>
                  <a:lnTo>
                    <a:pt x="3423978" y="2763440"/>
                  </a:lnTo>
                  <a:lnTo>
                    <a:pt x="3423123" y="2762101"/>
                  </a:lnTo>
                  <a:lnTo>
                    <a:pt x="3422686" y="2760322"/>
                  </a:lnTo>
                  <a:lnTo>
                    <a:pt x="3420668" y="2756269"/>
                  </a:lnTo>
                  <a:lnTo>
                    <a:pt x="3418914" y="2751972"/>
                  </a:lnTo>
                  <a:lnTo>
                    <a:pt x="3416798" y="2747974"/>
                  </a:lnTo>
                  <a:lnTo>
                    <a:pt x="3415162" y="2743789"/>
                  </a:lnTo>
                  <a:lnTo>
                    <a:pt x="3413468" y="2740163"/>
                  </a:lnTo>
                  <a:lnTo>
                    <a:pt x="3412875" y="2738613"/>
                  </a:lnTo>
                  <a:lnTo>
                    <a:pt x="3412461" y="2736224"/>
                  </a:lnTo>
                  <a:lnTo>
                    <a:pt x="3412469" y="2732317"/>
                  </a:lnTo>
                  <a:lnTo>
                    <a:pt x="3412065" y="2730663"/>
                  </a:lnTo>
                  <a:lnTo>
                    <a:pt x="3411565" y="2729385"/>
                  </a:lnTo>
                  <a:lnTo>
                    <a:pt x="3410860" y="2728529"/>
                  </a:lnTo>
                  <a:lnTo>
                    <a:pt x="3410100" y="2727933"/>
                  </a:lnTo>
                  <a:lnTo>
                    <a:pt x="3409307" y="2727151"/>
                  </a:lnTo>
                  <a:lnTo>
                    <a:pt x="3408529" y="2725977"/>
                  </a:lnTo>
                  <a:lnTo>
                    <a:pt x="3408073" y="2724919"/>
                  </a:lnTo>
                  <a:lnTo>
                    <a:pt x="3407238" y="2721975"/>
                  </a:lnTo>
                  <a:lnTo>
                    <a:pt x="3403315" y="2714134"/>
                  </a:lnTo>
                  <a:lnTo>
                    <a:pt x="3395236" y="2701457"/>
                  </a:lnTo>
                  <a:lnTo>
                    <a:pt x="3394364" y="2700345"/>
                  </a:lnTo>
                  <a:lnTo>
                    <a:pt x="3393461" y="2700036"/>
                  </a:lnTo>
                  <a:lnTo>
                    <a:pt x="3392840" y="2699604"/>
                  </a:lnTo>
                  <a:lnTo>
                    <a:pt x="3391149" y="2697120"/>
                  </a:lnTo>
                  <a:lnTo>
                    <a:pt x="3390406" y="2696317"/>
                  </a:lnTo>
                  <a:lnTo>
                    <a:pt x="3390817" y="2696185"/>
                  </a:lnTo>
                  <a:lnTo>
                    <a:pt x="3391053" y="2696110"/>
                  </a:lnTo>
                  <a:lnTo>
                    <a:pt x="3391118" y="2695996"/>
                  </a:lnTo>
                  <a:lnTo>
                    <a:pt x="3391087" y="2695735"/>
                  </a:lnTo>
                  <a:lnTo>
                    <a:pt x="3390947" y="2695364"/>
                  </a:lnTo>
                  <a:lnTo>
                    <a:pt x="3389745" y="2695300"/>
                  </a:lnTo>
                  <a:lnTo>
                    <a:pt x="3387774" y="2692886"/>
                  </a:lnTo>
                  <a:lnTo>
                    <a:pt x="3384219" y="2687257"/>
                  </a:lnTo>
                  <a:lnTo>
                    <a:pt x="3381156" y="2683668"/>
                  </a:lnTo>
                  <a:lnTo>
                    <a:pt x="3380180" y="2682275"/>
                  </a:lnTo>
                  <a:lnTo>
                    <a:pt x="3378007" y="2675850"/>
                  </a:lnTo>
                  <a:lnTo>
                    <a:pt x="3373722" y="2672121"/>
                  </a:lnTo>
                  <a:lnTo>
                    <a:pt x="3370372" y="2668252"/>
                  </a:lnTo>
                  <a:lnTo>
                    <a:pt x="3369638" y="2667616"/>
                  </a:lnTo>
                  <a:lnTo>
                    <a:pt x="3368947" y="2667154"/>
                  </a:lnTo>
                  <a:lnTo>
                    <a:pt x="3367821" y="2665956"/>
                  </a:lnTo>
                  <a:lnTo>
                    <a:pt x="3366717" y="2664570"/>
                  </a:lnTo>
                  <a:lnTo>
                    <a:pt x="3366107" y="2663532"/>
                  </a:lnTo>
                  <a:lnTo>
                    <a:pt x="3365298" y="2662416"/>
                  </a:lnTo>
                  <a:lnTo>
                    <a:pt x="3363011" y="2660997"/>
                  </a:lnTo>
                  <a:lnTo>
                    <a:pt x="3362632" y="2660291"/>
                  </a:lnTo>
                  <a:lnTo>
                    <a:pt x="3361733" y="2660155"/>
                  </a:lnTo>
                  <a:lnTo>
                    <a:pt x="3360844" y="2659442"/>
                  </a:lnTo>
                  <a:lnTo>
                    <a:pt x="3356279" y="2653562"/>
                  </a:lnTo>
                  <a:lnTo>
                    <a:pt x="3355186" y="2652395"/>
                  </a:lnTo>
                  <a:lnTo>
                    <a:pt x="3354705" y="2651777"/>
                  </a:lnTo>
                  <a:lnTo>
                    <a:pt x="3354314" y="2651140"/>
                  </a:lnTo>
                  <a:lnTo>
                    <a:pt x="3353878" y="2650694"/>
                  </a:lnTo>
                  <a:lnTo>
                    <a:pt x="3353267" y="2650648"/>
                  </a:lnTo>
                  <a:lnTo>
                    <a:pt x="3352692" y="2650768"/>
                  </a:lnTo>
                  <a:lnTo>
                    <a:pt x="3352245" y="2650670"/>
                  </a:lnTo>
                  <a:lnTo>
                    <a:pt x="3351779" y="2650359"/>
                  </a:lnTo>
                  <a:lnTo>
                    <a:pt x="3351144" y="2649826"/>
                  </a:lnTo>
                  <a:lnTo>
                    <a:pt x="3350491" y="2649070"/>
                  </a:lnTo>
                  <a:lnTo>
                    <a:pt x="3349114" y="2646971"/>
                  </a:lnTo>
                  <a:lnTo>
                    <a:pt x="3348300" y="2646023"/>
                  </a:lnTo>
                  <a:lnTo>
                    <a:pt x="3344125" y="2642895"/>
                  </a:lnTo>
                  <a:lnTo>
                    <a:pt x="3339735" y="2640805"/>
                  </a:lnTo>
                  <a:lnTo>
                    <a:pt x="3338574" y="2640694"/>
                  </a:lnTo>
                  <a:lnTo>
                    <a:pt x="3336268" y="2640947"/>
                  </a:lnTo>
                  <a:lnTo>
                    <a:pt x="3335141" y="2640663"/>
                  </a:lnTo>
                  <a:lnTo>
                    <a:pt x="3333862" y="2639760"/>
                  </a:lnTo>
                  <a:lnTo>
                    <a:pt x="3331389" y="2637479"/>
                  </a:lnTo>
                  <a:lnTo>
                    <a:pt x="3330260" y="2636701"/>
                  </a:lnTo>
                  <a:lnTo>
                    <a:pt x="3330637" y="2636585"/>
                  </a:lnTo>
                  <a:lnTo>
                    <a:pt x="3329292" y="2636967"/>
                  </a:lnTo>
                  <a:lnTo>
                    <a:pt x="3324710" y="2636062"/>
                  </a:lnTo>
                  <a:lnTo>
                    <a:pt x="3325505" y="2635074"/>
                  </a:lnTo>
                  <a:lnTo>
                    <a:pt x="3326439" y="2634452"/>
                  </a:lnTo>
                  <a:lnTo>
                    <a:pt x="3326715" y="2633591"/>
                  </a:lnTo>
                  <a:lnTo>
                    <a:pt x="3325533" y="2631841"/>
                  </a:lnTo>
                  <a:lnTo>
                    <a:pt x="3324457" y="2631158"/>
                  </a:lnTo>
                  <a:lnTo>
                    <a:pt x="3320526" y="2630255"/>
                  </a:lnTo>
                  <a:lnTo>
                    <a:pt x="3315475" y="2627120"/>
                  </a:lnTo>
                  <a:lnTo>
                    <a:pt x="3314024" y="2626753"/>
                  </a:lnTo>
                  <a:lnTo>
                    <a:pt x="3309812" y="2627270"/>
                  </a:lnTo>
                  <a:lnTo>
                    <a:pt x="3308572" y="2626903"/>
                  </a:lnTo>
                  <a:lnTo>
                    <a:pt x="3304682" y="2624934"/>
                  </a:lnTo>
                  <a:lnTo>
                    <a:pt x="3293265" y="2623682"/>
                  </a:lnTo>
                  <a:lnTo>
                    <a:pt x="3289463" y="2622005"/>
                  </a:lnTo>
                  <a:lnTo>
                    <a:pt x="3288298" y="2621976"/>
                  </a:lnTo>
                  <a:lnTo>
                    <a:pt x="3288420" y="2619197"/>
                  </a:lnTo>
                  <a:lnTo>
                    <a:pt x="3288135" y="2617932"/>
                  </a:lnTo>
                  <a:lnTo>
                    <a:pt x="3287244" y="2617626"/>
                  </a:lnTo>
                  <a:lnTo>
                    <a:pt x="3286200" y="2617492"/>
                  </a:lnTo>
                  <a:lnTo>
                    <a:pt x="3284405" y="2615980"/>
                  </a:lnTo>
                  <a:lnTo>
                    <a:pt x="3283653" y="2615632"/>
                  </a:lnTo>
                  <a:lnTo>
                    <a:pt x="3281965" y="2616448"/>
                  </a:lnTo>
                  <a:lnTo>
                    <a:pt x="3281014" y="2616539"/>
                  </a:lnTo>
                  <a:lnTo>
                    <a:pt x="3280287" y="2615405"/>
                  </a:lnTo>
                  <a:lnTo>
                    <a:pt x="3279505" y="2614603"/>
                  </a:lnTo>
                  <a:lnTo>
                    <a:pt x="3275401" y="2612494"/>
                  </a:lnTo>
                  <a:lnTo>
                    <a:pt x="3271446" y="2612026"/>
                  </a:lnTo>
                  <a:lnTo>
                    <a:pt x="3270559" y="2611234"/>
                  </a:lnTo>
                  <a:lnTo>
                    <a:pt x="3270076" y="2610445"/>
                  </a:lnTo>
                  <a:lnTo>
                    <a:pt x="3267355" y="2607086"/>
                  </a:lnTo>
                  <a:lnTo>
                    <a:pt x="3262898" y="2603729"/>
                  </a:lnTo>
                  <a:lnTo>
                    <a:pt x="3260390" y="2602672"/>
                  </a:lnTo>
                  <a:lnTo>
                    <a:pt x="3259534" y="2603931"/>
                  </a:lnTo>
                  <a:lnTo>
                    <a:pt x="3260819" y="2605850"/>
                  </a:lnTo>
                  <a:lnTo>
                    <a:pt x="3263374" y="2607777"/>
                  </a:lnTo>
                  <a:lnTo>
                    <a:pt x="3267751" y="2610010"/>
                  </a:lnTo>
                  <a:lnTo>
                    <a:pt x="3266654" y="2611238"/>
                  </a:lnTo>
                  <a:lnTo>
                    <a:pt x="3265030" y="2611310"/>
                  </a:lnTo>
                  <a:lnTo>
                    <a:pt x="3263245" y="2610524"/>
                  </a:lnTo>
                  <a:lnTo>
                    <a:pt x="3261665" y="2609174"/>
                  </a:lnTo>
                  <a:lnTo>
                    <a:pt x="3261023" y="2608791"/>
                  </a:lnTo>
                  <a:lnTo>
                    <a:pt x="3260413" y="2608751"/>
                  </a:lnTo>
                  <a:lnTo>
                    <a:pt x="3259862" y="2608517"/>
                  </a:lnTo>
                  <a:lnTo>
                    <a:pt x="3258967" y="2606573"/>
                  </a:lnTo>
                  <a:lnTo>
                    <a:pt x="3258386" y="2605867"/>
                  </a:lnTo>
                  <a:lnTo>
                    <a:pt x="3257746" y="2605455"/>
                  </a:lnTo>
                  <a:lnTo>
                    <a:pt x="3257152" y="2605401"/>
                  </a:lnTo>
                  <a:lnTo>
                    <a:pt x="3254645" y="2606840"/>
                  </a:lnTo>
                  <a:lnTo>
                    <a:pt x="3253414" y="2607067"/>
                  </a:lnTo>
                  <a:lnTo>
                    <a:pt x="3252097" y="2606086"/>
                  </a:lnTo>
                  <a:lnTo>
                    <a:pt x="3251325" y="2604282"/>
                  </a:lnTo>
                  <a:lnTo>
                    <a:pt x="3251297" y="2602652"/>
                  </a:lnTo>
                  <a:lnTo>
                    <a:pt x="3251171" y="2601332"/>
                  </a:lnTo>
                  <a:lnTo>
                    <a:pt x="3250105" y="2600446"/>
                  </a:lnTo>
                  <a:lnTo>
                    <a:pt x="3250859" y="2599640"/>
                  </a:lnTo>
                  <a:lnTo>
                    <a:pt x="3251956" y="2599184"/>
                  </a:lnTo>
                  <a:lnTo>
                    <a:pt x="3252713" y="2598581"/>
                  </a:lnTo>
                  <a:lnTo>
                    <a:pt x="3252482" y="2597356"/>
                  </a:lnTo>
                  <a:lnTo>
                    <a:pt x="3253379" y="2596397"/>
                  </a:lnTo>
                  <a:lnTo>
                    <a:pt x="3254144" y="2596787"/>
                  </a:lnTo>
                  <a:lnTo>
                    <a:pt x="3254761" y="2596483"/>
                  </a:lnTo>
                  <a:lnTo>
                    <a:pt x="3254891" y="2595588"/>
                  </a:lnTo>
                  <a:lnTo>
                    <a:pt x="3254190" y="2594180"/>
                  </a:lnTo>
                  <a:lnTo>
                    <a:pt x="3253321" y="2593155"/>
                  </a:lnTo>
                  <a:lnTo>
                    <a:pt x="3252560" y="2592514"/>
                  </a:lnTo>
                  <a:lnTo>
                    <a:pt x="3249729" y="2591042"/>
                  </a:lnTo>
                  <a:lnTo>
                    <a:pt x="3249117" y="2590525"/>
                  </a:lnTo>
                  <a:lnTo>
                    <a:pt x="3248720" y="2589677"/>
                  </a:lnTo>
                  <a:lnTo>
                    <a:pt x="3248258" y="2588093"/>
                  </a:lnTo>
                  <a:lnTo>
                    <a:pt x="3248442" y="2587276"/>
                  </a:lnTo>
                  <a:lnTo>
                    <a:pt x="3249375" y="2587488"/>
                  </a:lnTo>
                  <a:lnTo>
                    <a:pt x="3250328" y="2588105"/>
                  </a:lnTo>
                  <a:lnTo>
                    <a:pt x="3250563" y="2588523"/>
                  </a:lnTo>
                  <a:lnTo>
                    <a:pt x="3251083" y="2587924"/>
                  </a:lnTo>
                  <a:lnTo>
                    <a:pt x="3251122" y="2586764"/>
                  </a:lnTo>
                  <a:lnTo>
                    <a:pt x="3250814" y="2585339"/>
                  </a:lnTo>
                  <a:lnTo>
                    <a:pt x="3250285" y="2583946"/>
                  </a:lnTo>
                  <a:lnTo>
                    <a:pt x="3249643" y="2582789"/>
                  </a:lnTo>
                  <a:lnTo>
                    <a:pt x="3248999" y="2581999"/>
                  </a:lnTo>
                  <a:lnTo>
                    <a:pt x="3247513" y="2580504"/>
                  </a:lnTo>
                  <a:lnTo>
                    <a:pt x="3246039" y="2578250"/>
                  </a:lnTo>
                  <a:lnTo>
                    <a:pt x="3244890" y="2576180"/>
                  </a:lnTo>
                  <a:lnTo>
                    <a:pt x="3244316" y="2574638"/>
                  </a:lnTo>
                  <a:lnTo>
                    <a:pt x="3244223" y="2573887"/>
                  </a:lnTo>
                  <a:lnTo>
                    <a:pt x="3244347" y="2573166"/>
                  </a:lnTo>
                  <a:lnTo>
                    <a:pt x="3244411" y="2571661"/>
                  </a:lnTo>
                  <a:lnTo>
                    <a:pt x="3242837" y="2571926"/>
                  </a:lnTo>
                  <a:lnTo>
                    <a:pt x="3242136" y="2570639"/>
                  </a:lnTo>
                  <a:lnTo>
                    <a:pt x="3242603" y="2569268"/>
                  </a:lnTo>
                  <a:lnTo>
                    <a:pt x="3244538" y="2569295"/>
                  </a:lnTo>
                  <a:lnTo>
                    <a:pt x="3245915" y="2570406"/>
                  </a:lnTo>
                  <a:lnTo>
                    <a:pt x="3247375" y="2572011"/>
                  </a:lnTo>
                  <a:lnTo>
                    <a:pt x="3248786" y="2573212"/>
                  </a:lnTo>
                  <a:lnTo>
                    <a:pt x="3250013" y="2573138"/>
                  </a:lnTo>
                  <a:lnTo>
                    <a:pt x="3248840" y="2570742"/>
                  </a:lnTo>
                  <a:lnTo>
                    <a:pt x="3249309" y="2568934"/>
                  </a:lnTo>
                  <a:lnTo>
                    <a:pt x="3250502" y="2567743"/>
                  </a:lnTo>
                  <a:lnTo>
                    <a:pt x="3251531" y="2567262"/>
                  </a:lnTo>
                  <a:lnTo>
                    <a:pt x="3253351" y="2567189"/>
                  </a:lnTo>
                  <a:lnTo>
                    <a:pt x="3253817" y="2567970"/>
                  </a:lnTo>
                  <a:lnTo>
                    <a:pt x="3253751" y="2569476"/>
                  </a:lnTo>
                  <a:lnTo>
                    <a:pt x="3254001" y="2571595"/>
                  </a:lnTo>
                  <a:lnTo>
                    <a:pt x="3254441" y="2572023"/>
                  </a:lnTo>
                  <a:lnTo>
                    <a:pt x="3255042" y="2571643"/>
                  </a:lnTo>
                  <a:lnTo>
                    <a:pt x="3256549" y="2570113"/>
                  </a:lnTo>
                  <a:lnTo>
                    <a:pt x="3256587" y="2569299"/>
                  </a:lnTo>
                  <a:lnTo>
                    <a:pt x="3256344" y="2568449"/>
                  </a:lnTo>
                  <a:lnTo>
                    <a:pt x="3256115" y="2567825"/>
                  </a:lnTo>
                  <a:lnTo>
                    <a:pt x="3256144" y="2566311"/>
                  </a:lnTo>
                  <a:lnTo>
                    <a:pt x="3256735" y="2564496"/>
                  </a:lnTo>
                  <a:lnTo>
                    <a:pt x="3258270" y="2561324"/>
                  </a:lnTo>
                  <a:lnTo>
                    <a:pt x="3256461" y="2562203"/>
                  </a:lnTo>
                  <a:lnTo>
                    <a:pt x="3255636" y="2562932"/>
                  </a:lnTo>
                  <a:lnTo>
                    <a:pt x="3254993" y="2563913"/>
                  </a:lnTo>
                  <a:lnTo>
                    <a:pt x="3254764" y="2563601"/>
                  </a:lnTo>
                  <a:lnTo>
                    <a:pt x="3254709" y="2563492"/>
                  </a:lnTo>
                  <a:lnTo>
                    <a:pt x="3254368" y="2563249"/>
                  </a:lnTo>
                  <a:lnTo>
                    <a:pt x="3254871" y="2561947"/>
                  </a:lnTo>
                  <a:lnTo>
                    <a:pt x="3255416" y="2560995"/>
                  </a:lnTo>
                  <a:lnTo>
                    <a:pt x="3255781" y="2559900"/>
                  </a:lnTo>
                  <a:lnTo>
                    <a:pt x="3255738" y="2558184"/>
                  </a:lnTo>
                  <a:lnTo>
                    <a:pt x="3255554" y="2558131"/>
                  </a:lnTo>
                  <a:lnTo>
                    <a:pt x="3255110" y="2557650"/>
                  </a:lnTo>
                  <a:lnTo>
                    <a:pt x="3254636" y="2556941"/>
                  </a:lnTo>
                  <a:lnTo>
                    <a:pt x="3254387" y="2556249"/>
                  </a:lnTo>
                  <a:lnTo>
                    <a:pt x="3254513" y="2555572"/>
                  </a:lnTo>
                  <a:lnTo>
                    <a:pt x="3254879" y="2554783"/>
                  </a:lnTo>
                  <a:lnTo>
                    <a:pt x="3255287" y="2554159"/>
                  </a:lnTo>
                  <a:lnTo>
                    <a:pt x="3255535" y="2553960"/>
                  </a:lnTo>
                  <a:lnTo>
                    <a:pt x="3256299" y="2554528"/>
                  </a:lnTo>
                  <a:lnTo>
                    <a:pt x="3257467" y="2555037"/>
                  </a:lnTo>
                  <a:lnTo>
                    <a:pt x="3258409" y="2554991"/>
                  </a:lnTo>
                  <a:lnTo>
                    <a:pt x="3258509" y="2553867"/>
                  </a:lnTo>
                  <a:lnTo>
                    <a:pt x="3258069" y="2552787"/>
                  </a:lnTo>
                  <a:lnTo>
                    <a:pt x="3256043" y="2549461"/>
                  </a:lnTo>
                  <a:lnTo>
                    <a:pt x="3257057" y="2548643"/>
                  </a:lnTo>
                  <a:lnTo>
                    <a:pt x="3258918" y="2550421"/>
                  </a:lnTo>
                  <a:lnTo>
                    <a:pt x="3260105" y="2549889"/>
                  </a:lnTo>
                  <a:lnTo>
                    <a:pt x="3260973" y="2548028"/>
                  </a:lnTo>
                  <a:lnTo>
                    <a:pt x="3260788" y="2546329"/>
                  </a:lnTo>
                  <a:lnTo>
                    <a:pt x="3259793" y="2544791"/>
                  </a:lnTo>
                  <a:lnTo>
                    <a:pt x="3258238" y="2543442"/>
                  </a:lnTo>
                  <a:lnTo>
                    <a:pt x="3259024" y="2542514"/>
                  </a:lnTo>
                  <a:lnTo>
                    <a:pt x="3260955" y="2542619"/>
                  </a:lnTo>
                  <a:lnTo>
                    <a:pt x="3261737" y="2541695"/>
                  </a:lnTo>
                  <a:lnTo>
                    <a:pt x="3261043" y="2540505"/>
                  </a:lnTo>
                  <a:lnTo>
                    <a:pt x="3260024" y="2537967"/>
                  </a:lnTo>
                  <a:lnTo>
                    <a:pt x="3259194" y="2536924"/>
                  </a:lnTo>
                  <a:lnTo>
                    <a:pt x="3260331" y="2534647"/>
                  </a:lnTo>
                  <a:lnTo>
                    <a:pt x="3263910" y="2531575"/>
                  </a:lnTo>
                  <a:lnTo>
                    <a:pt x="3265093" y="2529257"/>
                  </a:lnTo>
                  <a:lnTo>
                    <a:pt x="3265781" y="2528345"/>
                  </a:lnTo>
                  <a:lnTo>
                    <a:pt x="3268055" y="2527548"/>
                  </a:lnTo>
                  <a:lnTo>
                    <a:pt x="3269200" y="2525870"/>
                  </a:lnTo>
                  <a:lnTo>
                    <a:pt x="3271960" y="2523617"/>
                  </a:lnTo>
                  <a:lnTo>
                    <a:pt x="3270740" y="2522893"/>
                  </a:lnTo>
                  <a:lnTo>
                    <a:pt x="3268509" y="2522970"/>
                  </a:lnTo>
                  <a:lnTo>
                    <a:pt x="3267318" y="2522743"/>
                  </a:lnTo>
                  <a:lnTo>
                    <a:pt x="3268445" y="2521540"/>
                  </a:lnTo>
                  <a:lnTo>
                    <a:pt x="3271560" y="2520643"/>
                  </a:lnTo>
                  <a:lnTo>
                    <a:pt x="3272740" y="2519557"/>
                  </a:lnTo>
                  <a:lnTo>
                    <a:pt x="3273249" y="2517818"/>
                  </a:lnTo>
                  <a:lnTo>
                    <a:pt x="3272778" y="2516785"/>
                  </a:lnTo>
                  <a:lnTo>
                    <a:pt x="3270326" y="2515533"/>
                  </a:lnTo>
                  <a:lnTo>
                    <a:pt x="3271398" y="2513637"/>
                  </a:lnTo>
                  <a:lnTo>
                    <a:pt x="3276212" y="2509848"/>
                  </a:lnTo>
                  <a:lnTo>
                    <a:pt x="3275421" y="2509586"/>
                  </a:lnTo>
                  <a:lnTo>
                    <a:pt x="3274010" y="2509568"/>
                  </a:lnTo>
                  <a:lnTo>
                    <a:pt x="3273221" y="2509194"/>
                  </a:lnTo>
                  <a:lnTo>
                    <a:pt x="3273291" y="2510061"/>
                  </a:lnTo>
                  <a:lnTo>
                    <a:pt x="3273177" y="2510723"/>
                  </a:lnTo>
                  <a:lnTo>
                    <a:pt x="3272848" y="2510991"/>
                  </a:lnTo>
                  <a:lnTo>
                    <a:pt x="3271885" y="2510506"/>
                  </a:lnTo>
                  <a:lnTo>
                    <a:pt x="3271288" y="2510743"/>
                  </a:lnTo>
                  <a:lnTo>
                    <a:pt x="3270951" y="2510733"/>
                  </a:lnTo>
                  <a:lnTo>
                    <a:pt x="3270875" y="2510491"/>
                  </a:lnTo>
                  <a:lnTo>
                    <a:pt x="3270402" y="2509324"/>
                  </a:lnTo>
                  <a:lnTo>
                    <a:pt x="3270214" y="2508976"/>
                  </a:lnTo>
                  <a:lnTo>
                    <a:pt x="3269026" y="2508568"/>
                  </a:lnTo>
                  <a:lnTo>
                    <a:pt x="3268044" y="2509520"/>
                  </a:lnTo>
                  <a:lnTo>
                    <a:pt x="3266541" y="2512065"/>
                  </a:lnTo>
                  <a:lnTo>
                    <a:pt x="3265803" y="2512761"/>
                  </a:lnTo>
                  <a:lnTo>
                    <a:pt x="3264812" y="2513393"/>
                  </a:lnTo>
                  <a:lnTo>
                    <a:pt x="3263786" y="2513325"/>
                  </a:lnTo>
                  <a:lnTo>
                    <a:pt x="3262954" y="2511941"/>
                  </a:lnTo>
                  <a:lnTo>
                    <a:pt x="3262852" y="2510136"/>
                  </a:lnTo>
                  <a:lnTo>
                    <a:pt x="3263502" y="2508770"/>
                  </a:lnTo>
                  <a:lnTo>
                    <a:pt x="3264541" y="2507910"/>
                  </a:lnTo>
                  <a:lnTo>
                    <a:pt x="3265617" y="2507600"/>
                  </a:lnTo>
                  <a:lnTo>
                    <a:pt x="3265402" y="2506874"/>
                  </a:lnTo>
                  <a:lnTo>
                    <a:pt x="3262732" y="2504487"/>
                  </a:lnTo>
                  <a:lnTo>
                    <a:pt x="3264095" y="2501372"/>
                  </a:lnTo>
                  <a:lnTo>
                    <a:pt x="3268649" y="2496467"/>
                  </a:lnTo>
                  <a:lnTo>
                    <a:pt x="3268726" y="2495398"/>
                  </a:lnTo>
                  <a:lnTo>
                    <a:pt x="3268111" y="2493683"/>
                  </a:lnTo>
                  <a:lnTo>
                    <a:pt x="3268044" y="2492397"/>
                  </a:lnTo>
                  <a:lnTo>
                    <a:pt x="3267203" y="2487547"/>
                  </a:lnTo>
                  <a:lnTo>
                    <a:pt x="3266405" y="2486753"/>
                  </a:lnTo>
                  <a:lnTo>
                    <a:pt x="3264922" y="2487081"/>
                  </a:lnTo>
                  <a:lnTo>
                    <a:pt x="3263948" y="2486549"/>
                  </a:lnTo>
                  <a:lnTo>
                    <a:pt x="3262401" y="2484665"/>
                  </a:lnTo>
                  <a:lnTo>
                    <a:pt x="3261571" y="2483494"/>
                  </a:lnTo>
                  <a:lnTo>
                    <a:pt x="3260946" y="2482424"/>
                  </a:lnTo>
                  <a:lnTo>
                    <a:pt x="3261767" y="2482245"/>
                  </a:lnTo>
                  <a:lnTo>
                    <a:pt x="3262479" y="2481839"/>
                  </a:lnTo>
                  <a:lnTo>
                    <a:pt x="3263026" y="2481129"/>
                  </a:lnTo>
                  <a:lnTo>
                    <a:pt x="3263374" y="2480057"/>
                  </a:lnTo>
                  <a:lnTo>
                    <a:pt x="3262250" y="2479523"/>
                  </a:lnTo>
                  <a:lnTo>
                    <a:pt x="3261174" y="2479236"/>
                  </a:lnTo>
                  <a:lnTo>
                    <a:pt x="3265169" y="2478805"/>
                  </a:lnTo>
                  <a:lnTo>
                    <a:pt x="3265888" y="2479004"/>
                  </a:lnTo>
                  <a:lnTo>
                    <a:pt x="3267143" y="2480590"/>
                  </a:lnTo>
                  <a:lnTo>
                    <a:pt x="3267982" y="2480990"/>
                  </a:lnTo>
                  <a:lnTo>
                    <a:pt x="3269966" y="2480329"/>
                  </a:lnTo>
                  <a:lnTo>
                    <a:pt x="3271198" y="2479572"/>
                  </a:lnTo>
                  <a:lnTo>
                    <a:pt x="3271817" y="2478726"/>
                  </a:lnTo>
                  <a:lnTo>
                    <a:pt x="3272171" y="2477599"/>
                  </a:lnTo>
                  <a:lnTo>
                    <a:pt x="3272617" y="2477662"/>
                  </a:lnTo>
                  <a:lnTo>
                    <a:pt x="3273234" y="2478348"/>
                  </a:lnTo>
                  <a:lnTo>
                    <a:pt x="3274095" y="2479131"/>
                  </a:lnTo>
                  <a:lnTo>
                    <a:pt x="3278405" y="2481107"/>
                  </a:lnTo>
                  <a:lnTo>
                    <a:pt x="3280473" y="2483124"/>
                  </a:lnTo>
                  <a:lnTo>
                    <a:pt x="3281020" y="2486377"/>
                  </a:lnTo>
                  <a:lnTo>
                    <a:pt x="3282968" y="2487732"/>
                  </a:lnTo>
                  <a:lnTo>
                    <a:pt x="3285503" y="2487885"/>
                  </a:lnTo>
                  <a:lnTo>
                    <a:pt x="3290170" y="2486743"/>
                  </a:lnTo>
                  <a:lnTo>
                    <a:pt x="3289972" y="2486091"/>
                  </a:lnTo>
                  <a:lnTo>
                    <a:pt x="3285792" y="2486241"/>
                  </a:lnTo>
                  <a:lnTo>
                    <a:pt x="3283306" y="2485589"/>
                  </a:lnTo>
                  <a:lnTo>
                    <a:pt x="3281438" y="2483972"/>
                  </a:lnTo>
                  <a:lnTo>
                    <a:pt x="3281412" y="2482625"/>
                  </a:lnTo>
                  <a:lnTo>
                    <a:pt x="3280754" y="2480714"/>
                  </a:lnTo>
                  <a:lnTo>
                    <a:pt x="3279771" y="2478866"/>
                  </a:lnTo>
                  <a:lnTo>
                    <a:pt x="3278788" y="2477689"/>
                  </a:lnTo>
                  <a:lnTo>
                    <a:pt x="3277652" y="2477289"/>
                  </a:lnTo>
                  <a:lnTo>
                    <a:pt x="3274039" y="2477655"/>
                  </a:lnTo>
                  <a:lnTo>
                    <a:pt x="3273858" y="2477156"/>
                  </a:lnTo>
                  <a:lnTo>
                    <a:pt x="3273878" y="2476968"/>
                  </a:lnTo>
                  <a:lnTo>
                    <a:pt x="3274197" y="2476754"/>
                  </a:lnTo>
                  <a:lnTo>
                    <a:pt x="3273804" y="2476875"/>
                  </a:lnTo>
                  <a:lnTo>
                    <a:pt x="3274325" y="2476240"/>
                  </a:lnTo>
                  <a:lnTo>
                    <a:pt x="3275058" y="2475833"/>
                  </a:lnTo>
                  <a:lnTo>
                    <a:pt x="3275724" y="2475196"/>
                  </a:lnTo>
                  <a:lnTo>
                    <a:pt x="3276026" y="2473851"/>
                  </a:lnTo>
                  <a:lnTo>
                    <a:pt x="3275119" y="2473990"/>
                  </a:lnTo>
                  <a:lnTo>
                    <a:pt x="3274190" y="2473354"/>
                  </a:lnTo>
                  <a:lnTo>
                    <a:pt x="3273254" y="2472478"/>
                  </a:lnTo>
                  <a:lnTo>
                    <a:pt x="3272297" y="2471869"/>
                  </a:lnTo>
                  <a:lnTo>
                    <a:pt x="3272372" y="2470198"/>
                  </a:lnTo>
                  <a:lnTo>
                    <a:pt x="3273130" y="2470147"/>
                  </a:lnTo>
                  <a:lnTo>
                    <a:pt x="3274147" y="2470756"/>
                  </a:lnTo>
                  <a:lnTo>
                    <a:pt x="3274998" y="2471039"/>
                  </a:lnTo>
                  <a:lnTo>
                    <a:pt x="3276248" y="2470333"/>
                  </a:lnTo>
                  <a:lnTo>
                    <a:pt x="3276467" y="2469395"/>
                  </a:lnTo>
                  <a:lnTo>
                    <a:pt x="3276257" y="2468207"/>
                  </a:lnTo>
                  <a:lnTo>
                    <a:pt x="3276231" y="2466758"/>
                  </a:lnTo>
                  <a:lnTo>
                    <a:pt x="3276805" y="2465369"/>
                  </a:lnTo>
                  <a:lnTo>
                    <a:pt x="3277805" y="2464628"/>
                  </a:lnTo>
                  <a:lnTo>
                    <a:pt x="3282571" y="2463486"/>
                  </a:lnTo>
                  <a:lnTo>
                    <a:pt x="3283633" y="2462974"/>
                  </a:lnTo>
                  <a:lnTo>
                    <a:pt x="3283854" y="2462048"/>
                  </a:lnTo>
                  <a:lnTo>
                    <a:pt x="3278593" y="2455985"/>
                  </a:lnTo>
                  <a:lnTo>
                    <a:pt x="3277519" y="2454176"/>
                  </a:lnTo>
                  <a:lnTo>
                    <a:pt x="3276459" y="2452803"/>
                  </a:lnTo>
                  <a:lnTo>
                    <a:pt x="3274943" y="2452336"/>
                  </a:lnTo>
                  <a:lnTo>
                    <a:pt x="3273607" y="2452163"/>
                  </a:lnTo>
                  <a:lnTo>
                    <a:pt x="3273077" y="2451679"/>
                  </a:lnTo>
                  <a:lnTo>
                    <a:pt x="3273633" y="2450781"/>
                  </a:lnTo>
                  <a:lnTo>
                    <a:pt x="3275840" y="2450084"/>
                  </a:lnTo>
                  <a:lnTo>
                    <a:pt x="3276493" y="2449410"/>
                  </a:lnTo>
                  <a:lnTo>
                    <a:pt x="3275892" y="2448730"/>
                  </a:lnTo>
                  <a:lnTo>
                    <a:pt x="3275328" y="2448356"/>
                  </a:lnTo>
                  <a:lnTo>
                    <a:pt x="3274784" y="2448291"/>
                  </a:lnTo>
                  <a:lnTo>
                    <a:pt x="3274278" y="2448532"/>
                  </a:lnTo>
                  <a:lnTo>
                    <a:pt x="3274933" y="2446847"/>
                  </a:lnTo>
                  <a:lnTo>
                    <a:pt x="3275697" y="2445642"/>
                  </a:lnTo>
                  <a:lnTo>
                    <a:pt x="3276683" y="2444818"/>
                  </a:lnTo>
                  <a:lnTo>
                    <a:pt x="3277996" y="2444247"/>
                  </a:lnTo>
                  <a:lnTo>
                    <a:pt x="3276876" y="2443644"/>
                  </a:lnTo>
                  <a:lnTo>
                    <a:pt x="3275785" y="2443378"/>
                  </a:lnTo>
                  <a:lnTo>
                    <a:pt x="3276576" y="2442298"/>
                  </a:lnTo>
                  <a:lnTo>
                    <a:pt x="3279228" y="2440726"/>
                  </a:lnTo>
                  <a:lnTo>
                    <a:pt x="3280401" y="2440448"/>
                  </a:lnTo>
                  <a:lnTo>
                    <a:pt x="3280162" y="2439670"/>
                  </a:lnTo>
                  <a:lnTo>
                    <a:pt x="3279157" y="2440040"/>
                  </a:lnTo>
                  <a:lnTo>
                    <a:pt x="3277814" y="2440136"/>
                  </a:lnTo>
                  <a:lnTo>
                    <a:pt x="3276492" y="2439779"/>
                  </a:lnTo>
                  <a:lnTo>
                    <a:pt x="3275538" y="2438762"/>
                  </a:lnTo>
                  <a:lnTo>
                    <a:pt x="3277040" y="2438164"/>
                  </a:lnTo>
                  <a:lnTo>
                    <a:pt x="3278804" y="2436803"/>
                  </a:lnTo>
                  <a:lnTo>
                    <a:pt x="3280259" y="2435010"/>
                  </a:lnTo>
                  <a:lnTo>
                    <a:pt x="3280831" y="2433124"/>
                  </a:lnTo>
                  <a:lnTo>
                    <a:pt x="3279520" y="2433758"/>
                  </a:lnTo>
                  <a:lnTo>
                    <a:pt x="3275605" y="2437483"/>
                  </a:lnTo>
                  <a:lnTo>
                    <a:pt x="3274273" y="2437981"/>
                  </a:lnTo>
                  <a:lnTo>
                    <a:pt x="3273108" y="2437602"/>
                  </a:lnTo>
                  <a:lnTo>
                    <a:pt x="3272691" y="2435662"/>
                  </a:lnTo>
                  <a:lnTo>
                    <a:pt x="3271993" y="2435417"/>
                  </a:lnTo>
                  <a:lnTo>
                    <a:pt x="3271255" y="2435339"/>
                  </a:lnTo>
                  <a:lnTo>
                    <a:pt x="3270551" y="2435445"/>
                  </a:lnTo>
                  <a:lnTo>
                    <a:pt x="3269982" y="2435789"/>
                  </a:lnTo>
                  <a:lnTo>
                    <a:pt x="3269749" y="2436332"/>
                  </a:lnTo>
                  <a:lnTo>
                    <a:pt x="3269478" y="2437902"/>
                  </a:lnTo>
                  <a:lnTo>
                    <a:pt x="3269371" y="2438256"/>
                  </a:lnTo>
                  <a:lnTo>
                    <a:pt x="3266163" y="2438534"/>
                  </a:lnTo>
                  <a:lnTo>
                    <a:pt x="3262037" y="2439803"/>
                  </a:lnTo>
                  <a:lnTo>
                    <a:pt x="3261593" y="2439701"/>
                  </a:lnTo>
                  <a:lnTo>
                    <a:pt x="3260534" y="2438951"/>
                  </a:lnTo>
                  <a:lnTo>
                    <a:pt x="3260027" y="2438855"/>
                  </a:lnTo>
                  <a:lnTo>
                    <a:pt x="3257547" y="2439614"/>
                  </a:lnTo>
                  <a:lnTo>
                    <a:pt x="3257984" y="2438475"/>
                  </a:lnTo>
                  <a:lnTo>
                    <a:pt x="3259168" y="2436829"/>
                  </a:lnTo>
                  <a:lnTo>
                    <a:pt x="3259503" y="2435828"/>
                  </a:lnTo>
                  <a:lnTo>
                    <a:pt x="3258973" y="2435492"/>
                  </a:lnTo>
                  <a:lnTo>
                    <a:pt x="3258553" y="2435062"/>
                  </a:lnTo>
                  <a:lnTo>
                    <a:pt x="3257762" y="2434020"/>
                  </a:lnTo>
                  <a:lnTo>
                    <a:pt x="3259525" y="2431678"/>
                  </a:lnTo>
                  <a:lnTo>
                    <a:pt x="3260626" y="2430917"/>
                  </a:lnTo>
                  <a:lnTo>
                    <a:pt x="3261917" y="2431530"/>
                  </a:lnTo>
                  <a:lnTo>
                    <a:pt x="3262327" y="2431544"/>
                  </a:lnTo>
                  <a:lnTo>
                    <a:pt x="3262943" y="2431173"/>
                  </a:lnTo>
                  <a:lnTo>
                    <a:pt x="3263521" y="2430645"/>
                  </a:lnTo>
                  <a:lnTo>
                    <a:pt x="3263821" y="2430161"/>
                  </a:lnTo>
                  <a:lnTo>
                    <a:pt x="3264320" y="2429924"/>
                  </a:lnTo>
                  <a:lnTo>
                    <a:pt x="3267280" y="2429456"/>
                  </a:lnTo>
                  <a:lnTo>
                    <a:pt x="3267082" y="2428805"/>
                  </a:lnTo>
                  <a:lnTo>
                    <a:pt x="3262659" y="2428075"/>
                  </a:lnTo>
                  <a:lnTo>
                    <a:pt x="3261234" y="2427481"/>
                  </a:lnTo>
                  <a:lnTo>
                    <a:pt x="3258974" y="2425769"/>
                  </a:lnTo>
                  <a:lnTo>
                    <a:pt x="3257712" y="2424527"/>
                  </a:lnTo>
                  <a:lnTo>
                    <a:pt x="3256850" y="2423293"/>
                  </a:lnTo>
                  <a:lnTo>
                    <a:pt x="3259313" y="2422903"/>
                  </a:lnTo>
                  <a:lnTo>
                    <a:pt x="3260466" y="2422348"/>
                  </a:lnTo>
                  <a:lnTo>
                    <a:pt x="3261302" y="2421215"/>
                  </a:lnTo>
                  <a:lnTo>
                    <a:pt x="3256912" y="2418232"/>
                  </a:lnTo>
                  <a:lnTo>
                    <a:pt x="3255530" y="2417637"/>
                  </a:lnTo>
                  <a:lnTo>
                    <a:pt x="3254834" y="2417460"/>
                  </a:lnTo>
                  <a:lnTo>
                    <a:pt x="3254849" y="2416883"/>
                  </a:lnTo>
                  <a:lnTo>
                    <a:pt x="3255593" y="2415081"/>
                  </a:lnTo>
                  <a:lnTo>
                    <a:pt x="3254478" y="2415549"/>
                  </a:lnTo>
                  <a:lnTo>
                    <a:pt x="3253166" y="2417724"/>
                  </a:lnTo>
                  <a:lnTo>
                    <a:pt x="3252336" y="2418425"/>
                  </a:lnTo>
                  <a:lnTo>
                    <a:pt x="3251700" y="2417848"/>
                  </a:lnTo>
                  <a:lnTo>
                    <a:pt x="3251507" y="2416082"/>
                  </a:lnTo>
                  <a:lnTo>
                    <a:pt x="3251648" y="2412321"/>
                  </a:lnTo>
                  <a:lnTo>
                    <a:pt x="3250484" y="2411216"/>
                  </a:lnTo>
                  <a:lnTo>
                    <a:pt x="3249877" y="2410773"/>
                  </a:lnTo>
                  <a:lnTo>
                    <a:pt x="3248867" y="2410566"/>
                  </a:lnTo>
                  <a:lnTo>
                    <a:pt x="3248688" y="2409992"/>
                  </a:lnTo>
                  <a:lnTo>
                    <a:pt x="3248585" y="2409279"/>
                  </a:lnTo>
                  <a:lnTo>
                    <a:pt x="3248267" y="2408739"/>
                  </a:lnTo>
                  <a:lnTo>
                    <a:pt x="3247052" y="2408286"/>
                  </a:lnTo>
                  <a:lnTo>
                    <a:pt x="3244614" y="2408188"/>
                  </a:lnTo>
                  <a:lnTo>
                    <a:pt x="3243384" y="2407814"/>
                  </a:lnTo>
                  <a:lnTo>
                    <a:pt x="3241311" y="2405946"/>
                  </a:lnTo>
                  <a:lnTo>
                    <a:pt x="3240680" y="2403669"/>
                  </a:lnTo>
                  <a:lnTo>
                    <a:pt x="3241009" y="2401234"/>
                  </a:lnTo>
                  <a:lnTo>
                    <a:pt x="3241815" y="2398858"/>
                  </a:lnTo>
                  <a:lnTo>
                    <a:pt x="3245987" y="2393269"/>
                  </a:lnTo>
                  <a:lnTo>
                    <a:pt x="3246793" y="2391160"/>
                  </a:lnTo>
                  <a:lnTo>
                    <a:pt x="3246772" y="2390515"/>
                  </a:lnTo>
                  <a:lnTo>
                    <a:pt x="3246520" y="2389195"/>
                  </a:lnTo>
                  <a:lnTo>
                    <a:pt x="3246532" y="2388466"/>
                  </a:lnTo>
                  <a:lnTo>
                    <a:pt x="3246860" y="2387876"/>
                  </a:lnTo>
                  <a:lnTo>
                    <a:pt x="3253620" y="2385860"/>
                  </a:lnTo>
                  <a:lnTo>
                    <a:pt x="3252220" y="2384948"/>
                  </a:lnTo>
                  <a:lnTo>
                    <a:pt x="3250653" y="2384514"/>
                  </a:lnTo>
                  <a:lnTo>
                    <a:pt x="3246227" y="2384839"/>
                  </a:lnTo>
                  <a:lnTo>
                    <a:pt x="3244695" y="2385482"/>
                  </a:lnTo>
                  <a:lnTo>
                    <a:pt x="3244217" y="2385978"/>
                  </a:lnTo>
                  <a:lnTo>
                    <a:pt x="3243319" y="2387314"/>
                  </a:lnTo>
                  <a:lnTo>
                    <a:pt x="3242862" y="2387678"/>
                  </a:lnTo>
                  <a:lnTo>
                    <a:pt x="3240550" y="2388762"/>
                  </a:lnTo>
                  <a:lnTo>
                    <a:pt x="3239403" y="2388916"/>
                  </a:lnTo>
                  <a:lnTo>
                    <a:pt x="3234006" y="2386651"/>
                  </a:lnTo>
                  <a:lnTo>
                    <a:pt x="3232690" y="2385637"/>
                  </a:lnTo>
                  <a:lnTo>
                    <a:pt x="3229418" y="2382238"/>
                  </a:lnTo>
                  <a:lnTo>
                    <a:pt x="3229208" y="2381618"/>
                  </a:lnTo>
                  <a:lnTo>
                    <a:pt x="3229931" y="2380897"/>
                  </a:lnTo>
                  <a:lnTo>
                    <a:pt x="3231791" y="2376859"/>
                  </a:lnTo>
                  <a:lnTo>
                    <a:pt x="3233319" y="2374664"/>
                  </a:lnTo>
                  <a:lnTo>
                    <a:pt x="3233909" y="2373423"/>
                  </a:lnTo>
                  <a:lnTo>
                    <a:pt x="3234671" y="2370437"/>
                  </a:lnTo>
                  <a:lnTo>
                    <a:pt x="3236303" y="2367439"/>
                  </a:lnTo>
                  <a:lnTo>
                    <a:pt x="3237104" y="2366653"/>
                  </a:lnTo>
                  <a:lnTo>
                    <a:pt x="3235449" y="2365345"/>
                  </a:lnTo>
                  <a:lnTo>
                    <a:pt x="3233469" y="2365848"/>
                  </a:lnTo>
                  <a:lnTo>
                    <a:pt x="3229896" y="2368002"/>
                  </a:lnTo>
                  <a:lnTo>
                    <a:pt x="3230741" y="2366066"/>
                  </a:lnTo>
                  <a:lnTo>
                    <a:pt x="3239583" y="2357227"/>
                  </a:lnTo>
                  <a:lnTo>
                    <a:pt x="3239387" y="2356579"/>
                  </a:lnTo>
                  <a:lnTo>
                    <a:pt x="3236904" y="2357595"/>
                  </a:lnTo>
                  <a:lnTo>
                    <a:pt x="3222668" y="2371819"/>
                  </a:lnTo>
                  <a:lnTo>
                    <a:pt x="3222612" y="2370529"/>
                  </a:lnTo>
                  <a:lnTo>
                    <a:pt x="3222727" y="2369333"/>
                  </a:lnTo>
                  <a:lnTo>
                    <a:pt x="3223178" y="2367054"/>
                  </a:lnTo>
                  <a:lnTo>
                    <a:pt x="3221844" y="2366587"/>
                  </a:lnTo>
                  <a:lnTo>
                    <a:pt x="3217592" y="2368736"/>
                  </a:lnTo>
                  <a:lnTo>
                    <a:pt x="3221048" y="2363732"/>
                  </a:lnTo>
                  <a:lnTo>
                    <a:pt x="3218835" y="2363497"/>
                  </a:lnTo>
                  <a:lnTo>
                    <a:pt x="3216813" y="2364784"/>
                  </a:lnTo>
                  <a:lnTo>
                    <a:pt x="3213297" y="2368393"/>
                  </a:lnTo>
                  <a:lnTo>
                    <a:pt x="3211563" y="2368911"/>
                  </a:lnTo>
                  <a:lnTo>
                    <a:pt x="3206064" y="2372176"/>
                  </a:lnTo>
                  <a:lnTo>
                    <a:pt x="3205341" y="2364843"/>
                  </a:lnTo>
                  <a:lnTo>
                    <a:pt x="3205315" y="2363765"/>
                  </a:lnTo>
                  <a:lnTo>
                    <a:pt x="3206426" y="2362836"/>
                  </a:lnTo>
                  <a:lnTo>
                    <a:pt x="3206973" y="2361220"/>
                  </a:lnTo>
                  <a:lnTo>
                    <a:pt x="3207442" y="2357602"/>
                  </a:lnTo>
                  <a:lnTo>
                    <a:pt x="3210018" y="2352926"/>
                  </a:lnTo>
                  <a:lnTo>
                    <a:pt x="3210280" y="2351691"/>
                  </a:lnTo>
                  <a:lnTo>
                    <a:pt x="3210349" y="2350392"/>
                  </a:lnTo>
                  <a:lnTo>
                    <a:pt x="3214132" y="2341861"/>
                  </a:lnTo>
                  <a:lnTo>
                    <a:pt x="3214575" y="2340225"/>
                  </a:lnTo>
                  <a:lnTo>
                    <a:pt x="3214915" y="2339648"/>
                  </a:lnTo>
                  <a:lnTo>
                    <a:pt x="3215577" y="2339350"/>
                  </a:lnTo>
                  <a:lnTo>
                    <a:pt x="3216900" y="2339098"/>
                  </a:lnTo>
                  <a:lnTo>
                    <a:pt x="3217470" y="2338567"/>
                  </a:lnTo>
                  <a:lnTo>
                    <a:pt x="3217275" y="2337706"/>
                  </a:lnTo>
                  <a:lnTo>
                    <a:pt x="3216756" y="2336607"/>
                  </a:lnTo>
                  <a:lnTo>
                    <a:pt x="3216343" y="2335365"/>
                  </a:lnTo>
                  <a:lnTo>
                    <a:pt x="3215647" y="2328977"/>
                  </a:lnTo>
                  <a:lnTo>
                    <a:pt x="3215407" y="2327915"/>
                  </a:lnTo>
                  <a:lnTo>
                    <a:pt x="3215687" y="2327332"/>
                  </a:lnTo>
                  <a:lnTo>
                    <a:pt x="3215847" y="2325088"/>
                  </a:lnTo>
                  <a:lnTo>
                    <a:pt x="3216240" y="2324471"/>
                  </a:lnTo>
                  <a:lnTo>
                    <a:pt x="3218589" y="2322903"/>
                  </a:lnTo>
                  <a:lnTo>
                    <a:pt x="3218597" y="2321044"/>
                  </a:lnTo>
                  <a:lnTo>
                    <a:pt x="3217464" y="2320102"/>
                  </a:lnTo>
                  <a:lnTo>
                    <a:pt x="3214872" y="2319356"/>
                  </a:lnTo>
                  <a:lnTo>
                    <a:pt x="3214931" y="2318165"/>
                  </a:lnTo>
                  <a:lnTo>
                    <a:pt x="3215155" y="2317222"/>
                  </a:lnTo>
                  <a:lnTo>
                    <a:pt x="3215261" y="2316157"/>
                  </a:lnTo>
                  <a:lnTo>
                    <a:pt x="3214979" y="2314633"/>
                  </a:lnTo>
                  <a:lnTo>
                    <a:pt x="3214621" y="2314035"/>
                  </a:lnTo>
                  <a:lnTo>
                    <a:pt x="3213564" y="2313069"/>
                  </a:lnTo>
                  <a:lnTo>
                    <a:pt x="3213191" y="2312414"/>
                  </a:lnTo>
                  <a:lnTo>
                    <a:pt x="3211496" y="2306933"/>
                  </a:lnTo>
                  <a:lnTo>
                    <a:pt x="3210527" y="2304353"/>
                  </a:lnTo>
                  <a:lnTo>
                    <a:pt x="3209338" y="2301863"/>
                  </a:lnTo>
                  <a:lnTo>
                    <a:pt x="3206173" y="2296546"/>
                  </a:lnTo>
                  <a:lnTo>
                    <a:pt x="3206603" y="2295508"/>
                  </a:lnTo>
                  <a:lnTo>
                    <a:pt x="3207839" y="2295555"/>
                  </a:lnTo>
                  <a:lnTo>
                    <a:pt x="3208567" y="2295831"/>
                  </a:lnTo>
                  <a:lnTo>
                    <a:pt x="3209733" y="2297322"/>
                  </a:lnTo>
                  <a:lnTo>
                    <a:pt x="3211257" y="2297611"/>
                  </a:lnTo>
                  <a:lnTo>
                    <a:pt x="3212038" y="2296521"/>
                  </a:lnTo>
                  <a:lnTo>
                    <a:pt x="3210957" y="2293928"/>
                  </a:lnTo>
                  <a:lnTo>
                    <a:pt x="3214683" y="2292806"/>
                  </a:lnTo>
                  <a:lnTo>
                    <a:pt x="3216295" y="2291653"/>
                  </a:lnTo>
                  <a:lnTo>
                    <a:pt x="3217116" y="2289692"/>
                  </a:lnTo>
                  <a:lnTo>
                    <a:pt x="3211994" y="2288518"/>
                  </a:lnTo>
                  <a:lnTo>
                    <a:pt x="3209784" y="2287100"/>
                  </a:lnTo>
                  <a:lnTo>
                    <a:pt x="3209512" y="2284149"/>
                  </a:lnTo>
                  <a:lnTo>
                    <a:pt x="3209982" y="2283311"/>
                  </a:lnTo>
                  <a:lnTo>
                    <a:pt x="3210784" y="2282627"/>
                  </a:lnTo>
                  <a:lnTo>
                    <a:pt x="3211732" y="2282369"/>
                  </a:lnTo>
                  <a:lnTo>
                    <a:pt x="3213995" y="2283531"/>
                  </a:lnTo>
                  <a:lnTo>
                    <a:pt x="3218787" y="2282919"/>
                  </a:lnTo>
                  <a:lnTo>
                    <a:pt x="3216840" y="2280851"/>
                  </a:lnTo>
                  <a:lnTo>
                    <a:pt x="3214222" y="2280215"/>
                  </a:lnTo>
                  <a:lnTo>
                    <a:pt x="3209638" y="2280912"/>
                  </a:lnTo>
                  <a:lnTo>
                    <a:pt x="3209838" y="2279607"/>
                  </a:lnTo>
                  <a:lnTo>
                    <a:pt x="3210592" y="2279264"/>
                  </a:lnTo>
                  <a:lnTo>
                    <a:pt x="3211531" y="2279171"/>
                  </a:lnTo>
                  <a:lnTo>
                    <a:pt x="3212262" y="2278611"/>
                  </a:lnTo>
                  <a:lnTo>
                    <a:pt x="3212065" y="2277964"/>
                  </a:lnTo>
                  <a:lnTo>
                    <a:pt x="3210530" y="2277625"/>
                  </a:lnTo>
                  <a:lnTo>
                    <a:pt x="3206242" y="2278898"/>
                  </a:lnTo>
                  <a:lnTo>
                    <a:pt x="3204885" y="2278461"/>
                  </a:lnTo>
                  <a:lnTo>
                    <a:pt x="3202259" y="2275493"/>
                  </a:lnTo>
                  <a:lnTo>
                    <a:pt x="3201320" y="2274927"/>
                  </a:lnTo>
                  <a:lnTo>
                    <a:pt x="3200552" y="2274100"/>
                  </a:lnTo>
                  <a:lnTo>
                    <a:pt x="3198028" y="2270820"/>
                  </a:lnTo>
                  <a:lnTo>
                    <a:pt x="3197734" y="2270910"/>
                  </a:lnTo>
                  <a:lnTo>
                    <a:pt x="3197250" y="2272145"/>
                  </a:lnTo>
                  <a:lnTo>
                    <a:pt x="3191009" y="2273834"/>
                  </a:lnTo>
                  <a:lnTo>
                    <a:pt x="3189438" y="2273363"/>
                  </a:lnTo>
                  <a:lnTo>
                    <a:pt x="3187881" y="2272349"/>
                  </a:lnTo>
                  <a:lnTo>
                    <a:pt x="3186593" y="2270733"/>
                  </a:lnTo>
                  <a:lnTo>
                    <a:pt x="3186166" y="2269704"/>
                  </a:lnTo>
                  <a:lnTo>
                    <a:pt x="3185822" y="2268520"/>
                  </a:lnTo>
                  <a:lnTo>
                    <a:pt x="3185526" y="2267150"/>
                  </a:lnTo>
                  <a:lnTo>
                    <a:pt x="3184942" y="2265987"/>
                  </a:lnTo>
                  <a:lnTo>
                    <a:pt x="3184601" y="2265583"/>
                  </a:lnTo>
                  <a:lnTo>
                    <a:pt x="3184272" y="2265337"/>
                  </a:lnTo>
                  <a:lnTo>
                    <a:pt x="3183719" y="2264653"/>
                  </a:lnTo>
                  <a:lnTo>
                    <a:pt x="3183303" y="2263928"/>
                  </a:lnTo>
                  <a:lnTo>
                    <a:pt x="3182443" y="2262136"/>
                  </a:lnTo>
                  <a:lnTo>
                    <a:pt x="3181928" y="2261218"/>
                  </a:lnTo>
                  <a:lnTo>
                    <a:pt x="3181285" y="2260295"/>
                  </a:lnTo>
                  <a:lnTo>
                    <a:pt x="3179751" y="2258687"/>
                  </a:lnTo>
                  <a:lnTo>
                    <a:pt x="3178562" y="2257069"/>
                  </a:lnTo>
                  <a:lnTo>
                    <a:pt x="3177800" y="2255592"/>
                  </a:lnTo>
                  <a:lnTo>
                    <a:pt x="3177393" y="2253892"/>
                  </a:lnTo>
                  <a:lnTo>
                    <a:pt x="3177254" y="2251634"/>
                  </a:lnTo>
                  <a:lnTo>
                    <a:pt x="3176485" y="2250317"/>
                  </a:lnTo>
                  <a:lnTo>
                    <a:pt x="3175584" y="2248255"/>
                  </a:lnTo>
                  <a:lnTo>
                    <a:pt x="3174587" y="2246411"/>
                  </a:lnTo>
                  <a:lnTo>
                    <a:pt x="3172428" y="2245184"/>
                  </a:lnTo>
                  <a:lnTo>
                    <a:pt x="3171346" y="2243199"/>
                  </a:lnTo>
                  <a:lnTo>
                    <a:pt x="3170385" y="2240625"/>
                  </a:lnTo>
                  <a:lnTo>
                    <a:pt x="3168151" y="2233446"/>
                  </a:lnTo>
                  <a:lnTo>
                    <a:pt x="3167241" y="2231284"/>
                  </a:lnTo>
                  <a:lnTo>
                    <a:pt x="3166151" y="2229547"/>
                  </a:lnTo>
                  <a:lnTo>
                    <a:pt x="3165213" y="2227513"/>
                  </a:lnTo>
                  <a:lnTo>
                    <a:pt x="3164840" y="2225001"/>
                  </a:lnTo>
                  <a:lnTo>
                    <a:pt x="3164675" y="2222448"/>
                  </a:lnTo>
                  <a:lnTo>
                    <a:pt x="3164347" y="2220345"/>
                  </a:lnTo>
                  <a:lnTo>
                    <a:pt x="3162338" y="2216178"/>
                  </a:lnTo>
                  <a:lnTo>
                    <a:pt x="3161655" y="2213693"/>
                  </a:lnTo>
                  <a:lnTo>
                    <a:pt x="3162470" y="2212261"/>
                  </a:lnTo>
                  <a:lnTo>
                    <a:pt x="3163048" y="2211856"/>
                  </a:lnTo>
                  <a:lnTo>
                    <a:pt x="3163224" y="2211116"/>
                  </a:lnTo>
                  <a:lnTo>
                    <a:pt x="3163087" y="2210056"/>
                  </a:lnTo>
                  <a:lnTo>
                    <a:pt x="3162716" y="2208680"/>
                  </a:lnTo>
                  <a:lnTo>
                    <a:pt x="3162740" y="2207683"/>
                  </a:lnTo>
                  <a:lnTo>
                    <a:pt x="3165039" y="2201892"/>
                  </a:lnTo>
                  <a:lnTo>
                    <a:pt x="3165523" y="2201212"/>
                  </a:lnTo>
                  <a:lnTo>
                    <a:pt x="3167169" y="2200717"/>
                  </a:lnTo>
                  <a:lnTo>
                    <a:pt x="3168827" y="2199007"/>
                  </a:lnTo>
                  <a:lnTo>
                    <a:pt x="3169313" y="2197298"/>
                  </a:lnTo>
                  <a:lnTo>
                    <a:pt x="3169755" y="2196811"/>
                  </a:lnTo>
                  <a:lnTo>
                    <a:pt x="3170534" y="2196328"/>
                  </a:lnTo>
                  <a:lnTo>
                    <a:pt x="3174174" y="2190421"/>
                  </a:lnTo>
                  <a:lnTo>
                    <a:pt x="3175005" y="2189679"/>
                  </a:lnTo>
                  <a:lnTo>
                    <a:pt x="3177402" y="2188863"/>
                  </a:lnTo>
                  <a:lnTo>
                    <a:pt x="3178573" y="2188012"/>
                  </a:lnTo>
                  <a:lnTo>
                    <a:pt x="3178758" y="2186576"/>
                  </a:lnTo>
                  <a:lnTo>
                    <a:pt x="3178779" y="2183451"/>
                  </a:lnTo>
                  <a:lnTo>
                    <a:pt x="3180334" y="2181244"/>
                  </a:lnTo>
                  <a:lnTo>
                    <a:pt x="3183482" y="2178485"/>
                  </a:lnTo>
                  <a:lnTo>
                    <a:pt x="3183831" y="2177217"/>
                  </a:lnTo>
                  <a:lnTo>
                    <a:pt x="3184174" y="2174525"/>
                  </a:lnTo>
                  <a:lnTo>
                    <a:pt x="3184420" y="2173498"/>
                  </a:lnTo>
                  <a:lnTo>
                    <a:pt x="3185154" y="2172641"/>
                  </a:lnTo>
                  <a:lnTo>
                    <a:pt x="3188533" y="2172221"/>
                  </a:lnTo>
                  <a:lnTo>
                    <a:pt x="3188870" y="2172535"/>
                  </a:lnTo>
                  <a:lnTo>
                    <a:pt x="3189807" y="2174258"/>
                  </a:lnTo>
                  <a:lnTo>
                    <a:pt x="3190262" y="2174815"/>
                  </a:lnTo>
                  <a:lnTo>
                    <a:pt x="3190836" y="2175028"/>
                  </a:lnTo>
                  <a:lnTo>
                    <a:pt x="3191136" y="2174893"/>
                  </a:lnTo>
                  <a:lnTo>
                    <a:pt x="3191357" y="2174600"/>
                  </a:lnTo>
                  <a:lnTo>
                    <a:pt x="3191718" y="2174361"/>
                  </a:lnTo>
                  <a:lnTo>
                    <a:pt x="3195788" y="2173928"/>
                  </a:lnTo>
                  <a:lnTo>
                    <a:pt x="3197019" y="2173486"/>
                  </a:lnTo>
                  <a:lnTo>
                    <a:pt x="3197507" y="2173878"/>
                  </a:lnTo>
                  <a:lnTo>
                    <a:pt x="3201175" y="2172962"/>
                  </a:lnTo>
                  <a:lnTo>
                    <a:pt x="3201571" y="2172991"/>
                  </a:lnTo>
                  <a:lnTo>
                    <a:pt x="3202129" y="2173235"/>
                  </a:lnTo>
                  <a:lnTo>
                    <a:pt x="3202677" y="2173674"/>
                  </a:lnTo>
                  <a:lnTo>
                    <a:pt x="3203044" y="2174291"/>
                  </a:lnTo>
                  <a:lnTo>
                    <a:pt x="3203342" y="2174631"/>
                  </a:lnTo>
                  <a:lnTo>
                    <a:pt x="3203692" y="2174348"/>
                  </a:lnTo>
                  <a:lnTo>
                    <a:pt x="3204249" y="2173556"/>
                  </a:lnTo>
                  <a:lnTo>
                    <a:pt x="3205868" y="2172861"/>
                  </a:lnTo>
                  <a:lnTo>
                    <a:pt x="3206504" y="2172842"/>
                  </a:lnTo>
                  <a:lnTo>
                    <a:pt x="3207057" y="2173189"/>
                  </a:lnTo>
                  <a:lnTo>
                    <a:pt x="3207612" y="2173741"/>
                  </a:lnTo>
                  <a:lnTo>
                    <a:pt x="3208079" y="2174000"/>
                  </a:lnTo>
                  <a:lnTo>
                    <a:pt x="3208770" y="2172108"/>
                  </a:lnTo>
                  <a:lnTo>
                    <a:pt x="3209674" y="2171026"/>
                  </a:lnTo>
                  <a:lnTo>
                    <a:pt x="3210792" y="2170357"/>
                  </a:lnTo>
                  <a:lnTo>
                    <a:pt x="3211867" y="2170285"/>
                  </a:lnTo>
                  <a:lnTo>
                    <a:pt x="3212811" y="2170750"/>
                  </a:lnTo>
                  <a:lnTo>
                    <a:pt x="3213540" y="2171307"/>
                  </a:lnTo>
                  <a:lnTo>
                    <a:pt x="3214259" y="2171694"/>
                  </a:lnTo>
                  <a:lnTo>
                    <a:pt x="3222010" y="2170510"/>
                  </a:lnTo>
                  <a:lnTo>
                    <a:pt x="3223205" y="2170639"/>
                  </a:lnTo>
                  <a:lnTo>
                    <a:pt x="3224335" y="2171444"/>
                  </a:lnTo>
                  <a:lnTo>
                    <a:pt x="3225259" y="2171927"/>
                  </a:lnTo>
                  <a:lnTo>
                    <a:pt x="3227257" y="2171566"/>
                  </a:lnTo>
                  <a:lnTo>
                    <a:pt x="3228371" y="2172183"/>
                  </a:lnTo>
                  <a:lnTo>
                    <a:pt x="3228221" y="2172938"/>
                  </a:lnTo>
                  <a:lnTo>
                    <a:pt x="3229911" y="2173607"/>
                  </a:lnTo>
                  <a:lnTo>
                    <a:pt x="3231522" y="2173496"/>
                  </a:lnTo>
                  <a:lnTo>
                    <a:pt x="3234432" y="2172421"/>
                  </a:lnTo>
                  <a:lnTo>
                    <a:pt x="3238563" y="2173812"/>
                  </a:lnTo>
                  <a:lnTo>
                    <a:pt x="3241716" y="2173256"/>
                  </a:lnTo>
                  <a:lnTo>
                    <a:pt x="3247158" y="2174220"/>
                  </a:lnTo>
                  <a:lnTo>
                    <a:pt x="3251513" y="2173703"/>
                  </a:lnTo>
                  <a:lnTo>
                    <a:pt x="3253282" y="2174439"/>
                  </a:lnTo>
                  <a:lnTo>
                    <a:pt x="3255252" y="2173868"/>
                  </a:lnTo>
                  <a:lnTo>
                    <a:pt x="3256185" y="2174041"/>
                  </a:lnTo>
                  <a:lnTo>
                    <a:pt x="3256851" y="2174762"/>
                  </a:lnTo>
                  <a:lnTo>
                    <a:pt x="3257998" y="2176718"/>
                  </a:lnTo>
                  <a:lnTo>
                    <a:pt x="3258320" y="2177202"/>
                  </a:lnTo>
                  <a:lnTo>
                    <a:pt x="3259134" y="2177353"/>
                  </a:lnTo>
                  <a:lnTo>
                    <a:pt x="3259722" y="2176856"/>
                  </a:lnTo>
                  <a:lnTo>
                    <a:pt x="3260250" y="2176135"/>
                  </a:lnTo>
                  <a:lnTo>
                    <a:pt x="3260884" y="2175627"/>
                  </a:lnTo>
                  <a:lnTo>
                    <a:pt x="3261605" y="2175635"/>
                  </a:lnTo>
                  <a:lnTo>
                    <a:pt x="3262798" y="2176320"/>
                  </a:lnTo>
                  <a:lnTo>
                    <a:pt x="3263315" y="2176391"/>
                  </a:lnTo>
                  <a:lnTo>
                    <a:pt x="3264008" y="2175872"/>
                  </a:lnTo>
                  <a:lnTo>
                    <a:pt x="3265137" y="2174337"/>
                  </a:lnTo>
                  <a:lnTo>
                    <a:pt x="3265944" y="2173929"/>
                  </a:lnTo>
                  <a:lnTo>
                    <a:pt x="3266563" y="2174116"/>
                  </a:lnTo>
                  <a:lnTo>
                    <a:pt x="3268317" y="2175499"/>
                  </a:lnTo>
                  <a:lnTo>
                    <a:pt x="3271495" y="2175653"/>
                  </a:lnTo>
                  <a:lnTo>
                    <a:pt x="3273117" y="2176384"/>
                  </a:lnTo>
                  <a:lnTo>
                    <a:pt x="3281894" y="2175348"/>
                  </a:lnTo>
                  <a:lnTo>
                    <a:pt x="3285898" y="2176694"/>
                  </a:lnTo>
                  <a:lnTo>
                    <a:pt x="3286118" y="2177339"/>
                  </a:lnTo>
                  <a:lnTo>
                    <a:pt x="3281175" y="2182355"/>
                  </a:lnTo>
                  <a:lnTo>
                    <a:pt x="3280204" y="2185352"/>
                  </a:lnTo>
                  <a:lnTo>
                    <a:pt x="3279656" y="2186488"/>
                  </a:lnTo>
                  <a:lnTo>
                    <a:pt x="3277825" y="2187641"/>
                  </a:lnTo>
                  <a:lnTo>
                    <a:pt x="3277329" y="2188698"/>
                  </a:lnTo>
                  <a:lnTo>
                    <a:pt x="3276990" y="2189804"/>
                  </a:lnTo>
                  <a:lnTo>
                    <a:pt x="3275246" y="2192945"/>
                  </a:lnTo>
                  <a:lnTo>
                    <a:pt x="3278232" y="2191936"/>
                  </a:lnTo>
                  <a:lnTo>
                    <a:pt x="3278903" y="2191169"/>
                  </a:lnTo>
                  <a:lnTo>
                    <a:pt x="3280078" y="2188631"/>
                  </a:lnTo>
                  <a:lnTo>
                    <a:pt x="3281756" y="2187088"/>
                  </a:lnTo>
                  <a:lnTo>
                    <a:pt x="3283717" y="2184062"/>
                  </a:lnTo>
                  <a:lnTo>
                    <a:pt x="3284062" y="2183210"/>
                  </a:lnTo>
                  <a:lnTo>
                    <a:pt x="3287680" y="2179247"/>
                  </a:lnTo>
                  <a:lnTo>
                    <a:pt x="3289810" y="2172704"/>
                  </a:lnTo>
                  <a:lnTo>
                    <a:pt x="3290703" y="2171694"/>
                  </a:lnTo>
                  <a:lnTo>
                    <a:pt x="3296957" y="2167734"/>
                  </a:lnTo>
                  <a:lnTo>
                    <a:pt x="3305108" y="2167605"/>
                  </a:lnTo>
                  <a:lnTo>
                    <a:pt x="3306575" y="2168143"/>
                  </a:lnTo>
                  <a:lnTo>
                    <a:pt x="3307429" y="2169317"/>
                  </a:lnTo>
                  <a:lnTo>
                    <a:pt x="3307936" y="2171150"/>
                  </a:lnTo>
                  <a:lnTo>
                    <a:pt x="3308344" y="2173669"/>
                  </a:lnTo>
                  <a:lnTo>
                    <a:pt x="3309210" y="2173036"/>
                  </a:lnTo>
                  <a:lnTo>
                    <a:pt x="3309650" y="2169812"/>
                  </a:lnTo>
                  <a:lnTo>
                    <a:pt x="3310353" y="2168927"/>
                  </a:lnTo>
                  <a:lnTo>
                    <a:pt x="3310000" y="2169052"/>
                  </a:lnTo>
                  <a:lnTo>
                    <a:pt x="3311690" y="2167650"/>
                  </a:lnTo>
                  <a:lnTo>
                    <a:pt x="3314040" y="2167374"/>
                  </a:lnTo>
                  <a:lnTo>
                    <a:pt x="3320820" y="2169010"/>
                  </a:lnTo>
                  <a:lnTo>
                    <a:pt x="3324285" y="2171301"/>
                  </a:lnTo>
                  <a:lnTo>
                    <a:pt x="3327528" y="2172685"/>
                  </a:lnTo>
                  <a:lnTo>
                    <a:pt x="3327976" y="2172994"/>
                  </a:lnTo>
                  <a:lnTo>
                    <a:pt x="3328322" y="2173409"/>
                  </a:lnTo>
                  <a:lnTo>
                    <a:pt x="3329347" y="2174889"/>
                  </a:lnTo>
                  <a:lnTo>
                    <a:pt x="3330110" y="2175250"/>
                  </a:lnTo>
                  <a:lnTo>
                    <a:pt x="3335239" y="2176708"/>
                  </a:lnTo>
                  <a:lnTo>
                    <a:pt x="3339293" y="2176775"/>
                  </a:lnTo>
                  <a:lnTo>
                    <a:pt x="3341271" y="2176242"/>
                  </a:lnTo>
                  <a:lnTo>
                    <a:pt x="3340996" y="2175475"/>
                  </a:lnTo>
                  <a:lnTo>
                    <a:pt x="3339527" y="2175393"/>
                  </a:lnTo>
                  <a:lnTo>
                    <a:pt x="3336166" y="2173918"/>
                  </a:lnTo>
                  <a:lnTo>
                    <a:pt x="3333526" y="2173592"/>
                  </a:lnTo>
                  <a:lnTo>
                    <a:pt x="3329737" y="2171542"/>
                  </a:lnTo>
                  <a:lnTo>
                    <a:pt x="3328560" y="2170486"/>
                  </a:lnTo>
                  <a:lnTo>
                    <a:pt x="3328031" y="2168844"/>
                  </a:lnTo>
                  <a:lnTo>
                    <a:pt x="3327982" y="2166775"/>
                  </a:lnTo>
                  <a:lnTo>
                    <a:pt x="3328332" y="2164918"/>
                  </a:lnTo>
                  <a:lnTo>
                    <a:pt x="3328996" y="2163970"/>
                  </a:lnTo>
                  <a:lnTo>
                    <a:pt x="3342706" y="2159023"/>
                  </a:lnTo>
                  <a:lnTo>
                    <a:pt x="3343615" y="2157920"/>
                  </a:lnTo>
                  <a:lnTo>
                    <a:pt x="3344082" y="2157081"/>
                  </a:lnTo>
                  <a:lnTo>
                    <a:pt x="3344198" y="2156456"/>
                  </a:lnTo>
                  <a:lnTo>
                    <a:pt x="3344214" y="2155473"/>
                  </a:lnTo>
                  <a:lnTo>
                    <a:pt x="3344816" y="2154751"/>
                  </a:lnTo>
                  <a:lnTo>
                    <a:pt x="3346142" y="2153798"/>
                  </a:lnTo>
                  <a:lnTo>
                    <a:pt x="3346756" y="2152197"/>
                  </a:lnTo>
                  <a:lnTo>
                    <a:pt x="3346639" y="2149317"/>
                  </a:lnTo>
                  <a:lnTo>
                    <a:pt x="3347999" y="2147979"/>
                  </a:lnTo>
                  <a:lnTo>
                    <a:pt x="3348468" y="2147285"/>
                  </a:lnTo>
                  <a:lnTo>
                    <a:pt x="3349051" y="2146853"/>
                  </a:lnTo>
                  <a:lnTo>
                    <a:pt x="3350661" y="2147548"/>
                  </a:lnTo>
                  <a:lnTo>
                    <a:pt x="3351583" y="2147432"/>
                  </a:lnTo>
                  <a:lnTo>
                    <a:pt x="3352436" y="2146990"/>
                  </a:lnTo>
                  <a:lnTo>
                    <a:pt x="3353061" y="2146404"/>
                  </a:lnTo>
                  <a:lnTo>
                    <a:pt x="3354624" y="2143025"/>
                  </a:lnTo>
                  <a:lnTo>
                    <a:pt x="3357553" y="2140943"/>
                  </a:lnTo>
                  <a:lnTo>
                    <a:pt x="3358263" y="2139909"/>
                  </a:lnTo>
                  <a:lnTo>
                    <a:pt x="3358662" y="2138678"/>
                  </a:lnTo>
                  <a:lnTo>
                    <a:pt x="3358756" y="2135286"/>
                  </a:lnTo>
                  <a:lnTo>
                    <a:pt x="3358959" y="2133689"/>
                  </a:lnTo>
                  <a:lnTo>
                    <a:pt x="3360189" y="2131914"/>
                  </a:lnTo>
                  <a:lnTo>
                    <a:pt x="3360502" y="2130246"/>
                  </a:lnTo>
                  <a:lnTo>
                    <a:pt x="3360594" y="2128585"/>
                  </a:lnTo>
                  <a:lnTo>
                    <a:pt x="3360500" y="2127693"/>
                  </a:lnTo>
                  <a:lnTo>
                    <a:pt x="3366024" y="2124753"/>
                  </a:lnTo>
                  <a:lnTo>
                    <a:pt x="3368162" y="2122921"/>
                  </a:lnTo>
                  <a:lnTo>
                    <a:pt x="3369309" y="2122360"/>
                  </a:lnTo>
                  <a:lnTo>
                    <a:pt x="3370835" y="2122942"/>
                  </a:lnTo>
                  <a:lnTo>
                    <a:pt x="3371931" y="2123971"/>
                  </a:lnTo>
                  <a:lnTo>
                    <a:pt x="3375488" y="2127983"/>
                  </a:lnTo>
                  <a:lnTo>
                    <a:pt x="3377330" y="2129549"/>
                  </a:lnTo>
                  <a:lnTo>
                    <a:pt x="3378387" y="2129630"/>
                  </a:lnTo>
                  <a:lnTo>
                    <a:pt x="3379313" y="2129083"/>
                  </a:lnTo>
                  <a:lnTo>
                    <a:pt x="3380758" y="2128778"/>
                  </a:lnTo>
                  <a:lnTo>
                    <a:pt x="3381517" y="2129014"/>
                  </a:lnTo>
                  <a:lnTo>
                    <a:pt x="3382136" y="2129470"/>
                  </a:lnTo>
                  <a:lnTo>
                    <a:pt x="3382667" y="2129955"/>
                  </a:lnTo>
                  <a:lnTo>
                    <a:pt x="3383159" y="2130268"/>
                  </a:lnTo>
                  <a:lnTo>
                    <a:pt x="3384145" y="2130318"/>
                  </a:lnTo>
                  <a:lnTo>
                    <a:pt x="3384661" y="2129782"/>
                  </a:lnTo>
                  <a:lnTo>
                    <a:pt x="3385091" y="2129046"/>
                  </a:lnTo>
                  <a:lnTo>
                    <a:pt x="3385803" y="2128459"/>
                  </a:lnTo>
                  <a:lnTo>
                    <a:pt x="3387370" y="2128586"/>
                  </a:lnTo>
                  <a:lnTo>
                    <a:pt x="3388897" y="2129667"/>
                  </a:lnTo>
                  <a:lnTo>
                    <a:pt x="3390397" y="2130984"/>
                  </a:lnTo>
                  <a:lnTo>
                    <a:pt x="3391876" y="2131816"/>
                  </a:lnTo>
                  <a:lnTo>
                    <a:pt x="3395413" y="2131236"/>
                  </a:lnTo>
                  <a:lnTo>
                    <a:pt x="3397552" y="2131444"/>
                  </a:lnTo>
                  <a:lnTo>
                    <a:pt x="3398407" y="2132916"/>
                  </a:lnTo>
                  <a:lnTo>
                    <a:pt x="3398859" y="2135226"/>
                  </a:lnTo>
                  <a:lnTo>
                    <a:pt x="3400228" y="2136547"/>
                  </a:lnTo>
                  <a:lnTo>
                    <a:pt x="3407306" y="2139169"/>
                  </a:lnTo>
                  <a:lnTo>
                    <a:pt x="3408145" y="2139919"/>
                  </a:lnTo>
                  <a:lnTo>
                    <a:pt x="3408769" y="2140854"/>
                  </a:lnTo>
                  <a:lnTo>
                    <a:pt x="3409407" y="2141572"/>
                  </a:lnTo>
                  <a:lnTo>
                    <a:pt x="3410268" y="2141635"/>
                  </a:lnTo>
                  <a:lnTo>
                    <a:pt x="3412119" y="2141260"/>
                  </a:lnTo>
                  <a:lnTo>
                    <a:pt x="3414385" y="2141359"/>
                  </a:lnTo>
                  <a:lnTo>
                    <a:pt x="3416745" y="2141961"/>
                  </a:lnTo>
                  <a:lnTo>
                    <a:pt x="3418863" y="2143101"/>
                  </a:lnTo>
                  <a:lnTo>
                    <a:pt x="3418751" y="2144279"/>
                  </a:lnTo>
                  <a:lnTo>
                    <a:pt x="3418336" y="2144925"/>
                  </a:lnTo>
                  <a:lnTo>
                    <a:pt x="3417817" y="2145404"/>
                  </a:lnTo>
                  <a:lnTo>
                    <a:pt x="3417383" y="2146090"/>
                  </a:lnTo>
                  <a:lnTo>
                    <a:pt x="3423416" y="2144402"/>
                  </a:lnTo>
                  <a:lnTo>
                    <a:pt x="3425705" y="2144438"/>
                  </a:lnTo>
                  <a:lnTo>
                    <a:pt x="3425410" y="2143677"/>
                  </a:lnTo>
                  <a:lnTo>
                    <a:pt x="3422710" y="2142471"/>
                  </a:lnTo>
                  <a:lnTo>
                    <a:pt x="3423262" y="2141460"/>
                  </a:lnTo>
                  <a:lnTo>
                    <a:pt x="3425441" y="2139718"/>
                  </a:lnTo>
                  <a:lnTo>
                    <a:pt x="3426365" y="2139354"/>
                  </a:lnTo>
                  <a:lnTo>
                    <a:pt x="3427388" y="2139594"/>
                  </a:lnTo>
                  <a:lnTo>
                    <a:pt x="3429497" y="2140880"/>
                  </a:lnTo>
                  <a:lnTo>
                    <a:pt x="3432662" y="2140780"/>
                  </a:lnTo>
                  <a:lnTo>
                    <a:pt x="3433624" y="2142169"/>
                  </a:lnTo>
                  <a:lnTo>
                    <a:pt x="3433680" y="2144486"/>
                  </a:lnTo>
                  <a:lnTo>
                    <a:pt x="3433125" y="2147140"/>
                  </a:lnTo>
                  <a:lnTo>
                    <a:pt x="3434947" y="2146233"/>
                  </a:lnTo>
                  <a:lnTo>
                    <a:pt x="3435941" y="2146267"/>
                  </a:lnTo>
                  <a:lnTo>
                    <a:pt x="3436899" y="2147259"/>
                  </a:lnTo>
                  <a:lnTo>
                    <a:pt x="3436385" y="2147947"/>
                  </a:lnTo>
                  <a:lnTo>
                    <a:pt x="3436495" y="2148728"/>
                  </a:lnTo>
                  <a:lnTo>
                    <a:pt x="3437088" y="2149495"/>
                  </a:lnTo>
                  <a:lnTo>
                    <a:pt x="3438015" y="2150111"/>
                  </a:lnTo>
                  <a:lnTo>
                    <a:pt x="3438277" y="2151532"/>
                  </a:lnTo>
                  <a:lnTo>
                    <a:pt x="3438969" y="2153416"/>
                  </a:lnTo>
                  <a:lnTo>
                    <a:pt x="3439449" y="2155149"/>
                  </a:lnTo>
                  <a:lnTo>
                    <a:pt x="3439094" y="2156124"/>
                  </a:lnTo>
                  <a:lnTo>
                    <a:pt x="3436903" y="2157785"/>
                  </a:lnTo>
                  <a:lnTo>
                    <a:pt x="3436607" y="2158731"/>
                  </a:lnTo>
                  <a:lnTo>
                    <a:pt x="3436670" y="2159396"/>
                  </a:lnTo>
                  <a:lnTo>
                    <a:pt x="3437486" y="2161206"/>
                  </a:lnTo>
                  <a:lnTo>
                    <a:pt x="3438112" y="2162910"/>
                  </a:lnTo>
                  <a:lnTo>
                    <a:pt x="3438259" y="2163844"/>
                  </a:lnTo>
                  <a:lnTo>
                    <a:pt x="3435926" y="2172642"/>
                  </a:lnTo>
                  <a:lnTo>
                    <a:pt x="3437881" y="2171874"/>
                  </a:lnTo>
                  <a:lnTo>
                    <a:pt x="3438575" y="2170265"/>
                  </a:lnTo>
                  <a:lnTo>
                    <a:pt x="3439248" y="2166603"/>
                  </a:lnTo>
                  <a:lnTo>
                    <a:pt x="3440219" y="2165328"/>
                  </a:lnTo>
                  <a:lnTo>
                    <a:pt x="3441674" y="2168650"/>
                  </a:lnTo>
                  <a:lnTo>
                    <a:pt x="3444341" y="2171024"/>
                  </a:lnTo>
                  <a:lnTo>
                    <a:pt x="3446094" y="2171323"/>
                  </a:lnTo>
                  <a:lnTo>
                    <a:pt x="3444796" y="2168413"/>
                  </a:lnTo>
                  <a:lnTo>
                    <a:pt x="3443091" y="2166111"/>
                  </a:lnTo>
                  <a:lnTo>
                    <a:pt x="3441363" y="2163410"/>
                  </a:lnTo>
                  <a:lnTo>
                    <a:pt x="3440333" y="2160600"/>
                  </a:lnTo>
                  <a:lnTo>
                    <a:pt x="3440707" y="2158007"/>
                  </a:lnTo>
                  <a:lnTo>
                    <a:pt x="3441178" y="2157878"/>
                  </a:lnTo>
                  <a:lnTo>
                    <a:pt x="3442829" y="2158432"/>
                  </a:lnTo>
                  <a:lnTo>
                    <a:pt x="3447054" y="2157790"/>
                  </a:lnTo>
                  <a:lnTo>
                    <a:pt x="3454670" y="2158850"/>
                  </a:lnTo>
                  <a:lnTo>
                    <a:pt x="3460922" y="2157296"/>
                  </a:lnTo>
                  <a:lnTo>
                    <a:pt x="3462934" y="2158316"/>
                  </a:lnTo>
                  <a:lnTo>
                    <a:pt x="3463651" y="2159239"/>
                  </a:lnTo>
                  <a:lnTo>
                    <a:pt x="3464176" y="2160109"/>
                  </a:lnTo>
                  <a:lnTo>
                    <a:pt x="3464742" y="2160933"/>
                  </a:lnTo>
                  <a:lnTo>
                    <a:pt x="3465588" y="2161717"/>
                  </a:lnTo>
                  <a:lnTo>
                    <a:pt x="3468041" y="2162876"/>
                  </a:lnTo>
                  <a:lnTo>
                    <a:pt x="3468970" y="2163582"/>
                  </a:lnTo>
                  <a:lnTo>
                    <a:pt x="3468088" y="2163963"/>
                  </a:lnTo>
                  <a:lnTo>
                    <a:pt x="3465728" y="2165771"/>
                  </a:lnTo>
                  <a:lnTo>
                    <a:pt x="3466572" y="2166018"/>
                  </a:lnTo>
                  <a:lnTo>
                    <a:pt x="3466897" y="2166031"/>
                  </a:lnTo>
                  <a:lnTo>
                    <a:pt x="3467174" y="2166727"/>
                  </a:lnTo>
                  <a:lnTo>
                    <a:pt x="3466054" y="2167327"/>
                  </a:lnTo>
                  <a:lnTo>
                    <a:pt x="3465942" y="2168867"/>
                  </a:lnTo>
                  <a:lnTo>
                    <a:pt x="3466637" y="2170481"/>
                  </a:lnTo>
                  <a:lnTo>
                    <a:pt x="3467936" y="2171327"/>
                  </a:lnTo>
                  <a:lnTo>
                    <a:pt x="3468538" y="2171225"/>
                  </a:lnTo>
                  <a:lnTo>
                    <a:pt x="3469056" y="2170813"/>
                  </a:lnTo>
                  <a:lnTo>
                    <a:pt x="3469437" y="2170174"/>
                  </a:lnTo>
                  <a:lnTo>
                    <a:pt x="3469834" y="2168422"/>
                  </a:lnTo>
                  <a:lnTo>
                    <a:pt x="3470282" y="2168159"/>
                  </a:lnTo>
                  <a:lnTo>
                    <a:pt x="3473880" y="2168185"/>
                  </a:lnTo>
                  <a:lnTo>
                    <a:pt x="3475090" y="2168608"/>
                  </a:lnTo>
                  <a:lnTo>
                    <a:pt x="3476282" y="2169496"/>
                  </a:lnTo>
                  <a:lnTo>
                    <a:pt x="3476856" y="2170331"/>
                  </a:lnTo>
                  <a:lnTo>
                    <a:pt x="3477270" y="2171241"/>
                  </a:lnTo>
                  <a:lnTo>
                    <a:pt x="3477681" y="2171902"/>
                  </a:lnTo>
                  <a:lnTo>
                    <a:pt x="3478764" y="2172020"/>
                  </a:lnTo>
                  <a:lnTo>
                    <a:pt x="3479441" y="2172323"/>
                  </a:lnTo>
                  <a:lnTo>
                    <a:pt x="3480083" y="2172855"/>
                  </a:lnTo>
                  <a:lnTo>
                    <a:pt x="3480505" y="2173507"/>
                  </a:lnTo>
                  <a:lnTo>
                    <a:pt x="3480754" y="2175442"/>
                  </a:lnTo>
                  <a:lnTo>
                    <a:pt x="3480548" y="2177691"/>
                  </a:lnTo>
                  <a:lnTo>
                    <a:pt x="3479774" y="2181070"/>
                  </a:lnTo>
                  <a:lnTo>
                    <a:pt x="3479092" y="2182458"/>
                  </a:lnTo>
                  <a:lnTo>
                    <a:pt x="3478186" y="2183181"/>
                  </a:lnTo>
                  <a:lnTo>
                    <a:pt x="3477084" y="2183458"/>
                  </a:lnTo>
                  <a:lnTo>
                    <a:pt x="3473067" y="2183575"/>
                  </a:lnTo>
                  <a:lnTo>
                    <a:pt x="3471049" y="2184363"/>
                  </a:lnTo>
                  <a:lnTo>
                    <a:pt x="3470013" y="2186495"/>
                  </a:lnTo>
                  <a:lnTo>
                    <a:pt x="3470198" y="2190581"/>
                  </a:lnTo>
                  <a:lnTo>
                    <a:pt x="3471933" y="2186386"/>
                  </a:lnTo>
                  <a:lnTo>
                    <a:pt x="3472789" y="2185580"/>
                  </a:lnTo>
                  <a:lnTo>
                    <a:pt x="3478165" y="2184853"/>
                  </a:lnTo>
                  <a:lnTo>
                    <a:pt x="3479879" y="2184188"/>
                  </a:lnTo>
                  <a:lnTo>
                    <a:pt x="3480450" y="2183693"/>
                  </a:lnTo>
                  <a:lnTo>
                    <a:pt x="3481630" y="2182006"/>
                  </a:lnTo>
                  <a:lnTo>
                    <a:pt x="3482193" y="2181575"/>
                  </a:lnTo>
                  <a:lnTo>
                    <a:pt x="3483770" y="2181136"/>
                  </a:lnTo>
                  <a:lnTo>
                    <a:pt x="3484247" y="2180654"/>
                  </a:lnTo>
                  <a:lnTo>
                    <a:pt x="3484332" y="2179834"/>
                  </a:lnTo>
                  <a:lnTo>
                    <a:pt x="3484108" y="2178761"/>
                  </a:lnTo>
                  <a:lnTo>
                    <a:pt x="3483665" y="2177511"/>
                  </a:lnTo>
                  <a:lnTo>
                    <a:pt x="3483444" y="2176470"/>
                  </a:lnTo>
                  <a:lnTo>
                    <a:pt x="3483630" y="2175821"/>
                  </a:lnTo>
                  <a:lnTo>
                    <a:pt x="3483921" y="2175265"/>
                  </a:lnTo>
                  <a:lnTo>
                    <a:pt x="3483975" y="2174510"/>
                  </a:lnTo>
                  <a:lnTo>
                    <a:pt x="3483610" y="2172969"/>
                  </a:lnTo>
                  <a:lnTo>
                    <a:pt x="3483212" y="2172332"/>
                  </a:lnTo>
                  <a:lnTo>
                    <a:pt x="3482695" y="2171980"/>
                  </a:lnTo>
                  <a:lnTo>
                    <a:pt x="3481960" y="2171297"/>
                  </a:lnTo>
                  <a:lnTo>
                    <a:pt x="3480731" y="2170560"/>
                  </a:lnTo>
                  <a:lnTo>
                    <a:pt x="3480307" y="2169909"/>
                  </a:lnTo>
                  <a:lnTo>
                    <a:pt x="3480945" y="2169288"/>
                  </a:lnTo>
                  <a:lnTo>
                    <a:pt x="3485942" y="2168862"/>
                  </a:lnTo>
                  <a:lnTo>
                    <a:pt x="3489130" y="2169251"/>
                  </a:lnTo>
                  <a:lnTo>
                    <a:pt x="3491693" y="2168936"/>
                  </a:lnTo>
                  <a:lnTo>
                    <a:pt x="3492263" y="2169063"/>
                  </a:lnTo>
                  <a:lnTo>
                    <a:pt x="3493524" y="2169567"/>
                  </a:lnTo>
                  <a:lnTo>
                    <a:pt x="3496658" y="2169351"/>
                  </a:lnTo>
                  <a:lnTo>
                    <a:pt x="3497993" y="2169566"/>
                  </a:lnTo>
                  <a:lnTo>
                    <a:pt x="3502870" y="2171819"/>
                  </a:lnTo>
                  <a:lnTo>
                    <a:pt x="3503935" y="2172855"/>
                  </a:lnTo>
                  <a:lnTo>
                    <a:pt x="3502928" y="2173272"/>
                  </a:lnTo>
                  <a:lnTo>
                    <a:pt x="3503840" y="2173416"/>
                  </a:lnTo>
                  <a:lnTo>
                    <a:pt x="3505053" y="2174057"/>
                  </a:lnTo>
                  <a:lnTo>
                    <a:pt x="3506036" y="2175155"/>
                  </a:lnTo>
                  <a:lnTo>
                    <a:pt x="3506261" y="2176680"/>
                  </a:lnTo>
                  <a:lnTo>
                    <a:pt x="3505821" y="2177156"/>
                  </a:lnTo>
                  <a:lnTo>
                    <a:pt x="3503515" y="2177006"/>
                  </a:lnTo>
                  <a:lnTo>
                    <a:pt x="3502821" y="2177573"/>
                  </a:lnTo>
                  <a:lnTo>
                    <a:pt x="3502875" y="2178246"/>
                  </a:lnTo>
                  <a:lnTo>
                    <a:pt x="3503101" y="2178978"/>
                  </a:lnTo>
                  <a:lnTo>
                    <a:pt x="3502930" y="2179743"/>
                  </a:lnTo>
                  <a:lnTo>
                    <a:pt x="3500671" y="2181572"/>
                  </a:lnTo>
                  <a:lnTo>
                    <a:pt x="3495185" y="2183467"/>
                  </a:lnTo>
                  <a:lnTo>
                    <a:pt x="3492955" y="2185393"/>
                  </a:lnTo>
                  <a:lnTo>
                    <a:pt x="3493817" y="2186297"/>
                  </a:lnTo>
                  <a:lnTo>
                    <a:pt x="3494687" y="2186095"/>
                  </a:lnTo>
                  <a:lnTo>
                    <a:pt x="3496340" y="2184815"/>
                  </a:lnTo>
                  <a:lnTo>
                    <a:pt x="3496777" y="2185113"/>
                  </a:lnTo>
                  <a:lnTo>
                    <a:pt x="3497431" y="2185910"/>
                  </a:lnTo>
                  <a:lnTo>
                    <a:pt x="3497783" y="2186893"/>
                  </a:lnTo>
                  <a:lnTo>
                    <a:pt x="3497324" y="2187722"/>
                  </a:lnTo>
                  <a:lnTo>
                    <a:pt x="3497630" y="2188479"/>
                  </a:lnTo>
                  <a:lnTo>
                    <a:pt x="3499090" y="2188921"/>
                  </a:lnTo>
                  <a:lnTo>
                    <a:pt x="3499779" y="2188994"/>
                  </a:lnTo>
                  <a:lnTo>
                    <a:pt x="3500433" y="2188798"/>
                  </a:lnTo>
                  <a:lnTo>
                    <a:pt x="3500193" y="2191052"/>
                  </a:lnTo>
                  <a:lnTo>
                    <a:pt x="3498703" y="2193200"/>
                  </a:lnTo>
                  <a:lnTo>
                    <a:pt x="3495276" y="2195903"/>
                  </a:lnTo>
                  <a:lnTo>
                    <a:pt x="3495531" y="2196536"/>
                  </a:lnTo>
                  <a:lnTo>
                    <a:pt x="3497561" y="2196530"/>
                  </a:lnTo>
                  <a:lnTo>
                    <a:pt x="3500443" y="2195403"/>
                  </a:lnTo>
                  <a:lnTo>
                    <a:pt x="3503922" y="2195525"/>
                  </a:lnTo>
                  <a:lnTo>
                    <a:pt x="3509173" y="2192434"/>
                  </a:lnTo>
                  <a:lnTo>
                    <a:pt x="3511195" y="2192524"/>
                  </a:lnTo>
                  <a:lnTo>
                    <a:pt x="3509639" y="2194861"/>
                  </a:lnTo>
                  <a:lnTo>
                    <a:pt x="3508833" y="2195455"/>
                  </a:lnTo>
                  <a:lnTo>
                    <a:pt x="3508614" y="2196182"/>
                  </a:lnTo>
                  <a:lnTo>
                    <a:pt x="3508586" y="2196989"/>
                  </a:lnTo>
                  <a:lnTo>
                    <a:pt x="3508365" y="2197814"/>
                  </a:lnTo>
                  <a:lnTo>
                    <a:pt x="3506956" y="2199238"/>
                  </a:lnTo>
                  <a:lnTo>
                    <a:pt x="3501109" y="2200797"/>
                  </a:lnTo>
                  <a:lnTo>
                    <a:pt x="3502242" y="2200968"/>
                  </a:lnTo>
                  <a:lnTo>
                    <a:pt x="3502647" y="2200903"/>
                  </a:lnTo>
                  <a:lnTo>
                    <a:pt x="3502953" y="2201660"/>
                  </a:lnTo>
                  <a:lnTo>
                    <a:pt x="3502278" y="2202630"/>
                  </a:lnTo>
                  <a:lnTo>
                    <a:pt x="3501949" y="2202881"/>
                  </a:lnTo>
                  <a:lnTo>
                    <a:pt x="3503064" y="2203267"/>
                  </a:lnTo>
                  <a:lnTo>
                    <a:pt x="3504164" y="2203014"/>
                  </a:lnTo>
                  <a:lnTo>
                    <a:pt x="3506146" y="2201968"/>
                  </a:lnTo>
                  <a:lnTo>
                    <a:pt x="3507230" y="2201855"/>
                  </a:lnTo>
                  <a:lnTo>
                    <a:pt x="3509381" y="2202232"/>
                  </a:lnTo>
                  <a:lnTo>
                    <a:pt x="3510356" y="2201855"/>
                  </a:lnTo>
                  <a:lnTo>
                    <a:pt x="3510504" y="2203607"/>
                  </a:lnTo>
                  <a:lnTo>
                    <a:pt x="3510197" y="2205046"/>
                  </a:lnTo>
                  <a:lnTo>
                    <a:pt x="3509077" y="2207232"/>
                  </a:lnTo>
                  <a:lnTo>
                    <a:pt x="3509333" y="2207865"/>
                  </a:lnTo>
                  <a:lnTo>
                    <a:pt x="3511220" y="2208260"/>
                  </a:lnTo>
                  <a:lnTo>
                    <a:pt x="3516771" y="2208105"/>
                  </a:lnTo>
                  <a:lnTo>
                    <a:pt x="3516775" y="2211076"/>
                  </a:lnTo>
                  <a:lnTo>
                    <a:pt x="3516925" y="2212486"/>
                  </a:lnTo>
                  <a:lnTo>
                    <a:pt x="3517401" y="2214392"/>
                  </a:lnTo>
                  <a:lnTo>
                    <a:pt x="3517904" y="2213775"/>
                  </a:lnTo>
                  <a:lnTo>
                    <a:pt x="3518412" y="2211832"/>
                  </a:lnTo>
                  <a:lnTo>
                    <a:pt x="3518869" y="2211364"/>
                  </a:lnTo>
                  <a:lnTo>
                    <a:pt x="3519530" y="2211572"/>
                  </a:lnTo>
                  <a:lnTo>
                    <a:pt x="3520166" y="2212231"/>
                  </a:lnTo>
                  <a:lnTo>
                    <a:pt x="3520760" y="2213002"/>
                  </a:lnTo>
                  <a:lnTo>
                    <a:pt x="3521316" y="2213583"/>
                  </a:lnTo>
                  <a:lnTo>
                    <a:pt x="3521422" y="2216416"/>
                  </a:lnTo>
                  <a:lnTo>
                    <a:pt x="3521627" y="2217769"/>
                  </a:lnTo>
                  <a:lnTo>
                    <a:pt x="3522208" y="2218146"/>
                  </a:lnTo>
                  <a:lnTo>
                    <a:pt x="3523075" y="2217662"/>
                  </a:lnTo>
                  <a:lnTo>
                    <a:pt x="3523793" y="2217012"/>
                  </a:lnTo>
                  <a:lnTo>
                    <a:pt x="3524360" y="2216241"/>
                  </a:lnTo>
                  <a:lnTo>
                    <a:pt x="3524760" y="2215399"/>
                  </a:lnTo>
                  <a:lnTo>
                    <a:pt x="3523540" y="2214427"/>
                  </a:lnTo>
                  <a:lnTo>
                    <a:pt x="3522425" y="2213249"/>
                  </a:lnTo>
                  <a:lnTo>
                    <a:pt x="3521746" y="2211812"/>
                  </a:lnTo>
                  <a:lnTo>
                    <a:pt x="3521865" y="2210121"/>
                  </a:lnTo>
                  <a:lnTo>
                    <a:pt x="3522733" y="2209012"/>
                  </a:lnTo>
                  <a:lnTo>
                    <a:pt x="3523975" y="2209032"/>
                  </a:lnTo>
                  <a:lnTo>
                    <a:pt x="3525293" y="2210029"/>
                  </a:lnTo>
                  <a:lnTo>
                    <a:pt x="3526395" y="2211845"/>
                  </a:lnTo>
                  <a:lnTo>
                    <a:pt x="3527243" y="2212623"/>
                  </a:lnTo>
                  <a:lnTo>
                    <a:pt x="3531072" y="2215201"/>
                  </a:lnTo>
                  <a:lnTo>
                    <a:pt x="3531681" y="2215859"/>
                  </a:lnTo>
                  <a:lnTo>
                    <a:pt x="3533058" y="2216806"/>
                  </a:lnTo>
                  <a:lnTo>
                    <a:pt x="3533726" y="2216832"/>
                  </a:lnTo>
                  <a:lnTo>
                    <a:pt x="3532211" y="2214725"/>
                  </a:lnTo>
                  <a:lnTo>
                    <a:pt x="3536614" y="2212141"/>
                  </a:lnTo>
                  <a:lnTo>
                    <a:pt x="3538222" y="2210073"/>
                  </a:lnTo>
                  <a:lnTo>
                    <a:pt x="3539113" y="2209728"/>
                  </a:lnTo>
                  <a:lnTo>
                    <a:pt x="3539500" y="2211669"/>
                  </a:lnTo>
                  <a:lnTo>
                    <a:pt x="3540432" y="2212617"/>
                  </a:lnTo>
                  <a:lnTo>
                    <a:pt x="3541614" y="2213595"/>
                  </a:lnTo>
                  <a:lnTo>
                    <a:pt x="3542339" y="2213657"/>
                  </a:lnTo>
                  <a:lnTo>
                    <a:pt x="3541893" y="2211842"/>
                  </a:lnTo>
                  <a:lnTo>
                    <a:pt x="3542413" y="2211448"/>
                  </a:lnTo>
                  <a:lnTo>
                    <a:pt x="3545791" y="2211906"/>
                  </a:lnTo>
                  <a:lnTo>
                    <a:pt x="3546635" y="2211505"/>
                  </a:lnTo>
                  <a:lnTo>
                    <a:pt x="3547383" y="2210332"/>
                  </a:lnTo>
                  <a:lnTo>
                    <a:pt x="3549023" y="2209758"/>
                  </a:lnTo>
                  <a:lnTo>
                    <a:pt x="3553702" y="2209626"/>
                  </a:lnTo>
                  <a:lnTo>
                    <a:pt x="3555077" y="2210180"/>
                  </a:lnTo>
                  <a:lnTo>
                    <a:pt x="3556050" y="2211423"/>
                  </a:lnTo>
                  <a:lnTo>
                    <a:pt x="3556269" y="2213584"/>
                  </a:lnTo>
                  <a:lnTo>
                    <a:pt x="3560669" y="2211513"/>
                  </a:lnTo>
                  <a:lnTo>
                    <a:pt x="3562169" y="2211807"/>
                  </a:lnTo>
                  <a:lnTo>
                    <a:pt x="3562864" y="2212252"/>
                  </a:lnTo>
                  <a:lnTo>
                    <a:pt x="3563575" y="2212453"/>
                  </a:lnTo>
                  <a:lnTo>
                    <a:pt x="3564300" y="2212423"/>
                  </a:lnTo>
                  <a:lnTo>
                    <a:pt x="3565056" y="2212196"/>
                  </a:lnTo>
                  <a:lnTo>
                    <a:pt x="3565561" y="2211650"/>
                  </a:lnTo>
                  <a:lnTo>
                    <a:pt x="3565305" y="2211002"/>
                  </a:lnTo>
                  <a:lnTo>
                    <a:pt x="3564638" y="2210488"/>
                  </a:lnTo>
                  <a:lnTo>
                    <a:pt x="3563881" y="2210331"/>
                  </a:lnTo>
                  <a:lnTo>
                    <a:pt x="3564337" y="2208705"/>
                  </a:lnTo>
                  <a:lnTo>
                    <a:pt x="3566364" y="2208640"/>
                  </a:lnTo>
                  <a:lnTo>
                    <a:pt x="3570690" y="2209774"/>
                  </a:lnTo>
                  <a:lnTo>
                    <a:pt x="3571008" y="2210526"/>
                  </a:lnTo>
                  <a:lnTo>
                    <a:pt x="3570713" y="2210905"/>
                  </a:lnTo>
                  <a:lnTo>
                    <a:pt x="3570271" y="2212475"/>
                  </a:lnTo>
                  <a:lnTo>
                    <a:pt x="3571391" y="2212707"/>
                  </a:lnTo>
                  <a:lnTo>
                    <a:pt x="3574228" y="2210769"/>
                  </a:lnTo>
                  <a:lnTo>
                    <a:pt x="3577417" y="2211654"/>
                  </a:lnTo>
                  <a:lnTo>
                    <a:pt x="3578402" y="2211412"/>
                  </a:lnTo>
                  <a:lnTo>
                    <a:pt x="3578079" y="2210652"/>
                  </a:lnTo>
                  <a:lnTo>
                    <a:pt x="3577401" y="2210567"/>
                  </a:lnTo>
                  <a:lnTo>
                    <a:pt x="3576708" y="2210226"/>
                  </a:lnTo>
                  <a:lnTo>
                    <a:pt x="3576011" y="2209604"/>
                  </a:lnTo>
                  <a:lnTo>
                    <a:pt x="3575319" y="2208664"/>
                  </a:lnTo>
                  <a:lnTo>
                    <a:pt x="3575749" y="2208570"/>
                  </a:lnTo>
                  <a:lnTo>
                    <a:pt x="3576515" y="2208078"/>
                  </a:lnTo>
                  <a:lnTo>
                    <a:pt x="3576936" y="2207964"/>
                  </a:lnTo>
                  <a:lnTo>
                    <a:pt x="3576730" y="2207751"/>
                  </a:lnTo>
                  <a:lnTo>
                    <a:pt x="3576529" y="2207513"/>
                  </a:lnTo>
                  <a:lnTo>
                    <a:pt x="3576317" y="2207343"/>
                  </a:lnTo>
                  <a:lnTo>
                    <a:pt x="3576051" y="2206719"/>
                  </a:lnTo>
                  <a:lnTo>
                    <a:pt x="3576545" y="2205873"/>
                  </a:lnTo>
                  <a:lnTo>
                    <a:pt x="3577488" y="2205541"/>
                  </a:lnTo>
                  <a:lnTo>
                    <a:pt x="3578608" y="2205591"/>
                  </a:lnTo>
                  <a:lnTo>
                    <a:pt x="3579638" y="2205902"/>
                  </a:lnTo>
                  <a:lnTo>
                    <a:pt x="3579871" y="2206228"/>
                  </a:lnTo>
                  <a:lnTo>
                    <a:pt x="3580476" y="2207498"/>
                  </a:lnTo>
                  <a:lnTo>
                    <a:pt x="3580847" y="2207900"/>
                  </a:lnTo>
                  <a:lnTo>
                    <a:pt x="3581417" y="2208037"/>
                  </a:lnTo>
                  <a:lnTo>
                    <a:pt x="3583089" y="2207669"/>
                  </a:lnTo>
                  <a:lnTo>
                    <a:pt x="3582192" y="2206430"/>
                  </a:lnTo>
                  <a:lnTo>
                    <a:pt x="3581356" y="2205626"/>
                  </a:lnTo>
                  <a:lnTo>
                    <a:pt x="3580874" y="2204844"/>
                  </a:lnTo>
                  <a:lnTo>
                    <a:pt x="3581024" y="2203669"/>
                  </a:lnTo>
                  <a:lnTo>
                    <a:pt x="3581544" y="2203910"/>
                  </a:lnTo>
                  <a:lnTo>
                    <a:pt x="3581882" y="2203962"/>
                  </a:lnTo>
                  <a:lnTo>
                    <a:pt x="3582662" y="2203846"/>
                  </a:lnTo>
                  <a:lnTo>
                    <a:pt x="3581665" y="2202748"/>
                  </a:lnTo>
                  <a:lnTo>
                    <a:pt x="3581254" y="2202416"/>
                  </a:lnTo>
                  <a:lnTo>
                    <a:pt x="3580735" y="2202160"/>
                  </a:lnTo>
                  <a:lnTo>
                    <a:pt x="3580441" y="2201471"/>
                  </a:lnTo>
                  <a:lnTo>
                    <a:pt x="3581668" y="2201195"/>
                  </a:lnTo>
                  <a:lnTo>
                    <a:pt x="3584251" y="2202116"/>
                  </a:lnTo>
                  <a:lnTo>
                    <a:pt x="3585301" y="2201804"/>
                  </a:lnTo>
                  <a:lnTo>
                    <a:pt x="3584420" y="2200334"/>
                  </a:lnTo>
                  <a:lnTo>
                    <a:pt x="3584279" y="2198994"/>
                  </a:lnTo>
                  <a:lnTo>
                    <a:pt x="3584739" y="2198121"/>
                  </a:lnTo>
                  <a:lnTo>
                    <a:pt x="3585637" y="2198049"/>
                  </a:lnTo>
                  <a:lnTo>
                    <a:pt x="3586258" y="2198197"/>
                  </a:lnTo>
                  <a:lnTo>
                    <a:pt x="3588053" y="2198145"/>
                  </a:lnTo>
                  <a:lnTo>
                    <a:pt x="3589198" y="2198983"/>
                  </a:lnTo>
                  <a:lnTo>
                    <a:pt x="3589658" y="2199151"/>
                  </a:lnTo>
                  <a:lnTo>
                    <a:pt x="3590525" y="2198829"/>
                  </a:lnTo>
                  <a:lnTo>
                    <a:pt x="3590972" y="2198014"/>
                  </a:lnTo>
                  <a:lnTo>
                    <a:pt x="3591301" y="2197095"/>
                  </a:lnTo>
                  <a:lnTo>
                    <a:pt x="3591823" y="2196489"/>
                  </a:lnTo>
                  <a:lnTo>
                    <a:pt x="3593450" y="2195827"/>
                  </a:lnTo>
                  <a:lnTo>
                    <a:pt x="3594170" y="2195997"/>
                  </a:lnTo>
                  <a:lnTo>
                    <a:pt x="3594251" y="2197132"/>
                  </a:lnTo>
                  <a:lnTo>
                    <a:pt x="3594987" y="2197241"/>
                  </a:lnTo>
                  <a:lnTo>
                    <a:pt x="3595691" y="2196916"/>
                  </a:lnTo>
                  <a:lnTo>
                    <a:pt x="3596318" y="2196820"/>
                  </a:lnTo>
                  <a:lnTo>
                    <a:pt x="3596815" y="2197639"/>
                  </a:lnTo>
                  <a:lnTo>
                    <a:pt x="3596700" y="2198182"/>
                  </a:lnTo>
                  <a:lnTo>
                    <a:pt x="3595912" y="2199822"/>
                  </a:lnTo>
                  <a:lnTo>
                    <a:pt x="3595709" y="2200506"/>
                  </a:lnTo>
                  <a:lnTo>
                    <a:pt x="3596091" y="2202565"/>
                  </a:lnTo>
                  <a:lnTo>
                    <a:pt x="3597080" y="2203387"/>
                  </a:lnTo>
                  <a:lnTo>
                    <a:pt x="3598182" y="2203014"/>
                  </a:lnTo>
                  <a:lnTo>
                    <a:pt x="3598898" y="2201547"/>
                  </a:lnTo>
                  <a:lnTo>
                    <a:pt x="3599584" y="2202146"/>
                  </a:lnTo>
                  <a:lnTo>
                    <a:pt x="3599242" y="2203165"/>
                  </a:lnTo>
                  <a:lnTo>
                    <a:pt x="3599531" y="2204115"/>
                  </a:lnTo>
                  <a:lnTo>
                    <a:pt x="3600711" y="2205735"/>
                  </a:lnTo>
                  <a:lnTo>
                    <a:pt x="3601164" y="2206237"/>
                  </a:lnTo>
                  <a:lnTo>
                    <a:pt x="3601445" y="2206298"/>
                  </a:lnTo>
                  <a:lnTo>
                    <a:pt x="3601707" y="2206422"/>
                  </a:lnTo>
                  <a:lnTo>
                    <a:pt x="3602112" y="2207160"/>
                  </a:lnTo>
                  <a:lnTo>
                    <a:pt x="3602306" y="2207737"/>
                  </a:lnTo>
                  <a:lnTo>
                    <a:pt x="3602468" y="2208396"/>
                  </a:lnTo>
                  <a:lnTo>
                    <a:pt x="3602558" y="2208884"/>
                  </a:lnTo>
                  <a:lnTo>
                    <a:pt x="3602530" y="2208950"/>
                  </a:lnTo>
                  <a:lnTo>
                    <a:pt x="3602698" y="2210266"/>
                  </a:lnTo>
                  <a:lnTo>
                    <a:pt x="3602910" y="2211011"/>
                  </a:lnTo>
                  <a:lnTo>
                    <a:pt x="3603296" y="2211216"/>
                  </a:lnTo>
                  <a:lnTo>
                    <a:pt x="3603547" y="2211397"/>
                  </a:lnTo>
                  <a:lnTo>
                    <a:pt x="3603995" y="2211891"/>
                  </a:lnTo>
                  <a:lnTo>
                    <a:pt x="3604442" y="2212514"/>
                  </a:lnTo>
                  <a:lnTo>
                    <a:pt x="3604666" y="2213058"/>
                  </a:lnTo>
                  <a:lnTo>
                    <a:pt x="3604427" y="2213993"/>
                  </a:lnTo>
                  <a:lnTo>
                    <a:pt x="3602264" y="2215682"/>
                  </a:lnTo>
                  <a:lnTo>
                    <a:pt x="3602587" y="2216432"/>
                  </a:lnTo>
                  <a:lnTo>
                    <a:pt x="3606243" y="2214878"/>
                  </a:lnTo>
                  <a:lnTo>
                    <a:pt x="3607508" y="2215006"/>
                  </a:lnTo>
                  <a:lnTo>
                    <a:pt x="3607803" y="2216998"/>
                  </a:lnTo>
                  <a:lnTo>
                    <a:pt x="3608439" y="2217648"/>
                  </a:lnTo>
                  <a:lnTo>
                    <a:pt x="3609326" y="2217505"/>
                  </a:lnTo>
                  <a:lnTo>
                    <a:pt x="3611581" y="2216408"/>
                  </a:lnTo>
                  <a:lnTo>
                    <a:pt x="3612028" y="2216352"/>
                  </a:lnTo>
                  <a:lnTo>
                    <a:pt x="3612580" y="2216634"/>
                  </a:lnTo>
                  <a:lnTo>
                    <a:pt x="3613923" y="2217634"/>
                  </a:lnTo>
                  <a:lnTo>
                    <a:pt x="3614410" y="2217755"/>
                  </a:lnTo>
                  <a:lnTo>
                    <a:pt x="3616113" y="2218540"/>
                  </a:lnTo>
                  <a:lnTo>
                    <a:pt x="3617108" y="2218639"/>
                  </a:lnTo>
                  <a:lnTo>
                    <a:pt x="3617527" y="2217633"/>
                  </a:lnTo>
                  <a:lnTo>
                    <a:pt x="3617717" y="2216376"/>
                  </a:lnTo>
                  <a:lnTo>
                    <a:pt x="3618475" y="2214163"/>
                  </a:lnTo>
                  <a:lnTo>
                    <a:pt x="3618357" y="2212721"/>
                  </a:lnTo>
                  <a:lnTo>
                    <a:pt x="3617533" y="2213524"/>
                  </a:lnTo>
                  <a:lnTo>
                    <a:pt x="3616282" y="2215677"/>
                  </a:lnTo>
                  <a:lnTo>
                    <a:pt x="3615420" y="2216412"/>
                  </a:lnTo>
                  <a:lnTo>
                    <a:pt x="3614683" y="2216096"/>
                  </a:lnTo>
                  <a:lnTo>
                    <a:pt x="3615014" y="2214577"/>
                  </a:lnTo>
                  <a:lnTo>
                    <a:pt x="3615714" y="2213001"/>
                  </a:lnTo>
                  <a:lnTo>
                    <a:pt x="3616093" y="2212499"/>
                  </a:lnTo>
                  <a:lnTo>
                    <a:pt x="3616533" y="2210018"/>
                  </a:lnTo>
                  <a:lnTo>
                    <a:pt x="3617575" y="2207115"/>
                  </a:lnTo>
                  <a:lnTo>
                    <a:pt x="3619005" y="2204648"/>
                  </a:lnTo>
                  <a:lnTo>
                    <a:pt x="3620618" y="2203511"/>
                  </a:lnTo>
                  <a:lnTo>
                    <a:pt x="3622288" y="2207191"/>
                  </a:lnTo>
                  <a:lnTo>
                    <a:pt x="3624577" y="2207577"/>
                  </a:lnTo>
                  <a:lnTo>
                    <a:pt x="3626037" y="2205611"/>
                  </a:lnTo>
                  <a:lnTo>
                    <a:pt x="3625189" y="2202196"/>
                  </a:lnTo>
                  <a:lnTo>
                    <a:pt x="3624208" y="2201317"/>
                  </a:lnTo>
                  <a:lnTo>
                    <a:pt x="3622721" y="2200224"/>
                  </a:lnTo>
                  <a:lnTo>
                    <a:pt x="3621372" y="2198864"/>
                  </a:lnTo>
                  <a:lnTo>
                    <a:pt x="3620822" y="2197189"/>
                  </a:lnTo>
                  <a:lnTo>
                    <a:pt x="3620673" y="2196356"/>
                  </a:lnTo>
                  <a:lnTo>
                    <a:pt x="3619891" y="2194173"/>
                  </a:lnTo>
                  <a:lnTo>
                    <a:pt x="3619627" y="2193217"/>
                  </a:lnTo>
                  <a:lnTo>
                    <a:pt x="3619519" y="2192081"/>
                  </a:lnTo>
                  <a:lnTo>
                    <a:pt x="3619723" y="2190810"/>
                  </a:lnTo>
                  <a:lnTo>
                    <a:pt x="3619727" y="2189811"/>
                  </a:lnTo>
                  <a:lnTo>
                    <a:pt x="3619398" y="2189108"/>
                  </a:lnTo>
                  <a:lnTo>
                    <a:pt x="3618858" y="2188254"/>
                  </a:lnTo>
                  <a:lnTo>
                    <a:pt x="3618660" y="2187404"/>
                  </a:lnTo>
                  <a:lnTo>
                    <a:pt x="3619336" y="2186703"/>
                  </a:lnTo>
                  <a:lnTo>
                    <a:pt x="3619641" y="2186179"/>
                  </a:lnTo>
                  <a:lnTo>
                    <a:pt x="3620131" y="2184260"/>
                  </a:lnTo>
                  <a:lnTo>
                    <a:pt x="3620743" y="2183602"/>
                  </a:lnTo>
                  <a:lnTo>
                    <a:pt x="3622163" y="2183210"/>
                  </a:lnTo>
                  <a:lnTo>
                    <a:pt x="3623451" y="2183387"/>
                  </a:lnTo>
                  <a:lnTo>
                    <a:pt x="3624701" y="2184104"/>
                  </a:lnTo>
                  <a:lnTo>
                    <a:pt x="3626016" y="2185327"/>
                  </a:lnTo>
                  <a:lnTo>
                    <a:pt x="3630027" y="2189994"/>
                  </a:lnTo>
                  <a:lnTo>
                    <a:pt x="3630904" y="2190581"/>
                  </a:lnTo>
                  <a:lnTo>
                    <a:pt x="3631952" y="2191105"/>
                  </a:lnTo>
                  <a:lnTo>
                    <a:pt x="3633545" y="2192744"/>
                  </a:lnTo>
                  <a:lnTo>
                    <a:pt x="3635044" y="2194817"/>
                  </a:lnTo>
                  <a:lnTo>
                    <a:pt x="3635807" y="2196656"/>
                  </a:lnTo>
                  <a:lnTo>
                    <a:pt x="3636482" y="2196310"/>
                  </a:lnTo>
                  <a:lnTo>
                    <a:pt x="3638704" y="2196078"/>
                  </a:lnTo>
                  <a:lnTo>
                    <a:pt x="3639026" y="2197432"/>
                  </a:lnTo>
                  <a:lnTo>
                    <a:pt x="3639410" y="2199978"/>
                  </a:lnTo>
                  <a:lnTo>
                    <a:pt x="3639884" y="2201380"/>
                  </a:lnTo>
                  <a:lnTo>
                    <a:pt x="3640636" y="2202655"/>
                  </a:lnTo>
                  <a:lnTo>
                    <a:pt x="3642356" y="2204681"/>
                  </a:lnTo>
                  <a:lnTo>
                    <a:pt x="3642851" y="2205378"/>
                  </a:lnTo>
                  <a:lnTo>
                    <a:pt x="3643366" y="2208045"/>
                  </a:lnTo>
                  <a:lnTo>
                    <a:pt x="3642721" y="2210235"/>
                  </a:lnTo>
                  <a:lnTo>
                    <a:pt x="3641476" y="2211855"/>
                  </a:lnTo>
                  <a:lnTo>
                    <a:pt x="3638691" y="2213768"/>
                  </a:lnTo>
                  <a:lnTo>
                    <a:pt x="3636294" y="2217068"/>
                  </a:lnTo>
                  <a:lnTo>
                    <a:pt x="3635412" y="2219018"/>
                  </a:lnTo>
                  <a:lnTo>
                    <a:pt x="3634731" y="2222935"/>
                  </a:lnTo>
                  <a:lnTo>
                    <a:pt x="3634433" y="2223631"/>
                  </a:lnTo>
                  <a:lnTo>
                    <a:pt x="3633741" y="2224173"/>
                  </a:lnTo>
                  <a:lnTo>
                    <a:pt x="3632552" y="2226061"/>
                  </a:lnTo>
                  <a:lnTo>
                    <a:pt x="3632139" y="2227053"/>
                  </a:lnTo>
                  <a:lnTo>
                    <a:pt x="3633082" y="2227593"/>
                  </a:lnTo>
                  <a:lnTo>
                    <a:pt x="3634469" y="2228750"/>
                  </a:lnTo>
                  <a:lnTo>
                    <a:pt x="3635720" y="2230370"/>
                  </a:lnTo>
                  <a:lnTo>
                    <a:pt x="3636258" y="2232289"/>
                  </a:lnTo>
                  <a:lnTo>
                    <a:pt x="3636561" y="2234192"/>
                  </a:lnTo>
                  <a:lnTo>
                    <a:pt x="3637353" y="2234394"/>
                  </a:lnTo>
                  <a:lnTo>
                    <a:pt x="3638425" y="2234397"/>
                  </a:lnTo>
                  <a:lnTo>
                    <a:pt x="3639560" y="2235731"/>
                  </a:lnTo>
                  <a:lnTo>
                    <a:pt x="3639866" y="2237623"/>
                  </a:lnTo>
                  <a:lnTo>
                    <a:pt x="3639305" y="2239165"/>
                  </a:lnTo>
                  <a:lnTo>
                    <a:pt x="3634371" y="2243881"/>
                  </a:lnTo>
                  <a:lnTo>
                    <a:pt x="3633783" y="2245326"/>
                  </a:lnTo>
                  <a:lnTo>
                    <a:pt x="3634580" y="2245836"/>
                  </a:lnTo>
                  <a:lnTo>
                    <a:pt x="3636916" y="2247948"/>
                  </a:lnTo>
                  <a:lnTo>
                    <a:pt x="3639451" y="2249101"/>
                  </a:lnTo>
                  <a:lnTo>
                    <a:pt x="3640440" y="2249978"/>
                  </a:lnTo>
                  <a:lnTo>
                    <a:pt x="3640746" y="2251644"/>
                  </a:lnTo>
                  <a:lnTo>
                    <a:pt x="3640659" y="2253252"/>
                  </a:lnTo>
                  <a:lnTo>
                    <a:pt x="3640820" y="2254338"/>
                  </a:lnTo>
                  <a:lnTo>
                    <a:pt x="3641405" y="2254794"/>
                  </a:lnTo>
                  <a:lnTo>
                    <a:pt x="3642593" y="2254507"/>
                  </a:lnTo>
                  <a:lnTo>
                    <a:pt x="3643382" y="2254775"/>
                  </a:lnTo>
                  <a:lnTo>
                    <a:pt x="3644815" y="2257222"/>
                  </a:lnTo>
                  <a:lnTo>
                    <a:pt x="3645715" y="2258026"/>
                  </a:lnTo>
                  <a:lnTo>
                    <a:pt x="3645945" y="2259473"/>
                  </a:lnTo>
                  <a:lnTo>
                    <a:pt x="3646029" y="2261360"/>
                  </a:lnTo>
                  <a:lnTo>
                    <a:pt x="3645945" y="2263039"/>
                  </a:lnTo>
                  <a:lnTo>
                    <a:pt x="3645522" y="2264299"/>
                  </a:lnTo>
                  <a:lnTo>
                    <a:pt x="3646043" y="2264901"/>
                  </a:lnTo>
                  <a:lnTo>
                    <a:pt x="3647101" y="2265684"/>
                  </a:lnTo>
                  <a:lnTo>
                    <a:pt x="3647650" y="2265766"/>
                  </a:lnTo>
                  <a:lnTo>
                    <a:pt x="3648843" y="2265408"/>
                  </a:lnTo>
                  <a:lnTo>
                    <a:pt x="3649413" y="2265470"/>
                  </a:lnTo>
                  <a:lnTo>
                    <a:pt x="3653000" y="2268251"/>
                  </a:lnTo>
                  <a:lnTo>
                    <a:pt x="3653694" y="2268918"/>
                  </a:lnTo>
                  <a:lnTo>
                    <a:pt x="3654694" y="2270101"/>
                  </a:lnTo>
                  <a:lnTo>
                    <a:pt x="3656942" y="2269854"/>
                  </a:lnTo>
                  <a:lnTo>
                    <a:pt x="3658116" y="2270587"/>
                  </a:lnTo>
                  <a:lnTo>
                    <a:pt x="3658071" y="2271870"/>
                  </a:lnTo>
                  <a:lnTo>
                    <a:pt x="3657529" y="2274387"/>
                  </a:lnTo>
                  <a:lnTo>
                    <a:pt x="3657535" y="2275774"/>
                  </a:lnTo>
                  <a:lnTo>
                    <a:pt x="3660072" y="2274633"/>
                  </a:lnTo>
                  <a:lnTo>
                    <a:pt x="3660473" y="2275029"/>
                  </a:lnTo>
                  <a:lnTo>
                    <a:pt x="3660754" y="2276209"/>
                  </a:lnTo>
                  <a:lnTo>
                    <a:pt x="3661058" y="2278288"/>
                  </a:lnTo>
                  <a:lnTo>
                    <a:pt x="3661906" y="2280195"/>
                  </a:lnTo>
                  <a:lnTo>
                    <a:pt x="3662775" y="2281829"/>
                  </a:lnTo>
                  <a:lnTo>
                    <a:pt x="3663144" y="2283184"/>
                  </a:lnTo>
                  <a:lnTo>
                    <a:pt x="3662480" y="2284290"/>
                  </a:lnTo>
                  <a:lnTo>
                    <a:pt x="3663373" y="2286005"/>
                  </a:lnTo>
                  <a:lnTo>
                    <a:pt x="3662821" y="2287232"/>
                  </a:lnTo>
                  <a:lnTo>
                    <a:pt x="3660500" y="2288527"/>
                  </a:lnTo>
                  <a:lnTo>
                    <a:pt x="3660105" y="2289085"/>
                  </a:lnTo>
                  <a:lnTo>
                    <a:pt x="3660300" y="2290635"/>
                  </a:lnTo>
                  <a:lnTo>
                    <a:pt x="3660009" y="2291136"/>
                  </a:lnTo>
                  <a:lnTo>
                    <a:pt x="3659274" y="2291172"/>
                  </a:lnTo>
                  <a:lnTo>
                    <a:pt x="3656588" y="2290277"/>
                  </a:lnTo>
                  <a:lnTo>
                    <a:pt x="3654768" y="2290254"/>
                  </a:lnTo>
                  <a:lnTo>
                    <a:pt x="3653797" y="2290907"/>
                  </a:lnTo>
                  <a:lnTo>
                    <a:pt x="3653784" y="2292568"/>
                  </a:lnTo>
                  <a:lnTo>
                    <a:pt x="3654852" y="2295563"/>
                  </a:lnTo>
                  <a:lnTo>
                    <a:pt x="3655986" y="2295834"/>
                  </a:lnTo>
                  <a:lnTo>
                    <a:pt x="3657956" y="2295903"/>
                  </a:lnTo>
                  <a:lnTo>
                    <a:pt x="3659375" y="2296491"/>
                  </a:lnTo>
                  <a:lnTo>
                    <a:pt x="3658862" y="2298283"/>
                  </a:lnTo>
                  <a:lnTo>
                    <a:pt x="3657628" y="2299087"/>
                  </a:lnTo>
                  <a:lnTo>
                    <a:pt x="3653003" y="2299256"/>
                  </a:lnTo>
                  <a:lnTo>
                    <a:pt x="3632541" y="2305812"/>
                  </a:lnTo>
                  <a:lnTo>
                    <a:pt x="3630208" y="2306012"/>
                  </a:lnTo>
                  <a:lnTo>
                    <a:pt x="3630501" y="2306702"/>
                  </a:lnTo>
                  <a:lnTo>
                    <a:pt x="3630995" y="2306779"/>
                  </a:lnTo>
                  <a:lnTo>
                    <a:pt x="3632418" y="2307500"/>
                  </a:lnTo>
                  <a:lnTo>
                    <a:pt x="3631668" y="2308513"/>
                  </a:lnTo>
                  <a:lnTo>
                    <a:pt x="3620062" y="2314870"/>
                  </a:lnTo>
                  <a:lnTo>
                    <a:pt x="3618715" y="2315149"/>
                  </a:lnTo>
                  <a:lnTo>
                    <a:pt x="3617525" y="2314890"/>
                  </a:lnTo>
                  <a:lnTo>
                    <a:pt x="3614993" y="2313854"/>
                  </a:lnTo>
                  <a:lnTo>
                    <a:pt x="3595469" y="2315702"/>
                  </a:lnTo>
                  <a:lnTo>
                    <a:pt x="3593939" y="2317511"/>
                  </a:lnTo>
                  <a:lnTo>
                    <a:pt x="3600078" y="2316211"/>
                  </a:lnTo>
                  <a:lnTo>
                    <a:pt x="3602924" y="2317443"/>
                  </a:lnTo>
                  <a:lnTo>
                    <a:pt x="3604091" y="2317604"/>
                  </a:lnTo>
                  <a:lnTo>
                    <a:pt x="3607087" y="2317063"/>
                  </a:lnTo>
                  <a:lnTo>
                    <a:pt x="3609225" y="2317259"/>
                  </a:lnTo>
                  <a:lnTo>
                    <a:pt x="3611993" y="2316642"/>
                  </a:lnTo>
                  <a:lnTo>
                    <a:pt x="3620529" y="2316785"/>
                  </a:lnTo>
                  <a:lnTo>
                    <a:pt x="3625667" y="2315322"/>
                  </a:lnTo>
                  <a:lnTo>
                    <a:pt x="3628523" y="2311920"/>
                  </a:lnTo>
                  <a:lnTo>
                    <a:pt x="3629555" y="2311194"/>
                  </a:lnTo>
                  <a:lnTo>
                    <a:pt x="3630422" y="2311099"/>
                  </a:lnTo>
                  <a:lnTo>
                    <a:pt x="3632359" y="2311360"/>
                  </a:lnTo>
                  <a:lnTo>
                    <a:pt x="3633234" y="2311226"/>
                  </a:lnTo>
                  <a:lnTo>
                    <a:pt x="3637624" y="2308246"/>
                  </a:lnTo>
                  <a:lnTo>
                    <a:pt x="3638378" y="2308160"/>
                  </a:lnTo>
                  <a:lnTo>
                    <a:pt x="3641667" y="2309161"/>
                  </a:lnTo>
                  <a:lnTo>
                    <a:pt x="3645019" y="2308969"/>
                  </a:lnTo>
                  <a:lnTo>
                    <a:pt x="3648194" y="2307851"/>
                  </a:lnTo>
                  <a:lnTo>
                    <a:pt x="3652749" y="2304271"/>
                  </a:lnTo>
                  <a:lnTo>
                    <a:pt x="3657055" y="2302735"/>
                  </a:lnTo>
                  <a:lnTo>
                    <a:pt x="3660996" y="2299763"/>
                  </a:lnTo>
                  <a:lnTo>
                    <a:pt x="3662749" y="2299071"/>
                  </a:lnTo>
                  <a:lnTo>
                    <a:pt x="3663947" y="2299737"/>
                  </a:lnTo>
                  <a:lnTo>
                    <a:pt x="3664887" y="2302097"/>
                  </a:lnTo>
                  <a:lnTo>
                    <a:pt x="3665231" y="2303765"/>
                  </a:lnTo>
                  <a:lnTo>
                    <a:pt x="3664825" y="2304807"/>
                  </a:lnTo>
                  <a:lnTo>
                    <a:pt x="3663532" y="2305287"/>
                  </a:lnTo>
                  <a:lnTo>
                    <a:pt x="3666490" y="2306104"/>
                  </a:lnTo>
                  <a:lnTo>
                    <a:pt x="3674099" y="2305296"/>
                  </a:lnTo>
                  <a:lnTo>
                    <a:pt x="3676007" y="2305806"/>
                  </a:lnTo>
                  <a:lnTo>
                    <a:pt x="3676011" y="2306377"/>
                  </a:lnTo>
                  <a:lnTo>
                    <a:pt x="3675349" y="2308524"/>
                  </a:lnTo>
                  <a:lnTo>
                    <a:pt x="3675430" y="2309803"/>
                  </a:lnTo>
                  <a:lnTo>
                    <a:pt x="3675793" y="2310700"/>
                  </a:lnTo>
                  <a:lnTo>
                    <a:pt x="3676279" y="2311416"/>
                  </a:lnTo>
                  <a:lnTo>
                    <a:pt x="3676709" y="2312132"/>
                  </a:lnTo>
                  <a:lnTo>
                    <a:pt x="3676797" y="2313912"/>
                  </a:lnTo>
                  <a:lnTo>
                    <a:pt x="3677042" y="2315053"/>
                  </a:lnTo>
                  <a:lnTo>
                    <a:pt x="3677553" y="2315405"/>
                  </a:lnTo>
                  <a:lnTo>
                    <a:pt x="3678332" y="2315172"/>
                  </a:lnTo>
                  <a:lnTo>
                    <a:pt x="3679241" y="2315101"/>
                  </a:lnTo>
                  <a:lnTo>
                    <a:pt x="3680190" y="2315206"/>
                  </a:lnTo>
                  <a:lnTo>
                    <a:pt x="3681090" y="2315530"/>
                  </a:lnTo>
                  <a:lnTo>
                    <a:pt x="3680534" y="2316563"/>
                  </a:lnTo>
                  <a:lnTo>
                    <a:pt x="3680453" y="2319265"/>
                  </a:lnTo>
                  <a:lnTo>
                    <a:pt x="3679015" y="2320953"/>
                  </a:lnTo>
                  <a:lnTo>
                    <a:pt x="3678630" y="2323301"/>
                  </a:lnTo>
                  <a:lnTo>
                    <a:pt x="3678307" y="2324164"/>
                  </a:lnTo>
                  <a:lnTo>
                    <a:pt x="3678972" y="2324349"/>
                  </a:lnTo>
                  <a:lnTo>
                    <a:pt x="3679535" y="2324312"/>
                  </a:lnTo>
                  <a:lnTo>
                    <a:pt x="3680623" y="2323868"/>
                  </a:lnTo>
                  <a:lnTo>
                    <a:pt x="3681296" y="2323756"/>
                  </a:lnTo>
                  <a:lnTo>
                    <a:pt x="3681695" y="2324021"/>
                  </a:lnTo>
                  <a:lnTo>
                    <a:pt x="3682071" y="2324425"/>
                  </a:lnTo>
                  <a:lnTo>
                    <a:pt x="3682652" y="2324672"/>
                  </a:lnTo>
                  <a:lnTo>
                    <a:pt x="3685601" y="2323730"/>
                  </a:lnTo>
                  <a:lnTo>
                    <a:pt x="3686334" y="2323762"/>
                  </a:lnTo>
                  <a:lnTo>
                    <a:pt x="3687756" y="2326408"/>
                  </a:lnTo>
                  <a:lnTo>
                    <a:pt x="3687872" y="2329545"/>
                  </a:lnTo>
                  <a:lnTo>
                    <a:pt x="3687220" y="2332260"/>
                  </a:lnTo>
                  <a:lnTo>
                    <a:pt x="3686335" y="2333611"/>
                  </a:lnTo>
                  <a:lnTo>
                    <a:pt x="3684886" y="2334819"/>
                  </a:lnTo>
                  <a:lnTo>
                    <a:pt x="3683698" y="2336818"/>
                  </a:lnTo>
                  <a:lnTo>
                    <a:pt x="3682845" y="2339204"/>
                  </a:lnTo>
                  <a:lnTo>
                    <a:pt x="3681946" y="2345013"/>
                  </a:lnTo>
                  <a:lnTo>
                    <a:pt x="3682055" y="2345921"/>
                  </a:lnTo>
                  <a:lnTo>
                    <a:pt x="3682433" y="2347129"/>
                  </a:lnTo>
                  <a:lnTo>
                    <a:pt x="3682435" y="2347612"/>
                  </a:lnTo>
                  <a:lnTo>
                    <a:pt x="3682578" y="2347807"/>
                  </a:lnTo>
                  <a:lnTo>
                    <a:pt x="3683382" y="2348127"/>
                  </a:lnTo>
                  <a:lnTo>
                    <a:pt x="3683981" y="2348108"/>
                  </a:lnTo>
                  <a:lnTo>
                    <a:pt x="3685820" y="2347037"/>
                  </a:lnTo>
                  <a:lnTo>
                    <a:pt x="3686070" y="2348445"/>
                  </a:lnTo>
                  <a:lnTo>
                    <a:pt x="3686669" y="2348870"/>
                  </a:lnTo>
                  <a:lnTo>
                    <a:pt x="3687492" y="2348922"/>
                  </a:lnTo>
                  <a:lnTo>
                    <a:pt x="3688410" y="2349219"/>
                  </a:lnTo>
                  <a:lnTo>
                    <a:pt x="3689062" y="2349748"/>
                  </a:lnTo>
                  <a:lnTo>
                    <a:pt x="3689902" y="2350574"/>
                  </a:lnTo>
                  <a:lnTo>
                    <a:pt x="3690798" y="2351594"/>
                  </a:lnTo>
                  <a:lnTo>
                    <a:pt x="3691618" y="2352707"/>
                  </a:lnTo>
                  <a:lnTo>
                    <a:pt x="3691201" y="2353261"/>
                  </a:lnTo>
                  <a:lnTo>
                    <a:pt x="3691021" y="2353986"/>
                  </a:lnTo>
                  <a:lnTo>
                    <a:pt x="3691086" y="2354924"/>
                  </a:lnTo>
                  <a:lnTo>
                    <a:pt x="3691401" y="2356088"/>
                  </a:lnTo>
                  <a:lnTo>
                    <a:pt x="3692970" y="2355385"/>
                  </a:lnTo>
                  <a:lnTo>
                    <a:pt x="3693542" y="2355549"/>
                  </a:lnTo>
                  <a:lnTo>
                    <a:pt x="3693782" y="2356384"/>
                  </a:lnTo>
                  <a:lnTo>
                    <a:pt x="3693862" y="2357853"/>
                  </a:lnTo>
                  <a:lnTo>
                    <a:pt x="3689462" y="2362459"/>
                  </a:lnTo>
                  <a:lnTo>
                    <a:pt x="3689562" y="2363796"/>
                  </a:lnTo>
                  <a:lnTo>
                    <a:pt x="3690270" y="2365106"/>
                  </a:lnTo>
                  <a:lnTo>
                    <a:pt x="3691499" y="2365875"/>
                  </a:lnTo>
                  <a:lnTo>
                    <a:pt x="3692363" y="2365690"/>
                  </a:lnTo>
                  <a:lnTo>
                    <a:pt x="3697229" y="2363311"/>
                  </a:lnTo>
                  <a:lnTo>
                    <a:pt x="3697537" y="2362934"/>
                  </a:lnTo>
                  <a:lnTo>
                    <a:pt x="3697576" y="2362374"/>
                  </a:lnTo>
                  <a:lnTo>
                    <a:pt x="3697565" y="2361841"/>
                  </a:lnTo>
                  <a:lnTo>
                    <a:pt x="3697713" y="2361526"/>
                  </a:lnTo>
                  <a:lnTo>
                    <a:pt x="3698088" y="2361089"/>
                  </a:lnTo>
                  <a:lnTo>
                    <a:pt x="3698688" y="2359646"/>
                  </a:lnTo>
                  <a:lnTo>
                    <a:pt x="3699155" y="2359162"/>
                  </a:lnTo>
                  <a:lnTo>
                    <a:pt x="3701133" y="2358330"/>
                  </a:lnTo>
                  <a:lnTo>
                    <a:pt x="3704002" y="2353699"/>
                  </a:lnTo>
                  <a:lnTo>
                    <a:pt x="3705146" y="2353157"/>
                  </a:lnTo>
                  <a:lnTo>
                    <a:pt x="3706606" y="2353054"/>
                  </a:lnTo>
                  <a:lnTo>
                    <a:pt x="3708201" y="2353457"/>
                  </a:lnTo>
                  <a:lnTo>
                    <a:pt x="3709714" y="2354392"/>
                  </a:lnTo>
                  <a:lnTo>
                    <a:pt x="3709641" y="2356070"/>
                  </a:lnTo>
                  <a:lnTo>
                    <a:pt x="3710464" y="2356456"/>
                  </a:lnTo>
                  <a:lnTo>
                    <a:pt x="3711497" y="2355859"/>
                  </a:lnTo>
                  <a:lnTo>
                    <a:pt x="3712647" y="2353030"/>
                  </a:lnTo>
                  <a:lnTo>
                    <a:pt x="3713805" y="2352410"/>
                  </a:lnTo>
                  <a:lnTo>
                    <a:pt x="3715230" y="2352996"/>
                  </a:lnTo>
                  <a:lnTo>
                    <a:pt x="3716601" y="2355002"/>
                  </a:lnTo>
                  <a:lnTo>
                    <a:pt x="3716448" y="2355474"/>
                  </a:lnTo>
                  <a:lnTo>
                    <a:pt x="3716424" y="2356818"/>
                  </a:lnTo>
                  <a:lnTo>
                    <a:pt x="3716794" y="2358065"/>
                  </a:lnTo>
                  <a:lnTo>
                    <a:pt x="3717833" y="2358253"/>
                  </a:lnTo>
                  <a:lnTo>
                    <a:pt x="3718340" y="2358596"/>
                  </a:lnTo>
                  <a:lnTo>
                    <a:pt x="3719094" y="2359512"/>
                  </a:lnTo>
                  <a:lnTo>
                    <a:pt x="3720059" y="2360855"/>
                  </a:lnTo>
                  <a:lnTo>
                    <a:pt x="3720090" y="2362414"/>
                  </a:lnTo>
                  <a:lnTo>
                    <a:pt x="3719232" y="2363878"/>
                  </a:lnTo>
                  <a:lnTo>
                    <a:pt x="3718028" y="2364819"/>
                  </a:lnTo>
                  <a:lnTo>
                    <a:pt x="3716983" y="2364769"/>
                  </a:lnTo>
                  <a:lnTo>
                    <a:pt x="3714569" y="2363353"/>
                  </a:lnTo>
                  <a:lnTo>
                    <a:pt x="3714012" y="2363204"/>
                  </a:lnTo>
                  <a:lnTo>
                    <a:pt x="3713211" y="2363587"/>
                  </a:lnTo>
                  <a:lnTo>
                    <a:pt x="3713183" y="2364173"/>
                  </a:lnTo>
                  <a:lnTo>
                    <a:pt x="3713538" y="2364903"/>
                  </a:lnTo>
                  <a:lnTo>
                    <a:pt x="3714365" y="2366971"/>
                  </a:lnTo>
                  <a:lnTo>
                    <a:pt x="3714788" y="2367406"/>
                  </a:lnTo>
                  <a:lnTo>
                    <a:pt x="3714967" y="2367727"/>
                  </a:lnTo>
                  <a:lnTo>
                    <a:pt x="3714707" y="2368637"/>
                  </a:lnTo>
                  <a:lnTo>
                    <a:pt x="3714224" y="2369174"/>
                  </a:lnTo>
                  <a:lnTo>
                    <a:pt x="3713521" y="2369262"/>
                  </a:lnTo>
                  <a:lnTo>
                    <a:pt x="3712828" y="2369106"/>
                  </a:lnTo>
                  <a:lnTo>
                    <a:pt x="3712332" y="2368890"/>
                  </a:lnTo>
                  <a:lnTo>
                    <a:pt x="3711810" y="2368304"/>
                  </a:lnTo>
                  <a:lnTo>
                    <a:pt x="3711464" y="2367531"/>
                  </a:lnTo>
                  <a:lnTo>
                    <a:pt x="3710993" y="2366882"/>
                  </a:lnTo>
                  <a:lnTo>
                    <a:pt x="3710116" y="2366677"/>
                  </a:lnTo>
                  <a:lnTo>
                    <a:pt x="3709648" y="2367119"/>
                  </a:lnTo>
                  <a:lnTo>
                    <a:pt x="3707538" y="2373182"/>
                  </a:lnTo>
                  <a:lnTo>
                    <a:pt x="3707524" y="2375164"/>
                  </a:lnTo>
                  <a:lnTo>
                    <a:pt x="3708574" y="2376412"/>
                  </a:lnTo>
                  <a:lnTo>
                    <a:pt x="3708529" y="2376931"/>
                  </a:lnTo>
                  <a:lnTo>
                    <a:pt x="3708554" y="2377374"/>
                  </a:lnTo>
                  <a:lnTo>
                    <a:pt x="3708818" y="2377843"/>
                  </a:lnTo>
                  <a:lnTo>
                    <a:pt x="3709472" y="2378467"/>
                  </a:lnTo>
                  <a:lnTo>
                    <a:pt x="3709392" y="2379315"/>
                  </a:lnTo>
                  <a:lnTo>
                    <a:pt x="3710348" y="2380176"/>
                  </a:lnTo>
                  <a:lnTo>
                    <a:pt x="3711569" y="2380682"/>
                  </a:lnTo>
                  <a:lnTo>
                    <a:pt x="3712436" y="2380497"/>
                  </a:lnTo>
                  <a:lnTo>
                    <a:pt x="3712317" y="2379274"/>
                  </a:lnTo>
                  <a:lnTo>
                    <a:pt x="3712238" y="2378821"/>
                  </a:lnTo>
                  <a:lnTo>
                    <a:pt x="3712330" y="2378387"/>
                  </a:lnTo>
                  <a:lnTo>
                    <a:pt x="3712473" y="2377951"/>
                  </a:lnTo>
                  <a:lnTo>
                    <a:pt x="3712554" y="2377479"/>
                  </a:lnTo>
                  <a:lnTo>
                    <a:pt x="3712844" y="2376644"/>
                  </a:lnTo>
                  <a:lnTo>
                    <a:pt x="3713475" y="2376858"/>
                  </a:lnTo>
                  <a:lnTo>
                    <a:pt x="3714607" y="2377859"/>
                  </a:lnTo>
                  <a:lnTo>
                    <a:pt x="3715075" y="2378102"/>
                  </a:lnTo>
                  <a:lnTo>
                    <a:pt x="3715330" y="2378383"/>
                  </a:lnTo>
                  <a:lnTo>
                    <a:pt x="3715633" y="2378599"/>
                  </a:lnTo>
                  <a:lnTo>
                    <a:pt x="3716226" y="2378624"/>
                  </a:lnTo>
                  <a:lnTo>
                    <a:pt x="3716258" y="2378360"/>
                  </a:lnTo>
                  <a:lnTo>
                    <a:pt x="3716784" y="2377109"/>
                  </a:lnTo>
                  <a:lnTo>
                    <a:pt x="3717051" y="2376753"/>
                  </a:lnTo>
                  <a:lnTo>
                    <a:pt x="3718005" y="2376419"/>
                  </a:lnTo>
                  <a:lnTo>
                    <a:pt x="3718928" y="2376427"/>
                  </a:lnTo>
                  <a:lnTo>
                    <a:pt x="3719899" y="2376946"/>
                  </a:lnTo>
                  <a:lnTo>
                    <a:pt x="3721019" y="2378171"/>
                  </a:lnTo>
                  <a:lnTo>
                    <a:pt x="3719555" y="2381537"/>
                  </a:lnTo>
                  <a:lnTo>
                    <a:pt x="3719079" y="2383734"/>
                  </a:lnTo>
                  <a:lnTo>
                    <a:pt x="3719566" y="2387052"/>
                  </a:lnTo>
                  <a:lnTo>
                    <a:pt x="3718714" y="2386967"/>
                  </a:lnTo>
                  <a:lnTo>
                    <a:pt x="3717575" y="2386322"/>
                  </a:lnTo>
                  <a:lnTo>
                    <a:pt x="3716845" y="2385811"/>
                  </a:lnTo>
                  <a:lnTo>
                    <a:pt x="3715847" y="2384842"/>
                  </a:lnTo>
                  <a:lnTo>
                    <a:pt x="3715214" y="2384096"/>
                  </a:lnTo>
                  <a:lnTo>
                    <a:pt x="3714616" y="2383739"/>
                  </a:lnTo>
                  <a:lnTo>
                    <a:pt x="3713731" y="2383933"/>
                  </a:lnTo>
                  <a:lnTo>
                    <a:pt x="3721717" y="2396941"/>
                  </a:lnTo>
                  <a:lnTo>
                    <a:pt x="3723900" y="2399932"/>
                  </a:lnTo>
                  <a:lnTo>
                    <a:pt x="3724201" y="2400618"/>
                  </a:lnTo>
                  <a:lnTo>
                    <a:pt x="3724136" y="2402613"/>
                  </a:lnTo>
                  <a:lnTo>
                    <a:pt x="3723793" y="2403482"/>
                  </a:lnTo>
                  <a:lnTo>
                    <a:pt x="3722996" y="2403255"/>
                  </a:lnTo>
                  <a:lnTo>
                    <a:pt x="3722274" y="2402778"/>
                  </a:lnTo>
                  <a:lnTo>
                    <a:pt x="3721363" y="2402484"/>
                  </a:lnTo>
                  <a:lnTo>
                    <a:pt x="3720787" y="2402797"/>
                  </a:lnTo>
                  <a:lnTo>
                    <a:pt x="3721059" y="2404127"/>
                  </a:lnTo>
                  <a:lnTo>
                    <a:pt x="3721716" y="2406006"/>
                  </a:lnTo>
                  <a:lnTo>
                    <a:pt x="3722381" y="2408567"/>
                  </a:lnTo>
                  <a:lnTo>
                    <a:pt x="3722686" y="2410908"/>
                  </a:lnTo>
                  <a:lnTo>
                    <a:pt x="3722270" y="2412150"/>
                  </a:lnTo>
                  <a:lnTo>
                    <a:pt x="3718992" y="2415453"/>
                  </a:lnTo>
                  <a:lnTo>
                    <a:pt x="3717764" y="2415885"/>
                  </a:lnTo>
                  <a:lnTo>
                    <a:pt x="3716225" y="2414986"/>
                  </a:lnTo>
                  <a:lnTo>
                    <a:pt x="3711690" y="2409591"/>
                  </a:lnTo>
                  <a:lnTo>
                    <a:pt x="3712393" y="2407168"/>
                  </a:lnTo>
                  <a:lnTo>
                    <a:pt x="3712597" y="2405846"/>
                  </a:lnTo>
                  <a:lnTo>
                    <a:pt x="3712380" y="2404360"/>
                  </a:lnTo>
                  <a:lnTo>
                    <a:pt x="3711524" y="2402443"/>
                  </a:lnTo>
                  <a:lnTo>
                    <a:pt x="3710808" y="2401895"/>
                  </a:lnTo>
                  <a:lnTo>
                    <a:pt x="3710538" y="2402498"/>
                  </a:lnTo>
                  <a:lnTo>
                    <a:pt x="3711010" y="2404080"/>
                  </a:lnTo>
                  <a:lnTo>
                    <a:pt x="3710436" y="2404053"/>
                  </a:lnTo>
                  <a:lnTo>
                    <a:pt x="3709868" y="2403809"/>
                  </a:lnTo>
                  <a:lnTo>
                    <a:pt x="3709291" y="2403349"/>
                  </a:lnTo>
                  <a:lnTo>
                    <a:pt x="3708691" y="2402664"/>
                  </a:lnTo>
                  <a:lnTo>
                    <a:pt x="3708290" y="2399611"/>
                  </a:lnTo>
                  <a:lnTo>
                    <a:pt x="3706163" y="2398173"/>
                  </a:lnTo>
                  <a:lnTo>
                    <a:pt x="3704312" y="2398384"/>
                  </a:lnTo>
                  <a:lnTo>
                    <a:pt x="3704735" y="2400260"/>
                  </a:lnTo>
                  <a:lnTo>
                    <a:pt x="3702809" y="2399868"/>
                  </a:lnTo>
                  <a:lnTo>
                    <a:pt x="3697817" y="2394375"/>
                  </a:lnTo>
                  <a:lnTo>
                    <a:pt x="3695997" y="2393500"/>
                  </a:lnTo>
                  <a:lnTo>
                    <a:pt x="3695616" y="2394610"/>
                  </a:lnTo>
                  <a:lnTo>
                    <a:pt x="3696386" y="2396181"/>
                  </a:lnTo>
                  <a:lnTo>
                    <a:pt x="3698364" y="2398995"/>
                  </a:lnTo>
                  <a:lnTo>
                    <a:pt x="3698981" y="2400842"/>
                  </a:lnTo>
                  <a:lnTo>
                    <a:pt x="3699075" y="2402171"/>
                  </a:lnTo>
                  <a:lnTo>
                    <a:pt x="3698819" y="2403163"/>
                  </a:lnTo>
                  <a:lnTo>
                    <a:pt x="3698386" y="2403973"/>
                  </a:lnTo>
                  <a:lnTo>
                    <a:pt x="3700478" y="2403324"/>
                  </a:lnTo>
                  <a:lnTo>
                    <a:pt x="3702997" y="2404019"/>
                  </a:lnTo>
                  <a:lnTo>
                    <a:pt x="3705150" y="2406292"/>
                  </a:lnTo>
                  <a:lnTo>
                    <a:pt x="3706133" y="2410353"/>
                  </a:lnTo>
                  <a:lnTo>
                    <a:pt x="3706957" y="2411260"/>
                  </a:lnTo>
                  <a:lnTo>
                    <a:pt x="3708074" y="2412783"/>
                  </a:lnTo>
                  <a:lnTo>
                    <a:pt x="3709007" y="2414402"/>
                  </a:lnTo>
                  <a:lnTo>
                    <a:pt x="3709263" y="2415586"/>
                  </a:lnTo>
                  <a:lnTo>
                    <a:pt x="3708505" y="2416011"/>
                  </a:lnTo>
                  <a:lnTo>
                    <a:pt x="3707194" y="2415554"/>
                  </a:lnTo>
                  <a:lnTo>
                    <a:pt x="3705242" y="2414099"/>
                  </a:lnTo>
                  <a:lnTo>
                    <a:pt x="3704299" y="2413303"/>
                  </a:lnTo>
                  <a:lnTo>
                    <a:pt x="3703375" y="2412889"/>
                  </a:lnTo>
                  <a:lnTo>
                    <a:pt x="3702457" y="2412872"/>
                  </a:lnTo>
                  <a:lnTo>
                    <a:pt x="3701550" y="2413278"/>
                  </a:lnTo>
                  <a:lnTo>
                    <a:pt x="3703494" y="2415708"/>
                  </a:lnTo>
                  <a:lnTo>
                    <a:pt x="3704111" y="2416234"/>
                  </a:lnTo>
                  <a:lnTo>
                    <a:pt x="3704406" y="2416923"/>
                  </a:lnTo>
                  <a:lnTo>
                    <a:pt x="3701669" y="2420356"/>
                  </a:lnTo>
                  <a:lnTo>
                    <a:pt x="3700696" y="2421020"/>
                  </a:lnTo>
                  <a:lnTo>
                    <a:pt x="3698498" y="2421672"/>
                  </a:lnTo>
                  <a:lnTo>
                    <a:pt x="3697883" y="2422260"/>
                  </a:lnTo>
                  <a:lnTo>
                    <a:pt x="3697592" y="2422943"/>
                  </a:lnTo>
                  <a:lnTo>
                    <a:pt x="3697162" y="2424700"/>
                  </a:lnTo>
                  <a:lnTo>
                    <a:pt x="3696809" y="2425176"/>
                  </a:lnTo>
                  <a:lnTo>
                    <a:pt x="3693705" y="2427527"/>
                  </a:lnTo>
                  <a:lnTo>
                    <a:pt x="3689728" y="2428596"/>
                  </a:lnTo>
                  <a:lnTo>
                    <a:pt x="3688911" y="2429556"/>
                  </a:lnTo>
                  <a:lnTo>
                    <a:pt x="3688307" y="2431351"/>
                  </a:lnTo>
                  <a:lnTo>
                    <a:pt x="3690875" y="2429452"/>
                  </a:lnTo>
                  <a:lnTo>
                    <a:pt x="3692403" y="2429075"/>
                  </a:lnTo>
                  <a:lnTo>
                    <a:pt x="3694254" y="2430016"/>
                  </a:lnTo>
                  <a:lnTo>
                    <a:pt x="3695045" y="2430229"/>
                  </a:lnTo>
                  <a:lnTo>
                    <a:pt x="3699009" y="2428372"/>
                  </a:lnTo>
                  <a:lnTo>
                    <a:pt x="3699325" y="2428569"/>
                  </a:lnTo>
                  <a:lnTo>
                    <a:pt x="3700283" y="2429711"/>
                  </a:lnTo>
                  <a:lnTo>
                    <a:pt x="3700759" y="2429979"/>
                  </a:lnTo>
                  <a:lnTo>
                    <a:pt x="3701667" y="2429350"/>
                  </a:lnTo>
                  <a:lnTo>
                    <a:pt x="3702736" y="2427914"/>
                  </a:lnTo>
                  <a:lnTo>
                    <a:pt x="3703542" y="2426273"/>
                  </a:lnTo>
                  <a:lnTo>
                    <a:pt x="3703741" y="2424518"/>
                  </a:lnTo>
                  <a:lnTo>
                    <a:pt x="3704164" y="2423917"/>
                  </a:lnTo>
                  <a:lnTo>
                    <a:pt x="3705159" y="2423058"/>
                  </a:lnTo>
                  <a:lnTo>
                    <a:pt x="3705548" y="2423441"/>
                  </a:lnTo>
                  <a:lnTo>
                    <a:pt x="3705803" y="2424601"/>
                  </a:lnTo>
                  <a:lnTo>
                    <a:pt x="3706102" y="2426804"/>
                  </a:lnTo>
                  <a:lnTo>
                    <a:pt x="3706819" y="2428508"/>
                  </a:lnTo>
                  <a:lnTo>
                    <a:pt x="3708089" y="2430881"/>
                  </a:lnTo>
                  <a:lnTo>
                    <a:pt x="3709314" y="2432328"/>
                  </a:lnTo>
                  <a:lnTo>
                    <a:pt x="3709911" y="2431249"/>
                  </a:lnTo>
                  <a:lnTo>
                    <a:pt x="3710248" y="2429297"/>
                  </a:lnTo>
                  <a:lnTo>
                    <a:pt x="3711009" y="2428145"/>
                  </a:lnTo>
                  <a:lnTo>
                    <a:pt x="3712055" y="2427666"/>
                  </a:lnTo>
                  <a:lnTo>
                    <a:pt x="3714610" y="2427760"/>
                  </a:lnTo>
                  <a:lnTo>
                    <a:pt x="3714929" y="2428116"/>
                  </a:lnTo>
                  <a:lnTo>
                    <a:pt x="3715182" y="2429320"/>
                  </a:lnTo>
                  <a:lnTo>
                    <a:pt x="3715114" y="2430243"/>
                  </a:lnTo>
                  <a:lnTo>
                    <a:pt x="3714757" y="2431192"/>
                  </a:lnTo>
                  <a:lnTo>
                    <a:pt x="3714262" y="2431978"/>
                  </a:lnTo>
                  <a:lnTo>
                    <a:pt x="3713781" y="2432400"/>
                  </a:lnTo>
                  <a:lnTo>
                    <a:pt x="3713553" y="2432941"/>
                  </a:lnTo>
                  <a:lnTo>
                    <a:pt x="3713267" y="2435042"/>
                  </a:lnTo>
                  <a:lnTo>
                    <a:pt x="3713255" y="2435574"/>
                  </a:lnTo>
                  <a:lnTo>
                    <a:pt x="3713768" y="2436278"/>
                  </a:lnTo>
                  <a:lnTo>
                    <a:pt x="3714576" y="2437007"/>
                  </a:lnTo>
                  <a:lnTo>
                    <a:pt x="3715995" y="2438040"/>
                  </a:lnTo>
                  <a:lnTo>
                    <a:pt x="3717228" y="2438683"/>
                  </a:lnTo>
                  <a:lnTo>
                    <a:pt x="3718613" y="2438975"/>
                  </a:lnTo>
                  <a:lnTo>
                    <a:pt x="3719450" y="2438369"/>
                  </a:lnTo>
                  <a:lnTo>
                    <a:pt x="3719024" y="2436286"/>
                  </a:lnTo>
                  <a:lnTo>
                    <a:pt x="3718936" y="2434861"/>
                  </a:lnTo>
                  <a:lnTo>
                    <a:pt x="3719869" y="2431669"/>
                  </a:lnTo>
                  <a:lnTo>
                    <a:pt x="3719746" y="2429597"/>
                  </a:lnTo>
                  <a:lnTo>
                    <a:pt x="3719950" y="2427197"/>
                  </a:lnTo>
                  <a:lnTo>
                    <a:pt x="3720017" y="2426976"/>
                  </a:lnTo>
                  <a:lnTo>
                    <a:pt x="3719855" y="2426063"/>
                  </a:lnTo>
                  <a:lnTo>
                    <a:pt x="3719931" y="2425648"/>
                  </a:lnTo>
                  <a:lnTo>
                    <a:pt x="3720307" y="2425426"/>
                  </a:lnTo>
                  <a:lnTo>
                    <a:pt x="3721307" y="2425654"/>
                  </a:lnTo>
                  <a:lnTo>
                    <a:pt x="3721603" y="2425638"/>
                  </a:lnTo>
                  <a:lnTo>
                    <a:pt x="3722484" y="2424697"/>
                  </a:lnTo>
                  <a:lnTo>
                    <a:pt x="3722476" y="2423241"/>
                  </a:lnTo>
                  <a:lnTo>
                    <a:pt x="3722272" y="2422200"/>
                  </a:lnTo>
                  <a:lnTo>
                    <a:pt x="3721560" y="2420559"/>
                  </a:lnTo>
                  <a:lnTo>
                    <a:pt x="3721931" y="2420579"/>
                  </a:lnTo>
                  <a:lnTo>
                    <a:pt x="3722078" y="2417773"/>
                  </a:lnTo>
                  <a:lnTo>
                    <a:pt x="3723617" y="2415353"/>
                  </a:lnTo>
                  <a:lnTo>
                    <a:pt x="3726909" y="2411779"/>
                  </a:lnTo>
                  <a:lnTo>
                    <a:pt x="3728798" y="2406422"/>
                  </a:lnTo>
                  <a:lnTo>
                    <a:pt x="3728489" y="2404874"/>
                  </a:lnTo>
                  <a:lnTo>
                    <a:pt x="3728617" y="2403069"/>
                  </a:lnTo>
                  <a:lnTo>
                    <a:pt x="3729091" y="2401500"/>
                  </a:lnTo>
                  <a:lnTo>
                    <a:pt x="3729829" y="2400612"/>
                  </a:lnTo>
                  <a:lnTo>
                    <a:pt x="3730344" y="2400241"/>
                  </a:lnTo>
                  <a:lnTo>
                    <a:pt x="3731077" y="2399292"/>
                  </a:lnTo>
                  <a:lnTo>
                    <a:pt x="3732180" y="2398429"/>
                  </a:lnTo>
                  <a:lnTo>
                    <a:pt x="3732954" y="2396652"/>
                  </a:lnTo>
                  <a:lnTo>
                    <a:pt x="3734007" y="2395698"/>
                  </a:lnTo>
                  <a:lnTo>
                    <a:pt x="3737647" y="2394514"/>
                  </a:lnTo>
                  <a:lnTo>
                    <a:pt x="3740597" y="2392357"/>
                  </a:lnTo>
                  <a:lnTo>
                    <a:pt x="3748009" y="2388940"/>
                  </a:lnTo>
                  <a:lnTo>
                    <a:pt x="3747998" y="2389622"/>
                  </a:lnTo>
                  <a:lnTo>
                    <a:pt x="3748186" y="2390788"/>
                  </a:lnTo>
                  <a:lnTo>
                    <a:pt x="3748228" y="2391313"/>
                  </a:lnTo>
                  <a:lnTo>
                    <a:pt x="3753398" y="2389371"/>
                  </a:lnTo>
                  <a:lnTo>
                    <a:pt x="3756886" y="2382370"/>
                  </a:lnTo>
                  <a:lnTo>
                    <a:pt x="3757607" y="2382128"/>
                  </a:lnTo>
                  <a:lnTo>
                    <a:pt x="3758136" y="2382369"/>
                  </a:lnTo>
                  <a:lnTo>
                    <a:pt x="3758623" y="2382762"/>
                  </a:lnTo>
                  <a:lnTo>
                    <a:pt x="3759229" y="2382997"/>
                  </a:lnTo>
                  <a:lnTo>
                    <a:pt x="3760712" y="2382923"/>
                  </a:lnTo>
                  <a:lnTo>
                    <a:pt x="3765368" y="2381432"/>
                  </a:lnTo>
                  <a:lnTo>
                    <a:pt x="3766982" y="2381445"/>
                  </a:lnTo>
                  <a:lnTo>
                    <a:pt x="3772188" y="2382662"/>
                  </a:lnTo>
                  <a:lnTo>
                    <a:pt x="3774933" y="2384329"/>
                  </a:lnTo>
                  <a:lnTo>
                    <a:pt x="3775520" y="2384477"/>
                  </a:lnTo>
                  <a:lnTo>
                    <a:pt x="3780495" y="2383250"/>
                  </a:lnTo>
                  <a:lnTo>
                    <a:pt x="3781170" y="2383657"/>
                  </a:lnTo>
                  <a:lnTo>
                    <a:pt x="3781787" y="2384412"/>
                  </a:lnTo>
                  <a:lnTo>
                    <a:pt x="3782616" y="2385194"/>
                  </a:lnTo>
                  <a:lnTo>
                    <a:pt x="3784008" y="2385656"/>
                  </a:lnTo>
                  <a:lnTo>
                    <a:pt x="3784812" y="2386110"/>
                  </a:lnTo>
                  <a:lnTo>
                    <a:pt x="3785625" y="2387161"/>
                  </a:lnTo>
                  <a:lnTo>
                    <a:pt x="3785944" y="2388278"/>
                  </a:lnTo>
                  <a:lnTo>
                    <a:pt x="3785720" y="2390371"/>
                  </a:lnTo>
                  <a:lnTo>
                    <a:pt x="3785976" y="2391548"/>
                  </a:lnTo>
                  <a:lnTo>
                    <a:pt x="3786970" y="2393805"/>
                  </a:lnTo>
                  <a:lnTo>
                    <a:pt x="3787582" y="2394803"/>
                  </a:lnTo>
                  <a:lnTo>
                    <a:pt x="3788177" y="2395055"/>
                  </a:lnTo>
                  <a:lnTo>
                    <a:pt x="3790687" y="2395655"/>
                  </a:lnTo>
                  <a:lnTo>
                    <a:pt x="3791402" y="2396091"/>
                  </a:lnTo>
                  <a:lnTo>
                    <a:pt x="3792196" y="2397846"/>
                  </a:lnTo>
                  <a:lnTo>
                    <a:pt x="3792768" y="2401985"/>
                  </a:lnTo>
                  <a:lnTo>
                    <a:pt x="3793810" y="2404063"/>
                  </a:lnTo>
                  <a:lnTo>
                    <a:pt x="3795081" y="2404739"/>
                  </a:lnTo>
                  <a:lnTo>
                    <a:pt x="3796841" y="2402896"/>
                  </a:lnTo>
                  <a:lnTo>
                    <a:pt x="3798239" y="2403615"/>
                  </a:lnTo>
                  <a:lnTo>
                    <a:pt x="3799120" y="2405562"/>
                  </a:lnTo>
                  <a:lnTo>
                    <a:pt x="3799352" y="2407632"/>
                  </a:lnTo>
                  <a:lnTo>
                    <a:pt x="3799738" y="2409240"/>
                  </a:lnTo>
                  <a:lnTo>
                    <a:pt x="3801071" y="2409803"/>
                  </a:lnTo>
                  <a:lnTo>
                    <a:pt x="3802073" y="2408978"/>
                  </a:lnTo>
                  <a:lnTo>
                    <a:pt x="3803190" y="2405931"/>
                  </a:lnTo>
                  <a:lnTo>
                    <a:pt x="3804340" y="2405617"/>
                  </a:lnTo>
                  <a:lnTo>
                    <a:pt x="3804977" y="2410024"/>
                  </a:lnTo>
                  <a:lnTo>
                    <a:pt x="3805663" y="2412516"/>
                  </a:lnTo>
                  <a:lnTo>
                    <a:pt x="3806745" y="2414150"/>
                  </a:lnTo>
                  <a:lnTo>
                    <a:pt x="3807441" y="2414871"/>
                  </a:lnTo>
                  <a:lnTo>
                    <a:pt x="3808242" y="2416016"/>
                  </a:lnTo>
                  <a:lnTo>
                    <a:pt x="3808718" y="2417167"/>
                  </a:lnTo>
                  <a:lnTo>
                    <a:pt x="3808249" y="2418426"/>
                  </a:lnTo>
                  <a:lnTo>
                    <a:pt x="3808538" y="2419350"/>
                  </a:lnTo>
                  <a:lnTo>
                    <a:pt x="3809473" y="2421546"/>
                  </a:lnTo>
                  <a:lnTo>
                    <a:pt x="3810478" y="2426128"/>
                  </a:lnTo>
                  <a:lnTo>
                    <a:pt x="3811428" y="2438084"/>
                  </a:lnTo>
                  <a:lnTo>
                    <a:pt x="3813171" y="2445125"/>
                  </a:lnTo>
                  <a:lnTo>
                    <a:pt x="3813280" y="2446305"/>
                  </a:lnTo>
                  <a:lnTo>
                    <a:pt x="3813265" y="2446959"/>
                  </a:lnTo>
                  <a:lnTo>
                    <a:pt x="3813879" y="2448059"/>
                  </a:lnTo>
                  <a:lnTo>
                    <a:pt x="3814591" y="2449039"/>
                  </a:lnTo>
                  <a:lnTo>
                    <a:pt x="3814882" y="2449350"/>
                  </a:lnTo>
                  <a:lnTo>
                    <a:pt x="3815273" y="2450689"/>
                  </a:lnTo>
                  <a:lnTo>
                    <a:pt x="3815190" y="2451719"/>
                  </a:lnTo>
                  <a:lnTo>
                    <a:pt x="3814500" y="2453326"/>
                  </a:lnTo>
                  <a:lnTo>
                    <a:pt x="3812417" y="2462718"/>
                  </a:lnTo>
                  <a:lnTo>
                    <a:pt x="3810748" y="2465006"/>
                  </a:lnTo>
                  <a:lnTo>
                    <a:pt x="3801151" y="2471591"/>
                  </a:lnTo>
                  <a:lnTo>
                    <a:pt x="3796049" y="2478464"/>
                  </a:lnTo>
                  <a:lnTo>
                    <a:pt x="3790404" y="2482992"/>
                  </a:lnTo>
                  <a:lnTo>
                    <a:pt x="3790189" y="2483999"/>
                  </a:lnTo>
                  <a:lnTo>
                    <a:pt x="3790119" y="2485140"/>
                  </a:lnTo>
                  <a:lnTo>
                    <a:pt x="3789947" y="2486189"/>
                  </a:lnTo>
                  <a:lnTo>
                    <a:pt x="3788345" y="2488875"/>
                  </a:lnTo>
                  <a:lnTo>
                    <a:pt x="3788350" y="2489392"/>
                  </a:lnTo>
                  <a:lnTo>
                    <a:pt x="3784166" y="2493284"/>
                  </a:lnTo>
                  <a:lnTo>
                    <a:pt x="3781434" y="2498936"/>
                  </a:lnTo>
                  <a:lnTo>
                    <a:pt x="3777750" y="2511612"/>
                  </a:lnTo>
                  <a:lnTo>
                    <a:pt x="3785269" y="2496264"/>
                  </a:lnTo>
                  <a:lnTo>
                    <a:pt x="3785579" y="2494393"/>
                  </a:lnTo>
                  <a:lnTo>
                    <a:pt x="3786067" y="2493053"/>
                  </a:lnTo>
                  <a:lnTo>
                    <a:pt x="3789011" y="2489913"/>
                  </a:lnTo>
                  <a:lnTo>
                    <a:pt x="3792334" y="2484440"/>
                  </a:lnTo>
                  <a:lnTo>
                    <a:pt x="3801047" y="2476563"/>
                  </a:lnTo>
                  <a:lnTo>
                    <a:pt x="3803743" y="2472805"/>
                  </a:lnTo>
                  <a:lnTo>
                    <a:pt x="3807715" y="2470493"/>
                  </a:lnTo>
                  <a:lnTo>
                    <a:pt x="3813913" y="2464833"/>
                  </a:lnTo>
                  <a:lnTo>
                    <a:pt x="3815744" y="2461761"/>
                  </a:lnTo>
                  <a:lnTo>
                    <a:pt x="3815935" y="2460725"/>
                  </a:lnTo>
                  <a:lnTo>
                    <a:pt x="3815842" y="2459660"/>
                  </a:lnTo>
                  <a:lnTo>
                    <a:pt x="3815683" y="2458642"/>
                  </a:lnTo>
                  <a:lnTo>
                    <a:pt x="3815648" y="2457752"/>
                  </a:lnTo>
                  <a:lnTo>
                    <a:pt x="3816011" y="2456832"/>
                  </a:lnTo>
                  <a:lnTo>
                    <a:pt x="3817238" y="2455544"/>
                  </a:lnTo>
                  <a:lnTo>
                    <a:pt x="3817537" y="2454718"/>
                  </a:lnTo>
                  <a:lnTo>
                    <a:pt x="3817673" y="2452351"/>
                  </a:lnTo>
                  <a:lnTo>
                    <a:pt x="3817610" y="2450917"/>
                  </a:lnTo>
                  <a:lnTo>
                    <a:pt x="3817170" y="2449557"/>
                  </a:lnTo>
                  <a:lnTo>
                    <a:pt x="3815244" y="2445319"/>
                  </a:lnTo>
                  <a:lnTo>
                    <a:pt x="3814366" y="2442731"/>
                  </a:lnTo>
                  <a:lnTo>
                    <a:pt x="3813920" y="2440437"/>
                  </a:lnTo>
                  <a:lnTo>
                    <a:pt x="3814317" y="2439204"/>
                  </a:lnTo>
                  <a:lnTo>
                    <a:pt x="3815370" y="2437965"/>
                  </a:lnTo>
                  <a:lnTo>
                    <a:pt x="3815249" y="2436241"/>
                  </a:lnTo>
                  <a:lnTo>
                    <a:pt x="3814533" y="2434395"/>
                  </a:lnTo>
                  <a:lnTo>
                    <a:pt x="3813814" y="2432812"/>
                  </a:lnTo>
                  <a:lnTo>
                    <a:pt x="3813112" y="2430406"/>
                  </a:lnTo>
                  <a:lnTo>
                    <a:pt x="3812823" y="2428041"/>
                  </a:lnTo>
                  <a:lnTo>
                    <a:pt x="3812873" y="2423704"/>
                  </a:lnTo>
                  <a:lnTo>
                    <a:pt x="3812583" y="2423061"/>
                  </a:lnTo>
                  <a:lnTo>
                    <a:pt x="3811962" y="2422083"/>
                  </a:lnTo>
                  <a:lnTo>
                    <a:pt x="3811444" y="2421144"/>
                  </a:lnTo>
                  <a:lnTo>
                    <a:pt x="3811453" y="2420607"/>
                  </a:lnTo>
                  <a:lnTo>
                    <a:pt x="3811557" y="2420142"/>
                  </a:lnTo>
                  <a:lnTo>
                    <a:pt x="3811459" y="2419212"/>
                  </a:lnTo>
                  <a:lnTo>
                    <a:pt x="3811262" y="2418194"/>
                  </a:lnTo>
                  <a:lnTo>
                    <a:pt x="3811069" y="2417486"/>
                  </a:lnTo>
                  <a:lnTo>
                    <a:pt x="3808024" y="2411686"/>
                  </a:lnTo>
                  <a:lnTo>
                    <a:pt x="3807745" y="2410708"/>
                  </a:lnTo>
                  <a:lnTo>
                    <a:pt x="3808022" y="2409885"/>
                  </a:lnTo>
                  <a:lnTo>
                    <a:pt x="3808165" y="2406587"/>
                  </a:lnTo>
                  <a:lnTo>
                    <a:pt x="3808457" y="2405396"/>
                  </a:lnTo>
                  <a:lnTo>
                    <a:pt x="3809362" y="2405824"/>
                  </a:lnTo>
                  <a:lnTo>
                    <a:pt x="3810711" y="2405784"/>
                  </a:lnTo>
                  <a:lnTo>
                    <a:pt x="3811973" y="2405453"/>
                  </a:lnTo>
                  <a:lnTo>
                    <a:pt x="3812958" y="2404904"/>
                  </a:lnTo>
                  <a:lnTo>
                    <a:pt x="3813847" y="2404078"/>
                  </a:lnTo>
                  <a:lnTo>
                    <a:pt x="3813868" y="2403598"/>
                  </a:lnTo>
                  <a:lnTo>
                    <a:pt x="3813312" y="2402811"/>
                  </a:lnTo>
                  <a:lnTo>
                    <a:pt x="3812462" y="2401067"/>
                  </a:lnTo>
                  <a:lnTo>
                    <a:pt x="3812266" y="2397809"/>
                  </a:lnTo>
                  <a:lnTo>
                    <a:pt x="3814336" y="2397999"/>
                  </a:lnTo>
                  <a:lnTo>
                    <a:pt x="3816576" y="2400016"/>
                  </a:lnTo>
                  <a:lnTo>
                    <a:pt x="3816891" y="2402264"/>
                  </a:lnTo>
                  <a:lnTo>
                    <a:pt x="3817178" y="2402883"/>
                  </a:lnTo>
                  <a:lnTo>
                    <a:pt x="3818142" y="2403058"/>
                  </a:lnTo>
                  <a:lnTo>
                    <a:pt x="3819011" y="2402898"/>
                  </a:lnTo>
                  <a:lnTo>
                    <a:pt x="3820346" y="2402267"/>
                  </a:lnTo>
                  <a:lnTo>
                    <a:pt x="3821942" y="2402989"/>
                  </a:lnTo>
                  <a:lnTo>
                    <a:pt x="3822362" y="2404568"/>
                  </a:lnTo>
                  <a:lnTo>
                    <a:pt x="3822356" y="2406481"/>
                  </a:lnTo>
                  <a:lnTo>
                    <a:pt x="3822642" y="2408219"/>
                  </a:lnTo>
                  <a:lnTo>
                    <a:pt x="3824197" y="2412488"/>
                  </a:lnTo>
                  <a:lnTo>
                    <a:pt x="3824532" y="2413144"/>
                  </a:lnTo>
                  <a:lnTo>
                    <a:pt x="3824841" y="2413569"/>
                  </a:lnTo>
                  <a:lnTo>
                    <a:pt x="3825186" y="2413883"/>
                  </a:lnTo>
                  <a:lnTo>
                    <a:pt x="3825664" y="2414232"/>
                  </a:lnTo>
                  <a:lnTo>
                    <a:pt x="3826319" y="2414897"/>
                  </a:lnTo>
                  <a:lnTo>
                    <a:pt x="3826643" y="2415572"/>
                  </a:lnTo>
                  <a:lnTo>
                    <a:pt x="3826803" y="2416149"/>
                  </a:lnTo>
                  <a:lnTo>
                    <a:pt x="3826959" y="2416519"/>
                  </a:lnTo>
                  <a:lnTo>
                    <a:pt x="3827647" y="2417094"/>
                  </a:lnTo>
                  <a:lnTo>
                    <a:pt x="3830965" y="2419105"/>
                  </a:lnTo>
                  <a:lnTo>
                    <a:pt x="3831337" y="2419426"/>
                  </a:lnTo>
                  <a:lnTo>
                    <a:pt x="3832076" y="2421153"/>
                  </a:lnTo>
                  <a:lnTo>
                    <a:pt x="3832688" y="2423244"/>
                  </a:lnTo>
                  <a:lnTo>
                    <a:pt x="3832812" y="2425416"/>
                  </a:lnTo>
                  <a:lnTo>
                    <a:pt x="3832608" y="2427395"/>
                  </a:lnTo>
                  <a:lnTo>
                    <a:pt x="3830527" y="2434183"/>
                  </a:lnTo>
                  <a:lnTo>
                    <a:pt x="3829753" y="2435172"/>
                  </a:lnTo>
                  <a:lnTo>
                    <a:pt x="3827822" y="2441895"/>
                  </a:lnTo>
                  <a:lnTo>
                    <a:pt x="3828300" y="2448581"/>
                  </a:lnTo>
                  <a:lnTo>
                    <a:pt x="3828690" y="2450262"/>
                  </a:lnTo>
                  <a:lnTo>
                    <a:pt x="3829662" y="2451147"/>
                  </a:lnTo>
                  <a:lnTo>
                    <a:pt x="3830194" y="2449516"/>
                  </a:lnTo>
                  <a:lnTo>
                    <a:pt x="3830491" y="2445744"/>
                  </a:lnTo>
                  <a:lnTo>
                    <a:pt x="3830948" y="2444493"/>
                  </a:lnTo>
                  <a:lnTo>
                    <a:pt x="3832326" y="2442531"/>
                  </a:lnTo>
                  <a:lnTo>
                    <a:pt x="3832778" y="2441262"/>
                  </a:lnTo>
                  <a:lnTo>
                    <a:pt x="3832792" y="2440123"/>
                  </a:lnTo>
                  <a:lnTo>
                    <a:pt x="3831935" y="2435788"/>
                  </a:lnTo>
                  <a:lnTo>
                    <a:pt x="3831894" y="2433068"/>
                  </a:lnTo>
                  <a:lnTo>
                    <a:pt x="3832661" y="2430980"/>
                  </a:lnTo>
                  <a:lnTo>
                    <a:pt x="3833937" y="2429427"/>
                  </a:lnTo>
                  <a:lnTo>
                    <a:pt x="3835400" y="2428313"/>
                  </a:lnTo>
                  <a:lnTo>
                    <a:pt x="3834297" y="2426197"/>
                  </a:lnTo>
                  <a:lnTo>
                    <a:pt x="3834469" y="2423847"/>
                  </a:lnTo>
                  <a:lnTo>
                    <a:pt x="3835754" y="2420668"/>
                  </a:lnTo>
                  <a:lnTo>
                    <a:pt x="3833923" y="2419061"/>
                  </a:lnTo>
                  <a:lnTo>
                    <a:pt x="3832869" y="2417564"/>
                  </a:lnTo>
                  <a:lnTo>
                    <a:pt x="3830070" y="2411176"/>
                  </a:lnTo>
                  <a:lnTo>
                    <a:pt x="3829769" y="2410118"/>
                  </a:lnTo>
                  <a:lnTo>
                    <a:pt x="3829681" y="2409190"/>
                  </a:lnTo>
                  <a:lnTo>
                    <a:pt x="3829790" y="2406023"/>
                  </a:lnTo>
                  <a:lnTo>
                    <a:pt x="3829575" y="2405413"/>
                  </a:lnTo>
                  <a:lnTo>
                    <a:pt x="3828709" y="2403885"/>
                  </a:lnTo>
                  <a:lnTo>
                    <a:pt x="3828524" y="2403307"/>
                  </a:lnTo>
                  <a:lnTo>
                    <a:pt x="3828947" y="2402404"/>
                  </a:lnTo>
                  <a:lnTo>
                    <a:pt x="3829903" y="2402105"/>
                  </a:lnTo>
                  <a:lnTo>
                    <a:pt x="3831041" y="2402193"/>
                  </a:lnTo>
                  <a:lnTo>
                    <a:pt x="3832476" y="2402628"/>
                  </a:lnTo>
                  <a:lnTo>
                    <a:pt x="3832835" y="2402856"/>
                  </a:lnTo>
                  <a:lnTo>
                    <a:pt x="3833150" y="2403224"/>
                  </a:lnTo>
                  <a:lnTo>
                    <a:pt x="3833472" y="2403825"/>
                  </a:lnTo>
                  <a:lnTo>
                    <a:pt x="3833776" y="2404005"/>
                  </a:lnTo>
                  <a:lnTo>
                    <a:pt x="3835171" y="2403790"/>
                  </a:lnTo>
                  <a:lnTo>
                    <a:pt x="3836390" y="2405172"/>
                  </a:lnTo>
                  <a:lnTo>
                    <a:pt x="3836360" y="2407476"/>
                  </a:lnTo>
                  <a:lnTo>
                    <a:pt x="3836570" y="2409961"/>
                  </a:lnTo>
                  <a:lnTo>
                    <a:pt x="3838512" y="2411849"/>
                  </a:lnTo>
                  <a:lnTo>
                    <a:pt x="3837801" y="2415464"/>
                  </a:lnTo>
                  <a:lnTo>
                    <a:pt x="3838221" y="2416703"/>
                  </a:lnTo>
                  <a:lnTo>
                    <a:pt x="3839996" y="2418618"/>
                  </a:lnTo>
                  <a:lnTo>
                    <a:pt x="3839913" y="2419064"/>
                  </a:lnTo>
                  <a:lnTo>
                    <a:pt x="3839894" y="2420321"/>
                  </a:lnTo>
                  <a:lnTo>
                    <a:pt x="3840709" y="2419496"/>
                  </a:lnTo>
                  <a:lnTo>
                    <a:pt x="3841802" y="2419214"/>
                  </a:lnTo>
                  <a:lnTo>
                    <a:pt x="3843073" y="2419465"/>
                  </a:lnTo>
                  <a:lnTo>
                    <a:pt x="3844406" y="2420226"/>
                  </a:lnTo>
                  <a:lnTo>
                    <a:pt x="3845721" y="2421556"/>
                  </a:lnTo>
                  <a:lnTo>
                    <a:pt x="3846500" y="2423081"/>
                  </a:lnTo>
                  <a:lnTo>
                    <a:pt x="3846860" y="2424746"/>
                  </a:lnTo>
                  <a:lnTo>
                    <a:pt x="3847101" y="2430591"/>
                  </a:lnTo>
                  <a:lnTo>
                    <a:pt x="3848127" y="2433824"/>
                  </a:lnTo>
                  <a:lnTo>
                    <a:pt x="3850056" y="2436744"/>
                  </a:lnTo>
                  <a:lnTo>
                    <a:pt x="3852966" y="2439923"/>
                  </a:lnTo>
                  <a:lnTo>
                    <a:pt x="3853981" y="2444845"/>
                  </a:lnTo>
                  <a:lnTo>
                    <a:pt x="3854048" y="2446418"/>
                  </a:lnTo>
                  <a:lnTo>
                    <a:pt x="3853931" y="2448105"/>
                  </a:lnTo>
                  <a:lnTo>
                    <a:pt x="3853956" y="2450217"/>
                  </a:lnTo>
                  <a:lnTo>
                    <a:pt x="3854368" y="2452440"/>
                  </a:lnTo>
                  <a:lnTo>
                    <a:pt x="3855404" y="2454454"/>
                  </a:lnTo>
                  <a:lnTo>
                    <a:pt x="3855884" y="2454831"/>
                  </a:lnTo>
                  <a:lnTo>
                    <a:pt x="3856682" y="2455258"/>
                  </a:lnTo>
                  <a:lnTo>
                    <a:pt x="3857446" y="2455413"/>
                  </a:lnTo>
                  <a:lnTo>
                    <a:pt x="3857839" y="2455015"/>
                  </a:lnTo>
                  <a:lnTo>
                    <a:pt x="3857581" y="2454040"/>
                  </a:lnTo>
                  <a:lnTo>
                    <a:pt x="3856884" y="2452966"/>
                  </a:lnTo>
                  <a:lnTo>
                    <a:pt x="3855698" y="2451444"/>
                  </a:lnTo>
                  <a:lnTo>
                    <a:pt x="3854852" y="2448912"/>
                  </a:lnTo>
                  <a:lnTo>
                    <a:pt x="3854836" y="2447077"/>
                  </a:lnTo>
                  <a:lnTo>
                    <a:pt x="3855569" y="2443645"/>
                  </a:lnTo>
                  <a:lnTo>
                    <a:pt x="3855502" y="2441491"/>
                  </a:lnTo>
                  <a:lnTo>
                    <a:pt x="3854907" y="2439843"/>
                  </a:lnTo>
                  <a:lnTo>
                    <a:pt x="3853836" y="2438479"/>
                  </a:lnTo>
                  <a:lnTo>
                    <a:pt x="3852357" y="2437229"/>
                  </a:lnTo>
                  <a:lnTo>
                    <a:pt x="3851339" y="2435374"/>
                  </a:lnTo>
                  <a:lnTo>
                    <a:pt x="3851112" y="2432709"/>
                  </a:lnTo>
                  <a:lnTo>
                    <a:pt x="3851322" y="2428086"/>
                  </a:lnTo>
                  <a:lnTo>
                    <a:pt x="3850829" y="2425291"/>
                  </a:lnTo>
                  <a:lnTo>
                    <a:pt x="3850799" y="2422181"/>
                  </a:lnTo>
                  <a:lnTo>
                    <a:pt x="3850888" y="2421647"/>
                  </a:lnTo>
                  <a:lnTo>
                    <a:pt x="3851203" y="2421310"/>
                  </a:lnTo>
                  <a:lnTo>
                    <a:pt x="3852100" y="2421026"/>
                  </a:lnTo>
                  <a:lnTo>
                    <a:pt x="3852322" y="2420531"/>
                  </a:lnTo>
                  <a:lnTo>
                    <a:pt x="3852685" y="2416737"/>
                  </a:lnTo>
                  <a:lnTo>
                    <a:pt x="3853049" y="2415050"/>
                  </a:lnTo>
                  <a:lnTo>
                    <a:pt x="3853626" y="2413642"/>
                  </a:lnTo>
                  <a:lnTo>
                    <a:pt x="3855015" y="2412808"/>
                  </a:lnTo>
                  <a:lnTo>
                    <a:pt x="3857125" y="2412087"/>
                  </a:lnTo>
                  <a:lnTo>
                    <a:pt x="3858771" y="2410996"/>
                  </a:lnTo>
                  <a:lnTo>
                    <a:pt x="3858601" y="2406458"/>
                  </a:lnTo>
                  <a:lnTo>
                    <a:pt x="3860005" y="2404445"/>
                  </a:lnTo>
                  <a:lnTo>
                    <a:pt x="3862979" y="2402382"/>
                  </a:lnTo>
                  <a:lnTo>
                    <a:pt x="3863512" y="2401636"/>
                  </a:lnTo>
                  <a:lnTo>
                    <a:pt x="3863836" y="2400570"/>
                  </a:lnTo>
                  <a:lnTo>
                    <a:pt x="3864130" y="2398022"/>
                  </a:lnTo>
                  <a:lnTo>
                    <a:pt x="3864733" y="2396554"/>
                  </a:lnTo>
                  <a:lnTo>
                    <a:pt x="3865898" y="2396574"/>
                  </a:lnTo>
                  <a:lnTo>
                    <a:pt x="3867181" y="2397138"/>
                  </a:lnTo>
                  <a:lnTo>
                    <a:pt x="3868143" y="2397317"/>
                  </a:lnTo>
                  <a:lnTo>
                    <a:pt x="3868778" y="2396968"/>
                  </a:lnTo>
                  <a:lnTo>
                    <a:pt x="3869299" y="2396426"/>
                  </a:lnTo>
                  <a:lnTo>
                    <a:pt x="3869556" y="2395525"/>
                  </a:lnTo>
                  <a:lnTo>
                    <a:pt x="3869405" y="2394106"/>
                  </a:lnTo>
                  <a:lnTo>
                    <a:pt x="3869028" y="2392870"/>
                  </a:lnTo>
                  <a:lnTo>
                    <a:pt x="3868588" y="2392251"/>
                  </a:lnTo>
                  <a:lnTo>
                    <a:pt x="3867903" y="2391625"/>
                  </a:lnTo>
                  <a:lnTo>
                    <a:pt x="3866805" y="2390393"/>
                  </a:lnTo>
                  <a:lnTo>
                    <a:pt x="3868823" y="2389344"/>
                  </a:lnTo>
                  <a:lnTo>
                    <a:pt x="3869502" y="2388498"/>
                  </a:lnTo>
                  <a:lnTo>
                    <a:pt x="3869915" y="2387092"/>
                  </a:lnTo>
                  <a:lnTo>
                    <a:pt x="3869790" y="2382194"/>
                  </a:lnTo>
                  <a:lnTo>
                    <a:pt x="3869579" y="2381028"/>
                  </a:lnTo>
                  <a:lnTo>
                    <a:pt x="3869998" y="2379473"/>
                  </a:lnTo>
                  <a:lnTo>
                    <a:pt x="3871759" y="2378337"/>
                  </a:lnTo>
                  <a:lnTo>
                    <a:pt x="3873756" y="2379039"/>
                  </a:lnTo>
                  <a:lnTo>
                    <a:pt x="3874879" y="2383017"/>
                  </a:lnTo>
                  <a:lnTo>
                    <a:pt x="3876348" y="2382940"/>
                  </a:lnTo>
                  <a:lnTo>
                    <a:pt x="3877165" y="2383069"/>
                  </a:lnTo>
                  <a:lnTo>
                    <a:pt x="3877758" y="2383625"/>
                  </a:lnTo>
                  <a:lnTo>
                    <a:pt x="3878288" y="2384313"/>
                  </a:lnTo>
                  <a:lnTo>
                    <a:pt x="3878224" y="2383362"/>
                  </a:lnTo>
                  <a:lnTo>
                    <a:pt x="3877907" y="2382054"/>
                  </a:lnTo>
                  <a:lnTo>
                    <a:pt x="3877654" y="2381626"/>
                  </a:lnTo>
                  <a:lnTo>
                    <a:pt x="3878475" y="2379328"/>
                  </a:lnTo>
                  <a:lnTo>
                    <a:pt x="3878320" y="2377833"/>
                  </a:lnTo>
                  <a:lnTo>
                    <a:pt x="3877104" y="2375958"/>
                  </a:lnTo>
                  <a:lnTo>
                    <a:pt x="3881977" y="2373505"/>
                  </a:lnTo>
                  <a:lnTo>
                    <a:pt x="3884819" y="2372920"/>
                  </a:lnTo>
                  <a:lnTo>
                    <a:pt x="3886129" y="2372278"/>
                  </a:lnTo>
                  <a:lnTo>
                    <a:pt x="3886816" y="2371060"/>
                  </a:lnTo>
                  <a:lnTo>
                    <a:pt x="3883229" y="2369500"/>
                  </a:lnTo>
                  <a:lnTo>
                    <a:pt x="3882058" y="2368307"/>
                  </a:lnTo>
                  <a:lnTo>
                    <a:pt x="3883261" y="2366914"/>
                  </a:lnTo>
                  <a:lnTo>
                    <a:pt x="3883800" y="2366032"/>
                  </a:lnTo>
                  <a:lnTo>
                    <a:pt x="3883260" y="2364815"/>
                  </a:lnTo>
                  <a:lnTo>
                    <a:pt x="3882294" y="2363429"/>
                  </a:lnTo>
                  <a:lnTo>
                    <a:pt x="3881561" y="2362059"/>
                  </a:lnTo>
                  <a:lnTo>
                    <a:pt x="3881479" y="2360511"/>
                  </a:lnTo>
                  <a:lnTo>
                    <a:pt x="3881721" y="2358828"/>
                  </a:lnTo>
                  <a:lnTo>
                    <a:pt x="3881741" y="2357247"/>
                  </a:lnTo>
                  <a:lnTo>
                    <a:pt x="3880959" y="2355993"/>
                  </a:lnTo>
                  <a:lnTo>
                    <a:pt x="3880191" y="2355107"/>
                  </a:lnTo>
                  <a:lnTo>
                    <a:pt x="3879428" y="2353823"/>
                  </a:lnTo>
                  <a:lnTo>
                    <a:pt x="3879186" y="2352900"/>
                  </a:lnTo>
                  <a:lnTo>
                    <a:pt x="3879972" y="2353097"/>
                  </a:lnTo>
                  <a:lnTo>
                    <a:pt x="3880765" y="2353055"/>
                  </a:lnTo>
                  <a:lnTo>
                    <a:pt x="3880562" y="2351587"/>
                  </a:lnTo>
                  <a:lnTo>
                    <a:pt x="3879694" y="2348585"/>
                  </a:lnTo>
                  <a:lnTo>
                    <a:pt x="3880581" y="2346983"/>
                  </a:lnTo>
                  <a:lnTo>
                    <a:pt x="3882174" y="2346293"/>
                  </a:lnTo>
                  <a:lnTo>
                    <a:pt x="3883392" y="2345253"/>
                  </a:lnTo>
                  <a:lnTo>
                    <a:pt x="3883180" y="2342606"/>
                  </a:lnTo>
                  <a:lnTo>
                    <a:pt x="3881674" y="2342673"/>
                  </a:lnTo>
                  <a:lnTo>
                    <a:pt x="3880973" y="2342383"/>
                  </a:lnTo>
                  <a:lnTo>
                    <a:pt x="3880200" y="2341605"/>
                  </a:lnTo>
                  <a:lnTo>
                    <a:pt x="3880690" y="2340525"/>
                  </a:lnTo>
                  <a:lnTo>
                    <a:pt x="3880530" y="2338759"/>
                  </a:lnTo>
                  <a:lnTo>
                    <a:pt x="3879862" y="2337106"/>
                  </a:lnTo>
                  <a:lnTo>
                    <a:pt x="3878851" y="2336414"/>
                  </a:lnTo>
                  <a:lnTo>
                    <a:pt x="3878819" y="2335003"/>
                  </a:lnTo>
                  <a:lnTo>
                    <a:pt x="3879265" y="2333713"/>
                  </a:lnTo>
                  <a:lnTo>
                    <a:pt x="3879997" y="2332693"/>
                  </a:lnTo>
                  <a:lnTo>
                    <a:pt x="3880804" y="2332051"/>
                  </a:lnTo>
                  <a:lnTo>
                    <a:pt x="3880866" y="2331764"/>
                  </a:lnTo>
                  <a:lnTo>
                    <a:pt x="3880891" y="2331185"/>
                  </a:lnTo>
                  <a:lnTo>
                    <a:pt x="3881004" y="2330551"/>
                  </a:lnTo>
                  <a:lnTo>
                    <a:pt x="3881334" y="2330101"/>
                  </a:lnTo>
                  <a:lnTo>
                    <a:pt x="3881772" y="2329978"/>
                  </a:lnTo>
                  <a:lnTo>
                    <a:pt x="3882610" y="2330090"/>
                  </a:lnTo>
                  <a:lnTo>
                    <a:pt x="3883479" y="2329962"/>
                  </a:lnTo>
                  <a:lnTo>
                    <a:pt x="3883642" y="2330349"/>
                  </a:lnTo>
                  <a:lnTo>
                    <a:pt x="3883762" y="2330874"/>
                  </a:lnTo>
                  <a:lnTo>
                    <a:pt x="3884070" y="2331223"/>
                  </a:lnTo>
                  <a:lnTo>
                    <a:pt x="3888159" y="2332788"/>
                  </a:lnTo>
                  <a:lnTo>
                    <a:pt x="3890672" y="2332521"/>
                  </a:lnTo>
                  <a:lnTo>
                    <a:pt x="3892007" y="2333205"/>
                  </a:lnTo>
                  <a:lnTo>
                    <a:pt x="3894615" y="2335144"/>
                  </a:lnTo>
                  <a:lnTo>
                    <a:pt x="3895845" y="2335535"/>
                  </a:lnTo>
                  <a:lnTo>
                    <a:pt x="3899019" y="2335822"/>
                  </a:lnTo>
                  <a:lnTo>
                    <a:pt x="3900006" y="2335659"/>
                  </a:lnTo>
                  <a:lnTo>
                    <a:pt x="3900869" y="2335756"/>
                  </a:lnTo>
                  <a:lnTo>
                    <a:pt x="3901695" y="2336721"/>
                  </a:lnTo>
                  <a:lnTo>
                    <a:pt x="3902606" y="2338148"/>
                  </a:lnTo>
                  <a:lnTo>
                    <a:pt x="3903724" y="2339635"/>
                  </a:lnTo>
                  <a:lnTo>
                    <a:pt x="3904732" y="2340561"/>
                  </a:lnTo>
                  <a:lnTo>
                    <a:pt x="3906038" y="2341453"/>
                  </a:lnTo>
                  <a:lnTo>
                    <a:pt x="3907251" y="2341846"/>
                  </a:lnTo>
                  <a:lnTo>
                    <a:pt x="3907985" y="2341270"/>
                  </a:lnTo>
                  <a:lnTo>
                    <a:pt x="3908678" y="2340192"/>
                  </a:lnTo>
                  <a:lnTo>
                    <a:pt x="3909697" y="2339764"/>
                  </a:lnTo>
                  <a:lnTo>
                    <a:pt x="3910593" y="2340250"/>
                  </a:lnTo>
                  <a:lnTo>
                    <a:pt x="3910918" y="2341891"/>
                  </a:lnTo>
                  <a:lnTo>
                    <a:pt x="3911906" y="2342012"/>
                  </a:lnTo>
                  <a:lnTo>
                    <a:pt x="3913701" y="2341461"/>
                  </a:lnTo>
                  <a:lnTo>
                    <a:pt x="3914639" y="2341649"/>
                  </a:lnTo>
                  <a:lnTo>
                    <a:pt x="3915549" y="2342583"/>
                  </a:lnTo>
                  <a:lnTo>
                    <a:pt x="3916040" y="2343953"/>
                  </a:lnTo>
                  <a:lnTo>
                    <a:pt x="3916258" y="2345534"/>
                  </a:lnTo>
                  <a:lnTo>
                    <a:pt x="3916358" y="2347122"/>
                  </a:lnTo>
                  <a:lnTo>
                    <a:pt x="3916239" y="2347686"/>
                  </a:lnTo>
                  <a:lnTo>
                    <a:pt x="3915963" y="2347845"/>
                  </a:lnTo>
                  <a:lnTo>
                    <a:pt x="3915841" y="2348089"/>
                  </a:lnTo>
                  <a:lnTo>
                    <a:pt x="3916154" y="2348907"/>
                  </a:lnTo>
                  <a:lnTo>
                    <a:pt x="3916348" y="2349525"/>
                  </a:lnTo>
                  <a:lnTo>
                    <a:pt x="3916510" y="2350422"/>
                  </a:lnTo>
                  <a:lnTo>
                    <a:pt x="3916563" y="2351243"/>
                  </a:lnTo>
                  <a:lnTo>
                    <a:pt x="3916152" y="2352588"/>
                  </a:lnTo>
                  <a:lnTo>
                    <a:pt x="3916433" y="2354130"/>
                  </a:lnTo>
                  <a:lnTo>
                    <a:pt x="3916933" y="2355606"/>
                  </a:lnTo>
                  <a:lnTo>
                    <a:pt x="3917263" y="2356319"/>
                  </a:lnTo>
                  <a:lnTo>
                    <a:pt x="3918003" y="2357327"/>
                  </a:lnTo>
                  <a:lnTo>
                    <a:pt x="3919745" y="2359213"/>
                  </a:lnTo>
                  <a:lnTo>
                    <a:pt x="3921511" y="2361550"/>
                  </a:lnTo>
                  <a:lnTo>
                    <a:pt x="3922306" y="2363898"/>
                  </a:lnTo>
                  <a:lnTo>
                    <a:pt x="3921848" y="2365778"/>
                  </a:lnTo>
                  <a:lnTo>
                    <a:pt x="3920021" y="2368683"/>
                  </a:lnTo>
                  <a:lnTo>
                    <a:pt x="3919811" y="2371161"/>
                  </a:lnTo>
                  <a:lnTo>
                    <a:pt x="3921962" y="2372958"/>
                  </a:lnTo>
                  <a:lnTo>
                    <a:pt x="3922805" y="2373361"/>
                  </a:lnTo>
                  <a:lnTo>
                    <a:pt x="3923251" y="2372758"/>
                  </a:lnTo>
                  <a:lnTo>
                    <a:pt x="3923041" y="2371420"/>
                  </a:lnTo>
                  <a:lnTo>
                    <a:pt x="3922470" y="2369756"/>
                  </a:lnTo>
                  <a:lnTo>
                    <a:pt x="3922048" y="2368016"/>
                  </a:lnTo>
                  <a:lnTo>
                    <a:pt x="3922304" y="2366421"/>
                  </a:lnTo>
                  <a:lnTo>
                    <a:pt x="3923097" y="2365452"/>
                  </a:lnTo>
                  <a:lnTo>
                    <a:pt x="3923857" y="2364938"/>
                  </a:lnTo>
                  <a:lnTo>
                    <a:pt x="3924361" y="2364253"/>
                  </a:lnTo>
                  <a:lnTo>
                    <a:pt x="3924405" y="2362809"/>
                  </a:lnTo>
                  <a:lnTo>
                    <a:pt x="3924121" y="2362116"/>
                  </a:lnTo>
                  <a:lnTo>
                    <a:pt x="3923604" y="2361234"/>
                  </a:lnTo>
                  <a:lnTo>
                    <a:pt x="3923188" y="2360428"/>
                  </a:lnTo>
                  <a:lnTo>
                    <a:pt x="3923206" y="2359977"/>
                  </a:lnTo>
                  <a:lnTo>
                    <a:pt x="3924209" y="2358656"/>
                  </a:lnTo>
                  <a:lnTo>
                    <a:pt x="3924452" y="2358564"/>
                  </a:lnTo>
                  <a:lnTo>
                    <a:pt x="3923502" y="2356976"/>
                  </a:lnTo>
                  <a:lnTo>
                    <a:pt x="3922153" y="2356934"/>
                  </a:lnTo>
                  <a:lnTo>
                    <a:pt x="3920746" y="2357257"/>
                  </a:lnTo>
                  <a:lnTo>
                    <a:pt x="3919617" y="2356777"/>
                  </a:lnTo>
                  <a:lnTo>
                    <a:pt x="3919278" y="2355395"/>
                  </a:lnTo>
                  <a:lnTo>
                    <a:pt x="3919455" y="2353604"/>
                  </a:lnTo>
                  <a:lnTo>
                    <a:pt x="3920312" y="2349990"/>
                  </a:lnTo>
                  <a:lnTo>
                    <a:pt x="3920605" y="2349460"/>
                  </a:lnTo>
                  <a:lnTo>
                    <a:pt x="3920671" y="2348762"/>
                  </a:lnTo>
                  <a:lnTo>
                    <a:pt x="3920249" y="2347593"/>
                  </a:lnTo>
                  <a:lnTo>
                    <a:pt x="3919806" y="2346657"/>
                  </a:lnTo>
                  <a:lnTo>
                    <a:pt x="3919511" y="2345844"/>
                  </a:lnTo>
                  <a:lnTo>
                    <a:pt x="3919379" y="2345057"/>
                  </a:lnTo>
                  <a:lnTo>
                    <a:pt x="3919422" y="2344220"/>
                  </a:lnTo>
                  <a:lnTo>
                    <a:pt x="3920002" y="2343435"/>
                  </a:lnTo>
                  <a:lnTo>
                    <a:pt x="3921965" y="2343569"/>
                  </a:lnTo>
                  <a:lnTo>
                    <a:pt x="3922502" y="2342614"/>
                  </a:lnTo>
                  <a:lnTo>
                    <a:pt x="3920424" y="2342214"/>
                  </a:lnTo>
                  <a:lnTo>
                    <a:pt x="3919967" y="2341868"/>
                  </a:lnTo>
                  <a:lnTo>
                    <a:pt x="3919776" y="2341816"/>
                  </a:lnTo>
                  <a:lnTo>
                    <a:pt x="3918016" y="2339604"/>
                  </a:lnTo>
                  <a:lnTo>
                    <a:pt x="3917726" y="2339121"/>
                  </a:lnTo>
                  <a:lnTo>
                    <a:pt x="3916140" y="2338624"/>
                  </a:lnTo>
                  <a:lnTo>
                    <a:pt x="3914861" y="2338867"/>
                  </a:lnTo>
                  <a:lnTo>
                    <a:pt x="3913577" y="2338730"/>
                  </a:lnTo>
                  <a:lnTo>
                    <a:pt x="3912259" y="2336900"/>
                  </a:lnTo>
                  <a:lnTo>
                    <a:pt x="3911953" y="2336290"/>
                  </a:lnTo>
                  <a:lnTo>
                    <a:pt x="3910459" y="2335512"/>
                  </a:lnTo>
                  <a:lnTo>
                    <a:pt x="3907696" y="2336675"/>
                  </a:lnTo>
                  <a:lnTo>
                    <a:pt x="3906134" y="2336701"/>
                  </a:lnTo>
                  <a:lnTo>
                    <a:pt x="3905691" y="2335301"/>
                  </a:lnTo>
                  <a:lnTo>
                    <a:pt x="3904686" y="2333289"/>
                  </a:lnTo>
                  <a:lnTo>
                    <a:pt x="3903617" y="2331521"/>
                  </a:lnTo>
                  <a:lnTo>
                    <a:pt x="3902983" y="2330824"/>
                  </a:lnTo>
                  <a:lnTo>
                    <a:pt x="3899669" y="2330670"/>
                  </a:lnTo>
                  <a:lnTo>
                    <a:pt x="3898645" y="2330385"/>
                  </a:lnTo>
                  <a:lnTo>
                    <a:pt x="3898978" y="2328992"/>
                  </a:lnTo>
                  <a:lnTo>
                    <a:pt x="3898738" y="2321906"/>
                  </a:lnTo>
                  <a:lnTo>
                    <a:pt x="3898852" y="2320479"/>
                  </a:lnTo>
                  <a:lnTo>
                    <a:pt x="3899083" y="2320023"/>
                  </a:lnTo>
                  <a:lnTo>
                    <a:pt x="3899650" y="2320246"/>
                  </a:lnTo>
                  <a:lnTo>
                    <a:pt x="3903207" y="2322196"/>
                  </a:lnTo>
                  <a:lnTo>
                    <a:pt x="3903750" y="2320033"/>
                  </a:lnTo>
                  <a:lnTo>
                    <a:pt x="3908429" y="2318667"/>
                  </a:lnTo>
                  <a:lnTo>
                    <a:pt x="3909672" y="2317137"/>
                  </a:lnTo>
                  <a:lnTo>
                    <a:pt x="3910183" y="2315923"/>
                  </a:lnTo>
                  <a:lnTo>
                    <a:pt x="3910389" y="2315075"/>
                  </a:lnTo>
                  <a:lnTo>
                    <a:pt x="3910094" y="2314005"/>
                  </a:lnTo>
                  <a:lnTo>
                    <a:pt x="3909583" y="2313799"/>
                  </a:lnTo>
                  <a:lnTo>
                    <a:pt x="3905217" y="2315510"/>
                  </a:lnTo>
                  <a:lnTo>
                    <a:pt x="3902190" y="2315894"/>
                  </a:lnTo>
                  <a:lnTo>
                    <a:pt x="3900313" y="2315693"/>
                  </a:lnTo>
                  <a:lnTo>
                    <a:pt x="3898736" y="2314807"/>
                  </a:lnTo>
                  <a:lnTo>
                    <a:pt x="3898170" y="2313577"/>
                  </a:lnTo>
                  <a:lnTo>
                    <a:pt x="3899719" y="2311852"/>
                  </a:lnTo>
                  <a:lnTo>
                    <a:pt x="3900250" y="2310413"/>
                  </a:lnTo>
                  <a:lnTo>
                    <a:pt x="3902543" y="2308388"/>
                  </a:lnTo>
                  <a:lnTo>
                    <a:pt x="3902889" y="2307930"/>
                  </a:lnTo>
                  <a:lnTo>
                    <a:pt x="3902376" y="2305952"/>
                  </a:lnTo>
                  <a:lnTo>
                    <a:pt x="3900822" y="2304719"/>
                  </a:lnTo>
                  <a:lnTo>
                    <a:pt x="3899194" y="2303640"/>
                  </a:lnTo>
                  <a:lnTo>
                    <a:pt x="3898489" y="2302161"/>
                  </a:lnTo>
                  <a:lnTo>
                    <a:pt x="3899277" y="2301709"/>
                  </a:lnTo>
                  <a:lnTo>
                    <a:pt x="3906491" y="2301986"/>
                  </a:lnTo>
                  <a:lnTo>
                    <a:pt x="3910400" y="2303337"/>
                  </a:lnTo>
                  <a:lnTo>
                    <a:pt x="3912091" y="2304416"/>
                  </a:lnTo>
                  <a:lnTo>
                    <a:pt x="3912740" y="2304554"/>
                  </a:lnTo>
                  <a:lnTo>
                    <a:pt x="3912659" y="2303603"/>
                  </a:lnTo>
                  <a:lnTo>
                    <a:pt x="3912134" y="2302301"/>
                  </a:lnTo>
                  <a:lnTo>
                    <a:pt x="3911413" y="2301348"/>
                  </a:lnTo>
                  <a:lnTo>
                    <a:pt x="3910638" y="2300818"/>
                  </a:lnTo>
                  <a:lnTo>
                    <a:pt x="3909926" y="2300420"/>
                  </a:lnTo>
                  <a:lnTo>
                    <a:pt x="3909202" y="2300150"/>
                  </a:lnTo>
                  <a:lnTo>
                    <a:pt x="3903205" y="2300079"/>
                  </a:lnTo>
                  <a:lnTo>
                    <a:pt x="3903131" y="2298813"/>
                  </a:lnTo>
                  <a:lnTo>
                    <a:pt x="3903634" y="2298111"/>
                  </a:lnTo>
                  <a:lnTo>
                    <a:pt x="3905290" y="2297369"/>
                  </a:lnTo>
                  <a:lnTo>
                    <a:pt x="3904580" y="2297122"/>
                  </a:lnTo>
                  <a:lnTo>
                    <a:pt x="3902563" y="2297040"/>
                  </a:lnTo>
                  <a:lnTo>
                    <a:pt x="3903765" y="2296339"/>
                  </a:lnTo>
                  <a:lnTo>
                    <a:pt x="3904773" y="2295231"/>
                  </a:lnTo>
                  <a:lnTo>
                    <a:pt x="3906270" y="2292559"/>
                  </a:lnTo>
                  <a:lnTo>
                    <a:pt x="3906608" y="2293224"/>
                  </a:lnTo>
                  <a:lnTo>
                    <a:pt x="3907996" y="2292433"/>
                  </a:lnTo>
                  <a:lnTo>
                    <a:pt x="3912059" y="2294354"/>
                  </a:lnTo>
                  <a:lnTo>
                    <a:pt x="3918203" y="2294289"/>
                  </a:lnTo>
                  <a:lnTo>
                    <a:pt x="3918798" y="2293565"/>
                  </a:lnTo>
                  <a:lnTo>
                    <a:pt x="3917609" y="2292497"/>
                  </a:lnTo>
                  <a:lnTo>
                    <a:pt x="3916537" y="2292060"/>
                  </a:lnTo>
                  <a:lnTo>
                    <a:pt x="3915554" y="2292100"/>
                  </a:lnTo>
                  <a:lnTo>
                    <a:pt x="3914613" y="2292461"/>
                  </a:lnTo>
                  <a:lnTo>
                    <a:pt x="3913880" y="2292404"/>
                  </a:lnTo>
                  <a:lnTo>
                    <a:pt x="3911019" y="2290901"/>
                  </a:lnTo>
                  <a:lnTo>
                    <a:pt x="3911350" y="2289974"/>
                  </a:lnTo>
                  <a:lnTo>
                    <a:pt x="3912662" y="2287766"/>
                  </a:lnTo>
                  <a:lnTo>
                    <a:pt x="3913198" y="2287205"/>
                  </a:lnTo>
                  <a:lnTo>
                    <a:pt x="3914111" y="2286833"/>
                  </a:lnTo>
                  <a:lnTo>
                    <a:pt x="3914801" y="2286802"/>
                  </a:lnTo>
                  <a:lnTo>
                    <a:pt x="3916436" y="2287193"/>
                  </a:lnTo>
                  <a:lnTo>
                    <a:pt x="3918483" y="2287063"/>
                  </a:lnTo>
                  <a:lnTo>
                    <a:pt x="3923393" y="2285115"/>
                  </a:lnTo>
                  <a:lnTo>
                    <a:pt x="3924543" y="2283729"/>
                  </a:lnTo>
                  <a:lnTo>
                    <a:pt x="3924202" y="2283065"/>
                  </a:lnTo>
                  <a:lnTo>
                    <a:pt x="3922136" y="2282705"/>
                  </a:lnTo>
                  <a:lnTo>
                    <a:pt x="3918449" y="2284787"/>
                  </a:lnTo>
                  <a:lnTo>
                    <a:pt x="3915438" y="2283943"/>
                  </a:lnTo>
                  <a:lnTo>
                    <a:pt x="3912704" y="2284254"/>
                  </a:lnTo>
                  <a:lnTo>
                    <a:pt x="3911835" y="2284537"/>
                  </a:lnTo>
                  <a:lnTo>
                    <a:pt x="3911476" y="2284273"/>
                  </a:lnTo>
                  <a:lnTo>
                    <a:pt x="3910945" y="2283690"/>
                  </a:lnTo>
                  <a:lnTo>
                    <a:pt x="3910475" y="2283393"/>
                  </a:lnTo>
                  <a:lnTo>
                    <a:pt x="3910297" y="2284002"/>
                  </a:lnTo>
                  <a:lnTo>
                    <a:pt x="3910414" y="2284834"/>
                  </a:lnTo>
                  <a:lnTo>
                    <a:pt x="3910588" y="2285424"/>
                  </a:lnTo>
                  <a:lnTo>
                    <a:pt x="3910703" y="2286009"/>
                  </a:lnTo>
                  <a:lnTo>
                    <a:pt x="3910637" y="2286792"/>
                  </a:lnTo>
                  <a:lnTo>
                    <a:pt x="3910184" y="2287737"/>
                  </a:lnTo>
                  <a:lnTo>
                    <a:pt x="3909328" y="2288694"/>
                  </a:lnTo>
                  <a:lnTo>
                    <a:pt x="3908284" y="2289375"/>
                  </a:lnTo>
                  <a:lnTo>
                    <a:pt x="3907274" y="2289489"/>
                  </a:lnTo>
                  <a:lnTo>
                    <a:pt x="3906360" y="2288744"/>
                  </a:lnTo>
                  <a:lnTo>
                    <a:pt x="3904109" y="2286115"/>
                  </a:lnTo>
                  <a:lnTo>
                    <a:pt x="3900042" y="2283653"/>
                  </a:lnTo>
                  <a:lnTo>
                    <a:pt x="3899346" y="2283122"/>
                  </a:lnTo>
                  <a:lnTo>
                    <a:pt x="3898575" y="2281379"/>
                  </a:lnTo>
                  <a:lnTo>
                    <a:pt x="3898366" y="2280248"/>
                  </a:lnTo>
                  <a:lnTo>
                    <a:pt x="3898585" y="2279381"/>
                  </a:lnTo>
                  <a:lnTo>
                    <a:pt x="3899113" y="2278468"/>
                  </a:lnTo>
                  <a:lnTo>
                    <a:pt x="3897788" y="2277980"/>
                  </a:lnTo>
                  <a:lnTo>
                    <a:pt x="3896787" y="2278056"/>
                  </a:lnTo>
                  <a:lnTo>
                    <a:pt x="3895772" y="2277909"/>
                  </a:lnTo>
                  <a:lnTo>
                    <a:pt x="3894423" y="2276772"/>
                  </a:lnTo>
                  <a:lnTo>
                    <a:pt x="3894314" y="2275508"/>
                  </a:lnTo>
                  <a:lnTo>
                    <a:pt x="3893349" y="2274654"/>
                  </a:lnTo>
                  <a:lnTo>
                    <a:pt x="3892953" y="2273611"/>
                  </a:lnTo>
                  <a:lnTo>
                    <a:pt x="3892674" y="2273046"/>
                  </a:lnTo>
                  <a:lnTo>
                    <a:pt x="3892703" y="2272693"/>
                  </a:lnTo>
                  <a:lnTo>
                    <a:pt x="3893248" y="2272321"/>
                  </a:lnTo>
                  <a:lnTo>
                    <a:pt x="3895932" y="2271818"/>
                  </a:lnTo>
                  <a:lnTo>
                    <a:pt x="3898355" y="2272914"/>
                  </a:lnTo>
                  <a:lnTo>
                    <a:pt x="3903875" y="2276883"/>
                  </a:lnTo>
                  <a:lnTo>
                    <a:pt x="3903013" y="2275097"/>
                  </a:lnTo>
                  <a:lnTo>
                    <a:pt x="3900001" y="2271487"/>
                  </a:lnTo>
                  <a:lnTo>
                    <a:pt x="3900067" y="2270493"/>
                  </a:lnTo>
                  <a:lnTo>
                    <a:pt x="3900309" y="2270481"/>
                  </a:lnTo>
                  <a:lnTo>
                    <a:pt x="3900995" y="2270694"/>
                  </a:lnTo>
                  <a:lnTo>
                    <a:pt x="3901582" y="2270971"/>
                  </a:lnTo>
                  <a:lnTo>
                    <a:pt x="3901793" y="2271132"/>
                  </a:lnTo>
                  <a:lnTo>
                    <a:pt x="3902343" y="2270675"/>
                  </a:lnTo>
                  <a:lnTo>
                    <a:pt x="3902394" y="2270289"/>
                  </a:lnTo>
                  <a:lnTo>
                    <a:pt x="3902224" y="2269758"/>
                  </a:lnTo>
                  <a:lnTo>
                    <a:pt x="3902127" y="2268834"/>
                  </a:lnTo>
                  <a:lnTo>
                    <a:pt x="3902613" y="2268214"/>
                  </a:lnTo>
                  <a:lnTo>
                    <a:pt x="3904777" y="2268402"/>
                  </a:lnTo>
                  <a:lnTo>
                    <a:pt x="3905460" y="2267495"/>
                  </a:lnTo>
                  <a:lnTo>
                    <a:pt x="3905120" y="2266831"/>
                  </a:lnTo>
                  <a:lnTo>
                    <a:pt x="3903857" y="2266576"/>
                  </a:lnTo>
                  <a:lnTo>
                    <a:pt x="3901316" y="2265177"/>
                  </a:lnTo>
                  <a:lnTo>
                    <a:pt x="3900252" y="2265165"/>
                  </a:lnTo>
                  <a:lnTo>
                    <a:pt x="3899361" y="2264620"/>
                  </a:lnTo>
                  <a:lnTo>
                    <a:pt x="3898034" y="2262953"/>
                  </a:lnTo>
                  <a:lnTo>
                    <a:pt x="3896703" y="2260950"/>
                  </a:lnTo>
                  <a:lnTo>
                    <a:pt x="3895799" y="2259393"/>
                  </a:lnTo>
                  <a:lnTo>
                    <a:pt x="3896251" y="2257674"/>
                  </a:lnTo>
                  <a:lnTo>
                    <a:pt x="3899523" y="2258201"/>
                  </a:lnTo>
                  <a:lnTo>
                    <a:pt x="3910235" y="2262249"/>
                  </a:lnTo>
                  <a:lnTo>
                    <a:pt x="3910827" y="2261676"/>
                  </a:lnTo>
                  <a:lnTo>
                    <a:pt x="3905576" y="2257258"/>
                  </a:lnTo>
                  <a:lnTo>
                    <a:pt x="3904459" y="2257503"/>
                  </a:lnTo>
                  <a:lnTo>
                    <a:pt x="3903293" y="2257035"/>
                  </a:lnTo>
                  <a:lnTo>
                    <a:pt x="3902205" y="2255747"/>
                  </a:lnTo>
                  <a:lnTo>
                    <a:pt x="3901302" y="2253512"/>
                  </a:lnTo>
                  <a:lnTo>
                    <a:pt x="3901086" y="2251848"/>
                  </a:lnTo>
                  <a:lnTo>
                    <a:pt x="3901583" y="2251163"/>
                  </a:lnTo>
                  <a:lnTo>
                    <a:pt x="3903609" y="2250586"/>
                  </a:lnTo>
                  <a:lnTo>
                    <a:pt x="3901636" y="2249755"/>
                  </a:lnTo>
                  <a:lnTo>
                    <a:pt x="3896243" y="2250263"/>
                  </a:lnTo>
                  <a:lnTo>
                    <a:pt x="3895870" y="2249536"/>
                  </a:lnTo>
                  <a:lnTo>
                    <a:pt x="3897202" y="2248830"/>
                  </a:lnTo>
                  <a:lnTo>
                    <a:pt x="3896890" y="2248221"/>
                  </a:lnTo>
                  <a:lnTo>
                    <a:pt x="3895345" y="2247908"/>
                  </a:lnTo>
                  <a:lnTo>
                    <a:pt x="3893690" y="2247997"/>
                  </a:lnTo>
                  <a:lnTo>
                    <a:pt x="3892034" y="2247778"/>
                  </a:lnTo>
                  <a:lnTo>
                    <a:pt x="3890489" y="2246524"/>
                  </a:lnTo>
                  <a:lnTo>
                    <a:pt x="3892189" y="2245791"/>
                  </a:lnTo>
                  <a:lnTo>
                    <a:pt x="3896408" y="2245707"/>
                  </a:lnTo>
                  <a:lnTo>
                    <a:pt x="3898188" y="2244984"/>
                  </a:lnTo>
                  <a:lnTo>
                    <a:pt x="3899618" y="2242680"/>
                  </a:lnTo>
                  <a:lnTo>
                    <a:pt x="3900323" y="2242077"/>
                  </a:lnTo>
                  <a:lnTo>
                    <a:pt x="3906670" y="2240186"/>
                  </a:lnTo>
                  <a:lnTo>
                    <a:pt x="3909242" y="2240009"/>
                  </a:lnTo>
                  <a:lnTo>
                    <a:pt x="3909511" y="2239895"/>
                  </a:lnTo>
                  <a:lnTo>
                    <a:pt x="3909801" y="2239664"/>
                  </a:lnTo>
                  <a:lnTo>
                    <a:pt x="3910092" y="2239553"/>
                  </a:lnTo>
                  <a:lnTo>
                    <a:pt x="3910361" y="2239794"/>
                  </a:lnTo>
                  <a:lnTo>
                    <a:pt x="3910798" y="2240486"/>
                  </a:lnTo>
                  <a:lnTo>
                    <a:pt x="3911361" y="2241142"/>
                  </a:lnTo>
                  <a:lnTo>
                    <a:pt x="3911928" y="2241583"/>
                  </a:lnTo>
                  <a:lnTo>
                    <a:pt x="3919900" y="2243639"/>
                  </a:lnTo>
                  <a:lnTo>
                    <a:pt x="3920687" y="2244066"/>
                  </a:lnTo>
                  <a:lnTo>
                    <a:pt x="3921143" y="2243623"/>
                  </a:lnTo>
                  <a:lnTo>
                    <a:pt x="3923385" y="2243296"/>
                  </a:lnTo>
                  <a:lnTo>
                    <a:pt x="3924036" y="2242259"/>
                  </a:lnTo>
                  <a:lnTo>
                    <a:pt x="3921151" y="2242598"/>
                  </a:lnTo>
                  <a:lnTo>
                    <a:pt x="3917760" y="2241971"/>
                  </a:lnTo>
                  <a:lnTo>
                    <a:pt x="3914308" y="2240654"/>
                  </a:lnTo>
                  <a:lnTo>
                    <a:pt x="3909659" y="2238209"/>
                  </a:lnTo>
                  <a:lnTo>
                    <a:pt x="3908325" y="2238119"/>
                  </a:lnTo>
                  <a:lnTo>
                    <a:pt x="3905482" y="2238548"/>
                  </a:lnTo>
                  <a:lnTo>
                    <a:pt x="3901551" y="2238366"/>
                  </a:lnTo>
                  <a:lnTo>
                    <a:pt x="3897565" y="2240156"/>
                  </a:lnTo>
                  <a:lnTo>
                    <a:pt x="3896342" y="2240084"/>
                  </a:lnTo>
                  <a:lnTo>
                    <a:pt x="3894801" y="2239143"/>
                  </a:lnTo>
                  <a:lnTo>
                    <a:pt x="3887162" y="2231505"/>
                  </a:lnTo>
                  <a:lnTo>
                    <a:pt x="3881863" y="2224823"/>
                  </a:lnTo>
                  <a:lnTo>
                    <a:pt x="3880562" y="2223521"/>
                  </a:lnTo>
                  <a:lnTo>
                    <a:pt x="3879128" y="2222709"/>
                  </a:lnTo>
                  <a:lnTo>
                    <a:pt x="3879352" y="2220225"/>
                  </a:lnTo>
                  <a:lnTo>
                    <a:pt x="3880633" y="2218283"/>
                  </a:lnTo>
                  <a:lnTo>
                    <a:pt x="3880969" y="2216744"/>
                  </a:lnTo>
                  <a:lnTo>
                    <a:pt x="3878382" y="2215478"/>
                  </a:lnTo>
                  <a:lnTo>
                    <a:pt x="3878337" y="2214648"/>
                  </a:lnTo>
                  <a:lnTo>
                    <a:pt x="3878492" y="2214703"/>
                  </a:lnTo>
                  <a:lnTo>
                    <a:pt x="3878695" y="2214458"/>
                  </a:lnTo>
                  <a:lnTo>
                    <a:pt x="3880241" y="2214506"/>
                  </a:lnTo>
                  <a:lnTo>
                    <a:pt x="3880662" y="2214647"/>
                  </a:lnTo>
                  <a:lnTo>
                    <a:pt x="3881174" y="2214704"/>
                  </a:lnTo>
                  <a:lnTo>
                    <a:pt x="3881123" y="2213931"/>
                  </a:lnTo>
                  <a:lnTo>
                    <a:pt x="3880681" y="2212174"/>
                  </a:lnTo>
                  <a:lnTo>
                    <a:pt x="3881109" y="2211223"/>
                  </a:lnTo>
                  <a:lnTo>
                    <a:pt x="3882161" y="2211219"/>
                  </a:lnTo>
                  <a:lnTo>
                    <a:pt x="3883374" y="2211504"/>
                  </a:lnTo>
                  <a:lnTo>
                    <a:pt x="3884315" y="2211468"/>
                  </a:lnTo>
                  <a:lnTo>
                    <a:pt x="3883517" y="2210683"/>
                  </a:lnTo>
                  <a:lnTo>
                    <a:pt x="3882689" y="2209728"/>
                  </a:lnTo>
                  <a:lnTo>
                    <a:pt x="3882242" y="2208813"/>
                  </a:lnTo>
                  <a:lnTo>
                    <a:pt x="3882580" y="2208146"/>
                  </a:lnTo>
                  <a:lnTo>
                    <a:pt x="3883153" y="2207563"/>
                  </a:lnTo>
                  <a:lnTo>
                    <a:pt x="3883501" y="2206162"/>
                  </a:lnTo>
                  <a:lnTo>
                    <a:pt x="3883992" y="2205616"/>
                  </a:lnTo>
                  <a:lnTo>
                    <a:pt x="3884677" y="2205474"/>
                  </a:lnTo>
                  <a:lnTo>
                    <a:pt x="3890614" y="2205456"/>
                  </a:lnTo>
                  <a:lnTo>
                    <a:pt x="3891865" y="2205732"/>
                  </a:lnTo>
                  <a:lnTo>
                    <a:pt x="3894362" y="2206946"/>
                  </a:lnTo>
                  <a:lnTo>
                    <a:pt x="3897354" y="2206569"/>
                  </a:lnTo>
                  <a:lnTo>
                    <a:pt x="3899354" y="2206872"/>
                  </a:lnTo>
                  <a:lnTo>
                    <a:pt x="3901186" y="2206538"/>
                  </a:lnTo>
                  <a:lnTo>
                    <a:pt x="3904518" y="2204951"/>
                  </a:lnTo>
                  <a:lnTo>
                    <a:pt x="3904138" y="2204227"/>
                  </a:lnTo>
                  <a:lnTo>
                    <a:pt x="3900469" y="2205357"/>
                  </a:lnTo>
                  <a:lnTo>
                    <a:pt x="3899780" y="2205333"/>
                  </a:lnTo>
                  <a:lnTo>
                    <a:pt x="3897663" y="2204713"/>
                  </a:lnTo>
                  <a:lnTo>
                    <a:pt x="3894852" y="2205009"/>
                  </a:lnTo>
                  <a:lnTo>
                    <a:pt x="3890835" y="2203619"/>
                  </a:lnTo>
                  <a:lnTo>
                    <a:pt x="3889105" y="2203731"/>
                  </a:lnTo>
                  <a:lnTo>
                    <a:pt x="3888759" y="2203065"/>
                  </a:lnTo>
                  <a:lnTo>
                    <a:pt x="3888987" y="2202831"/>
                  </a:lnTo>
                  <a:lnTo>
                    <a:pt x="3889459" y="2201914"/>
                  </a:lnTo>
                  <a:lnTo>
                    <a:pt x="3888708" y="2201131"/>
                  </a:lnTo>
                  <a:lnTo>
                    <a:pt x="3887257" y="2200434"/>
                  </a:lnTo>
                  <a:lnTo>
                    <a:pt x="3886709" y="2199917"/>
                  </a:lnTo>
                  <a:lnTo>
                    <a:pt x="3886244" y="2198879"/>
                  </a:lnTo>
                  <a:lnTo>
                    <a:pt x="3886388" y="2198407"/>
                  </a:lnTo>
                  <a:lnTo>
                    <a:pt x="3886855" y="2198385"/>
                  </a:lnTo>
                  <a:lnTo>
                    <a:pt x="3887376" y="2198709"/>
                  </a:lnTo>
                  <a:lnTo>
                    <a:pt x="3888177" y="2198451"/>
                  </a:lnTo>
                  <a:lnTo>
                    <a:pt x="3890047" y="2198785"/>
                  </a:lnTo>
                  <a:lnTo>
                    <a:pt x="3891592" y="2198634"/>
                  </a:lnTo>
                  <a:lnTo>
                    <a:pt x="3891442" y="2196949"/>
                  </a:lnTo>
                  <a:lnTo>
                    <a:pt x="3890252" y="2195753"/>
                  </a:lnTo>
                  <a:lnTo>
                    <a:pt x="3888794" y="2195574"/>
                  </a:lnTo>
                  <a:lnTo>
                    <a:pt x="3886023" y="2196109"/>
                  </a:lnTo>
                  <a:lnTo>
                    <a:pt x="3885646" y="2195384"/>
                  </a:lnTo>
                  <a:lnTo>
                    <a:pt x="3887165" y="2194705"/>
                  </a:lnTo>
                  <a:lnTo>
                    <a:pt x="3887574" y="2194348"/>
                  </a:lnTo>
                  <a:lnTo>
                    <a:pt x="3888188" y="2193273"/>
                  </a:lnTo>
                  <a:lnTo>
                    <a:pt x="3888386" y="2193060"/>
                  </a:lnTo>
                  <a:lnTo>
                    <a:pt x="3888499" y="2192781"/>
                  </a:lnTo>
                  <a:lnTo>
                    <a:pt x="3888273" y="2192390"/>
                  </a:lnTo>
                  <a:lnTo>
                    <a:pt x="3887970" y="2191975"/>
                  </a:lnTo>
                  <a:lnTo>
                    <a:pt x="3887871" y="2191633"/>
                  </a:lnTo>
                  <a:lnTo>
                    <a:pt x="3887780" y="2191210"/>
                  </a:lnTo>
                  <a:lnTo>
                    <a:pt x="3887458" y="2190850"/>
                  </a:lnTo>
                  <a:lnTo>
                    <a:pt x="3887259" y="2190527"/>
                  </a:lnTo>
                  <a:lnTo>
                    <a:pt x="3887517" y="2190195"/>
                  </a:lnTo>
                  <a:lnTo>
                    <a:pt x="3888296" y="2189999"/>
                  </a:lnTo>
                  <a:lnTo>
                    <a:pt x="3889154" y="2190014"/>
                  </a:lnTo>
                  <a:lnTo>
                    <a:pt x="3889720" y="2190211"/>
                  </a:lnTo>
                  <a:lnTo>
                    <a:pt x="3891501" y="2191382"/>
                  </a:lnTo>
                  <a:lnTo>
                    <a:pt x="3891262" y="2189836"/>
                  </a:lnTo>
                  <a:lnTo>
                    <a:pt x="3889929" y="2188941"/>
                  </a:lnTo>
                  <a:lnTo>
                    <a:pt x="3886761" y="2187980"/>
                  </a:lnTo>
                  <a:lnTo>
                    <a:pt x="3887221" y="2187082"/>
                  </a:lnTo>
                  <a:lnTo>
                    <a:pt x="3887986" y="2186807"/>
                  </a:lnTo>
                  <a:lnTo>
                    <a:pt x="3888874" y="2186724"/>
                  </a:lnTo>
                  <a:lnTo>
                    <a:pt x="3889724" y="2186383"/>
                  </a:lnTo>
                  <a:lnTo>
                    <a:pt x="3888707" y="2185424"/>
                  </a:lnTo>
                  <a:lnTo>
                    <a:pt x="3887722" y="2185178"/>
                  </a:lnTo>
                  <a:lnTo>
                    <a:pt x="3886735" y="2185117"/>
                  </a:lnTo>
                  <a:lnTo>
                    <a:pt x="3885721" y="2184709"/>
                  </a:lnTo>
                  <a:lnTo>
                    <a:pt x="3884894" y="2183861"/>
                  </a:lnTo>
                  <a:lnTo>
                    <a:pt x="3884218" y="2182414"/>
                  </a:lnTo>
                  <a:lnTo>
                    <a:pt x="3883606" y="2181937"/>
                  </a:lnTo>
                  <a:lnTo>
                    <a:pt x="3883258" y="2181272"/>
                  </a:lnTo>
                  <a:lnTo>
                    <a:pt x="3886126" y="2179736"/>
                  </a:lnTo>
                  <a:lnTo>
                    <a:pt x="3886773" y="2178356"/>
                  </a:lnTo>
                  <a:lnTo>
                    <a:pt x="3886451" y="2175286"/>
                  </a:lnTo>
                  <a:lnTo>
                    <a:pt x="3884741" y="2175326"/>
                  </a:lnTo>
                  <a:lnTo>
                    <a:pt x="3883828" y="2174977"/>
                  </a:lnTo>
                  <a:lnTo>
                    <a:pt x="3883437" y="2173974"/>
                  </a:lnTo>
                  <a:lnTo>
                    <a:pt x="3883654" y="2173172"/>
                  </a:lnTo>
                  <a:lnTo>
                    <a:pt x="3884150" y="2172097"/>
                  </a:lnTo>
                  <a:lnTo>
                    <a:pt x="3884722" y="2171300"/>
                  </a:lnTo>
                  <a:lnTo>
                    <a:pt x="3885162" y="2171306"/>
                  </a:lnTo>
                  <a:lnTo>
                    <a:pt x="3885687" y="2171905"/>
                  </a:lnTo>
                  <a:lnTo>
                    <a:pt x="3885776" y="2171217"/>
                  </a:lnTo>
                  <a:lnTo>
                    <a:pt x="3885671" y="2170187"/>
                  </a:lnTo>
                  <a:lnTo>
                    <a:pt x="3885581" y="2169722"/>
                  </a:lnTo>
                  <a:lnTo>
                    <a:pt x="3885355" y="2169627"/>
                  </a:lnTo>
                  <a:lnTo>
                    <a:pt x="3884886" y="2169012"/>
                  </a:lnTo>
                  <a:lnTo>
                    <a:pt x="3884423" y="2168196"/>
                  </a:lnTo>
                  <a:lnTo>
                    <a:pt x="3884214" y="2167517"/>
                  </a:lnTo>
                  <a:lnTo>
                    <a:pt x="3884585" y="2166874"/>
                  </a:lnTo>
                  <a:lnTo>
                    <a:pt x="3885228" y="2166926"/>
                  </a:lnTo>
                  <a:lnTo>
                    <a:pt x="3885469" y="2166583"/>
                  </a:lnTo>
                  <a:lnTo>
                    <a:pt x="3884652" y="2164723"/>
                  </a:lnTo>
                  <a:lnTo>
                    <a:pt x="3884183" y="2162447"/>
                  </a:lnTo>
                  <a:lnTo>
                    <a:pt x="3885319" y="2161444"/>
                  </a:lnTo>
                  <a:lnTo>
                    <a:pt x="3886781" y="2160747"/>
                  </a:lnTo>
                  <a:lnTo>
                    <a:pt x="3887297" y="2159409"/>
                  </a:lnTo>
                  <a:lnTo>
                    <a:pt x="3886245" y="2158140"/>
                  </a:lnTo>
                  <a:lnTo>
                    <a:pt x="3880565" y="2156237"/>
                  </a:lnTo>
                  <a:lnTo>
                    <a:pt x="3882272" y="2153583"/>
                  </a:lnTo>
                  <a:lnTo>
                    <a:pt x="3882828" y="2152126"/>
                  </a:lnTo>
                  <a:lnTo>
                    <a:pt x="3883041" y="2150205"/>
                  </a:lnTo>
                  <a:lnTo>
                    <a:pt x="3882978" y="2148107"/>
                  </a:lnTo>
                  <a:lnTo>
                    <a:pt x="3882635" y="2146325"/>
                  </a:lnTo>
                  <a:lnTo>
                    <a:pt x="3881787" y="2145032"/>
                  </a:lnTo>
                  <a:lnTo>
                    <a:pt x="3880203" y="2144414"/>
                  </a:lnTo>
                  <a:lnTo>
                    <a:pt x="3879883" y="2143810"/>
                  </a:lnTo>
                  <a:lnTo>
                    <a:pt x="3880205" y="2143080"/>
                  </a:lnTo>
                  <a:lnTo>
                    <a:pt x="3880694" y="2142875"/>
                  </a:lnTo>
                  <a:lnTo>
                    <a:pt x="3881262" y="2142876"/>
                  </a:lnTo>
                  <a:lnTo>
                    <a:pt x="3881813" y="2142758"/>
                  </a:lnTo>
                  <a:lnTo>
                    <a:pt x="3883741" y="2141706"/>
                  </a:lnTo>
                  <a:lnTo>
                    <a:pt x="3884889" y="2141548"/>
                  </a:lnTo>
                  <a:lnTo>
                    <a:pt x="3887241" y="2141931"/>
                  </a:lnTo>
                  <a:lnTo>
                    <a:pt x="3887974" y="2141881"/>
                  </a:lnTo>
                  <a:lnTo>
                    <a:pt x="3889402" y="2141894"/>
                  </a:lnTo>
                  <a:lnTo>
                    <a:pt x="3889966" y="2141722"/>
                  </a:lnTo>
                  <a:lnTo>
                    <a:pt x="3889127" y="2140974"/>
                  </a:lnTo>
                  <a:lnTo>
                    <a:pt x="3888831" y="2140877"/>
                  </a:lnTo>
                  <a:lnTo>
                    <a:pt x="3888296" y="2140926"/>
                  </a:lnTo>
                  <a:lnTo>
                    <a:pt x="3887912" y="2140204"/>
                  </a:lnTo>
                  <a:lnTo>
                    <a:pt x="3889121" y="2140168"/>
                  </a:lnTo>
                  <a:lnTo>
                    <a:pt x="3891588" y="2139227"/>
                  </a:lnTo>
                  <a:lnTo>
                    <a:pt x="3892870" y="2139664"/>
                  </a:lnTo>
                  <a:lnTo>
                    <a:pt x="3893871" y="2140144"/>
                  </a:lnTo>
                  <a:lnTo>
                    <a:pt x="3897506" y="2141000"/>
                  </a:lnTo>
                  <a:lnTo>
                    <a:pt x="3898323" y="2140891"/>
                  </a:lnTo>
                  <a:lnTo>
                    <a:pt x="3902146" y="2140389"/>
                  </a:lnTo>
                  <a:lnTo>
                    <a:pt x="3903433" y="2140764"/>
                  </a:lnTo>
                  <a:lnTo>
                    <a:pt x="3904734" y="2141638"/>
                  </a:lnTo>
                  <a:lnTo>
                    <a:pt x="3906014" y="2142186"/>
                  </a:lnTo>
                  <a:lnTo>
                    <a:pt x="3908462" y="2142653"/>
                  </a:lnTo>
                  <a:lnTo>
                    <a:pt x="3907865" y="2143613"/>
                  </a:lnTo>
                  <a:lnTo>
                    <a:pt x="3906470" y="2144079"/>
                  </a:lnTo>
                  <a:lnTo>
                    <a:pt x="3904757" y="2144031"/>
                  </a:lnTo>
                  <a:lnTo>
                    <a:pt x="3901654" y="2142983"/>
                  </a:lnTo>
                  <a:lnTo>
                    <a:pt x="3896287" y="2143385"/>
                  </a:lnTo>
                  <a:lnTo>
                    <a:pt x="3893938" y="2144665"/>
                  </a:lnTo>
                  <a:lnTo>
                    <a:pt x="3892602" y="2147243"/>
                  </a:lnTo>
                  <a:lnTo>
                    <a:pt x="3890999" y="2153121"/>
                  </a:lnTo>
                  <a:lnTo>
                    <a:pt x="3892567" y="2152707"/>
                  </a:lnTo>
                  <a:lnTo>
                    <a:pt x="3894713" y="2147859"/>
                  </a:lnTo>
                  <a:lnTo>
                    <a:pt x="3895913" y="2146149"/>
                  </a:lnTo>
                  <a:lnTo>
                    <a:pt x="3898865" y="2144863"/>
                  </a:lnTo>
                  <a:lnTo>
                    <a:pt x="3899948" y="2144786"/>
                  </a:lnTo>
                  <a:lnTo>
                    <a:pt x="3903793" y="2145865"/>
                  </a:lnTo>
                  <a:lnTo>
                    <a:pt x="3904928" y="2145468"/>
                  </a:lnTo>
                  <a:lnTo>
                    <a:pt x="3904965" y="2147790"/>
                  </a:lnTo>
                  <a:lnTo>
                    <a:pt x="3903490" y="2151874"/>
                  </a:lnTo>
                  <a:lnTo>
                    <a:pt x="3903282" y="2154151"/>
                  </a:lnTo>
                  <a:lnTo>
                    <a:pt x="3905689" y="2152825"/>
                  </a:lnTo>
                  <a:lnTo>
                    <a:pt x="3906102" y="2152322"/>
                  </a:lnTo>
                  <a:lnTo>
                    <a:pt x="3906436" y="2150913"/>
                  </a:lnTo>
                  <a:lnTo>
                    <a:pt x="3907179" y="2149263"/>
                  </a:lnTo>
                  <a:lnTo>
                    <a:pt x="3907434" y="2147263"/>
                  </a:lnTo>
                  <a:lnTo>
                    <a:pt x="3907923" y="2145691"/>
                  </a:lnTo>
                  <a:lnTo>
                    <a:pt x="3909242" y="2145731"/>
                  </a:lnTo>
                  <a:lnTo>
                    <a:pt x="3908939" y="2146323"/>
                  </a:lnTo>
                  <a:lnTo>
                    <a:pt x="3908751" y="2147091"/>
                  </a:lnTo>
                  <a:lnTo>
                    <a:pt x="3908677" y="2147898"/>
                  </a:lnTo>
                  <a:lnTo>
                    <a:pt x="3908697" y="2148602"/>
                  </a:lnTo>
                  <a:lnTo>
                    <a:pt x="3909571" y="2148057"/>
                  </a:lnTo>
                  <a:lnTo>
                    <a:pt x="3910443" y="2148524"/>
                  </a:lnTo>
                  <a:lnTo>
                    <a:pt x="3911358" y="2149355"/>
                  </a:lnTo>
                  <a:lnTo>
                    <a:pt x="3912366" y="2149915"/>
                  </a:lnTo>
                  <a:lnTo>
                    <a:pt x="3912471" y="2152233"/>
                  </a:lnTo>
                  <a:lnTo>
                    <a:pt x="3909696" y="2158330"/>
                  </a:lnTo>
                  <a:lnTo>
                    <a:pt x="3910082" y="2159051"/>
                  </a:lnTo>
                  <a:lnTo>
                    <a:pt x="3910733" y="2158983"/>
                  </a:lnTo>
                  <a:lnTo>
                    <a:pt x="3911368" y="2159056"/>
                  </a:lnTo>
                  <a:lnTo>
                    <a:pt x="3912025" y="2159371"/>
                  </a:lnTo>
                  <a:lnTo>
                    <a:pt x="3912750" y="2160069"/>
                  </a:lnTo>
                  <a:lnTo>
                    <a:pt x="3911769" y="2161427"/>
                  </a:lnTo>
                  <a:lnTo>
                    <a:pt x="3907901" y="2163588"/>
                  </a:lnTo>
                  <a:lnTo>
                    <a:pt x="3905564" y="2166030"/>
                  </a:lnTo>
                  <a:lnTo>
                    <a:pt x="3904627" y="2167782"/>
                  </a:lnTo>
                  <a:lnTo>
                    <a:pt x="3904620" y="2169283"/>
                  </a:lnTo>
                  <a:lnTo>
                    <a:pt x="3904320" y="2170232"/>
                  </a:lnTo>
                  <a:lnTo>
                    <a:pt x="3900267" y="2176844"/>
                  </a:lnTo>
                  <a:lnTo>
                    <a:pt x="3900121" y="2177804"/>
                  </a:lnTo>
                  <a:lnTo>
                    <a:pt x="3900392" y="2178912"/>
                  </a:lnTo>
                  <a:lnTo>
                    <a:pt x="3900967" y="2179311"/>
                  </a:lnTo>
                  <a:lnTo>
                    <a:pt x="3901613" y="2179208"/>
                  </a:lnTo>
                  <a:lnTo>
                    <a:pt x="3901773" y="2178995"/>
                  </a:lnTo>
                  <a:lnTo>
                    <a:pt x="3908313" y="2165931"/>
                  </a:lnTo>
                  <a:lnTo>
                    <a:pt x="3910042" y="2165592"/>
                  </a:lnTo>
                  <a:lnTo>
                    <a:pt x="3912493" y="2164043"/>
                  </a:lnTo>
                  <a:lnTo>
                    <a:pt x="3914412" y="2161831"/>
                  </a:lnTo>
                  <a:lnTo>
                    <a:pt x="3914540" y="2159498"/>
                  </a:lnTo>
                  <a:lnTo>
                    <a:pt x="3914055" y="2157499"/>
                  </a:lnTo>
                  <a:lnTo>
                    <a:pt x="3914089" y="2155147"/>
                  </a:lnTo>
                  <a:lnTo>
                    <a:pt x="3914625" y="2153731"/>
                  </a:lnTo>
                  <a:lnTo>
                    <a:pt x="3915679" y="2154593"/>
                  </a:lnTo>
                  <a:lnTo>
                    <a:pt x="3916689" y="2156694"/>
                  </a:lnTo>
                  <a:lnTo>
                    <a:pt x="3917231" y="2158387"/>
                  </a:lnTo>
                  <a:lnTo>
                    <a:pt x="3916975" y="2159146"/>
                  </a:lnTo>
                  <a:lnTo>
                    <a:pt x="3915628" y="2158478"/>
                  </a:lnTo>
                  <a:lnTo>
                    <a:pt x="3915944" y="2160360"/>
                  </a:lnTo>
                  <a:lnTo>
                    <a:pt x="3919445" y="2162313"/>
                  </a:lnTo>
                  <a:lnTo>
                    <a:pt x="3919529" y="2164106"/>
                  </a:lnTo>
                  <a:lnTo>
                    <a:pt x="3919855" y="2165304"/>
                  </a:lnTo>
                  <a:lnTo>
                    <a:pt x="3918860" y="2166631"/>
                  </a:lnTo>
                  <a:lnTo>
                    <a:pt x="3913099" y="2169479"/>
                  </a:lnTo>
                  <a:lnTo>
                    <a:pt x="3915916" y="2168844"/>
                  </a:lnTo>
                  <a:lnTo>
                    <a:pt x="3920270" y="2168762"/>
                  </a:lnTo>
                  <a:lnTo>
                    <a:pt x="3921503" y="2169213"/>
                  </a:lnTo>
                  <a:lnTo>
                    <a:pt x="3922776" y="2170948"/>
                  </a:lnTo>
                  <a:lnTo>
                    <a:pt x="3923230" y="2172597"/>
                  </a:lnTo>
                  <a:lnTo>
                    <a:pt x="3922945" y="2173868"/>
                  </a:lnTo>
                  <a:lnTo>
                    <a:pt x="3922179" y="2174725"/>
                  </a:lnTo>
                  <a:lnTo>
                    <a:pt x="3921546" y="2175019"/>
                  </a:lnTo>
                  <a:lnTo>
                    <a:pt x="3919996" y="2178068"/>
                  </a:lnTo>
                  <a:lnTo>
                    <a:pt x="3919706" y="2179427"/>
                  </a:lnTo>
                  <a:lnTo>
                    <a:pt x="3920982" y="2179423"/>
                  </a:lnTo>
                  <a:lnTo>
                    <a:pt x="3921812" y="2178521"/>
                  </a:lnTo>
                  <a:lnTo>
                    <a:pt x="3922751" y="2175644"/>
                  </a:lnTo>
                  <a:lnTo>
                    <a:pt x="3923144" y="2174927"/>
                  </a:lnTo>
                  <a:lnTo>
                    <a:pt x="3923771" y="2174468"/>
                  </a:lnTo>
                  <a:lnTo>
                    <a:pt x="3925168" y="2173837"/>
                  </a:lnTo>
                  <a:lnTo>
                    <a:pt x="3925524" y="2173088"/>
                  </a:lnTo>
                  <a:lnTo>
                    <a:pt x="3925387" y="2171964"/>
                  </a:lnTo>
                  <a:lnTo>
                    <a:pt x="3924981" y="2170983"/>
                  </a:lnTo>
                  <a:lnTo>
                    <a:pt x="3924542" y="2170675"/>
                  </a:lnTo>
                  <a:lnTo>
                    <a:pt x="3924196" y="2169989"/>
                  </a:lnTo>
                  <a:lnTo>
                    <a:pt x="3924159" y="2168053"/>
                  </a:lnTo>
                  <a:lnTo>
                    <a:pt x="3924406" y="2165923"/>
                  </a:lnTo>
                  <a:lnTo>
                    <a:pt x="3924891" y="2164641"/>
                  </a:lnTo>
                  <a:lnTo>
                    <a:pt x="3927870" y="2163302"/>
                  </a:lnTo>
                  <a:lnTo>
                    <a:pt x="3928741" y="2162499"/>
                  </a:lnTo>
                  <a:lnTo>
                    <a:pt x="3928353" y="2161779"/>
                  </a:lnTo>
                  <a:lnTo>
                    <a:pt x="3926636" y="2162966"/>
                  </a:lnTo>
                  <a:lnTo>
                    <a:pt x="3924382" y="2163360"/>
                  </a:lnTo>
                  <a:lnTo>
                    <a:pt x="3922187" y="2162294"/>
                  </a:lnTo>
                  <a:lnTo>
                    <a:pt x="3920656" y="2159113"/>
                  </a:lnTo>
                  <a:lnTo>
                    <a:pt x="3922189" y="2159319"/>
                  </a:lnTo>
                  <a:lnTo>
                    <a:pt x="3923607" y="2159037"/>
                  </a:lnTo>
                  <a:lnTo>
                    <a:pt x="3926357" y="2157659"/>
                  </a:lnTo>
                  <a:lnTo>
                    <a:pt x="3926610" y="2157748"/>
                  </a:lnTo>
                  <a:lnTo>
                    <a:pt x="3927182" y="2158580"/>
                  </a:lnTo>
                  <a:lnTo>
                    <a:pt x="3927573" y="2158777"/>
                  </a:lnTo>
                  <a:lnTo>
                    <a:pt x="3928871" y="2158237"/>
                  </a:lnTo>
                  <a:lnTo>
                    <a:pt x="3928895" y="2158040"/>
                  </a:lnTo>
                  <a:lnTo>
                    <a:pt x="3929965" y="2158685"/>
                  </a:lnTo>
                  <a:lnTo>
                    <a:pt x="3931802" y="2160526"/>
                  </a:lnTo>
                  <a:lnTo>
                    <a:pt x="3932679" y="2161080"/>
                  </a:lnTo>
                  <a:lnTo>
                    <a:pt x="3933037" y="2161740"/>
                  </a:lnTo>
                  <a:lnTo>
                    <a:pt x="3931931" y="2163498"/>
                  </a:lnTo>
                  <a:lnTo>
                    <a:pt x="3928125" y="2167087"/>
                  </a:lnTo>
                  <a:lnTo>
                    <a:pt x="3928021" y="2169680"/>
                  </a:lnTo>
                  <a:lnTo>
                    <a:pt x="3931414" y="2168033"/>
                  </a:lnTo>
                  <a:lnTo>
                    <a:pt x="3933065" y="2168126"/>
                  </a:lnTo>
                  <a:lnTo>
                    <a:pt x="3934988" y="2169314"/>
                  </a:lnTo>
                  <a:lnTo>
                    <a:pt x="3935166" y="2170995"/>
                  </a:lnTo>
                  <a:lnTo>
                    <a:pt x="3934911" y="2172595"/>
                  </a:lnTo>
                  <a:lnTo>
                    <a:pt x="3934235" y="2173857"/>
                  </a:lnTo>
                  <a:lnTo>
                    <a:pt x="3933169" y="2174542"/>
                  </a:lnTo>
                  <a:lnTo>
                    <a:pt x="3933556" y="2175262"/>
                  </a:lnTo>
                  <a:lnTo>
                    <a:pt x="3935425" y="2174242"/>
                  </a:lnTo>
                  <a:lnTo>
                    <a:pt x="3936245" y="2173524"/>
                  </a:lnTo>
                  <a:lnTo>
                    <a:pt x="3936737" y="2172554"/>
                  </a:lnTo>
                  <a:lnTo>
                    <a:pt x="3936792" y="2171193"/>
                  </a:lnTo>
                  <a:lnTo>
                    <a:pt x="3936597" y="2169930"/>
                  </a:lnTo>
                  <a:lnTo>
                    <a:pt x="3936566" y="2168873"/>
                  </a:lnTo>
                  <a:lnTo>
                    <a:pt x="3937107" y="2168131"/>
                  </a:lnTo>
                  <a:lnTo>
                    <a:pt x="3938080" y="2168610"/>
                  </a:lnTo>
                  <a:lnTo>
                    <a:pt x="3938577" y="2170626"/>
                  </a:lnTo>
                  <a:lnTo>
                    <a:pt x="3938806" y="2174045"/>
                  </a:lnTo>
                  <a:lnTo>
                    <a:pt x="3939223" y="2175746"/>
                  </a:lnTo>
                  <a:lnTo>
                    <a:pt x="3939813" y="2177299"/>
                  </a:lnTo>
                  <a:lnTo>
                    <a:pt x="3941542" y="2180679"/>
                  </a:lnTo>
                  <a:lnTo>
                    <a:pt x="3941666" y="2182824"/>
                  </a:lnTo>
                  <a:lnTo>
                    <a:pt x="3937964" y="2183643"/>
                  </a:lnTo>
                  <a:lnTo>
                    <a:pt x="3938948" y="2186066"/>
                  </a:lnTo>
                  <a:lnTo>
                    <a:pt x="3940966" y="2187724"/>
                  </a:lnTo>
                  <a:lnTo>
                    <a:pt x="3943974" y="2189378"/>
                  </a:lnTo>
                  <a:lnTo>
                    <a:pt x="3946929" y="2190570"/>
                  </a:lnTo>
                  <a:lnTo>
                    <a:pt x="3948786" y="2190880"/>
                  </a:lnTo>
                  <a:lnTo>
                    <a:pt x="3954032" y="2187944"/>
                  </a:lnTo>
                  <a:lnTo>
                    <a:pt x="3957027" y="2184787"/>
                  </a:lnTo>
                  <a:lnTo>
                    <a:pt x="3958203" y="2184740"/>
                  </a:lnTo>
                  <a:lnTo>
                    <a:pt x="3958396" y="2186559"/>
                  </a:lnTo>
                  <a:lnTo>
                    <a:pt x="3958360" y="2188097"/>
                  </a:lnTo>
                  <a:lnTo>
                    <a:pt x="3959544" y="2187374"/>
                  </a:lnTo>
                  <a:lnTo>
                    <a:pt x="3960204" y="2187244"/>
                  </a:lnTo>
                  <a:lnTo>
                    <a:pt x="3961000" y="2187473"/>
                  </a:lnTo>
                  <a:lnTo>
                    <a:pt x="3959886" y="2189319"/>
                  </a:lnTo>
                  <a:lnTo>
                    <a:pt x="3957939" y="2190183"/>
                  </a:lnTo>
                  <a:lnTo>
                    <a:pt x="3956318" y="2191430"/>
                  </a:lnTo>
                  <a:lnTo>
                    <a:pt x="3956207" y="2194458"/>
                  </a:lnTo>
                  <a:lnTo>
                    <a:pt x="3957431" y="2197505"/>
                  </a:lnTo>
                  <a:lnTo>
                    <a:pt x="3958033" y="2199344"/>
                  </a:lnTo>
                  <a:lnTo>
                    <a:pt x="3957822" y="2201157"/>
                  </a:lnTo>
                  <a:lnTo>
                    <a:pt x="3957919" y="2202818"/>
                  </a:lnTo>
                  <a:lnTo>
                    <a:pt x="3958213" y="2204669"/>
                  </a:lnTo>
                  <a:lnTo>
                    <a:pt x="3958668" y="2206042"/>
                  </a:lnTo>
                  <a:lnTo>
                    <a:pt x="3959926" y="2201914"/>
                  </a:lnTo>
                  <a:lnTo>
                    <a:pt x="3960248" y="2199645"/>
                  </a:lnTo>
                  <a:lnTo>
                    <a:pt x="3959389" y="2197833"/>
                  </a:lnTo>
                  <a:lnTo>
                    <a:pt x="3959682" y="2197668"/>
                  </a:lnTo>
                  <a:lnTo>
                    <a:pt x="3958113" y="2194803"/>
                  </a:lnTo>
                  <a:lnTo>
                    <a:pt x="3958576" y="2192802"/>
                  </a:lnTo>
                  <a:lnTo>
                    <a:pt x="3960213" y="2191919"/>
                  </a:lnTo>
                  <a:lnTo>
                    <a:pt x="3962159" y="2192408"/>
                  </a:lnTo>
                  <a:lnTo>
                    <a:pt x="3964556" y="2190289"/>
                  </a:lnTo>
                  <a:lnTo>
                    <a:pt x="3966085" y="2190177"/>
                  </a:lnTo>
                  <a:lnTo>
                    <a:pt x="3966884" y="2193188"/>
                  </a:lnTo>
                  <a:lnTo>
                    <a:pt x="3966579" y="2194144"/>
                  </a:lnTo>
                  <a:lnTo>
                    <a:pt x="3965058" y="2195606"/>
                  </a:lnTo>
                  <a:lnTo>
                    <a:pt x="3964650" y="2196600"/>
                  </a:lnTo>
                  <a:lnTo>
                    <a:pt x="3964861" y="2201636"/>
                  </a:lnTo>
                  <a:lnTo>
                    <a:pt x="3966006" y="2203437"/>
                  </a:lnTo>
                  <a:lnTo>
                    <a:pt x="3966442" y="2202496"/>
                  </a:lnTo>
                  <a:lnTo>
                    <a:pt x="3966433" y="2199031"/>
                  </a:lnTo>
                  <a:lnTo>
                    <a:pt x="3966632" y="2197673"/>
                  </a:lnTo>
                  <a:lnTo>
                    <a:pt x="3967618" y="2194143"/>
                  </a:lnTo>
                  <a:lnTo>
                    <a:pt x="3974043" y="2193627"/>
                  </a:lnTo>
                  <a:lnTo>
                    <a:pt x="3976333" y="2194379"/>
                  </a:lnTo>
                  <a:lnTo>
                    <a:pt x="3977411" y="2195293"/>
                  </a:lnTo>
                  <a:lnTo>
                    <a:pt x="3977961" y="2196348"/>
                  </a:lnTo>
                  <a:lnTo>
                    <a:pt x="3978153" y="2197646"/>
                  </a:lnTo>
                  <a:lnTo>
                    <a:pt x="3978207" y="2200157"/>
                  </a:lnTo>
                  <a:lnTo>
                    <a:pt x="3978549" y="2203470"/>
                  </a:lnTo>
                  <a:lnTo>
                    <a:pt x="3978837" y="2204092"/>
                  </a:lnTo>
                  <a:lnTo>
                    <a:pt x="3978873" y="2204504"/>
                  </a:lnTo>
                  <a:lnTo>
                    <a:pt x="3979221" y="2205235"/>
                  </a:lnTo>
                  <a:lnTo>
                    <a:pt x="3979507" y="2206012"/>
                  </a:lnTo>
                  <a:lnTo>
                    <a:pt x="3979333" y="2206542"/>
                  </a:lnTo>
                  <a:lnTo>
                    <a:pt x="3969686" y="2212437"/>
                  </a:lnTo>
                  <a:lnTo>
                    <a:pt x="3968425" y="2214153"/>
                  </a:lnTo>
                  <a:lnTo>
                    <a:pt x="3967707" y="2216450"/>
                  </a:lnTo>
                  <a:lnTo>
                    <a:pt x="3968390" y="2217096"/>
                  </a:lnTo>
                  <a:lnTo>
                    <a:pt x="3969023" y="2217356"/>
                  </a:lnTo>
                  <a:lnTo>
                    <a:pt x="3969600" y="2217279"/>
                  </a:lnTo>
                  <a:lnTo>
                    <a:pt x="3970096" y="2216909"/>
                  </a:lnTo>
                  <a:lnTo>
                    <a:pt x="3969800" y="2217074"/>
                  </a:lnTo>
                  <a:lnTo>
                    <a:pt x="3971160" y="2215160"/>
                  </a:lnTo>
                  <a:lnTo>
                    <a:pt x="3973027" y="2214080"/>
                  </a:lnTo>
                  <a:lnTo>
                    <a:pt x="3981295" y="2211391"/>
                  </a:lnTo>
                  <a:lnTo>
                    <a:pt x="3981827" y="2210582"/>
                  </a:lnTo>
                  <a:lnTo>
                    <a:pt x="3982089" y="2209736"/>
                  </a:lnTo>
                  <a:lnTo>
                    <a:pt x="3982433" y="2209002"/>
                  </a:lnTo>
                  <a:lnTo>
                    <a:pt x="3983233" y="2208570"/>
                  </a:lnTo>
                  <a:lnTo>
                    <a:pt x="3983599" y="2209914"/>
                  </a:lnTo>
                  <a:lnTo>
                    <a:pt x="3983681" y="2210396"/>
                  </a:lnTo>
                  <a:lnTo>
                    <a:pt x="3983625" y="2210931"/>
                  </a:lnTo>
                  <a:lnTo>
                    <a:pt x="3984490" y="2211062"/>
                  </a:lnTo>
                  <a:lnTo>
                    <a:pt x="3985063" y="2210599"/>
                  </a:lnTo>
                  <a:lnTo>
                    <a:pt x="3985584" y="2209934"/>
                  </a:lnTo>
                  <a:lnTo>
                    <a:pt x="3986280" y="2209426"/>
                  </a:lnTo>
                  <a:lnTo>
                    <a:pt x="3986408" y="2211592"/>
                  </a:lnTo>
                  <a:lnTo>
                    <a:pt x="3987843" y="2216109"/>
                  </a:lnTo>
                  <a:lnTo>
                    <a:pt x="3988290" y="2218228"/>
                  </a:lnTo>
                  <a:lnTo>
                    <a:pt x="3988655" y="2221296"/>
                  </a:lnTo>
                  <a:lnTo>
                    <a:pt x="3988564" y="2221563"/>
                  </a:lnTo>
                  <a:lnTo>
                    <a:pt x="3988474" y="2222096"/>
                  </a:lnTo>
                  <a:lnTo>
                    <a:pt x="3986793" y="2223780"/>
                  </a:lnTo>
                  <a:lnTo>
                    <a:pt x="3987184" y="2224498"/>
                  </a:lnTo>
                  <a:lnTo>
                    <a:pt x="3989459" y="2222781"/>
                  </a:lnTo>
                  <a:lnTo>
                    <a:pt x="3990317" y="2221515"/>
                  </a:lnTo>
                  <a:lnTo>
                    <a:pt x="3990721" y="2219916"/>
                  </a:lnTo>
                  <a:lnTo>
                    <a:pt x="3990398" y="2217943"/>
                  </a:lnTo>
                  <a:lnTo>
                    <a:pt x="3989079" y="2213247"/>
                  </a:lnTo>
                  <a:lnTo>
                    <a:pt x="3989223" y="2212061"/>
                  </a:lnTo>
                  <a:lnTo>
                    <a:pt x="3989466" y="2211255"/>
                  </a:lnTo>
                  <a:lnTo>
                    <a:pt x="3988842" y="2208651"/>
                  </a:lnTo>
                  <a:lnTo>
                    <a:pt x="3989062" y="2207847"/>
                  </a:lnTo>
                  <a:lnTo>
                    <a:pt x="3989583" y="2207833"/>
                  </a:lnTo>
                  <a:lnTo>
                    <a:pt x="3990751" y="2208403"/>
                  </a:lnTo>
                  <a:lnTo>
                    <a:pt x="3991145" y="2208466"/>
                  </a:lnTo>
                  <a:lnTo>
                    <a:pt x="3994543" y="2206566"/>
                  </a:lnTo>
                  <a:lnTo>
                    <a:pt x="3995908" y="2206528"/>
                  </a:lnTo>
                  <a:lnTo>
                    <a:pt x="3996302" y="2207430"/>
                  </a:lnTo>
                  <a:lnTo>
                    <a:pt x="3996630" y="2207701"/>
                  </a:lnTo>
                  <a:lnTo>
                    <a:pt x="3997013" y="2207919"/>
                  </a:lnTo>
                  <a:lnTo>
                    <a:pt x="3997571" y="2208691"/>
                  </a:lnTo>
                  <a:lnTo>
                    <a:pt x="3997864" y="2209358"/>
                  </a:lnTo>
                  <a:lnTo>
                    <a:pt x="3998008" y="2209913"/>
                  </a:lnTo>
                  <a:lnTo>
                    <a:pt x="3998080" y="2210474"/>
                  </a:lnTo>
                  <a:lnTo>
                    <a:pt x="3999385" y="2213032"/>
                  </a:lnTo>
                  <a:lnTo>
                    <a:pt x="3999761" y="2214129"/>
                  </a:lnTo>
                  <a:lnTo>
                    <a:pt x="3999989" y="2215506"/>
                  </a:lnTo>
                  <a:lnTo>
                    <a:pt x="3999884" y="2216167"/>
                  </a:lnTo>
                  <a:lnTo>
                    <a:pt x="3998515" y="2220263"/>
                  </a:lnTo>
                  <a:lnTo>
                    <a:pt x="3997963" y="2220998"/>
                  </a:lnTo>
                  <a:lnTo>
                    <a:pt x="3997152" y="2221429"/>
                  </a:lnTo>
                  <a:lnTo>
                    <a:pt x="3997725" y="2221746"/>
                  </a:lnTo>
                  <a:lnTo>
                    <a:pt x="3998132" y="2221781"/>
                  </a:lnTo>
                  <a:lnTo>
                    <a:pt x="3998866" y="2221405"/>
                  </a:lnTo>
                  <a:lnTo>
                    <a:pt x="3998570" y="2221574"/>
                  </a:lnTo>
                  <a:lnTo>
                    <a:pt x="3999591" y="2221332"/>
                  </a:lnTo>
                  <a:lnTo>
                    <a:pt x="4000974" y="2220390"/>
                  </a:lnTo>
                  <a:lnTo>
                    <a:pt x="4002084" y="2219176"/>
                  </a:lnTo>
                  <a:lnTo>
                    <a:pt x="4002286" y="2218119"/>
                  </a:lnTo>
                  <a:lnTo>
                    <a:pt x="4002458" y="2212490"/>
                  </a:lnTo>
                  <a:lnTo>
                    <a:pt x="4002693" y="2211372"/>
                  </a:lnTo>
                  <a:lnTo>
                    <a:pt x="4004378" y="2208863"/>
                  </a:lnTo>
                  <a:lnTo>
                    <a:pt x="4005511" y="2208023"/>
                  </a:lnTo>
                  <a:lnTo>
                    <a:pt x="4006808" y="2209014"/>
                  </a:lnTo>
                  <a:lnTo>
                    <a:pt x="4007009" y="2210243"/>
                  </a:lnTo>
                  <a:lnTo>
                    <a:pt x="4006729" y="2211903"/>
                  </a:lnTo>
                  <a:lnTo>
                    <a:pt x="4006128" y="2213417"/>
                  </a:lnTo>
                  <a:lnTo>
                    <a:pt x="4005337" y="2214178"/>
                  </a:lnTo>
                  <a:lnTo>
                    <a:pt x="4006715" y="2215294"/>
                  </a:lnTo>
                  <a:lnTo>
                    <a:pt x="4007007" y="2216579"/>
                  </a:lnTo>
                  <a:lnTo>
                    <a:pt x="4006979" y="2217995"/>
                  </a:lnTo>
                  <a:lnTo>
                    <a:pt x="4007385" y="2219523"/>
                  </a:lnTo>
                  <a:lnTo>
                    <a:pt x="4007735" y="2219358"/>
                  </a:lnTo>
                  <a:lnTo>
                    <a:pt x="4008655" y="2217071"/>
                  </a:lnTo>
                  <a:lnTo>
                    <a:pt x="4009125" y="2216400"/>
                  </a:lnTo>
                  <a:lnTo>
                    <a:pt x="4008861" y="2215856"/>
                  </a:lnTo>
                  <a:lnTo>
                    <a:pt x="4009122" y="2215269"/>
                  </a:lnTo>
                  <a:lnTo>
                    <a:pt x="4009711" y="2214838"/>
                  </a:lnTo>
                  <a:lnTo>
                    <a:pt x="4010466" y="2214776"/>
                  </a:lnTo>
                  <a:lnTo>
                    <a:pt x="4011209" y="2215251"/>
                  </a:lnTo>
                  <a:lnTo>
                    <a:pt x="4012045" y="2216203"/>
                  </a:lnTo>
                  <a:lnTo>
                    <a:pt x="4012497" y="2217273"/>
                  </a:lnTo>
                  <a:lnTo>
                    <a:pt x="4012065" y="2218097"/>
                  </a:lnTo>
                  <a:lnTo>
                    <a:pt x="4011822" y="2219288"/>
                  </a:lnTo>
                  <a:lnTo>
                    <a:pt x="4012283" y="2224105"/>
                  </a:lnTo>
                  <a:lnTo>
                    <a:pt x="4012245" y="2225919"/>
                  </a:lnTo>
                  <a:lnTo>
                    <a:pt x="4011449" y="2227157"/>
                  </a:lnTo>
                  <a:lnTo>
                    <a:pt x="4009068" y="2229293"/>
                  </a:lnTo>
                  <a:lnTo>
                    <a:pt x="4008651" y="2230885"/>
                  </a:lnTo>
                  <a:lnTo>
                    <a:pt x="4008534" y="2232880"/>
                  </a:lnTo>
                  <a:lnTo>
                    <a:pt x="4007903" y="2234148"/>
                  </a:lnTo>
                  <a:lnTo>
                    <a:pt x="4004290" y="2236809"/>
                  </a:lnTo>
                  <a:lnTo>
                    <a:pt x="4002210" y="2239775"/>
                  </a:lnTo>
                  <a:lnTo>
                    <a:pt x="4001059" y="2240843"/>
                  </a:lnTo>
                  <a:lnTo>
                    <a:pt x="3999530" y="2241364"/>
                  </a:lnTo>
                  <a:lnTo>
                    <a:pt x="3996482" y="2241428"/>
                  </a:lnTo>
                  <a:lnTo>
                    <a:pt x="3989122" y="2244048"/>
                  </a:lnTo>
                  <a:lnTo>
                    <a:pt x="3988698" y="2244512"/>
                  </a:lnTo>
                  <a:lnTo>
                    <a:pt x="3988422" y="2245312"/>
                  </a:lnTo>
                  <a:lnTo>
                    <a:pt x="3988400" y="2246297"/>
                  </a:lnTo>
                  <a:lnTo>
                    <a:pt x="3988742" y="2247349"/>
                  </a:lnTo>
                  <a:lnTo>
                    <a:pt x="3988841" y="2248211"/>
                  </a:lnTo>
                  <a:lnTo>
                    <a:pt x="3988118" y="2250044"/>
                  </a:lnTo>
                  <a:lnTo>
                    <a:pt x="3987995" y="2250773"/>
                  </a:lnTo>
                  <a:lnTo>
                    <a:pt x="3988652" y="2252217"/>
                  </a:lnTo>
                  <a:lnTo>
                    <a:pt x="3989396" y="2251601"/>
                  </a:lnTo>
                  <a:lnTo>
                    <a:pt x="3991107" y="2248481"/>
                  </a:lnTo>
                  <a:lnTo>
                    <a:pt x="3990798" y="2246298"/>
                  </a:lnTo>
                  <a:lnTo>
                    <a:pt x="3991022" y="2245635"/>
                  </a:lnTo>
                  <a:lnTo>
                    <a:pt x="3993539" y="2244220"/>
                  </a:lnTo>
                  <a:lnTo>
                    <a:pt x="3993899" y="2244883"/>
                  </a:lnTo>
                  <a:lnTo>
                    <a:pt x="3994190" y="2247994"/>
                  </a:lnTo>
                  <a:lnTo>
                    <a:pt x="3996605" y="2251294"/>
                  </a:lnTo>
                  <a:lnTo>
                    <a:pt x="3999249" y="2253311"/>
                  </a:lnTo>
                  <a:lnTo>
                    <a:pt x="4000237" y="2252570"/>
                  </a:lnTo>
                  <a:lnTo>
                    <a:pt x="3999502" y="2251077"/>
                  </a:lnTo>
                  <a:lnTo>
                    <a:pt x="3998217" y="2249613"/>
                  </a:lnTo>
                  <a:lnTo>
                    <a:pt x="3996377" y="2247855"/>
                  </a:lnTo>
                  <a:lnTo>
                    <a:pt x="3996086" y="2246123"/>
                  </a:lnTo>
                  <a:lnTo>
                    <a:pt x="3996739" y="2245252"/>
                  </a:lnTo>
                  <a:lnTo>
                    <a:pt x="3997681" y="2244547"/>
                  </a:lnTo>
                  <a:lnTo>
                    <a:pt x="3998263" y="2243280"/>
                  </a:lnTo>
                  <a:lnTo>
                    <a:pt x="4000786" y="2244199"/>
                  </a:lnTo>
                  <a:lnTo>
                    <a:pt x="4001921" y="2244358"/>
                  </a:lnTo>
                  <a:lnTo>
                    <a:pt x="4003044" y="2244092"/>
                  </a:lnTo>
                  <a:lnTo>
                    <a:pt x="4003943" y="2243332"/>
                  </a:lnTo>
                  <a:lnTo>
                    <a:pt x="4005947" y="2239870"/>
                  </a:lnTo>
                  <a:lnTo>
                    <a:pt x="4007981" y="2238411"/>
                  </a:lnTo>
                  <a:lnTo>
                    <a:pt x="4012176" y="2236608"/>
                  </a:lnTo>
                  <a:lnTo>
                    <a:pt x="4012626" y="2236069"/>
                  </a:lnTo>
                  <a:lnTo>
                    <a:pt x="4012735" y="2235420"/>
                  </a:lnTo>
                  <a:lnTo>
                    <a:pt x="4012592" y="2234674"/>
                  </a:lnTo>
                  <a:lnTo>
                    <a:pt x="4012509" y="2233934"/>
                  </a:lnTo>
                  <a:lnTo>
                    <a:pt x="4012799" y="2233300"/>
                  </a:lnTo>
                  <a:lnTo>
                    <a:pt x="4013988" y="2231205"/>
                  </a:lnTo>
                  <a:lnTo>
                    <a:pt x="4014432" y="2231071"/>
                  </a:lnTo>
                  <a:lnTo>
                    <a:pt x="4015500" y="2231308"/>
                  </a:lnTo>
                  <a:lnTo>
                    <a:pt x="4016223" y="2230667"/>
                  </a:lnTo>
                  <a:lnTo>
                    <a:pt x="4016484" y="2229545"/>
                  </a:lnTo>
                  <a:lnTo>
                    <a:pt x="4016172" y="2228313"/>
                  </a:lnTo>
                  <a:lnTo>
                    <a:pt x="4015913" y="2226165"/>
                  </a:lnTo>
                  <a:lnTo>
                    <a:pt x="4017418" y="2224992"/>
                  </a:lnTo>
                  <a:lnTo>
                    <a:pt x="4021246" y="2224136"/>
                  </a:lnTo>
                  <a:lnTo>
                    <a:pt x="4021404" y="2224632"/>
                  </a:lnTo>
                  <a:lnTo>
                    <a:pt x="4021882" y="2225790"/>
                  </a:lnTo>
                  <a:lnTo>
                    <a:pt x="4022038" y="2226277"/>
                  </a:lnTo>
                  <a:lnTo>
                    <a:pt x="4023832" y="2224811"/>
                  </a:lnTo>
                  <a:lnTo>
                    <a:pt x="4024915" y="2224512"/>
                  </a:lnTo>
                  <a:lnTo>
                    <a:pt x="4026376" y="2225077"/>
                  </a:lnTo>
                  <a:lnTo>
                    <a:pt x="4027608" y="2224798"/>
                  </a:lnTo>
                  <a:lnTo>
                    <a:pt x="4029000" y="2223556"/>
                  </a:lnTo>
                  <a:lnTo>
                    <a:pt x="4030333" y="2222882"/>
                  </a:lnTo>
                  <a:lnTo>
                    <a:pt x="4031405" y="2224332"/>
                  </a:lnTo>
                  <a:lnTo>
                    <a:pt x="4030592" y="2226831"/>
                  </a:lnTo>
                  <a:lnTo>
                    <a:pt x="4021877" y="2231560"/>
                  </a:lnTo>
                  <a:lnTo>
                    <a:pt x="4022236" y="2232209"/>
                  </a:lnTo>
                  <a:lnTo>
                    <a:pt x="4027179" y="2230864"/>
                  </a:lnTo>
                  <a:lnTo>
                    <a:pt x="4028998" y="2230914"/>
                  </a:lnTo>
                  <a:lnTo>
                    <a:pt x="4028098" y="2234696"/>
                  </a:lnTo>
                  <a:lnTo>
                    <a:pt x="4027957" y="2236695"/>
                  </a:lnTo>
                  <a:lnTo>
                    <a:pt x="4028280" y="2239194"/>
                  </a:lnTo>
                  <a:lnTo>
                    <a:pt x="4028965" y="2237749"/>
                  </a:lnTo>
                  <a:lnTo>
                    <a:pt x="4029666" y="2234252"/>
                  </a:lnTo>
                  <a:lnTo>
                    <a:pt x="4030427" y="2232766"/>
                  </a:lnTo>
                  <a:lnTo>
                    <a:pt x="4031081" y="2232198"/>
                  </a:lnTo>
                  <a:lnTo>
                    <a:pt x="4032003" y="2231805"/>
                  </a:lnTo>
                  <a:lnTo>
                    <a:pt x="4033006" y="2232046"/>
                  </a:lnTo>
                  <a:lnTo>
                    <a:pt x="4033861" y="2233383"/>
                  </a:lnTo>
                  <a:lnTo>
                    <a:pt x="4033755" y="2234202"/>
                  </a:lnTo>
                  <a:lnTo>
                    <a:pt x="4033114" y="2235068"/>
                  </a:lnTo>
                  <a:lnTo>
                    <a:pt x="4031555" y="2236370"/>
                  </a:lnTo>
                  <a:lnTo>
                    <a:pt x="4031950" y="2237081"/>
                  </a:lnTo>
                  <a:lnTo>
                    <a:pt x="4032818" y="2236569"/>
                  </a:lnTo>
                  <a:lnTo>
                    <a:pt x="4034029" y="2236257"/>
                  </a:lnTo>
                  <a:lnTo>
                    <a:pt x="4035295" y="2236362"/>
                  </a:lnTo>
                  <a:lnTo>
                    <a:pt x="4036349" y="2237141"/>
                  </a:lnTo>
                  <a:lnTo>
                    <a:pt x="4035612" y="2238516"/>
                  </a:lnTo>
                  <a:lnTo>
                    <a:pt x="4034889" y="2243172"/>
                  </a:lnTo>
                  <a:lnTo>
                    <a:pt x="4034250" y="2244479"/>
                  </a:lnTo>
                  <a:lnTo>
                    <a:pt x="4031637" y="2247641"/>
                  </a:lnTo>
                  <a:lnTo>
                    <a:pt x="4032381" y="2247847"/>
                  </a:lnTo>
                  <a:lnTo>
                    <a:pt x="4032520" y="2247721"/>
                  </a:lnTo>
                  <a:lnTo>
                    <a:pt x="4033465" y="2247734"/>
                  </a:lnTo>
                  <a:lnTo>
                    <a:pt x="4034529" y="2246983"/>
                  </a:lnTo>
                  <a:lnTo>
                    <a:pt x="4036313" y="2244950"/>
                  </a:lnTo>
                  <a:lnTo>
                    <a:pt x="4038104" y="2244159"/>
                  </a:lnTo>
                  <a:lnTo>
                    <a:pt x="4038493" y="2243212"/>
                  </a:lnTo>
                  <a:lnTo>
                    <a:pt x="4038230" y="2241244"/>
                  </a:lnTo>
                  <a:lnTo>
                    <a:pt x="4039260" y="2241592"/>
                  </a:lnTo>
                  <a:lnTo>
                    <a:pt x="4039819" y="2245402"/>
                  </a:lnTo>
                  <a:lnTo>
                    <a:pt x="4040525" y="2246650"/>
                  </a:lnTo>
                  <a:lnTo>
                    <a:pt x="4041810" y="2246181"/>
                  </a:lnTo>
                  <a:lnTo>
                    <a:pt x="4042189" y="2245085"/>
                  </a:lnTo>
                  <a:lnTo>
                    <a:pt x="4042168" y="2243373"/>
                  </a:lnTo>
                  <a:lnTo>
                    <a:pt x="4041746" y="2241671"/>
                  </a:lnTo>
                  <a:lnTo>
                    <a:pt x="4040914" y="2240636"/>
                  </a:lnTo>
                  <a:lnTo>
                    <a:pt x="4041196" y="2237824"/>
                  </a:lnTo>
                  <a:lnTo>
                    <a:pt x="4042712" y="2236015"/>
                  </a:lnTo>
                  <a:lnTo>
                    <a:pt x="4044811" y="2235416"/>
                  </a:lnTo>
                  <a:lnTo>
                    <a:pt x="4046865" y="2236237"/>
                  </a:lnTo>
                  <a:lnTo>
                    <a:pt x="4045279" y="2237795"/>
                  </a:lnTo>
                  <a:lnTo>
                    <a:pt x="4044641" y="2238893"/>
                  </a:lnTo>
                  <a:lnTo>
                    <a:pt x="4044923" y="2239970"/>
                  </a:lnTo>
                  <a:lnTo>
                    <a:pt x="4045480" y="2239863"/>
                  </a:lnTo>
                  <a:lnTo>
                    <a:pt x="4053034" y="2240058"/>
                  </a:lnTo>
                  <a:lnTo>
                    <a:pt x="4054197" y="2240724"/>
                  </a:lnTo>
                  <a:lnTo>
                    <a:pt x="4055261" y="2242095"/>
                  </a:lnTo>
                  <a:lnTo>
                    <a:pt x="4055763" y="2243369"/>
                  </a:lnTo>
                  <a:lnTo>
                    <a:pt x="4056130" y="2244474"/>
                  </a:lnTo>
                  <a:lnTo>
                    <a:pt x="4056761" y="2245300"/>
                  </a:lnTo>
                  <a:lnTo>
                    <a:pt x="4056970" y="2245778"/>
                  </a:lnTo>
                  <a:lnTo>
                    <a:pt x="4056959" y="2246002"/>
                  </a:lnTo>
                  <a:lnTo>
                    <a:pt x="4057036" y="2246195"/>
                  </a:lnTo>
                  <a:lnTo>
                    <a:pt x="4057494" y="2246610"/>
                  </a:lnTo>
                  <a:lnTo>
                    <a:pt x="4053435" y="2253034"/>
                  </a:lnTo>
                  <a:lnTo>
                    <a:pt x="4053351" y="2254225"/>
                  </a:lnTo>
                  <a:lnTo>
                    <a:pt x="4053713" y="2254154"/>
                  </a:lnTo>
                  <a:lnTo>
                    <a:pt x="4054744" y="2254361"/>
                  </a:lnTo>
                  <a:lnTo>
                    <a:pt x="4054989" y="2254358"/>
                  </a:lnTo>
                  <a:lnTo>
                    <a:pt x="4058583" y="2252129"/>
                  </a:lnTo>
                  <a:lnTo>
                    <a:pt x="4059594" y="2250986"/>
                  </a:lnTo>
                  <a:lnTo>
                    <a:pt x="4060408" y="2249611"/>
                  </a:lnTo>
                  <a:lnTo>
                    <a:pt x="4061429" y="2248829"/>
                  </a:lnTo>
                  <a:lnTo>
                    <a:pt x="4063081" y="2249504"/>
                  </a:lnTo>
                  <a:lnTo>
                    <a:pt x="4064441" y="2250945"/>
                  </a:lnTo>
                  <a:lnTo>
                    <a:pt x="4065203" y="2252522"/>
                  </a:lnTo>
                  <a:lnTo>
                    <a:pt x="4065440" y="2254117"/>
                  </a:lnTo>
                  <a:lnTo>
                    <a:pt x="4065233" y="2255624"/>
                  </a:lnTo>
                  <a:lnTo>
                    <a:pt x="4064815" y="2256411"/>
                  </a:lnTo>
                  <a:lnTo>
                    <a:pt x="4063911" y="2257290"/>
                  </a:lnTo>
                  <a:lnTo>
                    <a:pt x="4063769" y="2258169"/>
                  </a:lnTo>
                  <a:lnTo>
                    <a:pt x="4064023" y="2259029"/>
                  </a:lnTo>
                  <a:lnTo>
                    <a:pt x="4064503" y="2259789"/>
                  </a:lnTo>
                  <a:lnTo>
                    <a:pt x="4064863" y="2260691"/>
                  </a:lnTo>
                  <a:lnTo>
                    <a:pt x="4064767" y="2262007"/>
                  </a:lnTo>
                  <a:lnTo>
                    <a:pt x="4059782" y="2269660"/>
                  </a:lnTo>
                  <a:lnTo>
                    <a:pt x="4058985" y="2273621"/>
                  </a:lnTo>
                  <a:lnTo>
                    <a:pt x="4057878" y="2275138"/>
                  </a:lnTo>
                  <a:lnTo>
                    <a:pt x="4057889" y="2275709"/>
                  </a:lnTo>
                  <a:lnTo>
                    <a:pt x="4058317" y="2276900"/>
                  </a:lnTo>
                  <a:lnTo>
                    <a:pt x="4058291" y="2277410"/>
                  </a:lnTo>
                  <a:lnTo>
                    <a:pt x="4057980" y="2277760"/>
                  </a:lnTo>
                  <a:lnTo>
                    <a:pt x="4052805" y="2280447"/>
                  </a:lnTo>
                  <a:lnTo>
                    <a:pt x="4051205" y="2280713"/>
                  </a:lnTo>
                  <a:lnTo>
                    <a:pt x="4050897" y="2282656"/>
                  </a:lnTo>
                  <a:lnTo>
                    <a:pt x="4048806" y="2283763"/>
                  </a:lnTo>
                  <a:lnTo>
                    <a:pt x="4046058" y="2283973"/>
                  </a:lnTo>
                  <a:lnTo>
                    <a:pt x="4043768" y="2283245"/>
                  </a:lnTo>
                  <a:lnTo>
                    <a:pt x="4044509" y="2285372"/>
                  </a:lnTo>
                  <a:lnTo>
                    <a:pt x="4044143" y="2287371"/>
                  </a:lnTo>
                  <a:lnTo>
                    <a:pt x="4043211" y="2289024"/>
                  </a:lnTo>
                  <a:lnTo>
                    <a:pt x="4042226" y="2290084"/>
                  </a:lnTo>
                  <a:lnTo>
                    <a:pt x="4048046" y="2285042"/>
                  </a:lnTo>
                  <a:lnTo>
                    <a:pt x="4048878" y="2284632"/>
                  </a:lnTo>
                  <a:lnTo>
                    <a:pt x="4049984" y="2284426"/>
                  </a:lnTo>
                  <a:lnTo>
                    <a:pt x="4051119" y="2284830"/>
                  </a:lnTo>
                  <a:lnTo>
                    <a:pt x="4052054" y="2286271"/>
                  </a:lnTo>
                  <a:lnTo>
                    <a:pt x="4052030" y="2287088"/>
                  </a:lnTo>
                  <a:lnTo>
                    <a:pt x="4051508" y="2290907"/>
                  </a:lnTo>
                  <a:lnTo>
                    <a:pt x="4051526" y="2293624"/>
                  </a:lnTo>
                  <a:lnTo>
                    <a:pt x="4051425" y="2294674"/>
                  </a:lnTo>
                  <a:lnTo>
                    <a:pt x="4051133" y="2295860"/>
                  </a:lnTo>
                  <a:lnTo>
                    <a:pt x="4049281" y="2298645"/>
                  </a:lnTo>
                  <a:lnTo>
                    <a:pt x="4048264" y="2302400"/>
                  </a:lnTo>
                  <a:lnTo>
                    <a:pt x="4047774" y="2307133"/>
                  </a:lnTo>
                  <a:lnTo>
                    <a:pt x="4047862" y="2308587"/>
                  </a:lnTo>
                  <a:lnTo>
                    <a:pt x="4049078" y="2307865"/>
                  </a:lnTo>
                  <a:lnTo>
                    <a:pt x="4049830" y="2306667"/>
                  </a:lnTo>
                  <a:lnTo>
                    <a:pt x="4050999" y="2301916"/>
                  </a:lnTo>
                  <a:lnTo>
                    <a:pt x="4053066" y="2297779"/>
                  </a:lnTo>
                  <a:lnTo>
                    <a:pt x="4055416" y="2283474"/>
                  </a:lnTo>
                  <a:lnTo>
                    <a:pt x="4055778" y="2284132"/>
                  </a:lnTo>
                  <a:lnTo>
                    <a:pt x="4056175" y="2282955"/>
                  </a:lnTo>
                  <a:lnTo>
                    <a:pt x="4060863" y="2279278"/>
                  </a:lnTo>
                  <a:lnTo>
                    <a:pt x="4061937" y="2278971"/>
                  </a:lnTo>
                  <a:lnTo>
                    <a:pt x="4063207" y="2279130"/>
                  </a:lnTo>
                  <a:lnTo>
                    <a:pt x="4064895" y="2279737"/>
                  </a:lnTo>
                  <a:lnTo>
                    <a:pt x="4064848" y="2281074"/>
                  </a:lnTo>
                  <a:lnTo>
                    <a:pt x="4065067" y="2284911"/>
                  </a:lnTo>
                  <a:lnTo>
                    <a:pt x="4064657" y="2287653"/>
                  </a:lnTo>
                  <a:lnTo>
                    <a:pt x="4064849" y="2289002"/>
                  </a:lnTo>
                  <a:lnTo>
                    <a:pt x="4065893" y="2290411"/>
                  </a:lnTo>
                  <a:lnTo>
                    <a:pt x="4065502" y="2288903"/>
                  </a:lnTo>
                  <a:lnTo>
                    <a:pt x="4066080" y="2288276"/>
                  </a:lnTo>
                  <a:lnTo>
                    <a:pt x="4065955" y="2280857"/>
                  </a:lnTo>
                  <a:lnTo>
                    <a:pt x="4066255" y="2279552"/>
                  </a:lnTo>
                  <a:lnTo>
                    <a:pt x="4066800" y="2279175"/>
                  </a:lnTo>
                  <a:lnTo>
                    <a:pt x="4068334" y="2279478"/>
                  </a:lnTo>
                  <a:lnTo>
                    <a:pt x="4068533" y="2279636"/>
                  </a:lnTo>
                  <a:lnTo>
                    <a:pt x="4068816" y="2279957"/>
                  </a:lnTo>
                  <a:lnTo>
                    <a:pt x="4069199" y="2280277"/>
                  </a:lnTo>
                  <a:lnTo>
                    <a:pt x="4069701" y="2280419"/>
                  </a:lnTo>
                  <a:lnTo>
                    <a:pt x="4070110" y="2280224"/>
                  </a:lnTo>
                  <a:lnTo>
                    <a:pt x="4070979" y="2278727"/>
                  </a:lnTo>
                  <a:lnTo>
                    <a:pt x="4070666" y="2277530"/>
                  </a:lnTo>
                  <a:lnTo>
                    <a:pt x="4070873" y="2275896"/>
                  </a:lnTo>
                  <a:lnTo>
                    <a:pt x="4071527" y="2274383"/>
                  </a:lnTo>
                  <a:lnTo>
                    <a:pt x="4072561" y="2273549"/>
                  </a:lnTo>
                  <a:lnTo>
                    <a:pt x="4075173" y="2271079"/>
                  </a:lnTo>
                  <a:lnTo>
                    <a:pt x="4075731" y="2271027"/>
                  </a:lnTo>
                  <a:lnTo>
                    <a:pt x="4076491" y="2271095"/>
                  </a:lnTo>
                  <a:lnTo>
                    <a:pt x="4076961" y="2270841"/>
                  </a:lnTo>
                  <a:lnTo>
                    <a:pt x="4076529" y="2269339"/>
                  </a:lnTo>
                  <a:lnTo>
                    <a:pt x="4076535" y="2268684"/>
                  </a:lnTo>
                  <a:lnTo>
                    <a:pt x="4076625" y="2268026"/>
                  </a:lnTo>
                  <a:lnTo>
                    <a:pt x="4076777" y="2267533"/>
                  </a:lnTo>
                  <a:lnTo>
                    <a:pt x="4077441" y="2267144"/>
                  </a:lnTo>
                  <a:lnTo>
                    <a:pt x="4078001" y="2269079"/>
                  </a:lnTo>
                  <a:lnTo>
                    <a:pt x="4078739" y="2270463"/>
                  </a:lnTo>
                  <a:lnTo>
                    <a:pt x="4079457" y="2270933"/>
                  </a:lnTo>
                  <a:lnTo>
                    <a:pt x="4079948" y="2270102"/>
                  </a:lnTo>
                  <a:lnTo>
                    <a:pt x="4079859" y="2269481"/>
                  </a:lnTo>
                  <a:lnTo>
                    <a:pt x="4079217" y="2267839"/>
                  </a:lnTo>
                  <a:lnTo>
                    <a:pt x="4079148" y="2267025"/>
                  </a:lnTo>
                  <a:lnTo>
                    <a:pt x="4079514" y="2266147"/>
                  </a:lnTo>
                  <a:lnTo>
                    <a:pt x="4080116" y="2265872"/>
                  </a:lnTo>
                  <a:lnTo>
                    <a:pt x="4080854" y="2265796"/>
                  </a:lnTo>
                  <a:lnTo>
                    <a:pt x="4081654" y="2265555"/>
                  </a:lnTo>
                  <a:lnTo>
                    <a:pt x="4084998" y="2261675"/>
                  </a:lnTo>
                  <a:lnTo>
                    <a:pt x="4087148" y="2260646"/>
                  </a:lnTo>
                  <a:lnTo>
                    <a:pt x="4089586" y="2262615"/>
                  </a:lnTo>
                  <a:lnTo>
                    <a:pt x="4088358" y="2266031"/>
                  </a:lnTo>
                  <a:lnTo>
                    <a:pt x="4089123" y="2266840"/>
                  </a:lnTo>
                  <a:lnTo>
                    <a:pt x="4089464" y="2267121"/>
                  </a:lnTo>
                  <a:lnTo>
                    <a:pt x="4088895" y="2268001"/>
                  </a:lnTo>
                  <a:lnTo>
                    <a:pt x="4088547" y="2269061"/>
                  </a:lnTo>
                  <a:lnTo>
                    <a:pt x="4088295" y="2271366"/>
                  </a:lnTo>
                  <a:lnTo>
                    <a:pt x="4091164" y="2273320"/>
                  </a:lnTo>
                  <a:lnTo>
                    <a:pt x="4092357" y="2274573"/>
                  </a:lnTo>
                  <a:lnTo>
                    <a:pt x="4092244" y="2275997"/>
                  </a:lnTo>
                  <a:lnTo>
                    <a:pt x="4093022" y="2276591"/>
                  </a:lnTo>
                  <a:lnTo>
                    <a:pt x="4094069" y="2277892"/>
                  </a:lnTo>
                  <a:lnTo>
                    <a:pt x="4095014" y="2279399"/>
                  </a:lnTo>
                  <a:lnTo>
                    <a:pt x="4095477" y="2280577"/>
                  </a:lnTo>
                  <a:lnTo>
                    <a:pt x="4095333" y="2281605"/>
                  </a:lnTo>
                  <a:lnTo>
                    <a:pt x="4092569" y="2285364"/>
                  </a:lnTo>
                  <a:lnTo>
                    <a:pt x="4092580" y="2285776"/>
                  </a:lnTo>
                  <a:lnTo>
                    <a:pt x="4092677" y="2286295"/>
                  </a:lnTo>
                  <a:lnTo>
                    <a:pt x="4092618" y="2286852"/>
                  </a:lnTo>
                  <a:lnTo>
                    <a:pt x="4092148" y="2287361"/>
                  </a:lnTo>
                  <a:lnTo>
                    <a:pt x="4086247" y="2291154"/>
                  </a:lnTo>
                  <a:lnTo>
                    <a:pt x="4085767" y="2292292"/>
                  </a:lnTo>
                  <a:lnTo>
                    <a:pt x="4086398" y="2295026"/>
                  </a:lnTo>
                  <a:lnTo>
                    <a:pt x="4086379" y="2296479"/>
                  </a:lnTo>
                  <a:lnTo>
                    <a:pt x="4086588" y="2297856"/>
                  </a:lnTo>
                  <a:lnTo>
                    <a:pt x="4087488" y="2298759"/>
                  </a:lnTo>
                  <a:lnTo>
                    <a:pt x="4088168" y="2298399"/>
                  </a:lnTo>
                  <a:lnTo>
                    <a:pt x="4088002" y="2296929"/>
                  </a:lnTo>
                  <a:lnTo>
                    <a:pt x="4087591" y="2295277"/>
                  </a:lnTo>
                  <a:lnTo>
                    <a:pt x="4087561" y="2294379"/>
                  </a:lnTo>
                  <a:lnTo>
                    <a:pt x="4087863" y="2293826"/>
                  </a:lnTo>
                  <a:lnTo>
                    <a:pt x="4088156" y="2291933"/>
                  </a:lnTo>
                  <a:lnTo>
                    <a:pt x="4088534" y="2291287"/>
                  </a:lnTo>
                  <a:lnTo>
                    <a:pt x="4089880" y="2290945"/>
                  </a:lnTo>
                  <a:lnTo>
                    <a:pt x="4094871" y="2288067"/>
                  </a:lnTo>
                  <a:lnTo>
                    <a:pt x="4095536" y="2286667"/>
                  </a:lnTo>
                  <a:lnTo>
                    <a:pt x="4095345" y="2285469"/>
                  </a:lnTo>
                  <a:lnTo>
                    <a:pt x="4096310" y="2285202"/>
                  </a:lnTo>
                  <a:lnTo>
                    <a:pt x="4098589" y="2285306"/>
                  </a:lnTo>
                  <a:lnTo>
                    <a:pt x="4099556" y="2285141"/>
                  </a:lnTo>
                  <a:lnTo>
                    <a:pt x="4100512" y="2285620"/>
                  </a:lnTo>
                  <a:lnTo>
                    <a:pt x="4101441" y="2286498"/>
                  </a:lnTo>
                  <a:lnTo>
                    <a:pt x="4102324" y="2287533"/>
                  </a:lnTo>
                  <a:lnTo>
                    <a:pt x="4101056" y="2289451"/>
                  </a:lnTo>
                  <a:lnTo>
                    <a:pt x="4101168" y="2290318"/>
                  </a:lnTo>
                  <a:lnTo>
                    <a:pt x="4101535" y="2291471"/>
                  </a:lnTo>
                  <a:lnTo>
                    <a:pt x="4101498" y="2292638"/>
                  </a:lnTo>
                  <a:lnTo>
                    <a:pt x="4101204" y="2293671"/>
                  </a:lnTo>
                  <a:lnTo>
                    <a:pt x="4100797" y="2294438"/>
                  </a:lnTo>
                  <a:lnTo>
                    <a:pt x="4096441" y="2297584"/>
                  </a:lnTo>
                  <a:lnTo>
                    <a:pt x="4092925" y="2298642"/>
                  </a:lnTo>
                  <a:lnTo>
                    <a:pt x="4081255" y="2308439"/>
                  </a:lnTo>
                  <a:lnTo>
                    <a:pt x="4082355" y="2308696"/>
                  </a:lnTo>
                  <a:lnTo>
                    <a:pt x="4084341" y="2307984"/>
                  </a:lnTo>
                  <a:lnTo>
                    <a:pt x="4085396" y="2307851"/>
                  </a:lnTo>
                  <a:lnTo>
                    <a:pt x="4085437" y="2310723"/>
                  </a:lnTo>
                  <a:lnTo>
                    <a:pt x="4079828" y="2320245"/>
                  </a:lnTo>
                  <a:lnTo>
                    <a:pt x="4079732" y="2321115"/>
                  </a:lnTo>
                  <a:lnTo>
                    <a:pt x="4080518" y="2321285"/>
                  </a:lnTo>
                  <a:lnTo>
                    <a:pt x="4082693" y="2319351"/>
                  </a:lnTo>
                  <a:lnTo>
                    <a:pt x="4083262" y="2318605"/>
                  </a:lnTo>
                  <a:lnTo>
                    <a:pt x="4083736" y="2321250"/>
                  </a:lnTo>
                  <a:lnTo>
                    <a:pt x="4083597" y="2323221"/>
                  </a:lnTo>
                  <a:lnTo>
                    <a:pt x="4082787" y="2324708"/>
                  </a:lnTo>
                  <a:lnTo>
                    <a:pt x="4079940" y="2326980"/>
                  </a:lnTo>
                  <a:lnTo>
                    <a:pt x="4078788" y="2328548"/>
                  </a:lnTo>
                  <a:lnTo>
                    <a:pt x="4077896" y="2330392"/>
                  </a:lnTo>
                  <a:lnTo>
                    <a:pt x="4077374" y="2332369"/>
                  </a:lnTo>
                  <a:lnTo>
                    <a:pt x="4078306" y="2331917"/>
                  </a:lnTo>
                  <a:lnTo>
                    <a:pt x="4086577" y="2325069"/>
                  </a:lnTo>
                  <a:lnTo>
                    <a:pt x="4087243" y="2324051"/>
                  </a:lnTo>
                  <a:lnTo>
                    <a:pt x="4087543" y="2322660"/>
                  </a:lnTo>
                  <a:lnTo>
                    <a:pt x="4087370" y="2321894"/>
                  </a:lnTo>
                  <a:lnTo>
                    <a:pt x="4086414" y="2320358"/>
                  </a:lnTo>
                  <a:lnTo>
                    <a:pt x="4086082" y="2319575"/>
                  </a:lnTo>
                  <a:lnTo>
                    <a:pt x="4085766" y="2318164"/>
                  </a:lnTo>
                  <a:lnTo>
                    <a:pt x="4086272" y="2315994"/>
                  </a:lnTo>
                  <a:lnTo>
                    <a:pt x="4087261" y="2314156"/>
                  </a:lnTo>
                  <a:lnTo>
                    <a:pt x="4089060" y="2311885"/>
                  </a:lnTo>
                  <a:lnTo>
                    <a:pt x="4089485" y="2311545"/>
                  </a:lnTo>
                  <a:lnTo>
                    <a:pt x="4089729" y="2311005"/>
                  </a:lnTo>
                  <a:lnTo>
                    <a:pt x="4089441" y="2310305"/>
                  </a:lnTo>
                  <a:lnTo>
                    <a:pt x="4089077" y="2309649"/>
                  </a:lnTo>
                  <a:lnTo>
                    <a:pt x="4089080" y="2309012"/>
                  </a:lnTo>
                  <a:lnTo>
                    <a:pt x="4089359" y="2307673"/>
                  </a:lnTo>
                  <a:lnTo>
                    <a:pt x="4089759" y="2306649"/>
                  </a:lnTo>
                  <a:lnTo>
                    <a:pt x="4090022" y="2306202"/>
                  </a:lnTo>
                  <a:lnTo>
                    <a:pt x="4091603" y="2304723"/>
                  </a:lnTo>
                  <a:lnTo>
                    <a:pt x="4092908" y="2302722"/>
                  </a:lnTo>
                  <a:lnTo>
                    <a:pt x="4093845" y="2302066"/>
                  </a:lnTo>
                  <a:lnTo>
                    <a:pt x="4094211" y="2302721"/>
                  </a:lnTo>
                  <a:lnTo>
                    <a:pt x="4094002" y="2302978"/>
                  </a:lnTo>
                  <a:lnTo>
                    <a:pt x="4093530" y="2303909"/>
                  </a:lnTo>
                  <a:lnTo>
                    <a:pt x="4094748" y="2304642"/>
                  </a:lnTo>
                  <a:lnTo>
                    <a:pt x="4095767" y="2303886"/>
                  </a:lnTo>
                  <a:lnTo>
                    <a:pt x="4097579" y="2301544"/>
                  </a:lnTo>
                  <a:lnTo>
                    <a:pt x="4097994" y="2301580"/>
                  </a:lnTo>
                  <a:lnTo>
                    <a:pt x="4098554" y="2301807"/>
                  </a:lnTo>
                  <a:lnTo>
                    <a:pt x="4099157" y="2301826"/>
                  </a:lnTo>
                  <a:lnTo>
                    <a:pt x="4099697" y="2301250"/>
                  </a:lnTo>
                  <a:lnTo>
                    <a:pt x="4099642" y="2301014"/>
                  </a:lnTo>
                  <a:lnTo>
                    <a:pt x="4099444" y="2300622"/>
                  </a:lnTo>
                  <a:lnTo>
                    <a:pt x="4099287" y="2300171"/>
                  </a:lnTo>
                  <a:lnTo>
                    <a:pt x="4099331" y="2299726"/>
                  </a:lnTo>
                  <a:lnTo>
                    <a:pt x="4099661" y="2299128"/>
                  </a:lnTo>
                  <a:lnTo>
                    <a:pt x="4099872" y="2298958"/>
                  </a:lnTo>
                  <a:lnTo>
                    <a:pt x="4102039" y="2298955"/>
                  </a:lnTo>
                  <a:lnTo>
                    <a:pt x="4103187" y="2299182"/>
                  </a:lnTo>
                  <a:lnTo>
                    <a:pt x="4104095" y="2299119"/>
                  </a:lnTo>
                  <a:lnTo>
                    <a:pt x="4104784" y="2298264"/>
                  </a:lnTo>
                  <a:lnTo>
                    <a:pt x="4105032" y="2296595"/>
                  </a:lnTo>
                  <a:lnTo>
                    <a:pt x="4105065" y="2294611"/>
                  </a:lnTo>
                  <a:lnTo>
                    <a:pt x="4105320" y="2293124"/>
                  </a:lnTo>
                  <a:lnTo>
                    <a:pt x="4106251" y="2292979"/>
                  </a:lnTo>
                  <a:lnTo>
                    <a:pt x="4107234" y="2294116"/>
                  </a:lnTo>
                  <a:lnTo>
                    <a:pt x="4108118" y="2295502"/>
                  </a:lnTo>
                  <a:lnTo>
                    <a:pt x="4108690" y="2295714"/>
                  </a:lnTo>
                  <a:lnTo>
                    <a:pt x="4108729" y="2293326"/>
                  </a:lnTo>
                  <a:lnTo>
                    <a:pt x="4108533" y="2292364"/>
                  </a:lnTo>
                  <a:lnTo>
                    <a:pt x="4108251" y="2291752"/>
                  </a:lnTo>
                  <a:lnTo>
                    <a:pt x="4108085" y="2291108"/>
                  </a:lnTo>
                  <a:lnTo>
                    <a:pt x="4108229" y="2290058"/>
                  </a:lnTo>
                  <a:lnTo>
                    <a:pt x="4109828" y="2288303"/>
                  </a:lnTo>
                  <a:lnTo>
                    <a:pt x="4110280" y="2288062"/>
                  </a:lnTo>
                  <a:lnTo>
                    <a:pt x="4111592" y="2289096"/>
                  </a:lnTo>
                  <a:lnTo>
                    <a:pt x="4111779" y="2291087"/>
                  </a:lnTo>
                  <a:lnTo>
                    <a:pt x="4111103" y="2296733"/>
                  </a:lnTo>
                  <a:lnTo>
                    <a:pt x="4111219" y="2297551"/>
                  </a:lnTo>
                  <a:lnTo>
                    <a:pt x="4111679" y="2298550"/>
                  </a:lnTo>
                  <a:lnTo>
                    <a:pt x="4112266" y="2298935"/>
                  </a:lnTo>
                  <a:lnTo>
                    <a:pt x="4113071" y="2299195"/>
                  </a:lnTo>
                  <a:lnTo>
                    <a:pt x="4113718" y="2299685"/>
                  </a:lnTo>
                  <a:lnTo>
                    <a:pt x="4113825" y="2300757"/>
                  </a:lnTo>
                  <a:lnTo>
                    <a:pt x="4114227" y="2301469"/>
                  </a:lnTo>
                  <a:lnTo>
                    <a:pt x="4115190" y="2300724"/>
                  </a:lnTo>
                  <a:lnTo>
                    <a:pt x="4114929" y="2299623"/>
                  </a:lnTo>
                  <a:lnTo>
                    <a:pt x="4114188" y="2298422"/>
                  </a:lnTo>
                  <a:lnTo>
                    <a:pt x="4113699" y="2297357"/>
                  </a:lnTo>
                  <a:lnTo>
                    <a:pt x="4113740" y="2296227"/>
                  </a:lnTo>
                  <a:lnTo>
                    <a:pt x="4114095" y="2295275"/>
                  </a:lnTo>
                  <a:lnTo>
                    <a:pt x="4114666" y="2294485"/>
                  </a:lnTo>
                  <a:lnTo>
                    <a:pt x="4117169" y="2292550"/>
                  </a:lnTo>
                  <a:lnTo>
                    <a:pt x="4118223" y="2292169"/>
                  </a:lnTo>
                  <a:lnTo>
                    <a:pt x="4119050" y="2292446"/>
                  </a:lnTo>
                  <a:lnTo>
                    <a:pt x="4119389" y="2293600"/>
                  </a:lnTo>
                  <a:lnTo>
                    <a:pt x="4118761" y="2294686"/>
                  </a:lnTo>
                  <a:lnTo>
                    <a:pt x="4117101" y="2296215"/>
                  </a:lnTo>
                  <a:lnTo>
                    <a:pt x="4119923" y="2296364"/>
                  </a:lnTo>
                  <a:lnTo>
                    <a:pt x="4120165" y="2297814"/>
                  </a:lnTo>
                  <a:lnTo>
                    <a:pt x="4120809" y="2298409"/>
                  </a:lnTo>
                  <a:lnTo>
                    <a:pt x="4121437" y="2298041"/>
                  </a:lnTo>
                  <a:lnTo>
                    <a:pt x="4121638" y="2296608"/>
                  </a:lnTo>
                  <a:lnTo>
                    <a:pt x="4122050" y="2295183"/>
                  </a:lnTo>
                  <a:lnTo>
                    <a:pt x="4123294" y="2295317"/>
                  </a:lnTo>
                  <a:lnTo>
                    <a:pt x="4124847" y="2296420"/>
                  </a:lnTo>
                  <a:lnTo>
                    <a:pt x="4126186" y="2297868"/>
                  </a:lnTo>
                  <a:lnTo>
                    <a:pt x="4125337" y="2298914"/>
                  </a:lnTo>
                  <a:lnTo>
                    <a:pt x="4124563" y="2302148"/>
                  </a:lnTo>
                  <a:lnTo>
                    <a:pt x="4123955" y="2303475"/>
                  </a:lnTo>
                  <a:lnTo>
                    <a:pt x="4122443" y="2304449"/>
                  </a:lnTo>
                  <a:lnTo>
                    <a:pt x="4118767" y="2304995"/>
                  </a:lnTo>
                  <a:lnTo>
                    <a:pt x="4117113" y="2305781"/>
                  </a:lnTo>
                  <a:lnTo>
                    <a:pt x="4116230" y="2307023"/>
                  </a:lnTo>
                  <a:lnTo>
                    <a:pt x="4113296" y="2316010"/>
                  </a:lnTo>
                  <a:lnTo>
                    <a:pt x="4113038" y="2317824"/>
                  </a:lnTo>
                  <a:lnTo>
                    <a:pt x="4114455" y="2316697"/>
                  </a:lnTo>
                  <a:lnTo>
                    <a:pt x="4115638" y="2312753"/>
                  </a:lnTo>
                  <a:lnTo>
                    <a:pt x="4116807" y="2311266"/>
                  </a:lnTo>
                  <a:lnTo>
                    <a:pt x="4120170" y="2308410"/>
                  </a:lnTo>
                  <a:lnTo>
                    <a:pt x="4121145" y="2308113"/>
                  </a:lnTo>
                  <a:lnTo>
                    <a:pt x="4123186" y="2308073"/>
                  </a:lnTo>
                  <a:lnTo>
                    <a:pt x="4124114" y="2307731"/>
                  </a:lnTo>
                  <a:lnTo>
                    <a:pt x="4124480" y="2309367"/>
                  </a:lnTo>
                  <a:lnTo>
                    <a:pt x="4125563" y="2311061"/>
                  </a:lnTo>
                  <a:lnTo>
                    <a:pt x="4126626" y="2312440"/>
                  </a:lnTo>
                  <a:lnTo>
                    <a:pt x="4126918" y="2313123"/>
                  </a:lnTo>
                  <a:lnTo>
                    <a:pt x="4127231" y="2313996"/>
                  </a:lnTo>
                  <a:lnTo>
                    <a:pt x="4128110" y="2315593"/>
                  </a:lnTo>
                  <a:lnTo>
                    <a:pt x="4129154" y="2316594"/>
                  </a:lnTo>
                  <a:lnTo>
                    <a:pt x="4129966" y="2315672"/>
                  </a:lnTo>
                  <a:lnTo>
                    <a:pt x="4129858" y="2314510"/>
                  </a:lnTo>
                  <a:lnTo>
                    <a:pt x="4129334" y="2312828"/>
                  </a:lnTo>
                  <a:lnTo>
                    <a:pt x="4127026" y="2307764"/>
                  </a:lnTo>
                  <a:lnTo>
                    <a:pt x="4126799" y="2306414"/>
                  </a:lnTo>
                  <a:lnTo>
                    <a:pt x="4127060" y="2303376"/>
                  </a:lnTo>
                  <a:lnTo>
                    <a:pt x="4128501" y="2304582"/>
                  </a:lnTo>
                  <a:lnTo>
                    <a:pt x="4129838" y="2306608"/>
                  </a:lnTo>
                  <a:lnTo>
                    <a:pt x="4130636" y="2308716"/>
                  </a:lnTo>
                  <a:lnTo>
                    <a:pt x="4130455" y="2310153"/>
                  </a:lnTo>
                  <a:lnTo>
                    <a:pt x="4131870" y="2310086"/>
                  </a:lnTo>
                  <a:lnTo>
                    <a:pt x="4132204" y="2308422"/>
                  </a:lnTo>
                  <a:lnTo>
                    <a:pt x="4131576" y="2304171"/>
                  </a:lnTo>
                  <a:lnTo>
                    <a:pt x="4132479" y="2304490"/>
                  </a:lnTo>
                  <a:lnTo>
                    <a:pt x="4133974" y="2304296"/>
                  </a:lnTo>
                  <a:lnTo>
                    <a:pt x="4134732" y="2304514"/>
                  </a:lnTo>
                  <a:lnTo>
                    <a:pt x="4135524" y="2305171"/>
                  </a:lnTo>
                  <a:lnTo>
                    <a:pt x="4136164" y="2305864"/>
                  </a:lnTo>
                  <a:lnTo>
                    <a:pt x="4136807" y="2306448"/>
                  </a:lnTo>
                  <a:lnTo>
                    <a:pt x="4137615" y="2306762"/>
                  </a:lnTo>
                  <a:lnTo>
                    <a:pt x="4136584" y="2303986"/>
                  </a:lnTo>
                  <a:lnTo>
                    <a:pt x="4136398" y="2303041"/>
                  </a:lnTo>
                  <a:lnTo>
                    <a:pt x="4136630" y="2299057"/>
                  </a:lnTo>
                  <a:lnTo>
                    <a:pt x="4137164" y="2298082"/>
                  </a:lnTo>
                  <a:lnTo>
                    <a:pt x="4138598" y="2298399"/>
                  </a:lnTo>
                  <a:lnTo>
                    <a:pt x="4140219" y="2299111"/>
                  </a:lnTo>
                  <a:lnTo>
                    <a:pt x="4141301" y="2299310"/>
                  </a:lnTo>
                  <a:lnTo>
                    <a:pt x="4141797" y="2299309"/>
                  </a:lnTo>
                  <a:lnTo>
                    <a:pt x="4142375" y="2299712"/>
                  </a:lnTo>
                  <a:lnTo>
                    <a:pt x="4142953" y="2300366"/>
                  </a:lnTo>
                  <a:lnTo>
                    <a:pt x="4144278" y="2302321"/>
                  </a:lnTo>
                  <a:lnTo>
                    <a:pt x="4144830" y="2302865"/>
                  </a:lnTo>
                  <a:lnTo>
                    <a:pt x="4145199" y="2303420"/>
                  </a:lnTo>
                  <a:lnTo>
                    <a:pt x="4145479" y="2304673"/>
                  </a:lnTo>
                  <a:lnTo>
                    <a:pt x="4145425" y="2306424"/>
                  </a:lnTo>
                  <a:lnTo>
                    <a:pt x="4144729" y="2309731"/>
                  </a:lnTo>
                  <a:lnTo>
                    <a:pt x="4145080" y="2311899"/>
                  </a:lnTo>
                  <a:lnTo>
                    <a:pt x="4145531" y="2311941"/>
                  </a:lnTo>
                  <a:lnTo>
                    <a:pt x="4145951" y="2312153"/>
                  </a:lnTo>
                  <a:lnTo>
                    <a:pt x="4146382" y="2312416"/>
                  </a:lnTo>
                  <a:lnTo>
                    <a:pt x="4146902" y="2312635"/>
                  </a:lnTo>
                  <a:lnTo>
                    <a:pt x="4148106" y="2314657"/>
                  </a:lnTo>
                  <a:lnTo>
                    <a:pt x="4150396" y="2314289"/>
                  </a:lnTo>
                  <a:lnTo>
                    <a:pt x="4152843" y="2313164"/>
                  </a:lnTo>
                  <a:lnTo>
                    <a:pt x="4154515" y="2312874"/>
                  </a:lnTo>
                  <a:lnTo>
                    <a:pt x="4159235" y="2315965"/>
                  </a:lnTo>
                  <a:lnTo>
                    <a:pt x="4161289" y="2318043"/>
                  </a:lnTo>
                  <a:lnTo>
                    <a:pt x="4161089" y="2319852"/>
                  </a:lnTo>
                  <a:lnTo>
                    <a:pt x="4161496" y="2320562"/>
                  </a:lnTo>
                  <a:lnTo>
                    <a:pt x="4165524" y="2320193"/>
                  </a:lnTo>
                  <a:lnTo>
                    <a:pt x="4166107" y="2319925"/>
                  </a:lnTo>
                  <a:lnTo>
                    <a:pt x="4166741" y="2320888"/>
                  </a:lnTo>
                  <a:lnTo>
                    <a:pt x="4167703" y="2321966"/>
                  </a:lnTo>
                  <a:lnTo>
                    <a:pt x="4168348" y="2322954"/>
                  </a:lnTo>
                  <a:lnTo>
                    <a:pt x="4168883" y="2324253"/>
                  </a:lnTo>
                  <a:lnTo>
                    <a:pt x="4168654" y="2324814"/>
                  </a:lnTo>
                  <a:lnTo>
                    <a:pt x="4168069" y="2325104"/>
                  </a:lnTo>
                  <a:lnTo>
                    <a:pt x="4167535" y="2325587"/>
                  </a:lnTo>
                  <a:lnTo>
                    <a:pt x="4165700" y="2328518"/>
                  </a:lnTo>
                  <a:lnTo>
                    <a:pt x="4162976" y="2331311"/>
                  </a:lnTo>
                  <a:lnTo>
                    <a:pt x="4162547" y="2332771"/>
                  </a:lnTo>
                  <a:lnTo>
                    <a:pt x="4162106" y="2333305"/>
                  </a:lnTo>
                  <a:lnTo>
                    <a:pt x="4161909" y="2333924"/>
                  </a:lnTo>
                  <a:lnTo>
                    <a:pt x="4162494" y="2334775"/>
                  </a:lnTo>
                  <a:lnTo>
                    <a:pt x="4163305" y="2335737"/>
                  </a:lnTo>
                  <a:lnTo>
                    <a:pt x="4163774" y="2336663"/>
                  </a:lnTo>
                  <a:lnTo>
                    <a:pt x="4163524" y="2338260"/>
                  </a:lnTo>
                  <a:lnTo>
                    <a:pt x="4162576" y="2339614"/>
                  </a:lnTo>
                  <a:lnTo>
                    <a:pt x="4160302" y="2341363"/>
                  </a:lnTo>
                  <a:lnTo>
                    <a:pt x="4155596" y="2342455"/>
                  </a:lnTo>
                  <a:lnTo>
                    <a:pt x="4154622" y="2343876"/>
                  </a:lnTo>
                  <a:lnTo>
                    <a:pt x="4154477" y="2345849"/>
                  </a:lnTo>
                  <a:lnTo>
                    <a:pt x="4155612" y="2352522"/>
                  </a:lnTo>
                  <a:lnTo>
                    <a:pt x="4155044" y="2353919"/>
                  </a:lnTo>
                  <a:lnTo>
                    <a:pt x="4153486" y="2354147"/>
                  </a:lnTo>
                  <a:lnTo>
                    <a:pt x="4150054" y="2353642"/>
                  </a:lnTo>
                  <a:lnTo>
                    <a:pt x="4143895" y="2353983"/>
                  </a:lnTo>
                  <a:lnTo>
                    <a:pt x="4142349" y="2354630"/>
                  </a:lnTo>
                  <a:lnTo>
                    <a:pt x="4143708" y="2355741"/>
                  </a:lnTo>
                  <a:lnTo>
                    <a:pt x="4145339" y="2356428"/>
                  </a:lnTo>
                  <a:lnTo>
                    <a:pt x="4148725" y="2357037"/>
                  </a:lnTo>
                  <a:lnTo>
                    <a:pt x="4152207" y="2356721"/>
                  </a:lnTo>
                  <a:lnTo>
                    <a:pt x="4153076" y="2356953"/>
                  </a:lnTo>
                  <a:lnTo>
                    <a:pt x="4154618" y="2357602"/>
                  </a:lnTo>
                  <a:lnTo>
                    <a:pt x="4155209" y="2357547"/>
                  </a:lnTo>
                  <a:lnTo>
                    <a:pt x="4158325" y="2355698"/>
                  </a:lnTo>
                  <a:lnTo>
                    <a:pt x="4158838" y="2354989"/>
                  </a:lnTo>
                  <a:lnTo>
                    <a:pt x="4159304" y="2352915"/>
                  </a:lnTo>
                  <a:lnTo>
                    <a:pt x="4159792" y="2352220"/>
                  </a:lnTo>
                  <a:lnTo>
                    <a:pt x="4162453" y="2350588"/>
                  </a:lnTo>
                  <a:lnTo>
                    <a:pt x="4162685" y="2350017"/>
                  </a:lnTo>
                  <a:lnTo>
                    <a:pt x="4162611" y="2349189"/>
                  </a:lnTo>
                  <a:lnTo>
                    <a:pt x="4163006" y="2348246"/>
                  </a:lnTo>
                  <a:lnTo>
                    <a:pt x="4163611" y="2347437"/>
                  </a:lnTo>
                  <a:lnTo>
                    <a:pt x="4163934" y="2347182"/>
                  </a:lnTo>
                  <a:lnTo>
                    <a:pt x="4165568" y="2347235"/>
                  </a:lnTo>
                  <a:lnTo>
                    <a:pt x="4171031" y="2344551"/>
                  </a:lnTo>
                  <a:lnTo>
                    <a:pt x="4179814" y="2344509"/>
                  </a:lnTo>
                  <a:lnTo>
                    <a:pt x="4186065" y="2345615"/>
                  </a:lnTo>
                  <a:lnTo>
                    <a:pt x="4187244" y="2346228"/>
                  </a:lnTo>
                  <a:lnTo>
                    <a:pt x="4186784" y="2347618"/>
                  </a:lnTo>
                  <a:lnTo>
                    <a:pt x="4181093" y="2349941"/>
                  </a:lnTo>
                  <a:lnTo>
                    <a:pt x="4181466" y="2350592"/>
                  </a:lnTo>
                  <a:lnTo>
                    <a:pt x="4184043" y="2350243"/>
                  </a:lnTo>
                  <a:lnTo>
                    <a:pt x="4185229" y="2350550"/>
                  </a:lnTo>
                  <a:lnTo>
                    <a:pt x="4185724" y="2352034"/>
                  </a:lnTo>
                  <a:lnTo>
                    <a:pt x="4186156" y="2353051"/>
                  </a:lnTo>
                  <a:lnTo>
                    <a:pt x="4187083" y="2354029"/>
                  </a:lnTo>
                  <a:lnTo>
                    <a:pt x="4187986" y="2355268"/>
                  </a:lnTo>
                  <a:lnTo>
                    <a:pt x="4188338" y="2357026"/>
                  </a:lnTo>
                  <a:lnTo>
                    <a:pt x="4188055" y="2358120"/>
                  </a:lnTo>
                  <a:lnTo>
                    <a:pt x="4186761" y="2360364"/>
                  </a:lnTo>
                  <a:lnTo>
                    <a:pt x="4186213" y="2360934"/>
                  </a:lnTo>
                  <a:lnTo>
                    <a:pt x="4182247" y="2363316"/>
                  </a:lnTo>
                  <a:lnTo>
                    <a:pt x="4182923" y="2363879"/>
                  </a:lnTo>
                  <a:lnTo>
                    <a:pt x="4183635" y="2364295"/>
                  </a:lnTo>
                  <a:lnTo>
                    <a:pt x="4184312" y="2364477"/>
                  </a:lnTo>
                  <a:lnTo>
                    <a:pt x="4184909" y="2364338"/>
                  </a:lnTo>
                  <a:lnTo>
                    <a:pt x="4186296" y="2363504"/>
                  </a:lnTo>
                  <a:lnTo>
                    <a:pt x="4186584" y="2363602"/>
                  </a:lnTo>
                  <a:lnTo>
                    <a:pt x="4187067" y="2364514"/>
                  </a:lnTo>
                  <a:lnTo>
                    <a:pt x="4187364" y="2364601"/>
                  </a:lnTo>
                  <a:lnTo>
                    <a:pt x="4190210" y="2363388"/>
                  </a:lnTo>
                  <a:lnTo>
                    <a:pt x="4191905" y="2363540"/>
                  </a:lnTo>
                  <a:lnTo>
                    <a:pt x="4193389" y="2364955"/>
                  </a:lnTo>
                  <a:lnTo>
                    <a:pt x="4194954" y="2366747"/>
                  </a:lnTo>
                  <a:lnTo>
                    <a:pt x="4195891" y="2366213"/>
                  </a:lnTo>
                  <a:lnTo>
                    <a:pt x="4196680" y="2363441"/>
                  </a:lnTo>
                  <a:lnTo>
                    <a:pt x="4197570" y="2361881"/>
                  </a:lnTo>
                  <a:lnTo>
                    <a:pt x="4198313" y="2362094"/>
                  </a:lnTo>
                  <a:lnTo>
                    <a:pt x="4199043" y="2363577"/>
                  </a:lnTo>
                  <a:lnTo>
                    <a:pt x="4199890" y="2365799"/>
                  </a:lnTo>
                  <a:lnTo>
                    <a:pt x="4202382" y="2354235"/>
                  </a:lnTo>
                  <a:lnTo>
                    <a:pt x="4204034" y="2353638"/>
                  </a:lnTo>
                  <a:lnTo>
                    <a:pt x="4203864" y="2354631"/>
                  </a:lnTo>
                  <a:lnTo>
                    <a:pt x="4203665" y="2359772"/>
                  </a:lnTo>
                  <a:lnTo>
                    <a:pt x="4203469" y="2361082"/>
                  </a:lnTo>
                  <a:lnTo>
                    <a:pt x="4203278" y="2361590"/>
                  </a:lnTo>
                  <a:lnTo>
                    <a:pt x="4203546" y="2362304"/>
                  </a:lnTo>
                  <a:lnTo>
                    <a:pt x="4204138" y="2362823"/>
                  </a:lnTo>
                  <a:lnTo>
                    <a:pt x="4204915" y="2362753"/>
                  </a:lnTo>
                  <a:lnTo>
                    <a:pt x="4212484" y="2357317"/>
                  </a:lnTo>
                  <a:lnTo>
                    <a:pt x="4215523" y="2356119"/>
                  </a:lnTo>
                  <a:lnTo>
                    <a:pt x="4218887" y="2355985"/>
                  </a:lnTo>
                  <a:lnTo>
                    <a:pt x="4221965" y="2356674"/>
                  </a:lnTo>
                  <a:lnTo>
                    <a:pt x="4223563" y="2357521"/>
                  </a:lnTo>
                  <a:lnTo>
                    <a:pt x="4224850" y="2358958"/>
                  </a:lnTo>
                  <a:lnTo>
                    <a:pt x="4225219" y="2359962"/>
                  </a:lnTo>
                  <a:lnTo>
                    <a:pt x="4225233" y="2361635"/>
                  </a:lnTo>
                  <a:lnTo>
                    <a:pt x="4225722" y="2362854"/>
                  </a:lnTo>
                  <a:lnTo>
                    <a:pt x="4226404" y="2363635"/>
                  </a:lnTo>
                  <a:lnTo>
                    <a:pt x="4227968" y="2364325"/>
                  </a:lnTo>
                  <a:lnTo>
                    <a:pt x="4228830" y="2364984"/>
                  </a:lnTo>
                  <a:lnTo>
                    <a:pt x="4228711" y="2365000"/>
                  </a:lnTo>
                  <a:lnTo>
                    <a:pt x="4228964" y="2365520"/>
                  </a:lnTo>
                  <a:lnTo>
                    <a:pt x="4229052" y="2365650"/>
                  </a:lnTo>
                  <a:lnTo>
                    <a:pt x="4229093" y="2365761"/>
                  </a:lnTo>
                  <a:lnTo>
                    <a:pt x="4228683" y="2366694"/>
                  </a:lnTo>
                  <a:lnTo>
                    <a:pt x="4229085" y="2367578"/>
                  </a:lnTo>
                  <a:lnTo>
                    <a:pt x="4230010" y="2368068"/>
                  </a:lnTo>
                  <a:lnTo>
                    <a:pt x="4231089" y="2367987"/>
                  </a:lnTo>
                  <a:lnTo>
                    <a:pt x="4231318" y="2368947"/>
                  </a:lnTo>
                  <a:lnTo>
                    <a:pt x="4231721" y="2369658"/>
                  </a:lnTo>
                  <a:lnTo>
                    <a:pt x="4232255" y="2370116"/>
                  </a:lnTo>
                  <a:lnTo>
                    <a:pt x="4232876" y="2370331"/>
                  </a:lnTo>
                  <a:lnTo>
                    <a:pt x="4232978" y="2371227"/>
                  </a:lnTo>
                  <a:lnTo>
                    <a:pt x="4232022" y="2371045"/>
                  </a:lnTo>
                  <a:lnTo>
                    <a:pt x="4229831" y="2369844"/>
                  </a:lnTo>
                  <a:lnTo>
                    <a:pt x="4228653" y="2369483"/>
                  </a:lnTo>
                  <a:lnTo>
                    <a:pt x="4228147" y="2370814"/>
                  </a:lnTo>
                  <a:lnTo>
                    <a:pt x="4227373" y="2371492"/>
                  </a:lnTo>
                  <a:lnTo>
                    <a:pt x="4225384" y="2372365"/>
                  </a:lnTo>
                  <a:lnTo>
                    <a:pt x="4224487" y="2373023"/>
                  </a:lnTo>
                  <a:lnTo>
                    <a:pt x="4223772" y="2373853"/>
                  </a:lnTo>
                  <a:lnTo>
                    <a:pt x="4223231" y="2374952"/>
                  </a:lnTo>
                  <a:lnTo>
                    <a:pt x="4222861" y="2376464"/>
                  </a:lnTo>
                  <a:lnTo>
                    <a:pt x="4223616" y="2381316"/>
                  </a:lnTo>
                  <a:lnTo>
                    <a:pt x="4223609" y="2382229"/>
                  </a:lnTo>
                  <a:lnTo>
                    <a:pt x="4222903" y="2383020"/>
                  </a:lnTo>
                  <a:lnTo>
                    <a:pt x="4222338" y="2384305"/>
                  </a:lnTo>
                  <a:lnTo>
                    <a:pt x="4221964" y="2385818"/>
                  </a:lnTo>
                  <a:lnTo>
                    <a:pt x="4221852" y="2387280"/>
                  </a:lnTo>
                  <a:lnTo>
                    <a:pt x="4222254" y="2388932"/>
                  </a:lnTo>
                  <a:lnTo>
                    <a:pt x="4223092" y="2390151"/>
                  </a:lnTo>
                  <a:lnTo>
                    <a:pt x="4224060" y="2391343"/>
                  </a:lnTo>
                  <a:lnTo>
                    <a:pt x="4224828" y="2392883"/>
                  </a:lnTo>
                  <a:lnTo>
                    <a:pt x="4224885" y="2395010"/>
                  </a:lnTo>
                  <a:lnTo>
                    <a:pt x="4223745" y="2395670"/>
                  </a:lnTo>
                  <a:lnTo>
                    <a:pt x="4222377" y="2395941"/>
                  </a:lnTo>
                  <a:lnTo>
                    <a:pt x="4221742" y="2396936"/>
                  </a:lnTo>
                  <a:lnTo>
                    <a:pt x="4220868" y="2399516"/>
                  </a:lnTo>
                  <a:lnTo>
                    <a:pt x="4218631" y="2401416"/>
                  </a:lnTo>
                  <a:lnTo>
                    <a:pt x="4215861" y="2402446"/>
                  </a:lnTo>
                  <a:lnTo>
                    <a:pt x="4213390" y="2402418"/>
                  </a:lnTo>
                  <a:lnTo>
                    <a:pt x="4213486" y="2403845"/>
                  </a:lnTo>
                  <a:lnTo>
                    <a:pt x="4214351" y="2405413"/>
                  </a:lnTo>
                  <a:lnTo>
                    <a:pt x="4215587" y="2406748"/>
                  </a:lnTo>
                  <a:lnTo>
                    <a:pt x="4216778" y="2407458"/>
                  </a:lnTo>
                  <a:lnTo>
                    <a:pt x="4216878" y="2408893"/>
                  </a:lnTo>
                  <a:lnTo>
                    <a:pt x="4217452" y="2410412"/>
                  </a:lnTo>
                  <a:lnTo>
                    <a:pt x="4218344" y="2411594"/>
                  </a:lnTo>
                  <a:lnTo>
                    <a:pt x="4219373" y="2412005"/>
                  </a:lnTo>
                  <a:lnTo>
                    <a:pt x="4218734" y="2409624"/>
                  </a:lnTo>
                  <a:lnTo>
                    <a:pt x="4218375" y="2407621"/>
                  </a:lnTo>
                  <a:lnTo>
                    <a:pt x="4218647" y="2405988"/>
                  </a:lnTo>
                  <a:lnTo>
                    <a:pt x="4219882" y="2404711"/>
                  </a:lnTo>
                  <a:lnTo>
                    <a:pt x="4223613" y="2403129"/>
                  </a:lnTo>
                  <a:lnTo>
                    <a:pt x="4225597" y="2403002"/>
                  </a:lnTo>
                  <a:lnTo>
                    <a:pt x="4227661" y="2403505"/>
                  </a:lnTo>
                  <a:lnTo>
                    <a:pt x="4227840" y="2405776"/>
                  </a:lnTo>
                  <a:lnTo>
                    <a:pt x="4227187" y="2407100"/>
                  </a:lnTo>
                  <a:lnTo>
                    <a:pt x="4225930" y="2407829"/>
                  </a:lnTo>
                  <a:lnTo>
                    <a:pt x="4222527" y="2408807"/>
                  </a:lnTo>
                  <a:lnTo>
                    <a:pt x="4222419" y="2409320"/>
                  </a:lnTo>
                  <a:lnTo>
                    <a:pt x="4225432" y="2411056"/>
                  </a:lnTo>
                  <a:lnTo>
                    <a:pt x="4226085" y="2409812"/>
                  </a:lnTo>
                  <a:lnTo>
                    <a:pt x="4227715" y="2409848"/>
                  </a:lnTo>
                  <a:lnTo>
                    <a:pt x="4229641" y="2410246"/>
                  </a:lnTo>
                  <a:lnTo>
                    <a:pt x="4232902" y="2409836"/>
                  </a:lnTo>
                  <a:lnTo>
                    <a:pt x="4234306" y="2410691"/>
                  </a:lnTo>
                  <a:lnTo>
                    <a:pt x="4234847" y="2412147"/>
                  </a:lnTo>
                  <a:lnTo>
                    <a:pt x="4233980" y="2413686"/>
                  </a:lnTo>
                  <a:lnTo>
                    <a:pt x="4233178" y="2414016"/>
                  </a:lnTo>
                  <a:lnTo>
                    <a:pt x="4230417" y="2414096"/>
                  </a:lnTo>
                  <a:lnTo>
                    <a:pt x="4223822" y="2417656"/>
                  </a:lnTo>
                  <a:lnTo>
                    <a:pt x="4221795" y="2418120"/>
                  </a:lnTo>
                  <a:lnTo>
                    <a:pt x="4219916" y="2417881"/>
                  </a:lnTo>
                  <a:lnTo>
                    <a:pt x="4220696" y="2415537"/>
                  </a:lnTo>
                  <a:lnTo>
                    <a:pt x="4219733" y="2414851"/>
                  </a:lnTo>
                  <a:lnTo>
                    <a:pt x="4218360" y="2415219"/>
                  </a:lnTo>
                  <a:lnTo>
                    <a:pt x="4217903" y="2415994"/>
                  </a:lnTo>
                  <a:lnTo>
                    <a:pt x="4217927" y="2417619"/>
                  </a:lnTo>
                  <a:lnTo>
                    <a:pt x="4216440" y="2418621"/>
                  </a:lnTo>
                  <a:lnTo>
                    <a:pt x="4213153" y="2419238"/>
                  </a:lnTo>
                  <a:lnTo>
                    <a:pt x="4207074" y="2419046"/>
                  </a:lnTo>
                  <a:lnTo>
                    <a:pt x="4200666" y="2421419"/>
                  </a:lnTo>
                  <a:lnTo>
                    <a:pt x="4199008" y="2421652"/>
                  </a:lnTo>
                  <a:lnTo>
                    <a:pt x="4193061" y="2421261"/>
                  </a:lnTo>
                  <a:lnTo>
                    <a:pt x="4184885" y="2423199"/>
                  </a:lnTo>
                  <a:lnTo>
                    <a:pt x="4183405" y="2422891"/>
                  </a:lnTo>
                  <a:lnTo>
                    <a:pt x="4183919" y="2420878"/>
                  </a:lnTo>
                  <a:lnTo>
                    <a:pt x="4191733" y="2413692"/>
                  </a:lnTo>
                  <a:lnTo>
                    <a:pt x="4192808" y="2411855"/>
                  </a:lnTo>
                  <a:lnTo>
                    <a:pt x="4193488" y="2411374"/>
                  </a:lnTo>
                  <a:lnTo>
                    <a:pt x="4195711" y="2411454"/>
                  </a:lnTo>
                  <a:lnTo>
                    <a:pt x="4204630" y="2405066"/>
                  </a:lnTo>
                  <a:lnTo>
                    <a:pt x="4201535" y="2404936"/>
                  </a:lnTo>
                  <a:lnTo>
                    <a:pt x="4188507" y="2412052"/>
                  </a:lnTo>
                  <a:lnTo>
                    <a:pt x="4187850" y="2412726"/>
                  </a:lnTo>
                  <a:lnTo>
                    <a:pt x="4186820" y="2414580"/>
                  </a:lnTo>
                  <a:lnTo>
                    <a:pt x="4186119" y="2415285"/>
                  </a:lnTo>
                  <a:lnTo>
                    <a:pt x="4184902" y="2415677"/>
                  </a:lnTo>
                  <a:lnTo>
                    <a:pt x="4181149" y="2415534"/>
                  </a:lnTo>
                  <a:lnTo>
                    <a:pt x="4180147" y="2415934"/>
                  </a:lnTo>
                  <a:lnTo>
                    <a:pt x="4179278" y="2416679"/>
                  </a:lnTo>
                  <a:lnTo>
                    <a:pt x="4178643" y="2417694"/>
                  </a:lnTo>
                  <a:lnTo>
                    <a:pt x="4178354" y="2418915"/>
                  </a:lnTo>
                  <a:lnTo>
                    <a:pt x="4178495" y="2420385"/>
                  </a:lnTo>
                  <a:lnTo>
                    <a:pt x="4178831" y="2421802"/>
                  </a:lnTo>
                  <a:lnTo>
                    <a:pt x="4178961" y="2423077"/>
                  </a:lnTo>
                  <a:lnTo>
                    <a:pt x="4178483" y="2424134"/>
                  </a:lnTo>
                  <a:lnTo>
                    <a:pt x="4179491" y="2423779"/>
                  </a:lnTo>
                  <a:lnTo>
                    <a:pt x="4189773" y="2423533"/>
                  </a:lnTo>
                  <a:lnTo>
                    <a:pt x="4194113" y="2424554"/>
                  </a:lnTo>
                  <a:lnTo>
                    <a:pt x="4195463" y="2424408"/>
                  </a:lnTo>
                  <a:lnTo>
                    <a:pt x="4198524" y="2423236"/>
                  </a:lnTo>
                  <a:lnTo>
                    <a:pt x="4199754" y="2423347"/>
                  </a:lnTo>
                  <a:lnTo>
                    <a:pt x="4201311" y="2423740"/>
                  </a:lnTo>
                  <a:lnTo>
                    <a:pt x="4206327" y="2422920"/>
                  </a:lnTo>
                  <a:lnTo>
                    <a:pt x="4211265" y="2423455"/>
                  </a:lnTo>
                  <a:lnTo>
                    <a:pt x="4216928" y="2422220"/>
                  </a:lnTo>
                  <a:lnTo>
                    <a:pt x="4219359" y="2420621"/>
                  </a:lnTo>
                  <a:lnTo>
                    <a:pt x="4220687" y="2420083"/>
                  </a:lnTo>
                  <a:lnTo>
                    <a:pt x="4222096" y="2420069"/>
                  </a:lnTo>
                  <a:lnTo>
                    <a:pt x="4221323" y="2421862"/>
                  </a:lnTo>
                  <a:lnTo>
                    <a:pt x="4205241" y="2430145"/>
                  </a:lnTo>
                  <a:lnTo>
                    <a:pt x="4205694" y="2430390"/>
                  </a:lnTo>
                  <a:lnTo>
                    <a:pt x="4205754" y="2430556"/>
                  </a:lnTo>
                  <a:lnTo>
                    <a:pt x="4205574" y="2430736"/>
                  </a:lnTo>
                  <a:lnTo>
                    <a:pt x="4218288" y="2426643"/>
                  </a:lnTo>
                  <a:lnTo>
                    <a:pt x="4219755" y="2426450"/>
                  </a:lnTo>
                  <a:lnTo>
                    <a:pt x="4224129" y="2424079"/>
                  </a:lnTo>
                  <a:lnTo>
                    <a:pt x="4226187" y="2421898"/>
                  </a:lnTo>
                  <a:lnTo>
                    <a:pt x="4227137" y="2421660"/>
                  </a:lnTo>
                  <a:lnTo>
                    <a:pt x="4232154" y="2421755"/>
                  </a:lnTo>
                  <a:lnTo>
                    <a:pt x="4232859" y="2421521"/>
                  </a:lnTo>
                  <a:lnTo>
                    <a:pt x="4233502" y="2421054"/>
                  </a:lnTo>
                  <a:lnTo>
                    <a:pt x="4233772" y="2420312"/>
                  </a:lnTo>
                  <a:lnTo>
                    <a:pt x="4233948" y="2419298"/>
                  </a:lnTo>
                  <a:lnTo>
                    <a:pt x="4234334" y="2418574"/>
                  </a:lnTo>
                  <a:lnTo>
                    <a:pt x="4235213" y="2418704"/>
                  </a:lnTo>
                  <a:lnTo>
                    <a:pt x="4236642" y="2419654"/>
                  </a:lnTo>
                  <a:lnTo>
                    <a:pt x="4237316" y="2420008"/>
                  </a:lnTo>
                  <a:lnTo>
                    <a:pt x="4238259" y="2420317"/>
                  </a:lnTo>
                  <a:lnTo>
                    <a:pt x="4239900" y="2420481"/>
                  </a:lnTo>
                  <a:lnTo>
                    <a:pt x="4240636" y="2421021"/>
                  </a:lnTo>
                  <a:lnTo>
                    <a:pt x="4241390" y="2422489"/>
                  </a:lnTo>
                  <a:lnTo>
                    <a:pt x="4241424" y="2424186"/>
                  </a:lnTo>
                  <a:lnTo>
                    <a:pt x="4239150" y="2425804"/>
                  </a:lnTo>
                  <a:lnTo>
                    <a:pt x="4237816" y="2428608"/>
                  </a:lnTo>
                  <a:lnTo>
                    <a:pt x="4225132" y="2433064"/>
                  </a:lnTo>
                  <a:lnTo>
                    <a:pt x="4222226" y="2435143"/>
                  </a:lnTo>
                  <a:lnTo>
                    <a:pt x="4220671" y="2438371"/>
                  </a:lnTo>
                  <a:lnTo>
                    <a:pt x="4221040" y="2439023"/>
                  </a:lnTo>
                  <a:lnTo>
                    <a:pt x="4222197" y="2438316"/>
                  </a:lnTo>
                  <a:lnTo>
                    <a:pt x="4224081" y="2436389"/>
                  </a:lnTo>
                  <a:lnTo>
                    <a:pt x="4225906" y="2435357"/>
                  </a:lnTo>
                  <a:lnTo>
                    <a:pt x="4226785" y="2435069"/>
                  </a:lnTo>
                  <a:lnTo>
                    <a:pt x="4227719" y="2435039"/>
                  </a:lnTo>
                  <a:lnTo>
                    <a:pt x="4228499" y="2435519"/>
                  </a:lnTo>
                  <a:lnTo>
                    <a:pt x="4229081" y="2436454"/>
                  </a:lnTo>
                  <a:lnTo>
                    <a:pt x="4228979" y="2436843"/>
                  </a:lnTo>
                  <a:lnTo>
                    <a:pt x="4228564" y="2437046"/>
                  </a:lnTo>
                  <a:lnTo>
                    <a:pt x="4226582" y="2439587"/>
                  </a:lnTo>
                  <a:lnTo>
                    <a:pt x="4221451" y="2441880"/>
                  </a:lnTo>
                  <a:lnTo>
                    <a:pt x="4219385" y="2443580"/>
                  </a:lnTo>
                  <a:lnTo>
                    <a:pt x="4221183" y="2444093"/>
                  </a:lnTo>
                  <a:lnTo>
                    <a:pt x="4222778" y="2444221"/>
                  </a:lnTo>
                  <a:lnTo>
                    <a:pt x="4224190" y="2443996"/>
                  </a:lnTo>
                  <a:lnTo>
                    <a:pt x="4230046" y="2441474"/>
                  </a:lnTo>
                  <a:lnTo>
                    <a:pt x="4230569" y="2440822"/>
                  </a:lnTo>
                  <a:lnTo>
                    <a:pt x="4230092" y="2438845"/>
                  </a:lnTo>
                  <a:lnTo>
                    <a:pt x="4231447" y="2438749"/>
                  </a:lnTo>
                  <a:lnTo>
                    <a:pt x="4233262" y="2439486"/>
                  </a:lnTo>
                  <a:lnTo>
                    <a:pt x="4234143" y="2439982"/>
                  </a:lnTo>
                  <a:lnTo>
                    <a:pt x="4237429" y="2438587"/>
                  </a:lnTo>
                  <a:lnTo>
                    <a:pt x="4239356" y="2438238"/>
                  </a:lnTo>
                  <a:lnTo>
                    <a:pt x="4241084" y="2438425"/>
                  </a:lnTo>
                  <a:lnTo>
                    <a:pt x="4240059" y="2439705"/>
                  </a:lnTo>
                  <a:lnTo>
                    <a:pt x="4238608" y="2440783"/>
                  </a:lnTo>
                  <a:lnTo>
                    <a:pt x="4239959" y="2441266"/>
                  </a:lnTo>
                  <a:lnTo>
                    <a:pt x="4243643" y="2441248"/>
                  </a:lnTo>
                  <a:lnTo>
                    <a:pt x="4244091" y="2441550"/>
                  </a:lnTo>
                  <a:lnTo>
                    <a:pt x="4244506" y="2442039"/>
                  </a:lnTo>
                  <a:lnTo>
                    <a:pt x="4245037" y="2442465"/>
                  </a:lnTo>
                  <a:lnTo>
                    <a:pt x="4245810" y="2442565"/>
                  </a:lnTo>
                  <a:lnTo>
                    <a:pt x="4246254" y="2442266"/>
                  </a:lnTo>
                  <a:lnTo>
                    <a:pt x="4247041" y="2441086"/>
                  </a:lnTo>
                  <a:lnTo>
                    <a:pt x="4247580" y="2440697"/>
                  </a:lnTo>
                  <a:lnTo>
                    <a:pt x="4247919" y="2441289"/>
                  </a:lnTo>
                  <a:lnTo>
                    <a:pt x="4247212" y="2442463"/>
                  </a:lnTo>
                  <a:lnTo>
                    <a:pt x="4246857" y="2442808"/>
                  </a:lnTo>
                  <a:lnTo>
                    <a:pt x="4248505" y="2442860"/>
                  </a:lnTo>
                  <a:lnTo>
                    <a:pt x="4251101" y="2440786"/>
                  </a:lnTo>
                  <a:lnTo>
                    <a:pt x="4252564" y="2440223"/>
                  </a:lnTo>
                  <a:lnTo>
                    <a:pt x="4253841" y="2440403"/>
                  </a:lnTo>
                  <a:lnTo>
                    <a:pt x="4255336" y="2440940"/>
                  </a:lnTo>
                  <a:lnTo>
                    <a:pt x="4256454" y="2441853"/>
                  </a:lnTo>
                  <a:lnTo>
                    <a:pt x="4256592" y="2443116"/>
                  </a:lnTo>
                  <a:lnTo>
                    <a:pt x="4255515" y="2443801"/>
                  </a:lnTo>
                  <a:lnTo>
                    <a:pt x="4246609" y="2445424"/>
                  </a:lnTo>
                  <a:lnTo>
                    <a:pt x="4245172" y="2446281"/>
                  </a:lnTo>
                  <a:lnTo>
                    <a:pt x="4244534" y="2447786"/>
                  </a:lnTo>
                  <a:lnTo>
                    <a:pt x="4245855" y="2447833"/>
                  </a:lnTo>
                  <a:lnTo>
                    <a:pt x="4254083" y="2445427"/>
                  </a:lnTo>
                  <a:lnTo>
                    <a:pt x="4254456" y="2446078"/>
                  </a:lnTo>
                  <a:lnTo>
                    <a:pt x="4250738" y="2450201"/>
                  </a:lnTo>
                  <a:lnTo>
                    <a:pt x="4248221" y="2451658"/>
                  </a:lnTo>
                  <a:lnTo>
                    <a:pt x="4245651" y="2451399"/>
                  </a:lnTo>
                  <a:lnTo>
                    <a:pt x="4247987" y="2450220"/>
                  </a:lnTo>
                  <a:lnTo>
                    <a:pt x="4248855" y="2449248"/>
                  </a:lnTo>
                  <a:lnTo>
                    <a:pt x="4248817" y="2447827"/>
                  </a:lnTo>
                  <a:lnTo>
                    <a:pt x="4247446" y="2447847"/>
                  </a:lnTo>
                  <a:lnTo>
                    <a:pt x="4244425" y="2448763"/>
                  </a:lnTo>
                  <a:lnTo>
                    <a:pt x="4240394" y="2451418"/>
                  </a:lnTo>
                  <a:lnTo>
                    <a:pt x="4238827" y="2453468"/>
                  </a:lnTo>
                  <a:lnTo>
                    <a:pt x="4237878" y="2454074"/>
                  </a:lnTo>
                  <a:lnTo>
                    <a:pt x="4236717" y="2454203"/>
                  </a:lnTo>
                  <a:lnTo>
                    <a:pt x="4235283" y="2453741"/>
                  </a:lnTo>
                  <a:lnTo>
                    <a:pt x="4233962" y="2453560"/>
                  </a:lnTo>
                  <a:lnTo>
                    <a:pt x="4232930" y="2454239"/>
                  </a:lnTo>
                  <a:lnTo>
                    <a:pt x="4231412" y="2456456"/>
                  </a:lnTo>
                  <a:lnTo>
                    <a:pt x="4232682" y="2457324"/>
                  </a:lnTo>
                  <a:lnTo>
                    <a:pt x="4234397" y="2457796"/>
                  </a:lnTo>
                  <a:lnTo>
                    <a:pt x="4237474" y="2458060"/>
                  </a:lnTo>
                  <a:lnTo>
                    <a:pt x="4237319" y="2459275"/>
                  </a:lnTo>
                  <a:lnTo>
                    <a:pt x="4238129" y="2459815"/>
                  </a:lnTo>
                  <a:lnTo>
                    <a:pt x="4243189" y="2459736"/>
                  </a:lnTo>
                  <a:lnTo>
                    <a:pt x="4244306" y="2459158"/>
                  </a:lnTo>
                  <a:lnTo>
                    <a:pt x="4245012" y="2456465"/>
                  </a:lnTo>
                  <a:lnTo>
                    <a:pt x="4245931" y="2456183"/>
                  </a:lnTo>
                  <a:lnTo>
                    <a:pt x="4247089" y="2456283"/>
                  </a:lnTo>
                  <a:lnTo>
                    <a:pt x="4248088" y="2456134"/>
                  </a:lnTo>
                  <a:lnTo>
                    <a:pt x="4249934" y="2454849"/>
                  </a:lnTo>
                  <a:lnTo>
                    <a:pt x="4251439" y="2453238"/>
                  </a:lnTo>
                  <a:lnTo>
                    <a:pt x="4251811" y="2454998"/>
                  </a:lnTo>
                  <a:lnTo>
                    <a:pt x="4251845" y="2455614"/>
                  </a:lnTo>
                  <a:lnTo>
                    <a:pt x="4254637" y="2453927"/>
                  </a:lnTo>
                  <a:lnTo>
                    <a:pt x="4255040" y="2453276"/>
                  </a:lnTo>
                  <a:lnTo>
                    <a:pt x="4255627" y="2451800"/>
                  </a:lnTo>
                  <a:lnTo>
                    <a:pt x="4256231" y="2451214"/>
                  </a:lnTo>
                  <a:lnTo>
                    <a:pt x="4260211" y="2448655"/>
                  </a:lnTo>
                  <a:lnTo>
                    <a:pt x="4260619" y="2448552"/>
                  </a:lnTo>
                  <a:lnTo>
                    <a:pt x="4261121" y="2448701"/>
                  </a:lnTo>
                  <a:lnTo>
                    <a:pt x="4261558" y="2448994"/>
                  </a:lnTo>
                  <a:lnTo>
                    <a:pt x="4261888" y="2449284"/>
                  </a:lnTo>
                  <a:lnTo>
                    <a:pt x="4262069" y="2449420"/>
                  </a:lnTo>
                  <a:lnTo>
                    <a:pt x="4263579" y="2449489"/>
                  </a:lnTo>
                  <a:lnTo>
                    <a:pt x="4264172" y="2449226"/>
                  </a:lnTo>
                  <a:lnTo>
                    <a:pt x="4269234" y="2444414"/>
                  </a:lnTo>
                  <a:lnTo>
                    <a:pt x="4270335" y="2442533"/>
                  </a:lnTo>
                  <a:lnTo>
                    <a:pt x="4271589" y="2441043"/>
                  </a:lnTo>
                  <a:lnTo>
                    <a:pt x="4273376" y="2440765"/>
                  </a:lnTo>
                  <a:lnTo>
                    <a:pt x="4273716" y="2441352"/>
                  </a:lnTo>
                  <a:lnTo>
                    <a:pt x="4273912" y="2442587"/>
                  </a:lnTo>
                  <a:lnTo>
                    <a:pt x="4274819" y="2443203"/>
                  </a:lnTo>
                  <a:lnTo>
                    <a:pt x="4275815" y="2443712"/>
                  </a:lnTo>
                  <a:lnTo>
                    <a:pt x="4276313" y="2444674"/>
                  </a:lnTo>
                  <a:lnTo>
                    <a:pt x="4275794" y="2445557"/>
                  </a:lnTo>
                  <a:lnTo>
                    <a:pt x="4274719" y="2446326"/>
                  </a:lnTo>
                  <a:lnTo>
                    <a:pt x="4273888" y="2447274"/>
                  </a:lnTo>
                  <a:lnTo>
                    <a:pt x="4274110" y="2448691"/>
                  </a:lnTo>
                  <a:lnTo>
                    <a:pt x="4274799" y="2450356"/>
                  </a:lnTo>
                  <a:lnTo>
                    <a:pt x="4275000" y="2451363"/>
                  </a:lnTo>
                  <a:lnTo>
                    <a:pt x="4275266" y="2451499"/>
                  </a:lnTo>
                  <a:lnTo>
                    <a:pt x="4276139" y="2450561"/>
                  </a:lnTo>
                  <a:lnTo>
                    <a:pt x="4276435" y="2449952"/>
                  </a:lnTo>
                  <a:lnTo>
                    <a:pt x="4276551" y="2449268"/>
                  </a:lnTo>
                  <a:lnTo>
                    <a:pt x="4276753" y="2448585"/>
                  </a:lnTo>
                  <a:lnTo>
                    <a:pt x="4277311" y="2448007"/>
                  </a:lnTo>
                  <a:lnTo>
                    <a:pt x="4277944" y="2447981"/>
                  </a:lnTo>
                  <a:lnTo>
                    <a:pt x="4278276" y="2448593"/>
                  </a:lnTo>
                  <a:lnTo>
                    <a:pt x="4278358" y="2449433"/>
                  </a:lnTo>
                  <a:lnTo>
                    <a:pt x="4278244" y="2450072"/>
                  </a:lnTo>
                  <a:lnTo>
                    <a:pt x="4278654" y="2450779"/>
                  </a:lnTo>
                  <a:lnTo>
                    <a:pt x="4279821" y="2451146"/>
                  </a:lnTo>
                  <a:lnTo>
                    <a:pt x="4279764" y="2452217"/>
                  </a:lnTo>
                  <a:lnTo>
                    <a:pt x="4276900" y="2456664"/>
                  </a:lnTo>
                  <a:lnTo>
                    <a:pt x="4276491" y="2458126"/>
                  </a:lnTo>
                  <a:lnTo>
                    <a:pt x="4276698" y="2459866"/>
                  </a:lnTo>
                  <a:lnTo>
                    <a:pt x="4278699" y="2459664"/>
                  </a:lnTo>
                  <a:lnTo>
                    <a:pt x="4279954" y="2458849"/>
                  </a:lnTo>
                  <a:lnTo>
                    <a:pt x="4282039" y="2455731"/>
                  </a:lnTo>
                  <a:lnTo>
                    <a:pt x="4283191" y="2454716"/>
                  </a:lnTo>
                  <a:lnTo>
                    <a:pt x="4284857" y="2454101"/>
                  </a:lnTo>
                  <a:lnTo>
                    <a:pt x="4286829" y="2453938"/>
                  </a:lnTo>
                  <a:lnTo>
                    <a:pt x="4288870" y="2454243"/>
                  </a:lnTo>
                  <a:lnTo>
                    <a:pt x="4286347" y="2455558"/>
                  </a:lnTo>
                  <a:lnTo>
                    <a:pt x="4285221" y="2456449"/>
                  </a:lnTo>
                  <a:lnTo>
                    <a:pt x="4284531" y="2457709"/>
                  </a:lnTo>
                  <a:lnTo>
                    <a:pt x="4285491" y="2457764"/>
                  </a:lnTo>
                  <a:lnTo>
                    <a:pt x="4286299" y="2457514"/>
                  </a:lnTo>
                  <a:lnTo>
                    <a:pt x="4287760" y="2456606"/>
                  </a:lnTo>
                  <a:lnTo>
                    <a:pt x="4288103" y="2457197"/>
                  </a:lnTo>
                  <a:lnTo>
                    <a:pt x="4281034" y="2460474"/>
                  </a:lnTo>
                  <a:lnTo>
                    <a:pt x="4277585" y="2462962"/>
                  </a:lnTo>
                  <a:lnTo>
                    <a:pt x="4276842" y="2465922"/>
                  </a:lnTo>
                  <a:lnTo>
                    <a:pt x="4278311" y="2464991"/>
                  </a:lnTo>
                  <a:lnTo>
                    <a:pt x="4279664" y="2464604"/>
                  </a:lnTo>
                  <a:lnTo>
                    <a:pt x="4280433" y="2464386"/>
                  </a:lnTo>
                  <a:lnTo>
                    <a:pt x="4283807" y="2463421"/>
                  </a:lnTo>
                  <a:lnTo>
                    <a:pt x="4284147" y="2463625"/>
                  </a:lnTo>
                  <a:lnTo>
                    <a:pt x="4284590" y="2464259"/>
                  </a:lnTo>
                  <a:lnTo>
                    <a:pt x="4284922" y="2464966"/>
                  </a:lnTo>
                  <a:lnTo>
                    <a:pt x="4284927" y="2465360"/>
                  </a:lnTo>
                  <a:lnTo>
                    <a:pt x="4284373" y="2465632"/>
                  </a:lnTo>
                  <a:lnTo>
                    <a:pt x="4283860" y="2465757"/>
                  </a:lnTo>
                  <a:lnTo>
                    <a:pt x="4283001" y="2465749"/>
                  </a:lnTo>
                  <a:lnTo>
                    <a:pt x="4282430" y="2465314"/>
                  </a:lnTo>
                  <a:lnTo>
                    <a:pt x="4281531" y="2464938"/>
                  </a:lnTo>
                  <a:lnTo>
                    <a:pt x="4280924" y="2464927"/>
                  </a:lnTo>
                  <a:lnTo>
                    <a:pt x="4280169" y="2464907"/>
                  </a:lnTo>
                  <a:lnTo>
                    <a:pt x="4279724" y="2465079"/>
                  </a:lnTo>
                  <a:lnTo>
                    <a:pt x="4279371" y="2465337"/>
                  </a:lnTo>
                  <a:lnTo>
                    <a:pt x="4280050" y="2466427"/>
                  </a:lnTo>
                  <a:lnTo>
                    <a:pt x="4281363" y="2466969"/>
                  </a:lnTo>
                  <a:lnTo>
                    <a:pt x="4283725" y="2467460"/>
                  </a:lnTo>
                  <a:lnTo>
                    <a:pt x="4284796" y="2467527"/>
                  </a:lnTo>
                  <a:lnTo>
                    <a:pt x="4287250" y="2464817"/>
                  </a:lnTo>
                  <a:lnTo>
                    <a:pt x="4291523" y="2462195"/>
                  </a:lnTo>
                  <a:lnTo>
                    <a:pt x="4292706" y="2461792"/>
                  </a:lnTo>
                  <a:lnTo>
                    <a:pt x="4293604" y="2461764"/>
                  </a:lnTo>
                  <a:lnTo>
                    <a:pt x="4295865" y="2462242"/>
                  </a:lnTo>
                  <a:lnTo>
                    <a:pt x="4295618" y="2458805"/>
                  </a:lnTo>
                  <a:lnTo>
                    <a:pt x="4297776" y="2457977"/>
                  </a:lnTo>
                  <a:lnTo>
                    <a:pt x="4300935" y="2458705"/>
                  </a:lnTo>
                  <a:lnTo>
                    <a:pt x="4303705" y="2459965"/>
                  </a:lnTo>
                  <a:lnTo>
                    <a:pt x="4303878" y="2460850"/>
                  </a:lnTo>
                  <a:lnTo>
                    <a:pt x="4304204" y="2461749"/>
                  </a:lnTo>
                  <a:lnTo>
                    <a:pt x="4304673" y="2462656"/>
                  </a:lnTo>
                  <a:lnTo>
                    <a:pt x="4305279" y="2463555"/>
                  </a:lnTo>
                  <a:lnTo>
                    <a:pt x="4303677" y="2463628"/>
                  </a:lnTo>
                  <a:lnTo>
                    <a:pt x="4301725" y="2464650"/>
                  </a:lnTo>
                  <a:lnTo>
                    <a:pt x="4300053" y="2466043"/>
                  </a:lnTo>
                  <a:lnTo>
                    <a:pt x="4299297" y="2467247"/>
                  </a:lnTo>
                  <a:lnTo>
                    <a:pt x="4300066" y="2468482"/>
                  </a:lnTo>
                  <a:lnTo>
                    <a:pt x="4302037" y="2468556"/>
                  </a:lnTo>
                  <a:lnTo>
                    <a:pt x="4305000" y="2468037"/>
                  </a:lnTo>
                  <a:lnTo>
                    <a:pt x="4306704" y="2468416"/>
                  </a:lnTo>
                  <a:lnTo>
                    <a:pt x="4308326" y="2467256"/>
                  </a:lnTo>
                  <a:lnTo>
                    <a:pt x="4313415" y="2461425"/>
                  </a:lnTo>
                  <a:lnTo>
                    <a:pt x="4314030" y="2461089"/>
                  </a:lnTo>
                  <a:lnTo>
                    <a:pt x="4315303" y="2461128"/>
                  </a:lnTo>
                  <a:lnTo>
                    <a:pt x="4316528" y="2460764"/>
                  </a:lnTo>
                  <a:lnTo>
                    <a:pt x="4322475" y="2457150"/>
                  </a:lnTo>
                  <a:lnTo>
                    <a:pt x="4324802" y="2456926"/>
                  </a:lnTo>
                  <a:lnTo>
                    <a:pt x="4327135" y="2458686"/>
                  </a:lnTo>
                  <a:lnTo>
                    <a:pt x="4328153" y="2461312"/>
                  </a:lnTo>
                  <a:lnTo>
                    <a:pt x="4327922" y="2463935"/>
                  </a:lnTo>
                  <a:lnTo>
                    <a:pt x="4326339" y="2468084"/>
                  </a:lnTo>
                  <a:lnTo>
                    <a:pt x="4323706" y="2470210"/>
                  </a:lnTo>
                  <a:lnTo>
                    <a:pt x="4322829" y="2471166"/>
                  </a:lnTo>
                  <a:lnTo>
                    <a:pt x="4319598" y="2472455"/>
                  </a:lnTo>
                  <a:lnTo>
                    <a:pt x="4318901" y="2473607"/>
                  </a:lnTo>
                  <a:lnTo>
                    <a:pt x="4319761" y="2473566"/>
                  </a:lnTo>
                  <a:lnTo>
                    <a:pt x="4320241" y="2473662"/>
                  </a:lnTo>
                  <a:lnTo>
                    <a:pt x="4320540" y="2473865"/>
                  </a:lnTo>
                  <a:lnTo>
                    <a:pt x="4321275" y="2474673"/>
                  </a:lnTo>
                  <a:lnTo>
                    <a:pt x="4321713" y="2474397"/>
                  </a:lnTo>
                  <a:lnTo>
                    <a:pt x="4322131" y="2473275"/>
                  </a:lnTo>
                  <a:lnTo>
                    <a:pt x="4322916" y="2472771"/>
                  </a:lnTo>
                  <a:lnTo>
                    <a:pt x="4324795" y="2470814"/>
                  </a:lnTo>
                  <a:lnTo>
                    <a:pt x="4329887" y="2468566"/>
                  </a:lnTo>
                  <a:lnTo>
                    <a:pt x="4331013" y="2467736"/>
                  </a:lnTo>
                  <a:lnTo>
                    <a:pt x="4331580" y="2465945"/>
                  </a:lnTo>
                  <a:lnTo>
                    <a:pt x="4331887" y="2462889"/>
                  </a:lnTo>
                  <a:lnTo>
                    <a:pt x="4331820" y="2459683"/>
                  </a:lnTo>
                  <a:lnTo>
                    <a:pt x="4330984" y="2456268"/>
                  </a:lnTo>
                  <a:lnTo>
                    <a:pt x="4331513" y="2455593"/>
                  </a:lnTo>
                  <a:lnTo>
                    <a:pt x="4332969" y="2455026"/>
                  </a:lnTo>
                  <a:lnTo>
                    <a:pt x="4333989" y="2455123"/>
                  </a:lnTo>
                  <a:lnTo>
                    <a:pt x="4334473" y="2456494"/>
                  </a:lnTo>
                  <a:lnTo>
                    <a:pt x="4334783" y="2459355"/>
                  </a:lnTo>
                  <a:lnTo>
                    <a:pt x="4335939" y="2459845"/>
                  </a:lnTo>
                  <a:lnTo>
                    <a:pt x="4337343" y="2461413"/>
                  </a:lnTo>
                  <a:lnTo>
                    <a:pt x="4338585" y="2463440"/>
                  </a:lnTo>
                  <a:lnTo>
                    <a:pt x="4339265" y="2465294"/>
                  </a:lnTo>
                  <a:lnTo>
                    <a:pt x="4339658" y="2465137"/>
                  </a:lnTo>
                  <a:lnTo>
                    <a:pt x="4340366" y="2465250"/>
                  </a:lnTo>
                  <a:lnTo>
                    <a:pt x="4340736" y="2465255"/>
                  </a:lnTo>
                  <a:lnTo>
                    <a:pt x="4340721" y="2466524"/>
                  </a:lnTo>
                  <a:lnTo>
                    <a:pt x="4340538" y="2467745"/>
                  </a:lnTo>
                  <a:lnTo>
                    <a:pt x="4340160" y="2468773"/>
                  </a:lnTo>
                  <a:lnTo>
                    <a:pt x="4339574" y="2469441"/>
                  </a:lnTo>
                  <a:lnTo>
                    <a:pt x="4339171" y="2470405"/>
                  </a:lnTo>
                  <a:lnTo>
                    <a:pt x="4339809" y="2471584"/>
                  </a:lnTo>
                  <a:lnTo>
                    <a:pt x="4340912" y="2472472"/>
                  </a:lnTo>
                  <a:lnTo>
                    <a:pt x="4341880" y="2472564"/>
                  </a:lnTo>
                  <a:lnTo>
                    <a:pt x="4342470" y="2472984"/>
                  </a:lnTo>
                  <a:lnTo>
                    <a:pt x="4342902" y="2474451"/>
                  </a:lnTo>
                  <a:lnTo>
                    <a:pt x="4343264" y="2477004"/>
                  </a:lnTo>
                  <a:lnTo>
                    <a:pt x="4342938" y="2479309"/>
                  </a:lnTo>
                  <a:lnTo>
                    <a:pt x="4343119" y="2480585"/>
                  </a:lnTo>
                  <a:lnTo>
                    <a:pt x="4344097" y="2481783"/>
                  </a:lnTo>
                  <a:lnTo>
                    <a:pt x="4343975" y="2475704"/>
                  </a:lnTo>
                  <a:lnTo>
                    <a:pt x="4344469" y="2474477"/>
                  </a:lnTo>
                  <a:lnTo>
                    <a:pt x="4344679" y="2473224"/>
                  </a:lnTo>
                  <a:lnTo>
                    <a:pt x="4344181" y="2470913"/>
                  </a:lnTo>
                  <a:lnTo>
                    <a:pt x="4342912" y="2466537"/>
                  </a:lnTo>
                  <a:lnTo>
                    <a:pt x="4342048" y="2462179"/>
                  </a:lnTo>
                  <a:lnTo>
                    <a:pt x="4341967" y="2460632"/>
                  </a:lnTo>
                  <a:lnTo>
                    <a:pt x="4341771" y="2459732"/>
                  </a:lnTo>
                  <a:lnTo>
                    <a:pt x="4341361" y="2458962"/>
                  </a:lnTo>
                  <a:lnTo>
                    <a:pt x="4340623" y="2457767"/>
                  </a:lnTo>
                  <a:lnTo>
                    <a:pt x="4339870" y="2455694"/>
                  </a:lnTo>
                  <a:lnTo>
                    <a:pt x="4339711" y="2453531"/>
                  </a:lnTo>
                  <a:lnTo>
                    <a:pt x="4340294" y="2452325"/>
                  </a:lnTo>
                  <a:lnTo>
                    <a:pt x="4341771" y="2453097"/>
                  </a:lnTo>
                  <a:lnTo>
                    <a:pt x="4342166" y="2452298"/>
                  </a:lnTo>
                  <a:lnTo>
                    <a:pt x="4343152" y="2452699"/>
                  </a:lnTo>
                  <a:lnTo>
                    <a:pt x="4344398" y="2453357"/>
                  </a:lnTo>
                  <a:lnTo>
                    <a:pt x="4345578" y="2453349"/>
                  </a:lnTo>
                  <a:lnTo>
                    <a:pt x="4345723" y="2452962"/>
                  </a:lnTo>
                  <a:lnTo>
                    <a:pt x="4345841" y="2451631"/>
                  </a:lnTo>
                  <a:lnTo>
                    <a:pt x="4346062" y="2451274"/>
                  </a:lnTo>
                  <a:lnTo>
                    <a:pt x="4346734" y="2451340"/>
                  </a:lnTo>
                  <a:lnTo>
                    <a:pt x="4347573" y="2451711"/>
                  </a:lnTo>
                  <a:lnTo>
                    <a:pt x="4348619" y="2452310"/>
                  </a:lnTo>
                  <a:lnTo>
                    <a:pt x="4349150" y="2451392"/>
                  </a:lnTo>
                  <a:lnTo>
                    <a:pt x="4349373" y="2450200"/>
                  </a:lnTo>
                  <a:lnTo>
                    <a:pt x="4349881" y="2449956"/>
                  </a:lnTo>
                  <a:lnTo>
                    <a:pt x="4351288" y="2451906"/>
                  </a:lnTo>
                  <a:lnTo>
                    <a:pt x="4350561" y="2457200"/>
                  </a:lnTo>
                  <a:lnTo>
                    <a:pt x="4351686" y="2457454"/>
                  </a:lnTo>
                  <a:lnTo>
                    <a:pt x="4351702" y="2458045"/>
                  </a:lnTo>
                  <a:lnTo>
                    <a:pt x="4351818" y="2458838"/>
                  </a:lnTo>
                  <a:lnTo>
                    <a:pt x="4351781" y="2459247"/>
                  </a:lnTo>
                  <a:lnTo>
                    <a:pt x="4352973" y="2459760"/>
                  </a:lnTo>
                  <a:lnTo>
                    <a:pt x="4353215" y="2460366"/>
                  </a:lnTo>
                  <a:lnTo>
                    <a:pt x="4352786" y="2461003"/>
                  </a:lnTo>
                  <a:lnTo>
                    <a:pt x="4351310" y="2462333"/>
                  </a:lnTo>
                  <a:lnTo>
                    <a:pt x="4349973" y="2464445"/>
                  </a:lnTo>
                  <a:lnTo>
                    <a:pt x="4349231" y="2465210"/>
                  </a:lnTo>
                  <a:lnTo>
                    <a:pt x="4348512" y="2466634"/>
                  </a:lnTo>
                  <a:lnTo>
                    <a:pt x="4348596" y="2469018"/>
                  </a:lnTo>
                  <a:lnTo>
                    <a:pt x="4349285" y="2471763"/>
                  </a:lnTo>
                  <a:lnTo>
                    <a:pt x="4350408" y="2474277"/>
                  </a:lnTo>
                  <a:lnTo>
                    <a:pt x="4350606" y="2471542"/>
                  </a:lnTo>
                  <a:lnTo>
                    <a:pt x="4351343" y="2468724"/>
                  </a:lnTo>
                  <a:lnTo>
                    <a:pt x="4353014" y="2467114"/>
                  </a:lnTo>
                  <a:lnTo>
                    <a:pt x="4356020" y="2467999"/>
                  </a:lnTo>
                  <a:lnTo>
                    <a:pt x="4357851" y="2470461"/>
                  </a:lnTo>
                  <a:lnTo>
                    <a:pt x="4358682" y="2473895"/>
                  </a:lnTo>
                  <a:lnTo>
                    <a:pt x="4359308" y="2480168"/>
                  </a:lnTo>
                  <a:lnTo>
                    <a:pt x="4360238" y="2478583"/>
                  </a:lnTo>
                  <a:lnTo>
                    <a:pt x="4360577" y="2475836"/>
                  </a:lnTo>
                  <a:lnTo>
                    <a:pt x="4360458" y="2470098"/>
                  </a:lnTo>
                  <a:lnTo>
                    <a:pt x="4360756" y="2468926"/>
                  </a:lnTo>
                  <a:lnTo>
                    <a:pt x="4361486" y="2468400"/>
                  </a:lnTo>
                  <a:lnTo>
                    <a:pt x="4362248" y="2468835"/>
                  </a:lnTo>
                  <a:lnTo>
                    <a:pt x="4362906" y="2472094"/>
                  </a:lnTo>
                  <a:lnTo>
                    <a:pt x="4363523" y="2472728"/>
                  </a:lnTo>
                  <a:lnTo>
                    <a:pt x="4364436" y="2472788"/>
                  </a:lnTo>
                  <a:lnTo>
                    <a:pt x="4365602" y="2472634"/>
                  </a:lnTo>
                  <a:lnTo>
                    <a:pt x="4366097" y="2473762"/>
                  </a:lnTo>
                  <a:lnTo>
                    <a:pt x="4366311" y="2474370"/>
                  </a:lnTo>
                  <a:lnTo>
                    <a:pt x="4366437" y="2474845"/>
                  </a:lnTo>
                  <a:lnTo>
                    <a:pt x="4364777" y="2474711"/>
                  </a:lnTo>
                  <a:lnTo>
                    <a:pt x="4364375" y="2475293"/>
                  </a:lnTo>
                  <a:lnTo>
                    <a:pt x="4364572" y="2476562"/>
                  </a:lnTo>
                  <a:lnTo>
                    <a:pt x="4364718" y="2478519"/>
                  </a:lnTo>
                  <a:lnTo>
                    <a:pt x="4364432" y="2480584"/>
                  </a:lnTo>
                  <a:lnTo>
                    <a:pt x="4362400" y="2485379"/>
                  </a:lnTo>
                  <a:lnTo>
                    <a:pt x="4362782" y="2486024"/>
                  </a:lnTo>
                  <a:lnTo>
                    <a:pt x="4363586" y="2486196"/>
                  </a:lnTo>
                  <a:lnTo>
                    <a:pt x="4364053" y="2486777"/>
                  </a:lnTo>
                  <a:lnTo>
                    <a:pt x="4364270" y="2487620"/>
                  </a:lnTo>
                  <a:lnTo>
                    <a:pt x="4364306" y="2488595"/>
                  </a:lnTo>
                  <a:lnTo>
                    <a:pt x="4365515" y="2489335"/>
                  </a:lnTo>
                  <a:lnTo>
                    <a:pt x="4366111" y="2491205"/>
                  </a:lnTo>
                  <a:lnTo>
                    <a:pt x="4366316" y="2495295"/>
                  </a:lnTo>
                  <a:lnTo>
                    <a:pt x="4367222" y="2494159"/>
                  </a:lnTo>
                  <a:lnTo>
                    <a:pt x="4367530" y="2492429"/>
                  </a:lnTo>
                  <a:lnTo>
                    <a:pt x="4367234" y="2488517"/>
                  </a:lnTo>
                  <a:lnTo>
                    <a:pt x="4365592" y="2487587"/>
                  </a:lnTo>
                  <a:lnTo>
                    <a:pt x="4365393" y="2486104"/>
                  </a:lnTo>
                  <a:lnTo>
                    <a:pt x="4366305" y="2482909"/>
                  </a:lnTo>
                  <a:lnTo>
                    <a:pt x="4366012" y="2478617"/>
                  </a:lnTo>
                  <a:lnTo>
                    <a:pt x="4366374" y="2476771"/>
                  </a:lnTo>
                  <a:lnTo>
                    <a:pt x="4367905" y="2476497"/>
                  </a:lnTo>
                  <a:lnTo>
                    <a:pt x="4367641" y="2476981"/>
                  </a:lnTo>
                  <a:lnTo>
                    <a:pt x="4367255" y="2478679"/>
                  </a:lnTo>
                  <a:lnTo>
                    <a:pt x="4367764" y="2479407"/>
                  </a:lnTo>
                  <a:lnTo>
                    <a:pt x="4367659" y="2482247"/>
                  </a:lnTo>
                  <a:lnTo>
                    <a:pt x="4367777" y="2483661"/>
                  </a:lnTo>
                  <a:lnTo>
                    <a:pt x="4368436" y="2483317"/>
                  </a:lnTo>
                  <a:lnTo>
                    <a:pt x="4368791" y="2482670"/>
                  </a:lnTo>
                  <a:lnTo>
                    <a:pt x="4368799" y="2481756"/>
                  </a:lnTo>
                  <a:lnTo>
                    <a:pt x="4368405" y="2480611"/>
                  </a:lnTo>
                  <a:lnTo>
                    <a:pt x="4370027" y="2481410"/>
                  </a:lnTo>
                  <a:lnTo>
                    <a:pt x="4370757" y="2481544"/>
                  </a:lnTo>
                  <a:lnTo>
                    <a:pt x="4371507" y="2481294"/>
                  </a:lnTo>
                  <a:lnTo>
                    <a:pt x="4371701" y="2480426"/>
                  </a:lnTo>
                  <a:lnTo>
                    <a:pt x="4370962" y="2479168"/>
                  </a:lnTo>
                  <a:lnTo>
                    <a:pt x="4369193" y="2477005"/>
                  </a:lnTo>
                  <a:lnTo>
                    <a:pt x="4368521" y="2474579"/>
                  </a:lnTo>
                  <a:lnTo>
                    <a:pt x="4369630" y="2473387"/>
                  </a:lnTo>
                  <a:lnTo>
                    <a:pt x="4371531" y="2473029"/>
                  </a:lnTo>
                  <a:lnTo>
                    <a:pt x="4373223" y="2473113"/>
                  </a:lnTo>
                  <a:lnTo>
                    <a:pt x="4373684" y="2474830"/>
                  </a:lnTo>
                  <a:lnTo>
                    <a:pt x="4373734" y="2475528"/>
                  </a:lnTo>
                  <a:lnTo>
                    <a:pt x="4374404" y="2475751"/>
                  </a:lnTo>
                  <a:lnTo>
                    <a:pt x="4374903" y="2476263"/>
                  </a:lnTo>
                  <a:lnTo>
                    <a:pt x="4375210" y="2477051"/>
                  </a:lnTo>
                  <a:lnTo>
                    <a:pt x="4375272" y="2478101"/>
                  </a:lnTo>
                  <a:lnTo>
                    <a:pt x="4376326" y="2478086"/>
                  </a:lnTo>
                  <a:lnTo>
                    <a:pt x="4376683" y="2478000"/>
                  </a:lnTo>
                  <a:lnTo>
                    <a:pt x="4377103" y="2478701"/>
                  </a:lnTo>
                  <a:lnTo>
                    <a:pt x="4377058" y="2478994"/>
                  </a:lnTo>
                  <a:lnTo>
                    <a:pt x="4377064" y="2479535"/>
                  </a:lnTo>
                  <a:lnTo>
                    <a:pt x="4375238" y="2479841"/>
                  </a:lnTo>
                  <a:lnTo>
                    <a:pt x="4373569" y="2481728"/>
                  </a:lnTo>
                  <a:lnTo>
                    <a:pt x="4370422" y="2487750"/>
                  </a:lnTo>
                  <a:lnTo>
                    <a:pt x="4370331" y="2489075"/>
                  </a:lnTo>
                  <a:lnTo>
                    <a:pt x="4371856" y="2492638"/>
                  </a:lnTo>
                  <a:lnTo>
                    <a:pt x="4372092" y="2494024"/>
                  </a:lnTo>
                  <a:lnTo>
                    <a:pt x="4372199" y="2496885"/>
                  </a:lnTo>
                  <a:lnTo>
                    <a:pt x="4373685" y="2496752"/>
                  </a:lnTo>
                  <a:lnTo>
                    <a:pt x="4373756" y="2498385"/>
                  </a:lnTo>
                  <a:lnTo>
                    <a:pt x="4373021" y="2500069"/>
                  </a:lnTo>
                  <a:lnTo>
                    <a:pt x="4372097" y="2500094"/>
                  </a:lnTo>
                  <a:lnTo>
                    <a:pt x="4371665" y="2499675"/>
                  </a:lnTo>
                  <a:lnTo>
                    <a:pt x="4371136" y="2499577"/>
                  </a:lnTo>
                  <a:lnTo>
                    <a:pt x="4370596" y="2499712"/>
                  </a:lnTo>
                  <a:lnTo>
                    <a:pt x="4370144" y="2500034"/>
                  </a:lnTo>
                  <a:lnTo>
                    <a:pt x="4370405" y="2500360"/>
                  </a:lnTo>
                  <a:lnTo>
                    <a:pt x="4369977" y="2503224"/>
                  </a:lnTo>
                  <a:lnTo>
                    <a:pt x="4369819" y="2503698"/>
                  </a:lnTo>
                  <a:lnTo>
                    <a:pt x="4370010" y="2504436"/>
                  </a:lnTo>
                  <a:lnTo>
                    <a:pt x="4370829" y="2506134"/>
                  </a:lnTo>
                  <a:lnTo>
                    <a:pt x="4371031" y="2506997"/>
                  </a:lnTo>
                  <a:lnTo>
                    <a:pt x="4370971" y="2508811"/>
                  </a:lnTo>
                  <a:lnTo>
                    <a:pt x="4371133" y="2509799"/>
                  </a:lnTo>
                  <a:lnTo>
                    <a:pt x="4371678" y="2511005"/>
                  </a:lnTo>
                  <a:lnTo>
                    <a:pt x="4371510" y="2511996"/>
                  </a:lnTo>
                  <a:lnTo>
                    <a:pt x="4369763" y="2516995"/>
                  </a:lnTo>
                  <a:lnTo>
                    <a:pt x="4371299" y="2514199"/>
                  </a:lnTo>
                  <a:lnTo>
                    <a:pt x="4372827" y="2507515"/>
                  </a:lnTo>
                  <a:lnTo>
                    <a:pt x="4374085" y="2505515"/>
                  </a:lnTo>
                  <a:lnTo>
                    <a:pt x="4374719" y="2505589"/>
                  </a:lnTo>
                  <a:lnTo>
                    <a:pt x="4375545" y="2505974"/>
                  </a:lnTo>
                  <a:lnTo>
                    <a:pt x="4376229" y="2506075"/>
                  </a:lnTo>
                  <a:lnTo>
                    <a:pt x="4376442" y="2505313"/>
                  </a:lnTo>
                  <a:lnTo>
                    <a:pt x="4376000" y="2502601"/>
                  </a:lnTo>
                  <a:lnTo>
                    <a:pt x="4376010" y="2501297"/>
                  </a:lnTo>
                  <a:lnTo>
                    <a:pt x="4376500" y="2500444"/>
                  </a:lnTo>
                  <a:lnTo>
                    <a:pt x="4378149" y="2499895"/>
                  </a:lnTo>
                  <a:lnTo>
                    <a:pt x="4378438" y="2500942"/>
                  </a:lnTo>
                  <a:lnTo>
                    <a:pt x="4377684" y="2506015"/>
                  </a:lnTo>
                  <a:lnTo>
                    <a:pt x="4376481" y="2508816"/>
                  </a:lnTo>
                  <a:lnTo>
                    <a:pt x="4376210" y="2510284"/>
                  </a:lnTo>
                  <a:lnTo>
                    <a:pt x="4376457" y="2512342"/>
                  </a:lnTo>
                  <a:lnTo>
                    <a:pt x="4377398" y="2516540"/>
                  </a:lnTo>
                  <a:lnTo>
                    <a:pt x="4377513" y="2518390"/>
                  </a:lnTo>
                  <a:lnTo>
                    <a:pt x="4377095" y="2520192"/>
                  </a:lnTo>
                  <a:lnTo>
                    <a:pt x="4374710" y="2524565"/>
                  </a:lnTo>
                  <a:lnTo>
                    <a:pt x="4373748" y="2528799"/>
                  </a:lnTo>
                  <a:lnTo>
                    <a:pt x="4373039" y="2530106"/>
                  </a:lnTo>
                  <a:lnTo>
                    <a:pt x="4373418" y="2530753"/>
                  </a:lnTo>
                  <a:lnTo>
                    <a:pt x="4374420" y="2530930"/>
                  </a:lnTo>
                  <a:lnTo>
                    <a:pt x="4374897" y="2532193"/>
                  </a:lnTo>
                  <a:lnTo>
                    <a:pt x="4375379" y="2535778"/>
                  </a:lnTo>
                  <a:lnTo>
                    <a:pt x="4375491" y="2533846"/>
                  </a:lnTo>
                  <a:lnTo>
                    <a:pt x="4377074" y="2529424"/>
                  </a:lnTo>
                  <a:lnTo>
                    <a:pt x="4377016" y="2524649"/>
                  </a:lnTo>
                  <a:lnTo>
                    <a:pt x="4377257" y="2522965"/>
                  </a:lnTo>
                  <a:lnTo>
                    <a:pt x="4377919" y="2521643"/>
                  </a:lnTo>
                  <a:lnTo>
                    <a:pt x="4379708" y="2519300"/>
                  </a:lnTo>
                  <a:lnTo>
                    <a:pt x="4380043" y="2517671"/>
                  </a:lnTo>
                  <a:lnTo>
                    <a:pt x="4378668" y="2513678"/>
                  </a:lnTo>
                  <a:lnTo>
                    <a:pt x="4378647" y="2513096"/>
                  </a:lnTo>
                  <a:lnTo>
                    <a:pt x="4379222" y="2511367"/>
                  </a:lnTo>
                  <a:lnTo>
                    <a:pt x="4379504" y="2510862"/>
                  </a:lnTo>
                  <a:lnTo>
                    <a:pt x="4380510" y="2510210"/>
                  </a:lnTo>
                  <a:lnTo>
                    <a:pt x="4381312" y="2510257"/>
                  </a:lnTo>
                  <a:lnTo>
                    <a:pt x="4381919" y="2510142"/>
                  </a:lnTo>
                  <a:lnTo>
                    <a:pt x="4382369" y="2509050"/>
                  </a:lnTo>
                  <a:lnTo>
                    <a:pt x="4383158" y="2500056"/>
                  </a:lnTo>
                  <a:lnTo>
                    <a:pt x="4383563" y="2498551"/>
                  </a:lnTo>
                  <a:lnTo>
                    <a:pt x="4384146" y="2497198"/>
                  </a:lnTo>
                  <a:lnTo>
                    <a:pt x="4384925" y="2495984"/>
                  </a:lnTo>
                  <a:lnTo>
                    <a:pt x="4385289" y="2495980"/>
                  </a:lnTo>
                  <a:lnTo>
                    <a:pt x="4385825" y="2496209"/>
                  </a:lnTo>
                  <a:lnTo>
                    <a:pt x="4386273" y="2496204"/>
                  </a:lnTo>
                  <a:lnTo>
                    <a:pt x="4386397" y="2495528"/>
                  </a:lnTo>
                  <a:lnTo>
                    <a:pt x="4386275" y="2494178"/>
                  </a:lnTo>
                  <a:lnTo>
                    <a:pt x="4386293" y="2493527"/>
                  </a:lnTo>
                  <a:lnTo>
                    <a:pt x="4386814" y="2492290"/>
                  </a:lnTo>
                  <a:lnTo>
                    <a:pt x="4386735" y="2491124"/>
                  </a:lnTo>
                  <a:lnTo>
                    <a:pt x="4386909" y="2490283"/>
                  </a:lnTo>
                  <a:lnTo>
                    <a:pt x="4388017" y="2490385"/>
                  </a:lnTo>
                  <a:lnTo>
                    <a:pt x="4388576" y="2495435"/>
                  </a:lnTo>
                  <a:lnTo>
                    <a:pt x="4389391" y="2496316"/>
                  </a:lnTo>
                  <a:lnTo>
                    <a:pt x="4389782" y="2497590"/>
                  </a:lnTo>
                  <a:lnTo>
                    <a:pt x="4390195" y="2500611"/>
                  </a:lnTo>
                  <a:lnTo>
                    <a:pt x="4390889" y="2498942"/>
                  </a:lnTo>
                  <a:lnTo>
                    <a:pt x="4391023" y="2494762"/>
                  </a:lnTo>
                  <a:lnTo>
                    <a:pt x="4392729" y="2491979"/>
                  </a:lnTo>
                  <a:lnTo>
                    <a:pt x="4393364" y="2488327"/>
                  </a:lnTo>
                  <a:lnTo>
                    <a:pt x="4394517" y="2487196"/>
                  </a:lnTo>
                  <a:lnTo>
                    <a:pt x="4395039" y="2488832"/>
                  </a:lnTo>
                  <a:lnTo>
                    <a:pt x="4394786" y="2489990"/>
                  </a:lnTo>
                  <a:lnTo>
                    <a:pt x="4394362" y="2491109"/>
                  </a:lnTo>
                  <a:lnTo>
                    <a:pt x="4394342" y="2492641"/>
                  </a:lnTo>
                  <a:lnTo>
                    <a:pt x="4394719" y="2493946"/>
                  </a:lnTo>
                  <a:lnTo>
                    <a:pt x="4395636" y="2496344"/>
                  </a:lnTo>
                  <a:lnTo>
                    <a:pt x="4395929" y="2497761"/>
                  </a:lnTo>
                  <a:lnTo>
                    <a:pt x="4395116" y="2506659"/>
                  </a:lnTo>
                  <a:lnTo>
                    <a:pt x="4395889" y="2509402"/>
                  </a:lnTo>
                  <a:lnTo>
                    <a:pt x="4395565" y="2509609"/>
                  </a:lnTo>
                  <a:lnTo>
                    <a:pt x="4394005" y="2509756"/>
                  </a:lnTo>
                  <a:lnTo>
                    <a:pt x="4393217" y="2512730"/>
                  </a:lnTo>
                  <a:lnTo>
                    <a:pt x="4393314" y="2516788"/>
                  </a:lnTo>
                  <a:lnTo>
                    <a:pt x="4394400" y="2520175"/>
                  </a:lnTo>
                  <a:lnTo>
                    <a:pt x="4394664" y="2519311"/>
                  </a:lnTo>
                  <a:lnTo>
                    <a:pt x="4395829" y="2510941"/>
                  </a:lnTo>
                  <a:lnTo>
                    <a:pt x="4398139" y="2503445"/>
                  </a:lnTo>
                  <a:lnTo>
                    <a:pt x="4398263" y="2502556"/>
                  </a:lnTo>
                  <a:lnTo>
                    <a:pt x="4398138" y="2501154"/>
                  </a:lnTo>
                  <a:lnTo>
                    <a:pt x="4397573" y="2498631"/>
                  </a:lnTo>
                  <a:lnTo>
                    <a:pt x="4396871" y="2493235"/>
                  </a:lnTo>
                  <a:lnTo>
                    <a:pt x="4397122" y="2492502"/>
                  </a:lnTo>
                  <a:lnTo>
                    <a:pt x="4397575" y="2492053"/>
                  </a:lnTo>
                  <a:lnTo>
                    <a:pt x="4397663" y="2491642"/>
                  </a:lnTo>
                  <a:lnTo>
                    <a:pt x="4396830" y="2491048"/>
                  </a:lnTo>
                  <a:lnTo>
                    <a:pt x="4397759" y="2489425"/>
                  </a:lnTo>
                  <a:lnTo>
                    <a:pt x="4401196" y="2488266"/>
                  </a:lnTo>
                  <a:lnTo>
                    <a:pt x="4402167" y="2486730"/>
                  </a:lnTo>
                  <a:lnTo>
                    <a:pt x="4401135" y="2485867"/>
                  </a:lnTo>
                  <a:lnTo>
                    <a:pt x="4400729" y="2484983"/>
                  </a:lnTo>
                  <a:lnTo>
                    <a:pt x="4400871" y="2484176"/>
                  </a:lnTo>
                  <a:lnTo>
                    <a:pt x="4401458" y="2483543"/>
                  </a:lnTo>
                  <a:lnTo>
                    <a:pt x="4401861" y="2482875"/>
                  </a:lnTo>
                  <a:lnTo>
                    <a:pt x="4401820" y="2481941"/>
                  </a:lnTo>
                  <a:lnTo>
                    <a:pt x="4401618" y="2480925"/>
                  </a:lnTo>
                  <a:lnTo>
                    <a:pt x="4401528" y="2480017"/>
                  </a:lnTo>
                  <a:lnTo>
                    <a:pt x="4401771" y="2478189"/>
                  </a:lnTo>
                  <a:lnTo>
                    <a:pt x="4402273" y="2476284"/>
                  </a:lnTo>
                  <a:lnTo>
                    <a:pt x="4403065" y="2474678"/>
                  </a:lnTo>
                  <a:lnTo>
                    <a:pt x="4404191" y="2473759"/>
                  </a:lnTo>
                  <a:lnTo>
                    <a:pt x="4405196" y="2475111"/>
                  </a:lnTo>
                  <a:lnTo>
                    <a:pt x="4407040" y="2476203"/>
                  </a:lnTo>
                  <a:lnTo>
                    <a:pt x="4407296" y="2477179"/>
                  </a:lnTo>
                  <a:lnTo>
                    <a:pt x="4407975" y="2477557"/>
                  </a:lnTo>
                  <a:lnTo>
                    <a:pt x="4407652" y="2477767"/>
                  </a:lnTo>
                  <a:lnTo>
                    <a:pt x="4408042" y="2477945"/>
                  </a:lnTo>
                  <a:lnTo>
                    <a:pt x="4408270" y="2478015"/>
                  </a:lnTo>
                  <a:lnTo>
                    <a:pt x="4408785" y="2478005"/>
                  </a:lnTo>
                  <a:lnTo>
                    <a:pt x="4408602" y="2476079"/>
                  </a:lnTo>
                  <a:lnTo>
                    <a:pt x="4410381" y="2477275"/>
                  </a:lnTo>
                  <a:lnTo>
                    <a:pt x="4411825" y="2479204"/>
                  </a:lnTo>
                  <a:lnTo>
                    <a:pt x="4410623" y="2479488"/>
                  </a:lnTo>
                  <a:lnTo>
                    <a:pt x="4410987" y="2480544"/>
                  </a:lnTo>
                  <a:lnTo>
                    <a:pt x="4411504" y="2483380"/>
                  </a:lnTo>
                  <a:lnTo>
                    <a:pt x="4412170" y="2483093"/>
                  </a:lnTo>
                  <a:lnTo>
                    <a:pt x="4412772" y="2483197"/>
                  </a:lnTo>
                  <a:lnTo>
                    <a:pt x="4413294" y="2483693"/>
                  </a:lnTo>
                  <a:lnTo>
                    <a:pt x="4413727" y="2484608"/>
                  </a:lnTo>
                  <a:lnTo>
                    <a:pt x="4413772" y="2485450"/>
                  </a:lnTo>
                  <a:lnTo>
                    <a:pt x="4413289" y="2485641"/>
                  </a:lnTo>
                  <a:lnTo>
                    <a:pt x="4412341" y="2485505"/>
                  </a:lnTo>
                  <a:lnTo>
                    <a:pt x="4411915" y="2486365"/>
                  </a:lnTo>
                  <a:lnTo>
                    <a:pt x="4411827" y="2486905"/>
                  </a:lnTo>
                  <a:lnTo>
                    <a:pt x="4411848" y="2487529"/>
                  </a:lnTo>
                  <a:lnTo>
                    <a:pt x="4411597" y="2489092"/>
                  </a:lnTo>
                  <a:lnTo>
                    <a:pt x="4411194" y="2490404"/>
                  </a:lnTo>
                  <a:lnTo>
                    <a:pt x="4409944" y="2491937"/>
                  </a:lnTo>
                  <a:lnTo>
                    <a:pt x="4409255" y="2493325"/>
                  </a:lnTo>
                  <a:lnTo>
                    <a:pt x="4408399" y="2494460"/>
                  </a:lnTo>
                  <a:lnTo>
                    <a:pt x="4405601" y="2495024"/>
                  </a:lnTo>
                  <a:lnTo>
                    <a:pt x="4404355" y="2495904"/>
                  </a:lnTo>
                  <a:lnTo>
                    <a:pt x="4403849" y="2496913"/>
                  </a:lnTo>
                  <a:lnTo>
                    <a:pt x="4404693" y="2497559"/>
                  </a:lnTo>
                  <a:lnTo>
                    <a:pt x="4404683" y="2498444"/>
                  </a:lnTo>
                  <a:lnTo>
                    <a:pt x="4406590" y="2500208"/>
                  </a:lnTo>
                  <a:lnTo>
                    <a:pt x="4407065" y="2499469"/>
                  </a:lnTo>
                  <a:lnTo>
                    <a:pt x="4406976" y="2497592"/>
                  </a:lnTo>
                  <a:lnTo>
                    <a:pt x="4407191" y="2495953"/>
                  </a:lnTo>
                  <a:lnTo>
                    <a:pt x="4407800" y="2495662"/>
                  </a:lnTo>
                  <a:lnTo>
                    <a:pt x="4408665" y="2495689"/>
                  </a:lnTo>
                  <a:lnTo>
                    <a:pt x="4409429" y="2495552"/>
                  </a:lnTo>
                  <a:lnTo>
                    <a:pt x="4409966" y="2494044"/>
                  </a:lnTo>
                  <a:lnTo>
                    <a:pt x="4410571" y="2494557"/>
                  </a:lnTo>
                  <a:lnTo>
                    <a:pt x="4411214" y="2495644"/>
                  </a:lnTo>
                  <a:lnTo>
                    <a:pt x="4411590" y="2496686"/>
                  </a:lnTo>
                  <a:lnTo>
                    <a:pt x="4415404" y="2495106"/>
                  </a:lnTo>
                  <a:lnTo>
                    <a:pt x="4415760" y="2494254"/>
                  </a:lnTo>
                  <a:lnTo>
                    <a:pt x="4415669" y="2491367"/>
                  </a:lnTo>
                  <a:lnTo>
                    <a:pt x="4415769" y="2490421"/>
                  </a:lnTo>
                  <a:lnTo>
                    <a:pt x="4416608" y="2489389"/>
                  </a:lnTo>
                  <a:lnTo>
                    <a:pt x="4419872" y="2487763"/>
                  </a:lnTo>
                  <a:lnTo>
                    <a:pt x="4420307" y="2487721"/>
                  </a:lnTo>
                  <a:lnTo>
                    <a:pt x="4421354" y="2488210"/>
                  </a:lnTo>
                  <a:lnTo>
                    <a:pt x="4421944" y="2488204"/>
                  </a:lnTo>
                  <a:lnTo>
                    <a:pt x="4422381" y="2487873"/>
                  </a:lnTo>
                  <a:lnTo>
                    <a:pt x="4422834" y="2486898"/>
                  </a:lnTo>
                  <a:lnTo>
                    <a:pt x="4423675" y="2485729"/>
                  </a:lnTo>
                  <a:lnTo>
                    <a:pt x="4424548" y="2481968"/>
                  </a:lnTo>
                  <a:lnTo>
                    <a:pt x="4425350" y="2480227"/>
                  </a:lnTo>
                  <a:lnTo>
                    <a:pt x="4425123" y="2479582"/>
                  </a:lnTo>
                  <a:lnTo>
                    <a:pt x="4424279" y="2478200"/>
                  </a:lnTo>
                  <a:lnTo>
                    <a:pt x="4423652" y="2476516"/>
                  </a:lnTo>
                  <a:lnTo>
                    <a:pt x="4424299" y="2476057"/>
                  </a:lnTo>
                  <a:lnTo>
                    <a:pt x="4425505" y="2476393"/>
                  </a:lnTo>
                  <a:lnTo>
                    <a:pt x="4426597" y="2477135"/>
                  </a:lnTo>
                  <a:lnTo>
                    <a:pt x="4427538" y="2478486"/>
                  </a:lnTo>
                  <a:lnTo>
                    <a:pt x="4428026" y="2479829"/>
                  </a:lnTo>
                  <a:lnTo>
                    <a:pt x="4428582" y="2481111"/>
                  </a:lnTo>
                  <a:lnTo>
                    <a:pt x="4429716" y="2482241"/>
                  </a:lnTo>
                  <a:lnTo>
                    <a:pt x="4430554" y="2480298"/>
                  </a:lnTo>
                  <a:lnTo>
                    <a:pt x="4431909" y="2479268"/>
                  </a:lnTo>
                  <a:lnTo>
                    <a:pt x="4432991" y="2479845"/>
                  </a:lnTo>
                  <a:lnTo>
                    <a:pt x="4433025" y="2482775"/>
                  </a:lnTo>
                  <a:lnTo>
                    <a:pt x="4432419" y="2485605"/>
                  </a:lnTo>
                  <a:lnTo>
                    <a:pt x="4432450" y="2486718"/>
                  </a:lnTo>
                  <a:lnTo>
                    <a:pt x="4432896" y="2489697"/>
                  </a:lnTo>
                  <a:lnTo>
                    <a:pt x="4432842" y="2490871"/>
                  </a:lnTo>
                  <a:lnTo>
                    <a:pt x="4432334" y="2492235"/>
                  </a:lnTo>
                  <a:lnTo>
                    <a:pt x="4432279" y="2492116"/>
                  </a:lnTo>
                  <a:lnTo>
                    <a:pt x="4431939" y="2492258"/>
                  </a:lnTo>
                  <a:lnTo>
                    <a:pt x="4431528" y="2492574"/>
                  </a:lnTo>
                  <a:lnTo>
                    <a:pt x="4431238" y="2492949"/>
                  </a:lnTo>
                  <a:lnTo>
                    <a:pt x="4430759" y="2499808"/>
                  </a:lnTo>
                  <a:lnTo>
                    <a:pt x="4430460" y="2500672"/>
                  </a:lnTo>
                  <a:lnTo>
                    <a:pt x="4430112" y="2500861"/>
                  </a:lnTo>
                  <a:lnTo>
                    <a:pt x="4429549" y="2500992"/>
                  </a:lnTo>
                  <a:lnTo>
                    <a:pt x="4429062" y="2500957"/>
                  </a:lnTo>
                  <a:lnTo>
                    <a:pt x="4428969" y="2500667"/>
                  </a:lnTo>
                  <a:lnTo>
                    <a:pt x="4428674" y="2502643"/>
                  </a:lnTo>
                  <a:lnTo>
                    <a:pt x="4427289" y="2505449"/>
                  </a:lnTo>
                  <a:lnTo>
                    <a:pt x="4426983" y="2506496"/>
                  </a:lnTo>
                  <a:lnTo>
                    <a:pt x="4428602" y="2507089"/>
                  </a:lnTo>
                  <a:lnTo>
                    <a:pt x="4428914" y="2509277"/>
                  </a:lnTo>
                  <a:lnTo>
                    <a:pt x="4428457" y="2511734"/>
                  </a:lnTo>
                  <a:lnTo>
                    <a:pt x="4426977" y="2514426"/>
                  </a:lnTo>
                  <a:lnTo>
                    <a:pt x="4426423" y="2516714"/>
                  </a:lnTo>
                  <a:lnTo>
                    <a:pt x="4426267" y="2519153"/>
                  </a:lnTo>
                  <a:lnTo>
                    <a:pt x="4426723" y="2520907"/>
                  </a:lnTo>
                  <a:lnTo>
                    <a:pt x="4427814" y="2522049"/>
                  </a:lnTo>
                  <a:lnTo>
                    <a:pt x="4428062" y="2521524"/>
                  </a:lnTo>
                  <a:lnTo>
                    <a:pt x="4428187" y="2520552"/>
                  </a:lnTo>
                  <a:lnTo>
                    <a:pt x="4428908" y="2520394"/>
                  </a:lnTo>
                  <a:lnTo>
                    <a:pt x="4429756" y="2521307"/>
                  </a:lnTo>
                  <a:lnTo>
                    <a:pt x="4429940" y="2522541"/>
                  </a:lnTo>
                  <a:lnTo>
                    <a:pt x="4429976" y="2523907"/>
                  </a:lnTo>
                  <a:lnTo>
                    <a:pt x="4430390" y="2525262"/>
                  </a:lnTo>
                  <a:lnTo>
                    <a:pt x="4430651" y="2527369"/>
                  </a:lnTo>
                  <a:lnTo>
                    <a:pt x="4427801" y="2533557"/>
                  </a:lnTo>
                  <a:lnTo>
                    <a:pt x="4429899" y="2533927"/>
                  </a:lnTo>
                  <a:lnTo>
                    <a:pt x="4430862" y="2532826"/>
                  </a:lnTo>
                  <a:lnTo>
                    <a:pt x="4431428" y="2531158"/>
                  </a:lnTo>
                  <a:lnTo>
                    <a:pt x="4432730" y="2529148"/>
                  </a:lnTo>
                  <a:lnTo>
                    <a:pt x="4433224" y="2526937"/>
                  </a:lnTo>
                  <a:lnTo>
                    <a:pt x="4434287" y="2525423"/>
                  </a:lnTo>
                  <a:lnTo>
                    <a:pt x="4433842" y="2524724"/>
                  </a:lnTo>
                  <a:lnTo>
                    <a:pt x="4432928" y="2524008"/>
                  </a:lnTo>
                  <a:lnTo>
                    <a:pt x="4432135" y="2523199"/>
                  </a:lnTo>
                  <a:lnTo>
                    <a:pt x="4430008" y="2519553"/>
                  </a:lnTo>
                  <a:lnTo>
                    <a:pt x="4429163" y="2517105"/>
                  </a:lnTo>
                  <a:lnTo>
                    <a:pt x="4429803" y="2514930"/>
                  </a:lnTo>
                  <a:lnTo>
                    <a:pt x="4429874" y="2512989"/>
                  </a:lnTo>
                  <a:lnTo>
                    <a:pt x="4430252" y="2512314"/>
                  </a:lnTo>
                  <a:lnTo>
                    <a:pt x="4431954" y="2510305"/>
                  </a:lnTo>
                  <a:lnTo>
                    <a:pt x="4432226" y="2509778"/>
                  </a:lnTo>
                  <a:lnTo>
                    <a:pt x="4432416" y="2508347"/>
                  </a:lnTo>
                  <a:lnTo>
                    <a:pt x="4433862" y="2504635"/>
                  </a:lnTo>
                  <a:lnTo>
                    <a:pt x="4436658" y="2487933"/>
                  </a:lnTo>
                  <a:lnTo>
                    <a:pt x="4437470" y="2486842"/>
                  </a:lnTo>
                  <a:lnTo>
                    <a:pt x="4438682" y="2487184"/>
                  </a:lnTo>
                  <a:lnTo>
                    <a:pt x="4440263" y="2489731"/>
                  </a:lnTo>
                  <a:lnTo>
                    <a:pt x="4440496" y="2488316"/>
                  </a:lnTo>
                  <a:lnTo>
                    <a:pt x="4438838" y="2481645"/>
                  </a:lnTo>
                  <a:lnTo>
                    <a:pt x="4438968" y="2475297"/>
                  </a:lnTo>
                  <a:lnTo>
                    <a:pt x="4438819" y="2474978"/>
                  </a:lnTo>
                  <a:lnTo>
                    <a:pt x="4437968" y="2473670"/>
                  </a:lnTo>
                  <a:lnTo>
                    <a:pt x="4438070" y="2471857"/>
                  </a:lnTo>
                  <a:lnTo>
                    <a:pt x="4437902" y="2470862"/>
                  </a:lnTo>
                  <a:lnTo>
                    <a:pt x="4437677" y="2470049"/>
                  </a:lnTo>
                  <a:lnTo>
                    <a:pt x="4437517" y="2469221"/>
                  </a:lnTo>
                  <a:lnTo>
                    <a:pt x="4437554" y="2468161"/>
                  </a:lnTo>
                  <a:lnTo>
                    <a:pt x="4437967" y="2466896"/>
                  </a:lnTo>
                  <a:lnTo>
                    <a:pt x="4438737" y="2465860"/>
                  </a:lnTo>
                  <a:lnTo>
                    <a:pt x="4439706" y="2465445"/>
                  </a:lnTo>
                  <a:lnTo>
                    <a:pt x="4440734" y="2466065"/>
                  </a:lnTo>
                  <a:lnTo>
                    <a:pt x="4440502" y="2467052"/>
                  </a:lnTo>
                  <a:lnTo>
                    <a:pt x="4440771" y="2468093"/>
                  </a:lnTo>
                  <a:lnTo>
                    <a:pt x="4441421" y="2469187"/>
                  </a:lnTo>
                  <a:lnTo>
                    <a:pt x="4442319" y="2470326"/>
                  </a:lnTo>
                  <a:lnTo>
                    <a:pt x="4442534" y="2468945"/>
                  </a:lnTo>
                  <a:lnTo>
                    <a:pt x="4442476" y="2466691"/>
                  </a:lnTo>
                  <a:lnTo>
                    <a:pt x="4442222" y="2464427"/>
                  </a:lnTo>
                  <a:lnTo>
                    <a:pt x="4441433" y="2461612"/>
                  </a:lnTo>
                  <a:lnTo>
                    <a:pt x="4442572" y="2461789"/>
                  </a:lnTo>
                  <a:lnTo>
                    <a:pt x="4444326" y="2462972"/>
                  </a:lnTo>
                  <a:lnTo>
                    <a:pt x="4445755" y="2464546"/>
                  </a:lnTo>
                  <a:lnTo>
                    <a:pt x="4447160" y="2468862"/>
                  </a:lnTo>
                  <a:lnTo>
                    <a:pt x="4446452" y="2472403"/>
                  </a:lnTo>
                  <a:lnTo>
                    <a:pt x="4445085" y="2475570"/>
                  </a:lnTo>
                  <a:lnTo>
                    <a:pt x="4444548" y="2478790"/>
                  </a:lnTo>
                  <a:lnTo>
                    <a:pt x="4444753" y="2479788"/>
                  </a:lnTo>
                  <a:lnTo>
                    <a:pt x="4445332" y="2481782"/>
                  </a:lnTo>
                  <a:lnTo>
                    <a:pt x="4445450" y="2482680"/>
                  </a:lnTo>
                  <a:lnTo>
                    <a:pt x="4445221" y="2483519"/>
                  </a:lnTo>
                  <a:lnTo>
                    <a:pt x="4444330" y="2485028"/>
                  </a:lnTo>
                  <a:lnTo>
                    <a:pt x="4443138" y="2491207"/>
                  </a:lnTo>
                  <a:lnTo>
                    <a:pt x="4443675" y="2492870"/>
                  </a:lnTo>
                  <a:lnTo>
                    <a:pt x="4444850" y="2493566"/>
                  </a:lnTo>
                  <a:lnTo>
                    <a:pt x="4445079" y="2491960"/>
                  </a:lnTo>
                  <a:lnTo>
                    <a:pt x="4445069" y="2489616"/>
                  </a:lnTo>
                  <a:lnTo>
                    <a:pt x="4445504" y="2488087"/>
                  </a:lnTo>
                  <a:lnTo>
                    <a:pt x="4446665" y="2487181"/>
                  </a:lnTo>
                  <a:lnTo>
                    <a:pt x="4447556" y="2486030"/>
                  </a:lnTo>
                  <a:lnTo>
                    <a:pt x="4448061" y="2484598"/>
                  </a:lnTo>
                  <a:lnTo>
                    <a:pt x="4448022" y="2482409"/>
                  </a:lnTo>
                  <a:lnTo>
                    <a:pt x="4448125" y="2482170"/>
                  </a:lnTo>
                  <a:lnTo>
                    <a:pt x="4448256" y="2481988"/>
                  </a:lnTo>
                  <a:lnTo>
                    <a:pt x="4448354" y="2481742"/>
                  </a:lnTo>
                  <a:lnTo>
                    <a:pt x="4446839" y="2479952"/>
                  </a:lnTo>
                  <a:lnTo>
                    <a:pt x="4446940" y="2478288"/>
                  </a:lnTo>
                  <a:lnTo>
                    <a:pt x="4448405" y="2475351"/>
                  </a:lnTo>
                  <a:lnTo>
                    <a:pt x="4450054" y="2476726"/>
                  </a:lnTo>
                  <a:lnTo>
                    <a:pt x="4451193" y="2476765"/>
                  </a:lnTo>
                  <a:lnTo>
                    <a:pt x="4451307" y="2475867"/>
                  </a:lnTo>
                  <a:lnTo>
                    <a:pt x="4449854" y="2474394"/>
                  </a:lnTo>
                  <a:lnTo>
                    <a:pt x="4449559" y="2473355"/>
                  </a:lnTo>
                  <a:lnTo>
                    <a:pt x="4449329" y="2472031"/>
                  </a:lnTo>
                  <a:lnTo>
                    <a:pt x="4449506" y="2470919"/>
                  </a:lnTo>
                  <a:lnTo>
                    <a:pt x="4450438" y="2470507"/>
                  </a:lnTo>
                  <a:lnTo>
                    <a:pt x="4451710" y="2471066"/>
                  </a:lnTo>
                  <a:lnTo>
                    <a:pt x="4452229" y="2472231"/>
                  </a:lnTo>
                  <a:lnTo>
                    <a:pt x="4452612" y="2473566"/>
                  </a:lnTo>
                  <a:lnTo>
                    <a:pt x="4453510" y="2474667"/>
                  </a:lnTo>
                  <a:lnTo>
                    <a:pt x="4453720" y="2472186"/>
                  </a:lnTo>
                  <a:lnTo>
                    <a:pt x="4453415" y="2470815"/>
                  </a:lnTo>
                  <a:lnTo>
                    <a:pt x="4452343" y="2468753"/>
                  </a:lnTo>
                  <a:lnTo>
                    <a:pt x="4451612" y="2466798"/>
                  </a:lnTo>
                  <a:lnTo>
                    <a:pt x="4451789" y="2465171"/>
                  </a:lnTo>
                  <a:lnTo>
                    <a:pt x="4452701" y="2464240"/>
                  </a:lnTo>
                  <a:lnTo>
                    <a:pt x="4454187" y="2464346"/>
                  </a:lnTo>
                  <a:lnTo>
                    <a:pt x="4454746" y="2464927"/>
                  </a:lnTo>
                  <a:lnTo>
                    <a:pt x="4455292" y="2465850"/>
                  </a:lnTo>
                  <a:lnTo>
                    <a:pt x="4455945" y="2466701"/>
                  </a:lnTo>
                  <a:lnTo>
                    <a:pt x="4456837" y="2467084"/>
                  </a:lnTo>
                  <a:lnTo>
                    <a:pt x="4456970" y="2466647"/>
                  </a:lnTo>
                  <a:lnTo>
                    <a:pt x="4457071" y="2464668"/>
                  </a:lnTo>
                  <a:lnTo>
                    <a:pt x="4457252" y="2464097"/>
                  </a:lnTo>
                  <a:lnTo>
                    <a:pt x="4458269" y="2464605"/>
                  </a:lnTo>
                  <a:lnTo>
                    <a:pt x="4459222" y="2466607"/>
                  </a:lnTo>
                  <a:lnTo>
                    <a:pt x="4460263" y="2470189"/>
                  </a:lnTo>
                  <a:lnTo>
                    <a:pt x="4460988" y="2477433"/>
                  </a:lnTo>
                  <a:lnTo>
                    <a:pt x="4460981" y="2479187"/>
                  </a:lnTo>
                  <a:lnTo>
                    <a:pt x="4461225" y="2480042"/>
                  </a:lnTo>
                  <a:lnTo>
                    <a:pt x="4461865" y="2480066"/>
                  </a:lnTo>
                  <a:lnTo>
                    <a:pt x="4462066" y="2479596"/>
                  </a:lnTo>
                  <a:lnTo>
                    <a:pt x="4461987" y="2477925"/>
                  </a:lnTo>
                  <a:lnTo>
                    <a:pt x="4462113" y="2477124"/>
                  </a:lnTo>
                  <a:lnTo>
                    <a:pt x="4462428" y="2476450"/>
                  </a:lnTo>
                  <a:lnTo>
                    <a:pt x="4462679" y="2476187"/>
                  </a:lnTo>
                  <a:lnTo>
                    <a:pt x="4462988" y="2476153"/>
                  </a:lnTo>
                  <a:lnTo>
                    <a:pt x="4463497" y="2476205"/>
                  </a:lnTo>
                  <a:lnTo>
                    <a:pt x="4463679" y="2476416"/>
                  </a:lnTo>
                  <a:lnTo>
                    <a:pt x="4464861" y="2477596"/>
                  </a:lnTo>
                  <a:lnTo>
                    <a:pt x="4465142" y="2477822"/>
                  </a:lnTo>
                  <a:lnTo>
                    <a:pt x="4465763" y="2477607"/>
                  </a:lnTo>
                  <a:lnTo>
                    <a:pt x="4466139" y="2477641"/>
                  </a:lnTo>
                  <a:lnTo>
                    <a:pt x="4467482" y="2478071"/>
                  </a:lnTo>
                  <a:lnTo>
                    <a:pt x="4470267" y="2478451"/>
                  </a:lnTo>
                  <a:lnTo>
                    <a:pt x="4471698" y="2478928"/>
                  </a:lnTo>
                  <a:lnTo>
                    <a:pt x="4471451" y="2480427"/>
                  </a:lnTo>
                  <a:lnTo>
                    <a:pt x="4469877" y="2482567"/>
                  </a:lnTo>
                  <a:lnTo>
                    <a:pt x="4469376" y="2483988"/>
                  </a:lnTo>
                  <a:lnTo>
                    <a:pt x="4469695" y="2483775"/>
                  </a:lnTo>
                  <a:lnTo>
                    <a:pt x="4469545" y="2485031"/>
                  </a:lnTo>
                  <a:lnTo>
                    <a:pt x="4468468" y="2488268"/>
                  </a:lnTo>
                  <a:lnTo>
                    <a:pt x="4468858" y="2488897"/>
                  </a:lnTo>
                  <a:lnTo>
                    <a:pt x="4471140" y="2487607"/>
                  </a:lnTo>
                  <a:lnTo>
                    <a:pt x="4471701" y="2487009"/>
                  </a:lnTo>
                  <a:lnTo>
                    <a:pt x="4472377" y="2485671"/>
                  </a:lnTo>
                  <a:lnTo>
                    <a:pt x="4472321" y="2485103"/>
                  </a:lnTo>
                  <a:lnTo>
                    <a:pt x="4472013" y="2484424"/>
                  </a:lnTo>
                  <a:lnTo>
                    <a:pt x="4471679" y="2483838"/>
                  </a:lnTo>
                  <a:lnTo>
                    <a:pt x="4471547" y="2483524"/>
                  </a:lnTo>
                  <a:lnTo>
                    <a:pt x="4472863" y="2482359"/>
                  </a:lnTo>
                  <a:lnTo>
                    <a:pt x="4474494" y="2482740"/>
                  </a:lnTo>
                  <a:lnTo>
                    <a:pt x="4475411" y="2483908"/>
                  </a:lnTo>
                  <a:lnTo>
                    <a:pt x="4474572" y="2485099"/>
                  </a:lnTo>
                  <a:lnTo>
                    <a:pt x="4475700" y="2486308"/>
                  </a:lnTo>
                  <a:lnTo>
                    <a:pt x="4475823" y="2487175"/>
                  </a:lnTo>
                  <a:lnTo>
                    <a:pt x="4475676" y="2488007"/>
                  </a:lnTo>
                  <a:lnTo>
                    <a:pt x="4476007" y="2489089"/>
                  </a:lnTo>
                  <a:lnTo>
                    <a:pt x="4476737" y="2489556"/>
                  </a:lnTo>
                  <a:lnTo>
                    <a:pt x="4477638" y="2489369"/>
                  </a:lnTo>
                  <a:lnTo>
                    <a:pt x="4481200" y="2487304"/>
                  </a:lnTo>
                  <a:lnTo>
                    <a:pt x="4481642" y="2486768"/>
                  </a:lnTo>
                  <a:lnTo>
                    <a:pt x="4481813" y="2485913"/>
                  </a:lnTo>
                  <a:lnTo>
                    <a:pt x="4481828" y="2485148"/>
                  </a:lnTo>
                  <a:lnTo>
                    <a:pt x="4482184" y="2484663"/>
                  </a:lnTo>
                  <a:lnTo>
                    <a:pt x="4484246" y="2484722"/>
                  </a:lnTo>
                  <a:lnTo>
                    <a:pt x="4484812" y="2484902"/>
                  </a:lnTo>
                  <a:lnTo>
                    <a:pt x="4485367" y="2485480"/>
                  </a:lnTo>
                  <a:lnTo>
                    <a:pt x="4486218" y="2486777"/>
                  </a:lnTo>
                  <a:lnTo>
                    <a:pt x="4487099" y="2487803"/>
                  </a:lnTo>
                  <a:lnTo>
                    <a:pt x="4487817" y="2488127"/>
                  </a:lnTo>
                  <a:lnTo>
                    <a:pt x="4488096" y="2487747"/>
                  </a:lnTo>
                  <a:lnTo>
                    <a:pt x="4486534" y="2483770"/>
                  </a:lnTo>
                  <a:lnTo>
                    <a:pt x="4487082" y="2482432"/>
                  </a:lnTo>
                  <a:lnTo>
                    <a:pt x="4488210" y="2482465"/>
                  </a:lnTo>
                  <a:lnTo>
                    <a:pt x="4488816" y="2483685"/>
                  </a:lnTo>
                  <a:lnTo>
                    <a:pt x="4490539" y="2484242"/>
                  </a:lnTo>
                  <a:lnTo>
                    <a:pt x="4492570" y="2484033"/>
                  </a:lnTo>
                  <a:lnTo>
                    <a:pt x="4495755" y="2482703"/>
                  </a:lnTo>
                  <a:lnTo>
                    <a:pt x="4500011" y="2479835"/>
                  </a:lnTo>
                  <a:lnTo>
                    <a:pt x="4499277" y="2481939"/>
                  </a:lnTo>
                  <a:lnTo>
                    <a:pt x="4499163" y="2483112"/>
                  </a:lnTo>
                  <a:lnTo>
                    <a:pt x="4499557" y="2484659"/>
                  </a:lnTo>
                  <a:lnTo>
                    <a:pt x="4500203" y="2483901"/>
                  </a:lnTo>
                  <a:lnTo>
                    <a:pt x="4500963" y="2482109"/>
                  </a:lnTo>
                  <a:lnTo>
                    <a:pt x="4501717" y="2481314"/>
                  </a:lnTo>
                  <a:lnTo>
                    <a:pt x="4505535" y="2479638"/>
                  </a:lnTo>
                  <a:lnTo>
                    <a:pt x="4506231" y="2481311"/>
                  </a:lnTo>
                  <a:lnTo>
                    <a:pt x="4507211" y="2482069"/>
                  </a:lnTo>
                  <a:lnTo>
                    <a:pt x="4508338" y="2482087"/>
                  </a:lnTo>
                  <a:lnTo>
                    <a:pt x="4509498" y="2481555"/>
                  </a:lnTo>
                  <a:lnTo>
                    <a:pt x="4509982" y="2480537"/>
                  </a:lnTo>
                  <a:lnTo>
                    <a:pt x="4509086" y="2479475"/>
                  </a:lnTo>
                  <a:lnTo>
                    <a:pt x="4507742" y="2478306"/>
                  </a:lnTo>
                  <a:lnTo>
                    <a:pt x="4506894" y="2476990"/>
                  </a:lnTo>
                  <a:lnTo>
                    <a:pt x="4507213" y="2476079"/>
                  </a:lnTo>
                  <a:lnTo>
                    <a:pt x="4516548" y="2469440"/>
                  </a:lnTo>
                  <a:lnTo>
                    <a:pt x="4517146" y="2469323"/>
                  </a:lnTo>
                  <a:lnTo>
                    <a:pt x="4517770" y="2469513"/>
                  </a:lnTo>
                  <a:lnTo>
                    <a:pt x="4518170" y="2469867"/>
                  </a:lnTo>
                  <a:lnTo>
                    <a:pt x="4518073" y="2470213"/>
                  </a:lnTo>
                  <a:lnTo>
                    <a:pt x="4517940" y="2471114"/>
                  </a:lnTo>
                  <a:lnTo>
                    <a:pt x="4519199" y="2472047"/>
                  </a:lnTo>
                  <a:lnTo>
                    <a:pt x="4520895" y="2472769"/>
                  </a:lnTo>
                  <a:lnTo>
                    <a:pt x="4522076" y="2473000"/>
                  </a:lnTo>
                  <a:lnTo>
                    <a:pt x="4523327" y="2472517"/>
                  </a:lnTo>
                  <a:lnTo>
                    <a:pt x="4529073" y="2468132"/>
                  </a:lnTo>
                  <a:lnTo>
                    <a:pt x="4530343" y="2468023"/>
                  </a:lnTo>
                  <a:lnTo>
                    <a:pt x="4531087" y="2469552"/>
                  </a:lnTo>
                  <a:lnTo>
                    <a:pt x="4532228" y="2469418"/>
                  </a:lnTo>
                  <a:lnTo>
                    <a:pt x="4532487" y="2468185"/>
                  </a:lnTo>
                  <a:lnTo>
                    <a:pt x="4532596" y="2466572"/>
                  </a:lnTo>
                  <a:lnTo>
                    <a:pt x="4533275" y="2465321"/>
                  </a:lnTo>
                  <a:lnTo>
                    <a:pt x="4537139" y="2462289"/>
                  </a:lnTo>
                  <a:lnTo>
                    <a:pt x="4538427" y="2462229"/>
                  </a:lnTo>
                  <a:lnTo>
                    <a:pt x="4544055" y="2464324"/>
                  </a:lnTo>
                  <a:lnTo>
                    <a:pt x="4544385" y="2464568"/>
                  </a:lnTo>
                  <a:lnTo>
                    <a:pt x="4544560" y="2464902"/>
                  </a:lnTo>
                  <a:lnTo>
                    <a:pt x="4544786" y="2465197"/>
                  </a:lnTo>
                  <a:lnTo>
                    <a:pt x="4545256" y="2465327"/>
                  </a:lnTo>
                  <a:lnTo>
                    <a:pt x="4545788" y="2465094"/>
                  </a:lnTo>
                  <a:lnTo>
                    <a:pt x="4545968" y="2464595"/>
                  </a:lnTo>
                  <a:lnTo>
                    <a:pt x="4546033" y="2464045"/>
                  </a:lnTo>
                  <a:lnTo>
                    <a:pt x="4546218" y="2463657"/>
                  </a:lnTo>
                  <a:lnTo>
                    <a:pt x="4546652" y="2463124"/>
                  </a:lnTo>
                  <a:lnTo>
                    <a:pt x="4546904" y="2462640"/>
                  </a:lnTo>
                  <a:lnTo>
                    <a:pt x="4547359" y="2462525"/>
                  </a:lnTo>
                  <a:lnTo>
                    <a:pt x="4548424" y="2463132"/>
                  </a:lnTo>
                  <a:lnTo>
                    <a:pt x="4549048" y="2464930"/>
                  </a:lnTo>
                  <a:lnTo>
                    <a:pt x="4550763" y="2465695"/>
                  </a:lnTo>
                  <a:lnTo>
                    <a:pt x="4552723" y="2465768"/>
                  </a:lnTo>
                  <a:lnTo>
                    <a:pt x="4553936" y="2465523"/>
                  </a:lnTo>
                  <a:lnTo>
                    <a:pt x="4556492" y="2462904"/>
                  </a:lnTo>
                  <a:lnTo>
                    <a:pt x="4558071" y="2461826"/>
                  </a:lnTo>
                  <a:lnTo>
                    <a:pt x="4558078" y="2461343"/>
                  </a:lnTo>
                  <a:lnTo>
                    <a:pt x="4557965" y="2460872"/>
                  </a:lnTo>
                  <a:lnTo>
                    <a:pt x="4557946" y="2460152"/>
                  </a:lnTo>
                  <a:lnTo>
                    <a:pt x="4558012" y="2459470"/>
                  </a:lnTo>
                  <a:lnTo>
                    <a:pt x="4558140" y="2459103"/>
                  </a:lnTo>
                  <a:lnTo>
                    <a:pt x="4561762" y="2456684"/>
                  </a:lnTo>
                  <a:lnTo>
                    <a:pt x="4564211" y="2456234"/>
                  </a:lnTo>
                  <a:lnTo>
                    <a:pt x="4565784" y="2458247"/>
                  </a:lnTo>
                  <a:lnTo>
                    <a:pt x="4566274" y="2457888"/>
                  </a:lnTo>
                  <a:lnTo>
                    <a:pt x="4566798" y="2457733"/>
                  </a:lnTo>
                  <a:lnTo>
                    <a:pt x="4567949" y="2457645"/>
                  </a:lnTo>
                  <a:lnTo>
                    <a:pt x="4568394" y="2458330"/>
                  </a:lnTo>
                  <a:lnTo>
                    <a:pt x="4568945" y="2459828"/>
                  </a:lnTo>
                  <a:lnTo>
                    <a:pt x="4570229" y="2459696"/>
                  </a:lnTo>
                  <a:lnTo>
                    <a:pt x="4572638" y="2458088"/>
                  </a:lnTo>
                  <a:lnTo>
                    <a:pt x="4572914" y="2458155"/>
                  </a:lnTo>
                  <a:lnTo>
                    <a:pt x="4573238" y="2458544"/>
                  </a:lnTo>
                  <a:lnTo>
                    <a:pt x="4573838" y="2459534"/>
                  </a:lnTo>
                  <a:lnTo>
                    <a:pt x="4574129" y="2460338"/>
                  </a:lnTo>
                  <a:lnTo>
                    <a:pt x="4573857" y="2460774"/>
                  </a:lnTo>
                  <a:lnTo>
                    <a:pt x="4573364" y="2461060"/>
                  </a:lnTo>
                  <a:lnTo>
                    <a:pt x="4573005" y="2461409"/>
                  </a:lnTo>
                  <a:lnTo>
                    <a:pt x="4572572" y="2462236"/>
                  </a:lnTo>
                  <a:lnTo>
                    <a:pt x="4571397" y="2463501"/>
                  </a:lnTo>
                  <a:lnTo>
                    <a:pt x="4570637" y="2464065"/>
                  </a:lnTo>
                  <a:lnTo>
                    <a:pt x="4571045" y="2464694"/>
                  </a:lnTo>
                  <a:lnTo>
                    <a:pt x="4572540" y="2463892"/>
                  </a:lnTo>
                  <a:lnTo>
                    <a:pt x="4574100" y="2463757"/>
                  </a:lnTo>
                  <a:lnTo>
                    <a:pt x="4575377" y="2464828"/>
                  </a:lnTo>
                  <a:lnTo>
                    <a:pt x="4576055" y="2467664"/>
                  </a:lnTo>
                  <a:lnTo>
                    <a:pt x="4575626" y="2469385"/>
                  </a:lnTo>
                  <a:lnTo>
                    <a:pt x="4574409" y="2470732"/>
                  </a:lnTo>
                  <a:lnTo>
                    <a:pt x="4562946" y="2478587"/>
                  </a:lnTo>
                  <a:lnTo>
                    <a:pt x="4561289" y="2481516"/>
                  </a:lnTo>
                  <a:lnTo>
                    <a:pt x="4562924" y="2481680"/>
                  </a:lnTo>
                  <a:lnTo>
                    <a:pt x="4573350" y="2474149"/>
                  </a:lnTo>
                  <a:lnTo>
                    <a:pt x="4574906" y="2473024"/>
                  </a:lnTo>
                  <a:lnTo>
                    <a:pt x="4577054" y="2472441"/>
                  </a:lnTo>
                  <a:lnTo>
                    <a:pt x="4576838" y="2474154"/>
                  </a:lnTo>
                  <a:lnTo>
                    <a:pt x="4575918" y="2474264"/>
                  </a:lnTo>
                  <a:lnTo>
                    <a:pt x="4574700" y="2473821"/>
                  </a:lnTo>
                  <a:lnTo>
                    <a:pt x="4573592" y="2474645"/>
                  </a:lnTo>
                  <a:lnTo>
                    <a:pt x="4572687" y="2475118"/>
                  </a:lnTo>
                  <a:lnTo>
                    <a:pt x="4571717" y="2477166"/>
                  </a:lnTo>
                  <a:lnTo>
                    <a:pt x="4571512" y="2478140"/>
                  </a:lnTo>
                  <a:lnTo>
                    <a:pt x="4573443" y="2478490"/>
                  </a:lnTo>
                  <a:lnTo>
                    <a:pt x="4573414" y="2479831"/>
                  </a:lnTo>
                  <a:lnTo>
                    <a:pt x="4572119" y="2482690"/>
                  </a:lnTo>
                  <a:lnTo>
                    <a:pt x="4571952" y="2484088"/>
                  </a:lnTo>
                  <a:lnTo>
                    <a:pt x="4570542" y="2487349"/>
                  </a:lnTo>
                  <a:lnTo>
                    <a:pt x="4569870" y="2488391"/>
                  </a:lnTo>
                  <a:lnTo>
                    <a:pt x="4568587" y="2489505"/>
                  </a:lnTo>
                  <a:lnTo>
                    <a:pt x="4563484" y="2491743"/>
                  </a:lnTo>
                  <a:lnTo>
                    <a:pt x="4562199" y="2491998"/>
                  </a:lnTo>
                  <a:lnTo>
                    <a:pt x="4561612" y="2492382"/>
                  </a:lnTo>
                  <a:lnTo>
                    <a:pt x="4561225" y="2493023"/>
                  </a:lnTo>
                  <a:lnTo>
                    <a:pt x="4560789" y="2494430"/>
                  </a:lnTo>
                  <a:lnTo>
                    <a:pt x="4560246" y="2495053"/>
                  </a:lnTo>
                  <a:lnTo>
                    <a:pt x="4559694" y="2495401"/>
                  </a:lnTo>
                  <a:lnTo>
                    <a:pt x="4559225" y="2495546"/>
                  </a:lnTo>
                  <a:lnTo>
                    <a:pt x="4558718" y="2495490"/>
                  </a:lnTo>
                  <a:lnTo>
                    <a:pt x="4558045" y="2495255"/>
                  </a:lnTo>
                  <a:lnTo>
                    <a:pt x="4557199" y="2495253"/>
                  </a:lnTo>
                  <a:lnTo>
                    <a:pt x="4556640" y="2495850"/>
                  </a:lnTo>
                  <a:lnTo>
                    <a:pt x="4556209" y="2496650"/>
                  </a:lnTo>
                  <a:lnTo>
                    <a:pt x="4543220" y="2509455"/>
                  </a:lnTo>
                  <a:lnTo>
                    <a:pt x="4543974" y="2510813"/>
                  </a:lnTo>
                  <a:lnTo>
                    <a:pt x="4542253" y="2514574"/>
                  </a:lnTo>
                  <a:lnTo>
                    <a:pt x="4542122" y="2516620"/>
                  </a:lnTo>
                  <a:lnTo>
                    <a:pt x="4544108" y="2514929"/>
                  </a:lnTo>
                  <a:lnTo>
                    <a:pt x="4547371" y="2510217"/>
                  </a:lnTo>
                  <a:lnTo>
                    <a:pt x="4549430" y="2508761"/>
                  </a:lnTo>
                  <a:lnTo>
                    <a:pt x="4549222" y="2510567"/>
                  </a:lnTo>
                  <a:lnTo>
                    <a:pt x="4547724" y="2513354"/>
                  </a:lnTo>
                  <a:lnTo>
                    <a:pt x="4547176" y="2514899"/>
                  </a:lnTo>
                  <a:lnTo>
                    <a:pt x="4546009" y="2514868"/>
                  </a:lnTo>
                  <a:lnTo>
                    <a:pt x="4545202" y="2515693"/>
                  </a:lnTo>
                  <a:lnTo>
                    <a:pt x="4544003" y="2517976"/>
                  </a:lnTo>
                  <a:lnTo>
                    <a:pt x="4544668" y="2518451"/>
                  </a:lnTo>
                  <a:lnTo>
                    <a:pt x="4546296" y="2519408"/>
                  </a:lnTo>
                  <a:lnTo>
                    <a:pt x="4546672" y="2519772"/>
                  </a:lnTo>
                  <a:lnTo>
                    <a:pt x="4546590" y="2520729"/>
                  </a:lnTo>
                  <a:lnTo>
                    <a:pt x="4545931" y="2521425"/>
                  </a:lnTo>
                  <a:lnTo>
                    <a:pt x="4542127" y="2524181"/>
                  </a:lnTo>
                  <a:lnTo>
                    <a:pt x="4535727" y="2531077"/>
                  </a:lnTo>
                  <a:lnTo>
                    <a:pt x="4532237" y="2536846"/>
                  </a:lnTo>
                  <a:lnTo>
                    <a:pt x="4528928" y="2545754"/>
                  </a:lnTo>
                  <a:lnTo>
                    <a:pt x="4527142" y="2548445"/>
                  </a:lnTo>
                  <a:lnTo>
                    <a:pt x="4519037" y="2553641"/>
                  </a:lnTo>
                  <a:lnTo>
                    <a:pt x="4514058" y="2560459"/>
                  </a:lnTo>
                  <a:lnTo>
                    <a:pt x="4507941" y="2566226"/>
                  </a:lnTo>
                  <a:lnTo>
                    <a:pt x="4506993" y="2567576"/>
                  </a:lnTo>
                  <a:lnTo>
                    <a:pt x="4506127" y="2570115"/>
                  </a:lnTo>
                  <a:lnTo>
                    <a:pt x="4503873" y="2572199"/>
                  </a:lnTo>
                  <a:lnTo>
                    <a:pt x="4502964" y="2574831"/>
                  </a:lnTo>
                  <a:lnTo>
                    <a:pt x="4496989" y="2581005"/>
                  </a:lnTo>
                  <a:lnTo>
                    <a:pt x="4495817" y="2581679"/>
                  </a:lnTo>
                  <a:lnTo>
                    <a:pt x="4489898" y="2583748"/>
                  </a:lnTo>
                  <a:lnTo>
                    <a:pt x="4487932" y="2585946"/>
                  </a:lnTo>
                  <a:lnTo>
                    <a:pt x="4487237" y="2587230"/>
                  </a:lnTo>
                  <a:lnTo>
                    <a:pt x="4487339" y="2588008"/>
                  </a:lnTo>
                  <a:lnTo>
                    <a:pt x="4486973" y="2588246"/>
                  </a:lnTo>
                  <a:lnTo>
                    <a:pt x="4487735" y="2588468"/>
                  </a:lnTo>
                  <a:lnTo>
                    <a:pt x="4491104" y="2587794"/>
                  </a:lnTo>
                  <a:lnTo>
                    <a:pt x="4491550" y="2587563"/>
                  </a:lnTo>
                  <a:lnTo>
                    <a:pt x="4491926" y="2587925"/>
                  </a:lnTo>
                  <a:lnTo>
                    <a:pt x="4492844" y="2589464"/>
                  </a:lnTo>
                  <a:lnTo>
                    <a:pt x="4493709" y="2589449"/>
                  </a:lnTo>
                  <a:lnTo>
                    <a:pt x="4496594" y="2585635"/>
                  </a:lnTo>
                  <a:lnTo>
                    <a:pt x="4503855" y="2580576"/>
                  </a:lnTo>
                  <a:lnTo>
                    <a:pt x="4511493" y="2570774"/>
                  </a:lnTo>
                  <a:lnTo>
                    <a:pt x="4518699" y="2563461"/>
                  </a:lnTo>
                  <a:lnTo>
                    <a:pt x="4524055" y="2554519"/>
                  </a:lnTo>
                  <a:lnTo>
                    <a:pt x="4526128" y="2551824"/>
                  </a:lnTo>
                  <a:lnTo>
                    <a:pt x="4527110" y="2550970"/>
                  </a:lnTo>
                  <a:lnTo>
                    <a:pt x="4529925" y="2549393"/>
                  </a:lnTo>
                  <a:lnTo>
                    <a:pt x="4530458" y="2548430"/>
                  </a:lnTo>
                  <a:lnTo>
                    <a:pt x="4530907" y="2545501"/>
                  </a:lnTo>
                  <a:lnTo>
                    <a:pt x="4533497" y="2540241"/>
                  </a:lnTo>
                  <a:lnTo>
                    <a:pt x="4534075" y="2537414"/>
                  </a:lnTo>
                  <a:lnTo>
                    <a:pt x="4534690" y="2537328"/>
                  </a:lnTo>
                  <a:lnTo>
                    <a:pt x="4535161" y="2537107"/>
                  </a:lnTo>
                  <a:lnTo>
                    <a:pt x="4535549" y="2536733"/>
                  </a:lnTo>
                  <a:lnTo>
                    <a:pt x="4535881" y="2536219"/>
                  </a:lnTo>
                  <a:lnTo>
                    <a:pt x="4536582" y="2535790"/>
                  </a:lnTo>
                  <a:lnTo>
                    <a:pt x="4537534" y="2534847"/>
                  </a:lnTo>
                  <a:lnTo>
                    <a:pt x="4538280" y="2533709"/>
                  </a:lnTo>
                  <a:lnTo>
                    <a:pt x="4538746" y="2532459"/>
                  </a:lnTo>
                  <a:lnTo>
                    <a:pt x="4538825" y="2529372"/>
                  </a:lnTo>
                  <a:lnTo>
                    <a:pt x="4539408" y="2528203"/>
                  </a:lnTo>
                  <a:lnTo>
                    <a:pt x="4541141" y="2528132"/>
                  </a:lnTo>
                  <a:lnTo>
                    <a:pt x="4540537" y="2529655"/>
                  </a:lnTo>
                  <a:lnTo>
                    <a:pt x="4540189" y="2531311"/>
                  </a:lnTo>
                  <a:lnTo>
                    <a:pt x="4540116" y="2533087"/>
                  </a:lnTo>
                  <a:lnTo>
                    <a:pt x="4540644" y="2537087"/>
                  </a:lnTo>
                  <a:lnTo>
                    <a:pt x="4540590" y="2538360"/>
                  </a:lnTo>
                  <a:lnTo>
                    <a:pt x="4539410" y="2541031"/>
                  </a:lnTo>
                  <a:lnTo>
                    <a:pt x="4538947" y="2542810"/>
                  </a:lnTo>
                  <a:lnTo>
                    <a:pt x="4539049" y="2544466"/>
                  </a:lnTo>
                  <a:lnTo>
                    <a:pt x="4539324" y="2546226"/>
                  </a:lnTo>
                  <a:lnTo>
                    <a:pt x="4539371" y="2548272"/>
                  </a:lnTo>
                  <a:lnTo>
                    <a:pt x="4538899" y="2552407"/>
                  </a:lnTo>
                  <a:lnTo>
                    <a:pt x="4538361" y="2554297"/>
                  </a:lnTo>
                  <a:lnTo>
                    <a:pt x="4537405" y="2555973"/>
                  </a:lnTo>
                  <a:lnTo>
                    <a:pt x="4534838" y="2558185"/>
                  </a:lnTo>
                  <a:lnTo>
                    <a:pt x="4525713" y="2561980"/>
                  </a:lnTo>
                  <a:lnTo>
                    <a:pt x="4517053" y="2570338"/>
                  </a:lnTo>
                  <a:lnTo>
                    <a:pt x="4517480" y="2571033"/>
                  </a:lnTo>
                  <a:lnTo>
                    <a:pt x="4524413" y="2567333"/>
                  </a:lnTo>
                  <a:lnTo>
                    <a:pt x="4524227" y="2572396"/>
                  </a:lnTo>
                  <a:lnTo>
                    <a:pt x="4524054" y="2573414"/>
                  </a:lnTo>
                  <a:lnTo>
                    <a:pt x="4523082" y="2575079"/>
                  </a:lnTo>
                  <a:lnTo>
                    <a:pt x="4522867" y="2576022"/>
                  </a:lnTo>
                  <a:lnTo>
                    <a:pt x="4521957" y="2577303"/>
                  </a:lnTo>
                  <a:lnTo>
                    <a:pt x="4518288" y="2579640"/>
                  </a:lnTo>
                  <a:lnTo>
                    <a:pt x="4518137" y="2580529"/>
                  </a:lnTo>
                  <a:lnTo>
                    <a:pt x="4516949" y="2581344"/>
                  </a:lnTo>
                  <a:lnTo>
                    <a:pt x="4513465" y="2585748"/>
                  </a:lnTo>
                  <a:lnTo>
                    <a:pt x="4511651" y="2589315"/>
                  </a:lnTo>
                  <a:lnTo>
                    <a:pt x="4510961" y="2592164"/>
                  </a:lnTo>
                  <a:lnTo>
                    <a:pt x="4509093" y="2594553"/>
                  </a:lnTo>
                  <a:lnTo>
                    <a:pt x="4508444" y="2595759"/>
                  </a:lnTo>
                  <a:lnTo>
                    <a:pt x="4507079" y="2601203"/>
                  </a:lnTo>
                  <a:lnTo>
                    <a:pt x="4506313" y="2601686"/>
                  </a:lnTo>
                  <a:lnTo>
                    <a:pt x="4505462" y="2604404"/>
                  </a:lnTo>
                  <a:lnTo>
                    <a:pt x="4502755" y="2607008"/>
                  </a:lnTo>
                  <a:lnTo>
                    <a:pt x="4496819" y="2610528"/>
                  </a:lnTo>
                  <a:lnTo>
                    <a:pt x="4487279" y="2613583"/>
                  </a:lnTo>
                  <a:lnTo>
                    <a:pt x="4484624" y="2615720"/>
                  </a:lnTo>
                  <a:lnTo>
                    <a:pt x="4483758" y="2617017"/>
                  </a:lnTo>
                  <a:lnTo>
                    <a:pt x="4483548" y="2617935"/>
                  </a:lnTo>
                  <a:lnTo>
                    <a:pt x="4483896" y="2618854"/>
                  </a:lnTo>
                  <a:lnTo>
                    <a:pt x="4484833" y="2619110"/>
                  </a:lnTo>
                  <a:lnTo>
                    <a:pt x="4487040" y="2617704"/>
                  </a:lnTo>
                  <a:lnTo>
                    <a:pt x="4487973" y="2617570"/>
                  </a:lnTo>
                  <a:lnTo>
                    <a:pt x="4489206" y="2618789"/>
                  </a:lnTo>
                  <a:lnTo>
                    <a:pt x="4488643" y="2619823"/>
                  </a:lnTo>
                  <a:lnTo>
                    <a:pt x="4484355" y="2622285"/>
                  </a:lnTo>
                  <a:lnTo>
                    <a:pt x="4479723" y="2627253"/>
                  </a:lnTo>
                  <a:lnTo>
                    <a:pt x="4478305" y="2629997"/>
                  </a:lnTo>
                  <a:lnTo>
                    <a:pt x="4477364" y="2631099"/>
                  </a:lnTo>
                  <a:lnTo>
                    <a:pt x="4476191" y="2631551"/>
                  </a:lnTo>
                  <a:lnTo>
                    <a:pt x="4472449" y="2631493"/>
                  </a:lnTo>
                  <a:lnTo>
                    <a:pt x="4473005" y="2632100"/>
                  </a:lnTo>
                  <a:lnTo>
                    <a:pt x="4473244" y="2632175"/>
                  </a:lnTo>
                  <a:lnTo>
                    <a:pt x="4473282" y="2631993"/>
                  </a:lnTo>
                  <a:lnTo>
                    <a:pt x="4473236" y="2631874"/>
                  </a:lnTo>
                  <a:lnTo>
                    <a:pt x="4475193" y="2633052"/>
                  </a:lnTo>
                  <a:lnTo>
                    <a:pt x="4477964" y="2633921"/>
                  </a:lnTo>
                  <a:lnTo>
                    <a:pt x="4480714" y="2634292"/>
                  </a:lnTo>
                  <a:lnTo>
                    <a:pt x="4482585" y="2633969"/>
                  </a:lnTo>
                  <a:lnTo>
                    <a:pt x="4482933" y="2634556"/>
                  </a:lnTo>
                  <a:lnTo>
                    <a:pt x="4480010" y="2636261"/>
                  </a:lnTo>
                  <a:lnTo>
                    <a:pt x="4479152" y="2637964"/>
                  </a:lnTo>
                  <a:lnTo>
                    <a:pt x="4479911" y="2640584"/>
                  </a:lnTo>
                  <a:lnTo>
                    <a:pt x="4481085" y="2642983"/>
                  </a:lnTo>
                  <a:lnTo>
                    <a:pt x="4481816" y="2644850"/>
                  </a:lnTo>
                  <a:lnTo>
                    <a:pt x="4482774" y="2646373"/>
                  </a:lnTo>
                  <a:lnTo>
                    <a:pt x="4484608" y="2647744"/>
                  </a:lnTo>
                  <a:lnTo>
                    <a:pt x="4486379" y="2648702"/>
                  </a:lnTo>
                  <a:lnTo>
                    <a:pt x="4487872" y="2649783"/>
                  </a:lnTo>
                  <a:lnTo>
                    <a:pt x="4488370" y="2651013"/>
                  </a:lnTo>
                  <a:lnTo>
                    <a:pt x="4487133" y="2652418"/>
                  </a:lnTo>
                  <a:lnTo>
                    <a:pt x="4486764" y="2653064"/>
                  </a:lnTo>
                  <a:lnTo>
                    <a:pt x="4486544" y="2655029"/>
                  </a:lnTo>
                  <a:lnTo>
                    <a:pt x="4486390" y="2655538"/>
                  </a:lnTo>
                  <a:lnTo>
                    <a:pt x="4485989" y="2655572"/>
                  </a:lnTo>
                  <a:lnTo>
                    <a:pt x="4485593" y="2655269"/>
                  </a:lnTo>
                  <a:lnTo>
                    <a:pt x="4485225" y="2654775"/>
                  </a:lnTo>
                  <a:lnTo>
                    <a:pt x="4484434" y="2653552"/>
                  </a:lnTo>
                  <a:lnTo>
                    <a:pt x="4484211" y="2653504"/>
                  </a:lnTo>
                  <a:lnTo>
                    <a:pt x="4484012" y="2653726"/>
                  </a:lnTo>
                  <a:lnTo>
                    <a:pt x="4483571" y="2653795"/>
                  </a:lnTo>
                  <a:lnTo>
                    <a:pt x="4481831" y="2653781"/>
                  </a:lnTo>
                  <a:lnTo>
                    <a:pt x="4478743" y="2654490"/>
                  </a:lnTo>
                  <a:lnTo>
                    <a:pt x="4475035" y="2653611"/>
                  </a:lnTo>
                  <a:lnTo>
                    <a:pt x="4469997" y="2653461"/>
                  </a:lnTo>
                  <a:lnTo>
                    <a:pt x="4468166" y="2652657"/>
                  </a:lnTo>
                  <a:lnTo>
                    <a:pt x="4466512" y="2651710"/>
                  </a:lnTo>
                  <a:lnTo>
                    <a:pt x="4464936" y="2651172"/>
                  </a:lnTo>
                  <a:lnTo>
                    <a:pt x="4461688" y="2652017"/>
                  </a:lnTo>
                  <a:lnTo>
                    <a:pt x="4456501" y="2651284"/>
                  </a:lnTo>
                  <a:lnTo>
                    <a:pt x="4444530" y="2654843"/>
                  </a:lnTo>
                  <a:lnTo>
                    <a:pt x="4441001" y="2654539"/>
                  </a:lnTo>
                  <a:lnTo>
                    <a:pt x="4436650" y="2655393"/>
                  </a:lnTo>
                  <a:lnTo>
                    <a:pt x="4435171" y="2655352"/>
                  </a:lnTo>
                  <a:lnTo>
                    <a:pt x="4431613" y="2652272"/>
                  </a:lnTo>
                  <a:lnTo>
                    <a:pt x="4430054" y="2651389"/>
                  </a:lnTo>
                  <a:lnTo>
                    <a:pt x="4429198" y="2652454"/>
                  </a:lnTo>
                  <a:lnTo>
                    <a:pt x="4430912" y="2653398"/>
                  </a:lnTo>
                  <a:lnTo>
                    <a:pt x="4432101" y="2655192"/>
                  </a:lnTo>
                  <a:lnTo>
                    <a:pt x="4432771" y="2657358"/>
                  </a:lnTo>
                  <a:lnTo>
                    <a:pt x="4432950" y="2659442"/>
                  </a:lnTo>
                  <a:lnTo>
                    <a:pt x="4431820" y="2662654"/>
                  </a:lnTo>
                  <a:lnTo>
                    <a:pt x="4431805" y="2664061"/>
                  </a:lnTo>
                  <a:lnTo>
                    <a:pt x="4433335" y="2664910"/>
                  </a:lnTo>
                  <a:lnTo>
                    <a:pt x="4434631" y="2664543"/>
                  </a:lnTo>
                  <a:lnTo>
                    <a:pt x="4437239" y="2660733"/>
                  </a:lnTo>
                  <a:lnTo>
                    <a:pt x="4439008" y="2659903"/>
                  </a:lnTo>
                  <a:lnTo>
                    <a:pt x="4444507" y="2658781"/>
                  </a:lnTo>
                  <a:lnTo>
                    <a:pt x="4449414" y="2656267"/>
                  </a:lnTo>
                  <a:lnTo>
                    <a:pt x="4463274" y="2655043"/>
                  </a:lnTo>
                  <a:lnTo>
                    <a:pt x="4466271" y="2656293"/>
                  </a:lnTo>
                  <a:lnTo>
                    <a:pt x="4466904" y="2656372"/>
                  </a:lnTo>
                  <a:lnTo>
                    <a:pt x="4468452" y="2655792"/>
                  </a:lnTo>
                  <a:lnTo>
                    <a:pt x="4470051" y="2655795"/>
                  </a:lnTo>
                  <a:lnTo>
                    <a:pt x="4476955" y="2657291"/>
                  </a:lnTo>
                  <a:lnTo>
                    <a:pt x="4478590" y="2657257"/>
                  </a:lnTo>
                  <a:lnTo>
                    <a:pt x="4483265" y="2656014"/>
                  </a:lnTo>
                  <a:lnTo>
                    <a:pt x="4489792" y="2656921"/>
                  </a:lnTo>
                  <a:lnTo>
                    <a:pt x="4491131" y="2655214"/>
                  </a:lnTo>
                  <a:lnTo>
                    <a:pt x="4491481" y="2654959"/>
                  </a:lnTo>
                  <a:lnTo>
                    <a:pt x="4492857" y="2655519"/>
                  </a:lnTo>
                  <a:lnTo>
                    <a:pt x="4494278" y="2656898"/>
                  </a:lnTo>
                  <a:lnTo>
                    <a:pt x="4495630" y="2658709"/>
                  </a:lnTo>
                  <a:lnTo>
                    <a:pt x="4496774" y="2660529"/>
                  </a:lnTo>
                  <a:lnTo>
                    <a:pt x="4494956" y="2660172"/>
                  </a:lnTo>
                  <a:lnTo>
                    <a:pt x="4493263" y="2660201"/>
                  </a:lnTo>
                  <a:lnTo>
                    <a:pt x="4491721" y="2660723"/>
                  </a:lnTo>
                  <a:lnTo>
                    <a:pt x="4490375" y="2661862"/>
                  </a:lnTo>
                  <a:lnTo>
                    <a:pt x="4487757" y="2666217"/>
                  </a:lnTo>
                  <a:lnTo>
                    <a:pt x="4487123" y="2669227"/>
                  </a:lnTo>
                  <a:lnTo>
                    <a:pt x="4485551" y="2673187"/>
                  </a:lnTo>
                  <a:lnTo>
                    <a:pt x="4484779" y="2674248"/>
                  </a:lnTo>
                  <a:lnTo>
                    <a:pt x="4483594" y="2675327"/>
                  </a:lnTo>
                  <a:lnTo>
                    <a:pt x="4483093" y="2676654"/>
                  </a:lnTo>
                  <a:lnTo>
                    <a:pt x="4483158" y="2678270"/>
                  </a:lnTo>
                  <a:lnTo>
                    <a:pt x="4483675" y="2680244"/>
                  </a:lnTo>
                  <a:lnTo>
                    <a:pt x="4481657" y="2679857"/>
                  </a:lnTo>
                  <a:lnTo>
                    <a:pt x="4481267" y="2679634"/>
                  </a:lnTo>
                  <a:lnTo>
                    <a:pt x="4480923" y="2679609"/>
                  </a:lnTo>
                  <a:lnTo>
                    <a:pt x="4480664" y="2680298"/>
                  </a:lnTo>
                  <a:lnTo>
                    <a:pt x="4480757" y="2681280"/>
                  </a:lnTo>
                  <a:lnTo>
                    <a:pt x="4481437" y="2682131"/>
                  </a:lnTo>
                  <a:lnTo>
                    <a:pt x="4482575" y="2682472"/>
                  </a:lnTo>
                  <a:lnTo>
                    <a:pt x="4483593" y="2682209"/>
                  </a:lnTo>
                  <a:lnTo>
                    <a:pt x="4489892" y="2677272"/>
                  </a:lnTo>
                  <a:lnTo>
                    <a:pt x="4492341" y="2674411"/>
                  </a:lnTo>
                  <a:lnTo>
                    <a:pt x="4493418" y="2674087"/>
                  </a:lnTo>
                  <a:lnTo>
                    <a:pt x="4494638" y="2675311"/>
                  </a:lnTo>
                  <a:lnTo>
                    <a:pt x="4494084" y="2677812"/>
                  </a:lnTo>
                  <a:lnTo>
                    <a:pt x="4491637" y="2682362"/>
                  </a:lnTo>
                  <a:lnTo>
                    <a:pt x="4488567" y="2686268"/>
                  </a:lnTo>
                  <a:lnTo>
                    <a:pt x="4484846" y="2689372"/>
                  </a:lnTo>
                  <a:lnTo>
                    <a:pt x="4485223" y="2690018"/>
                  </a:lnTo>
                  <a:lnTo>
                    <a:pt x="4491574" y="2685608"/>
                  </a:lnTo>
                  <a:lnTo>
                    <a:pt x="4494118" y="2682943"/>
                  </a:lnTo>
                  <a:lnTo>
                    <a:pt x="4496141" y="2679513"/>
                  </a:lnTo>
                  <a:lnTo>
                    <a:pt x="4496670" y="2678065"/>
                  </a:lnTo>
                  <a:lnTo>
                    <a:pt x="4496969" y="2677833"/>
                  </a:lnTo>
                  <a:lnTo>
                    <a:pt x="4497667" y="2677738"/>
                  </a:lnTo>
                  <a:lnTo>
                    <a:pt x="4498551" y="2677947"/>
                  </a:lnTo>
                  <a:lnTo>
                    <a:pt x="4500519" y="2678991"/>
                  </a:lnTo>
                  <a:lnTo>
                    <a:pt x="4500888" y="2679237"/>
                  </a:lnTo>
                  <a:lnTo>
                    <a:pt x="4501525" y="2678578"/>
                  </a:lnTo>
                  <a:lnTo>
                    <a:pt x="4501873" y="2677615"/>
                  </a:lnTo>
                  <a:lnTo>
                    <a:pt x="4501824" y="2676407"/>
                  </a:lnTo>
                  <a:lnTo>
                    <a:pt x="4501261" y="2675013"/>
                  </a:lnTo>
                  <a:lnTo>
                    <a:pt x="4498064" y="2675821"/>
                  </a:lnTo>
                  <a:lnTo>
                    <a:pt x="4496871" y="2675508"/>
                  </a:lnTo>
                  <a:lnTo>
                    <a:pt x="4496905" y="2674221"/>
                  </a:lnTo>
                  <a:lnTo>
                    <a:pt x="4497353" y="2673536"/>
                  </a:lnTo>
                  <a:lnTo>
                    <a:pt x="4498767" y="2672532"/>
                  </a:lnTo>
                  <a:lnTo>
                    <a:pt x="4500547" y="2669795"/>
                  </a:lnTo>
                  <a:lnTo>
                    <a:pt x="4501141" y="2669180"/>
                  </a:lnTo>
                  <a:lnTo>
                    <a:pt x="4501772" y="2667959"/>
                  </a:lnTo>
                  <a:lnTo>
                    <a:pt x="4502366" y="2663478"/>
                  </a:lnTo>
                  <a:lnTo>
                    <a:pt x="4502412" y="2661764"/>
                  </a:lnTo>
                  <a:lnTo>
                    <a:pt x="4502983" y="2658709"/>
                  </a:lnTo>
                  <a:lnTo>
                    <a:pt x="4502958" y="2658265"/>
                  </a:lnTo>
                  <a:lnTo>
                    <a:pt x="4503143" y="2657529"/>
                  </a:lnTo>
                  <a:lnTo>
                    <a:pt x="4502910" y="2654760"/>
                  </a:lnTo>
                  <a:lnTo>
                    <a:pt x="4503118" y="2653734"/>
                  </a:lnTo>
                  <a:lnTo>
                    <a:pt x="4503755" y="2653785"/>
                  </a:lnTo>
                  <a:lnTo>
                    <a:pt x="4504682" y="2654207"/>
                  </a:lnTo>
                  <a:lnTo>
                    <a:pt x="4505255" y="2654241"/>
                  </a:lnTo>
                  <a:lnTo>
                    <a:pt x="4504816" y="2653127"/>
                  </a:lnTo>
                  <a:lnTo>
                    <a:pt x="4503993" y="2652253"/>
                  </a:lnTo>
                  <a:lnTo>
                    <a:pt x="4503192" y="2651756"/>
                  </a:lnTo>
                  <a:lnTo>
                    <a:pt x="4502769" y="2651213"/>
                  </a:lnTo>
                  <a:lnTo>
                    <a:pt x="4503050" y="2650308"/>
                  </a:lnTo>
                  <a:lnTo>
                    <a:pt x="4504151" y="2649851"/>
                  </a:lnTo>
                  <a:lnTo>
                    <a:pt x="4505784" y="2649755"/>
                  </a:lnTo>
                  <a:lnTo>
                    <a:pt x="4507264" y="2649333"/>
                  </a:lnTo>
                  <a:lnTo>
                    <a:pt x="4508263" y="2647770"/>
                  </a:lnTo>
                  <a:lnTo>
                    <a:pt x="4507880" y="2647127"/>
                  </a:lnTo>
                  <a:lnTo>
                    <a:pt x="4506180" y="2647374"/>
                  </a:lnTo>
                  <a:lnTo>
                    <a:pt x="4503057" y="2648749"/>
                  </a:lnTo>
                  <a:lnTo>
                    <a:pt x="4501168" y="2648289"/>
                  </a:lnTo>
                  <a:lnTo>
                    <a:pt x="4499667" y="2646908"/>
                  </a:lnTo>
                  <a:lnTo>
                    <a:pt x="4499883" y="2645786"/>
                  </a:lnTo>
                  <a:lnTo>
                    <a:pt x="4501120" y="2644913"/>
                  </a:lnTo>
                  <a:lnTo>
                    <a:pt x="4507460" y="2642759"/>
                  </a:lnTo>
                  <a:lnTo>
                    <a:pt x="4514920" y="2636666"/>
                  </a:lnTo>
                  <a:lnTo>
                    <a:pt x="4516816" y="2633719"/>
                  </a:lnTo>
                  <a:lnTo>
                    <a:pt x="4518056" y="2632548"/>
                  </a:lnTo>
                  <a:lnTo>
                    <a:pt x="4518914" y="2631258"/>
                  </a:lnTo>
                  <a:lnTo>
                    <a:pt x="4519314" y="2629251"/>
                  </a:lnTo>
                  <a:lnTo>
                    <a:pt x="4519573" y="2625242"/>
                  </a:lnTo>
                  <a:lnTo>
                    <a:pt x="4521459" y="2620266"/>
                  </a:lnTo>
                  <a:lnTo>
                    <a:pt x="4521552" y="2619084"/>
                  </a:lnTo>
                  <a:lnTo>
                    <a:pt x="4521027" y="2617852"/>
                  </a:lnTo>
                  <a:lnTo>
                    <a:pt x="4521169" y="2617121"/>
                  </a:lnTo>
                  <a:lnTo>
                    <a:pt x="4522426" y="2616247"/>
                  </a:lnTo>
                  <a:lnTo>
                    <a:pt x="4522941" y="2615341"/>
                  </a:lnTo>
                  <a:lnTo>
                    <a:pt x="4522598" y="2614240"/>
                  </a:lnTo>
                  <a:lnTo>
                    <a:pt x="4522045" y="2613101"/>
                  </a:lnTo>
                  <a:lnTo>
                    <a:pt x="4521945" y="2612092"/>
                  </a:lnTo>
                  <a:lnTo>
                    <a:pt x="4523098" y="2611278"/>
                  </a:lnTo>
                  <a:lnTo>
                    <a:pt x="4525742" y="2612438"/>
                  </a:lnTo>
                  <a:lnTo>
                    <a:pt x="4526055" y="2610779"/>
                  </a:lnTo>
                  <a:lnTo>
                    <a:pt x="4526127" y="2609869"/>
                  </a:lnTo>
                  <a:lnTo>
                    <a:pt x="4526437" y="2608877"/>
                  </a:lnTo>
                  <a:lnTo>
                    <a:pt x="4526904" y="2608027"/>
                  </a:lnTo>
                  <a:lnTo>
                    <a:pt x="4527436" y="2607518"/>
                  </a:lnTo>
                  <a:lnTo>
                    <a:pt x="4527947" y="2607662"/>
                  </a:lnTo>
                  <a:lnTo>
                    <a:pt x="4528689" y="2608150"/>
                  </a:lnTo>
                  <a:lnTo>
                    <a:pt x="4529525" y="2608560"/>
                  </a:lnTo>
                  <a:lnTo>
                    <a:pt x="4530308" y="2608477"/>
                  </a:lnTo>
                  <a:lnTo>
                    <a:pt x="4531583" y="2607388"/>
                  </a:lnTo>
                  <a:lnTo>
                    <a:pt x="4532084" y="2606621"/>
                  </a:lnTo>
                  <a:lnTo>
                    <a:pt x="4532276" y="2605759"/>
                  </a:lnTo>
                  <a:lnTo>
                    <a:pt x="4532647" y="2604959"/>
                  </a:lnTo>
                  <a:lnTo>
                    <a:pt x="4534400" y="2604263"/>
                  </a:lnTo>
                  <a:lnTo>
                    <a:pt x="4534872" y="2603600"/>
                  </a:lnTo>
                  <a:lnTo>
                    <a:pt x="4534648" y="2602867"/>
                  </a:lnTo>
                  <a:lnTo>
                    <a:pt x="4533603" y="2600600"/>
                  </a:lnTo>
                  <a:lnTo>
                    <a:pt x="4533450" y="2600061"/>
                  </a:lnTo>
                  <a:lnTo>
                    <a:pt x="4534142" y="2599748"/>
                  </a:lnTo>
                  <a:lnTo>
                    <a:pt x="4535532" y="2599438"/>
                  </a:lnTo>
                  <a:lnTo>
                    <a:pt x="4536244" y="2599112"/>
                  </a:lnTo>
                  <a:lnTo>
                    <a:pt x="4535519" y="2597969"/>
                  </a:lnTo>
                  <a:lnTo>
                    <a:pt x="4535062" y="2596898"/>
                  </a:lnTo>
                  <a:lnTo>
                    <a:pt x="4534792" y="2596063"/>
                  </a:lnTo>
                  <a:lnTo>
                    <a:pt x="4534615" y="2595624"/>
                  </a:lnTo>
                  <a:lnTo>
                    <a:pt x="4535016" y="2595358"/>
                  </a:lnTo>
                  <a:lnTo>
                    <a:pt x="4533809" y="2595949"/>
                  </a:lnTo>
                  <a:lnTo>
                    <a:pt x="4532402" y="2596280"/>
                  </a:lnTo>
                  <a:lnTo>
                    <a:pt x="4531872" y="2594725"/>
                  </a:lnTo>
                  <a:lnTo>
                    <a:pt x="4530949" y="2593754"/>
                  </a:lnTo>
                  <a:lnTo>
                    <a:pt x="4529894" y="2593265"/>
                  </a:lnTo>
                  <a:lnTo>
                    <a:pt x="4528957" y="2593175"/>
                  </a:lnTo>
                  <a:lnTo>
                    <a:pt x="4529086" y="2590852"/>
                  </a:lnTo>
                  <a:lnTo>
                    <a:pt x="4530636" y="2587729"/>
                  </a:lnTo>
                  <a:lnTo>
                    <a:pt x="4530982" y="2585930"/>
                  </a:lnTo>
                  <a:lnTo>
                    <a:pt x="4531124" y="2584148"/>
                  </a:lnTo>
                  <a:lnTo>
                    <a:pt x="4533236" y="2577630"/>
                  </a:lnTo>
                  <a:lnTo>
                    <a:pt x="4533344" y="2577002"/>
                  </a:lnTo>
                  <a:lnTo>
                    <a:pt x="4533307" y="2575866"/>
                  </a:lnTo>
                  <a:lnTo>
                    <a:pt x="4533004" y="2574708"/>
                  </a:lnTo>
                  <a:lnTo>
                    <a:pt x="4532497" y="2573248"/>
                  </a:lnTo>
                  <a:lnTo>
                    <a:pt x="4532219" y="2571876"/>
                  </a:lnTo>
                  <a:lnTo>
                    <a:pt x="4532587" y="2570956"/>
                  </a:lnTo>
                  <a:lnTo>
                    <a:pt x="4537102" y="2567057"/>
                  </a:lnTo>
                  <a:lnTo>
                    <a:pt x="4540818" y="2562069"/>
                  </a:lnTo>
                  <a:lnTo>
                    <a:pt x="4545319" y="2553476"/>
                  </a:lnTo>
                  <a:lnTo>
                    <a:pt x="4553945" y="2542708"/>
                  </a:lnTo>
                  <a:lnTo>
                    <a:pt x="4554339" y="2541396"/>
                  </a:lnTo>
                  <a:lnTo>
                    <a:pt x="4554894" y="2540195"/>
                  </a:lnTo>
                  <a:lnTo>
                    <a:pt x="4557664" y="2538793"/>
                  </a:lnTo>
                  <a:lnTo>
                    <a:pt x="4558688" y="2537989"/>
                  </a:lnTo>
                  <a:lnTo>
                    <a:pt x="4560326" y="2532894"/>
                  </a:lnTo>
                  <a:lnTo>
                    <a:pt x="4561551" y="2531519"/>
                  </a:lnTo>
                  <a:lnTo>
                    <a:pt x="4579694" y="2523291"/>
                  </a:lnTo>
                  <a:lnTo>
                    <a:pt x="4580581" y="2521997"/>
                  </a:lnTo>
                  <a:lnTo>
                    <a:pt x="4579863" y="2520851"/>
                  </a:lnTo>
                  <a:lnTo>
                    <a:pt x="4577965" y="2520731"/>
                  </a:lnTo>
                  <a:lnTo>
                    <a:pt x="4575852" y="2521181"/>
                  </a:lnTo>
                  <a:lnTo>
                    <a:pt x="4574472" y="2521759"/>
                  </a:lnTo>
                  <a:lnTo>
                    <a:pt x="4570660" y="2524834"/>
                  </a:lnTo>
                  <a:lnTo>
                    <a:pt x="4569260" y="2525341"/>
                  </a:lnTo>
                  <a:lnTo>
                    <a:pt x="4564443" y="2525352"/>
                  </a:lnTo>
                  <a:lnTo>
                    <a:pt x="4557863" y="2528375"/>
                  </a:lnTo>
                  <a:lnTo>
                    <a:pt x="4556417" y="2529507"/>
                  </a:lnTo>
                  <a:lnTo>
                    <a:pt x="4554622" y="2532201"/>
                  </a:lnTo>
                  <a:lnTo>
                    <a:pt x="4553949" y="2533871"/>
                  </a:lnTo>
                  <a:lnTo>
                    <a:pt x="4553721" y="2535448"/>
                  </a:lnTo>
                  <a:lnTo>
                    <a:pt x="4553740" y="2536514"/>
                  </a:lnTo>
                  <a:lnTo>
                    <a:pt x="4553607" y="2537304"/>
                  </a:lnTo>
                  <a:lnTo>
                    <a:pt x="4553245" y="2537954"/>
                  </a:lnTo>
                  <a:lnTo>
                    <a:pt x="4552548" y="2538551"/>
                  </a:lnTo>
                  <a:lnTo>
                    <a:pt x="4551641" y="2538928"/>
                  </a:lnTo>
                  <a:lnTo>
                    <a:pt x="4550976" y="2538733"/>
                  </a:lnTo>
                  <a:lnTo>
                    <a:pt x="4550295" y="2538306"/>
                  </a:lnTo>
                  <a:lnTo>
                    <a:pt x="4549319" y="2537951"/>
                  </a:lnTo>
                  <a:lnTo>
                    <a:pt x="4545658" y="2538389"/>
                  </a:lnTo>
                  <a:lnTo>
                    <a:pt x="4543921" y="2537858"/>
                  </a:lnTo>
                  <a:lnTo>
                    <a:pt x="4542949" y="2535529"/>
                  </a:lnTo>
                  <a:lnTo>
                    <a:pt x="4542657" y="2532914"/>
                  </a:lnTo>
                  <a:lnTo>
                    <a:pt x="4542613" y="2530914"/>
                  </a:lnTo>
                  <a:lnTo>
                    <a:pt x="4543023" y="2529324"/>
                  </a:lnTo>
                  <a:lnTo>
                    <a:pt x="4544096" y="2527939"/>
                  </a:lnTo>
                  <a:lnTo>
                    <a:pt x="4548502" y="2525659"/>
                  </a:lnTo>
                  <a:lnTo>
                    <a:pt x="4548537" y="2524422"/>
                  </a:lnTo>
                  <a:lnTo>
                    <a:pt x="4548200" y="2522350"/>
                  </a:lnTo>
                  <a:lnTo>
                    <a:pt x="4549493" y="2520877"/>
                  </a:lnTo>
                  <a:lnTo>
                    <a:pt x="4554623" y="2518283"/>
                  </a:lnTo>
                  <a:lnTo>
                    <a:pt x="4555517" y="2518353"/>
                  </a:lnTo>
                  <a:lnTo>
                    <a:pt x="4556199" y="2516752"/>
                  </a:lnTo>
                  <a:lnTo>
                    <a:pt x="4557628" y="2515218"/>
                  </a:lnTo>
                  <a:lnTo>
                    <a:pt x="4559337" y="2514209"/>
                  </a:lnTo>
                  <a:lnTo>
                    <a:pt x="4560893" y="2514217"/>
                  </a:lnTo>
                  <a:lnTo>
                    <a:pt x="4562731" y="2514492"/>
                  </a:lnTo>
                  <a:lnTo>
                    <a:pt x="4564979" y="2514035"/>
                  </a:lnTo>
                  <a:lnTo>
                    <a:pt x="4566919" y="2513041"/>
                  </a:lnTo>
                  <a:lnTo>
                    <a:pt x="4567830" y="2511721"/>
                  </a:lnTo>
                  <a:lnTo>
                    <a:pt x="4569349" y="2512212"/>
                  </a:lnTo>
                  <a:lnTo>
                    <a:pt x="4570891" y="2510975"/>
                  </a:lnTo>
                  <a:lnTo>
                    <a:pt x="4573574" y="2507758"/>
                  </a:lnTo>
                  <a:lnTo>
                    <a:pt x="4573229" y="2508900"/>
                  </a:lnTo>
                  <a:lnTo>
                    <a:pt x="4574464" y="2509434"/>
                  </a:lnTo>
                  <a:lnTo>
                    <a:pt x="4575713" y="2508777"/>
                  </a:lnTo>
                  <a:lnTo>
                    <a:pt x="4577967" y="2506615"/>
                  </a:lnTo>
                  <a:lnTo>
                    <a:pt x="4583774" y="2504315"/>
                  </a:lnTo>
                  <a:lnTo>
                    <a:pt x="4583824" y="2504964"/>
                  </a:lnTo>
                  <a:lnTo>
                    <a:pt x="4584280" y="2506699"/>
                  </a:lnTo>
                  <a:lnTo>
                    <a:pt x="4585332" y="2505544"/>
                  </a:lnTo>
                  <a:lnTo>
                    <a:pt x="4585857" y="2503681"/>
                  </a:lnTo>
                  <a:lnTo>
                    <a:pt x="4586643" y="2502368"/>
                  </a:lnTo>
                  <a:lnTo>
                    <a:pt x="4588474" y="2502868"/>
                  </a:lnTo>
                  <a:lnTo>
                    <a:pt x="4590157" y="2498134"/>
                  </a:lnTo>
                  <a:lnTo>
                    <a:pt x="4591195" y="2498768"/>
                  </a:lnTo>
                  <a:lnTo>
                    <a:pt x="4593380" y="2498770"/>
                  </a:lnTo>
                  <a:lnTo>
                    <a:pt x="4596855" y="2499634"/>
                  </a:lnTo>
                  <a:lnTo>
                    <a:pt x="4597514" y="2500251"/>
                  </a:lnTo>
                  <a:lnTo>
                    <a:pt x="4597716" y="2501894"/>
                  </a:lnTo>
                  <a:lnTo>
                    <a:pt x="4598703" y="2500925"/>
                  </a:lnTo>
                  <a:lnTo>
                    <a:pt x="4599475" y="2499747"/>
                  </a:lnTo>
                  <a:lnTo>
                    <a:pt x="4599884" y="2500375"/>
                  </a:lnTo>
                  <a:lnTo>
                    <a:pt x="4600882" y="2502904"/>
                  </a:lnTo>
                  <a:lnTo>
                    <a:pt x="4604524" y="2505860"/>
                  </a:lnTo>
                  <a:lnTo>
                    <a:pt x="4611227" y="2509857"/>
                  </a:lnTo>
                  <a:lnTo>
                    <a:pt x="4614069" y="2511112"/>
                  </a:lnTo>
                  <a:lnTo>
                    <a:pt x="4615488" y="2511525"/>
                  </a:lnTo>
                  <a:lnTo>
                    <a:pt x="4616529" y="2511610"/>
                  </a:lnTo>
                  <a:lnTo>
                    <a:pt x="4619432" y="2510089"/>
                  </a:lnTo>
                  <a:lnTo>
                    <a:pt x="4621114" y="2509755"/>
                  </a:lnTo>
                  <a:lnTo>
                    <a:pt x="4622836" y="2510830"/>
                  </a:lnTo>
                  <a:lnTo>
                    <a:pt x="4621758" y="2511405"/>
                  </a:lnTo>
                  <a:lnTo>
                    <a:pt x="4620526" y="2511739"/>
                  </a:lnTo>
                  <a:lnTo>
                    <a:pt x="4619560" y="2512371"/>
                  </a:lnTo>
                  <a:lnTo>
                    <a:pt x="4619280" y="2513839"/>
                  </a:lnTo>
                  <a:lnTo>
                    <a:pt x="4619874" y="2515420"/>
                  </a:lnTo>
                  <a:lnTo>
                    <a:pt x="4621107" y="2517152"/>
                  </a:lnTo>
                  <a:lnTo>
                    <a:pt x="4622522" y="2518412"/>
                  </a:lnTo>
                  <a:lnTo>
                    <a:pt x="4623662" y="2518568"/>
                  </a:lnTo>
                  <a:lnTo>
                    <a:pt x="4624657" y="2518315"/>
                  </a:lnTo>
                  <a:lnTo>
                    <a:pt x="4628185" y="2519033"/>
                  </a:lnTo>
                  <a:lnTo>
                    <a:pt x="4629337" y="2518695"/>
                  </a:lnTo>
                  <a:lnTo>
                    <a:pt x="4630363" y="2518167"/>
                  </a:lnTo>
                  <a:lnTo>
                    <a:pt x="4631504" y="2517912"/>
                  </a:lnTo>
                  <a:lnTo>
                    <a:pt x="4633020" y="2518368"/>
                  </a:lnTo>
                  <a:lnTo>
                    <a:pt x="4631548" y="2519507"/>
                  </a:lnTo>
                  <a:lnTo>
                    <a:pt x="4630716" y="2519849"/>
                  </a:lnTo>
                  <a:lnTo>
                    <a:pt x="4629752" y="2519760"/>
                  </a:lnTo>
                  <a:lnTo>
                    <a:pt x="4630051" y="2520171"/>
                  </a:lnTo>
                  <a:lnTo>
                    <a:pt x="4630067" y="2520357"/>
                  </a:lnTo>
                  <a:lnTo>
                    <a:pt x="4629922" y="2520470"/>
                  </a:lnTo>
                  <a:lnTo>
                    <a:pt x="4629771" y="2520663"/>
                  </a:lnTo>
                  <a:lnTo>
                    <a:pt x="4631163" y="2520854"/>
                  </a:lnTo>
                  <a:lnTo>
                    <a:pt x="4632538" y="2521405"/>
                  </a:lnTo>
                  <a:lnTo>
                    <a:pt x="4633180" y="2522266"/>
                  </a:lnTo>
                  <a:lnTo>
                    <a:pt x="4631496" y="2524758"/>
                  </a:lnTo>
                  <a:lnTo>
                    <a:pt x="4631973" y="2526095"/>
                  </a:lnTo>
                  <a:lnTo>
                    <a:pt x="4633301" y="2527003"/>
                  </a:lnTo>
                  <a:lnTo>
                    <a:pt x="4634980" y="2527050"/>
                  </a:lnTo>
                  <a:lnTo>
                    <a:pt x="4635426" y="2527733"/>
                  </a:lnTo>
                  <a:lnTo>
                    <a:pt x="4634026" y="2528950"/>
                  </a:lnTo>
                  <a:lnTo>
                    <a:pt x="4632595" y="2532705"/>
                  </a:lnTo>
                  <a:lnTo>
                    <a:pt x="4630480" y="2535614"/>
                  </a:lnTo>
                  <a:lnTo>
                    <a:pt x="4628369" y="2541923"/>
                  </a:lnTo>
                  <a:lnTo>
                    <a:pt x="4623430" y="2548594"/>
                  </a:lnTo>
                  <a:lnTo>
                    <a:pt x="4621580" y="2552929"/>
                  </a:lnTo>
                  <a:lnTo>
                    <a:pt x="4621976" y="2557326"/>
                  </a:lnTo>
                  <a:lnTo>
                    <a:pt x="4623970" y="2554228"/>
                  </a:lnTo>
                  <a:lnTo>
                    <a:pt x="4625371" y="2550319"/>
                  </a:lnTo>
                  <a:lnTo>
                    <a:pt x="4626071" y="2550874"/>
                  </a:lnTo>
                  <a:lnTo>
                    <a:pt x="4626482" y="2551532"/>
                  </a:lnTo>
                  <a:lnTo>
                    <a:pt x="4626644" y="2552277"/>
                  </a:lnTo>
                  <a:lnTo>
                    <a:pt x="4626599" y="2553112"/>
                  </a:lnTo>
                  <a:lnTo>
                    <a:pt x="4628375" y="2551738"/>
                  </a:lnTo>
                  <a:lnTo>
                    <a:pt x="4629203" y="2550719"/>
                  </a:lnTo>
                  <a:lnTo>
                    <a:pt x="4629502" y="2549798"/>
                  </a:lnTo>
                  <a:lnTo>
                    <a:pt x="4630119" y="2549448"/>
                  </a:lnTo>
                  <a:lnTo>
                    <a:pt x="4633109" y="2549601"/>
                  </a:lnTo>
                  <a:lnTo>
                    <a:pt x="4633969" y="2549782"/>
                  </a:lnTo>
                  <a:lnTo>
                    <a:pt x="4634561" y="2549286"/>
                  </a:lnTo>
                  <a:lnTo>
                    <a:pt x="4635038" y="2550605"/>
                  </a:lnTo>
                  <a:lnTo>
                    <a:pt x="4635658" y="2554082"/>
                  </a:lnTo>
                  <a:lnTo>
                    <a:pt x="4636954" y="2553228"/>
                  </a:lnTo>
                  <a:lnTo>
                    <a:pt x="4638192" y="2553519"/>
                  </a:lnTo>
                  <a:lnTo>
                    <a:pt x="4639346" y="2554881"/>
                  </a:lnTo>
                  <a:lnTo>
                    <a:pt x="4640371" y="2557247"/>
                  </a:lnTo>
                  <a:lnTo>
                    <a:pt x="4640807" y="2559699"/>
                  </a:lnTo>
                  <a:lnTo>
                    <a:pt x="4640299" y="2563546"/>
                  </a:lnTo>
                  <a:lnTo>
                    <a:pt x="4640405" y="2565439"/>
                  </a:lnTo>
                  <a:lnTo>
                    <a:pt x="4640856" y="2564754"/>
                  </a:lnTo>
                  <a:lnTo>
                    <a:pt x="4641522" y="2563081"/>
                  </a:lnTo>
                  <a:lnTo>
                    <a:pt x="4641946" y="2562534"/>
                  </a:lnTo>
                  <a:lnTo>
                    <a:pt x="4642781" y="2562232"/>
                  </a:lnTo>
                  <a:lnTo>
                    <a:pt x="4644497" y="2561976"/>
                  </a:lnTo>
                  <a:lnTo>
                    <a:pt x="4645142" y="2561290"/>
                  </a:lnTo>
                  <a:lnTo>
                    <a:pt x="4644698" y="2560605"/>
                  </a:lnTo>
                  <a:lnTo>
                    <a:pt x="4642822" y="2558983"/>
                  </a:lnTo>
                  <a:lnTo>
                    <a:pt x="4642830" y="2556289"/>
                  </a:lnTo>
                  <a:lnTo>
                    <a:pt x="4645509" y="2547610"/>
                  </a:lnTo>
                  <a:lnTo>
                    <a:pt x="4645991" y="2546823"/>
                  </a:lnTo>
                  <a:lnTo>
                    <a:pt x="4646268" y="2545713"/>
                  </a:lnTo>
                  <a:lnTo>
                    <a:pt x="4645462" y="2544531"/>
                  </a:lnTo>
                  <a:lnTo>
                    <a:pt x="4644406" y="2544212"/>
                  </a:lnTo>
                  <a:lnTo>
                    <a:pt x="4643920" y="2545699"/>
                  </a:lnTo>
                  <a:lnTo>
                    <a:pt x="4644349" y="2542720"/>
                  </a:lnTo>
                  <a:lnTo>
                    <a:pt x="4644302" y="2542099"/>
                  </a:lnTo>
                  <a:lnTo>
                    <a:pt x="4642695" y="2540207"/>
                  </a:lnTo>
                  <a:lnTo>
                    <a:pt x="4642165" y="2539142"/>
                  </a:lnTo>
                  <a:lnTo>
                    <a:pt x="4642549" y="2538265"/>
                  </a:lnTo>
                  <a:lnTo>
                    <a:pt x="4643539" y="2537169"/>
                  </a:lnTo>
                  <a:lnTo>
                    <a:pt x="4644297" y="2535504"/>
                  </a:lnTo>
                  <a:lnTo>
                    <a:pt x="4644254" y="2533799"/>
                  </a:lnTo>
                  <a:lnTo>
                    <a:pt x="4642824" y="2532584"/>
                  </a:lnTo>
                  <a:lnTo>
                    <a:pt x="4643281" y="2529690"/>
                  </a:lnTo>
                  <a:lnTo>
                    <a:pt x="4643295" y="2526617"/>
                  </a:lnTo>
                  <a:lnTo>
                    <a:pt x="4643656" y="2523810"/>
                  </a:lnTo>
                  <a:lnTo>
                    <a:pt x="4645142" y="2521690"/>
                  </a:lnTo>
                  <a:lnTo>
                    <a:pt x="4646535" y="2521155"/>
                  </a:lnTo>
                  <a:lnTo>
                    <a:pt x="4649218" y="2520854"/>
                  </a:lnTo>
                  <a:lnTo>
                    <a:pt x="4650293" y="2519947"/>
                  </a:lnTo>
                  <a:lnTo>
                    <a:pt x="4651213" y="2517650"/>
                  </a:lnTo>
                  <a:lnTo>
                    <a:pt x="4652125" y="2516995"/>
                  </a:lnTo>
                  <a:lnTo>
                    <a:pt x="4653899" y="2517376"/>
                  </a:lnTo>
                  <a:lnTo>
                    <a:pt x="4653588" y="2516361"/>
                  </a:lnTo>
                  <a:lnTo>
                    <a:pt x="4653715" y="2515816"/>
                  </a:lnTo>
                  <a:lnTo>
                    <a:pt x="4654186" y="2515644"/>
                  </a:lnTo>
                  <a:lnTo>
                    <a:pt x="4654918" y="2515729"/>
                  </a:lnTo>
                  <a:lnTo>
                    <a:pt x="4655496" y="2515361"/>
                  </a:lnTo>
                  <a:lnTo>
                    <a:pt x="4655780" y="2514390"/>
                  </a:lnTo>
                  <a:lnTo>
                    <a:pt x="4655412" y="2513552"/>
                  </a:lnTo>
                  <a:lnTo>
                    <a:pt x="4654357" y="2513287"/>
                  </a:lnTo>
                  <a:lnTo>
                    <a:pt x="4656194" y="2511541"/>
                  </a:lnTo>
                  <a:lnTo>
                    <a:pt x="4661961" y="2511866"/>
                  </a:lnTo>
                  <a:lnTo>
                    <a:pt x="4664728" y="2510543"/>
                  </a:lnTo>
                  <a:lnTo>
                    <a:pt x="4664314" y="2509918"/>
                  </a:lnTo>
                  <a:lnTo>
                    <a:pt x="4663504" y="2509907"/>
                  </a:lnTo>
                  <a:lnTo>
                    <a:pt x="4661896" y="2509449"/>
                  </a:lnTo>
                  <a:lnTo>
                    <a:pt x="4661229" y="2509368"/>
                  </a:lnTo>
                  <a:lnTo>
                    <a:pt x="4660779" y="2508688"/>
                  </a:lnTo>
                  <a:lnTo>
                    <a:pt x="4661879" y="2507898"/>
                  </a:lnTo>
                  <a:lnTo>
                    <a:pt x="4660641" y="2506625"/>
                  </a:lnTo>
                  <a:lnTo>
                    <a:pt x="4660256" y="2506309"/>
                  </a:lnTo>
                  <a:lnTo>
                    <a:pt x="4660642" y="2506032"/>
                  </a:lnTo>
                  <a:lnTo>
                    <a:pt x="4662228" y="2506638"/>
                  </a:lnTo>
                  <a:lnTo>
                    <a:pt x="4662809" y="2505693"/>
                  </a:lnTo>
                  <a:lnTo>
                    <a:pt x="4663050" y="2504153"/>
                  </a:lnTo>
                  <a:lnTo>
                    <a:pt x="4663627" y="2502964"/>
                  </a:lnTo>
                  <a:lnTo>
                    <a:pt x="4664595" y="2502151"/>
                  </a:lnTo>
                  <a:lnTo>
                    <a:pt x="4665227" y="2501354"/>
                  </a:lnTo>
                  <a:lnTo>
                    <a:pt x="4666192" y="2499269"/>
                  </a:lnTo>
                  <a:lnTo>
                    <a:pt x="4669816" y="2499691"/>
                  </a:lnTo>
                  <a:lnTo>
                    <a:pt x="4671323" y="2500511"/>
                  </a:lnTo>
                  <a:lnTo>
                    <a:pt x="4671230" y="2502167"/>
                  </a:lnTo>
                  <a:lnTo>
                    <a:pt x="4671825" y="2502112"/>
                  </a:lnTo>
                  <a:lnTo>
                    <a:pt x="4673517" y="2502361"/>
                  </a:lnTo>
                  <a:lnTo>
                    <a:pt x="4673080" y="2503535"/>
                  </a:lnTo>
                  <a:lnTo>
                    <a:pt x="4669663" y="2506068"/>
                  </a:lnTo>
                  <a:lnTo>
                    <a:pt x="4667571" y="2508789"/>
                  </a:lnTo>
                  <a:lnTo>
                    <a:pt x="4666569" y="2511437"/>
                  </a:lnTo>
                  <a:lnTo>
                    <a:pt x="4666835" y="2513045"/>
                  </a:lnTo>
                  <a:lnTo>
                    <a:pt x="4666794" y="2513662"/>
                  </a:lnTo>
                  <a:lnTo>
                    <a:pt x="4666354" y="2514181"/>
                  </a:lnTo>
                  <a:lnTo>
                    <a:pt x="4659535" y="2517945"/>
                  </a:lnTo>
                  <a:lnTo>
                    <a:pt x="4661148" y="2518309"/>
                  </a:lnTo>
                  <a:lnTo>
                    <a:pt x="4666074" y="2516851"/>
                  </a:lnTo>
                  <a:lnTo>
                    <a:pt x="4668819" y="2516871"/>
                  </a:lnTo>
                  <a:lnTo>
                    <a:pt x="4679217" y="2513186"/>
                  </a:lnTo>
                  <a:lnTo>
                    <a:pt x="4680905" y="2511901"/>
                  </a:lnTo>
                  <a:lnTo>
                    <a:pt x="4681529" y="2509992"/>
                  </a:lnTo>
                  <a:lnTo>
                    <a:pt x="4682368" y="2508333"/>
                  </a:lnTo>
                  <a:lnTo>
                    <a:pt x="4684533" y="2507655"/>
                  </a:lnTo>
                  <a:lnTo>
                    <a:pt x="4687050" y="2507629"/>
                  </a:lnTo>
                  <a:lnTo>
                    <a:pt x="4688930" y="2507899"/>
                  </a:lnTo>
                  <a:lnTo>
                    <a:pt x="4688267" y="2509322"/>
                  </a:lnTo>
                  <a:lnTo>
                    <a:pt x="4685393" y="2510400"/>
                  </a:lnTo>
                  <a:lnTo>
                    <a:pt x="4684611" y="2511875"/>
                  </a:lnTo>
                  <a:lnTo>
                    <a:pt x="4686097" y="2511805"/>
                  </a:lnTo>
                  <a:lnTo>
                    <a:pt x="4690658" y="2509331"/>
                  </a:lnTo>
                  <a:lnTo>
                    <a:pt x="4691922" y="2507983"/>
                  </a:lnTo>
                  <a:lnTo>
                    <a:pt x="4693292" y="2505403"/>
                  </a:lnTo>
                  <a:lnTo>
                    <a:pt x="4694618" y="2504603"/>
                  </a:lnTo>
                  <a:lnTo>
                    <a:pt x="4695254" y="2504586"/>
                  </a:lnTo>
                  <a:lnTo>
                    <a:pt x="4695899" y="2504727"/>
                  </a:lnTo>
                  <a:lnTo>
                    <a:pt x="4696603" y="2504760"/>
                  </a:lnTo>
                  <a:lnTo>
                    <a:pt x="4697423" y="2504405"/>
                  </a:lnTo>
                  <a:lnTo>
                    <a:pt x="4700640" y="2502054"/>
                  </a:lnTo>
                  <a:lnTo>
                    <a:pt x="4702065" y="2501574"/>
                  </a:lnTo>
                  <a:lnTo>
                    <a:pt x="4706891" y="2502198"/>
                  </a:lnTo>
                  <a:lnTo>
                    <a:pt x="4707273" y="2502764"/>
                  </a:lnTo>
                  <a:lnTo>
                    <a:pt x="4707281" y="2503260"/>
                  </a:lnTo>
                  <a:lnTo>
                    <a:pt x="4707408" y="2504095"/>
                  </a:lnTo>
                  <a:lnTo>
                    <a:pt x="4707398" y="2504599"/>
                  </a:lnTo>
                  <a:lnTo>
                    <a:pt x="4707713" y="2504811"/>
                  </a:lnTo>
                  <a:lnTo>
                    <a:pt x="4707781" y="2504899"/>
                  </a:lnTo>
                  <a:lnTo>
                    <a:pt x="4707869" y="2504929"/>
                  </a:lnTo>
                  <a:lnTo>
                    <a:pt x="4708205" y="2504936"/>
                  </a:lnTo>
                  <a:lnTo>
                    <a:pt x="4708304" y="2506251"/>
                  </a:lnTo>
                  <a:lnTo>
                    <a:pt x="4708235" y="2507213"/>
                  </a:lnTo>
                  <a:lnTo>
                    <a:pt x="4707825" y="2507728"/>
                  </a:lnTo>
                  <a:lnTo>
                    <a:pt x="4706907" y="2507743"/>
                  </a:lnTo>
                  <a:lnTo>
                    <a:pt x="4706795" y="2507328"/>
                  </a:lnTo>
                  <a:lnTo>
                    <a:pt x="4706392" y="2506264"/>
                  </a:lnTo>
                  <a:lnTo>
                    <a:pt x="4705855" y="2506774"/>
                  </a:lnTo>
                  <a:lnTo>
                    <a:pt x="4705274" y="2507128"/>
                  </a:lnTo>
                  <a:lnTo>
                    <a:pt x="4704615" y="2507284"/>
                  </a:lnTo>
                  <a:lnTo>
                    <a:pt x="4703840" y="2507204"/>
                  </a:lnTo>
                  <a:lnTo>
                    <a:pt x="4704081" y="2506895"/>
                  </a:lnTo>
                  <a:lnTo>
                    <a:pt x="4704520" y="2505779"/>
                  </a:lnTo>
                  <a:lnTo>
                    <a:pt x="4702444" y="2506001"/>
                  </a:lnTo>
                  <a:lnTo>
                    <a:pt x="4694892" y="2509542"/>
                  </a:lnTo>
                  <a:lnTo>
                    <a:pt x="4692680" y="2511135"/>
                  </a:lnTo>
                  <a:lnTo>
                    <a:pt x="4691850" y="2512652"/>
                  </a:lnTo>
                  <a:lnTo>
                    <a:pt x="4694125" y="2513361"/>
                  </a:lnTo>
                  <a:lnTo>
                    <a:pt x="4707437" y="2511474"/>
                  </a:lnTo>
                  <a:lnTo>
                    <a:pt x="4709650" y="2512196"/>
                  </a:lnTo>
                  <a:lnTo>
                    <a:pt x="4711114" y="2514862"/>
                  </a:lnTo>
                  <a:lnTo>
                    <a:pt x="4712276" y="2514481"/>
                  </a:lnTo>
                  <a:lnTo>
                    <a:pt x="4716006" y="2514134"/>
                  </a:lnTo>
                  <a:lnTo>
                    <a:pt x="4716387" y="2514700"/>
                  </a:lnTo>
                  <a:lnTo>
                    <a:pt x="4715047" y="2517323"/>
                  </a:lnTo>
                  <a:lnTo>
                    <a:pt x="4714623" y="2518903"/>
                  </a:lnTo>
                  <a:lnTo>
                    <a:pt x="4714586" y="2520741"/>
                  </a:lnTo>
                  <a:lnTo>
                    <a:pt x="4716340" y="2520236"/>
                  </a:lnTo>
                  <a:lnTo>
                    <a:pt x="4716961" y="2518671"/>
                  </a:lnTo>
                  <a:lnTo>
                    <a:pt x="4717138" y="2516669"/>
                  </a:lnTo>
                  <a:lnTo>
                    <a:pt x="4717555" y="2514854"/>
                  </a:lnTo>
                  <a:lnTo>
                    <a:pt x="4718841" y="2513562"/>
                  </a:lnTo>
                  <a:lnTo>
                    <a:pt x="4720532" y="2513298"/>
                  </a:lnTo>
                  <a:lnTo>
                    <a:pt x="4724222" y="2513670"/>
                  </a:lnTo>
                  <a:lnTo>
                    <a:pt x="4724639" y="2514287"/>
                  </a:lnTo>
                  <a:lnTo>
                    <a:pt x="4724062" y="2515430"/>
                  </a:lnTo>
                  <a:lnTo>
                    <a:pt x="4723691" y="2516760"/>
                  </a:lnTo>
                  <a:lnTo>
                    <a:pt x="4726155" y="2514947"/>
                  </a:lnTo>
                  <a:lnTo>
                    <a:pt x="4727043" y="2514846"/>
                  </a:lnTo>
                  <a:lnTo>
                    <a:pt x="4728244" y="2514958"/>
                  </a:lnTo>
                  <a:lnTo>
                    <a:pt x="4729137" y="2515262"/>
                  </a:lnTo>
                  <a:lnTo>
                    <a:pt x="4729109" y="2515726"/>
                  </a:lnTo>
                  <a:lnTo>
                    <a:pt x="4725635" y="2520230"/>
                  </a:lnTo>
                  <a:lnTo>
                    <a:pt x="4725171" y="2521400"/>
                  </a:lnTo>
                  <a:lnTo>
                    <a:pt x="4726624" y="2521062"/>
                  </a:lnTo>
                  <a:lnTo>
                    <a:pt x="4729188" y="2518877"/>
                  </a:lnTo>
                  <a:lnTo>
                    <a:pt x="4730604" y="2518758"/>
                  </a:lnTo>
                  <a:lnTo>
                    <a:pt x="4732425" y="2520177"/>
                  </a:lnTo>
                  <a:lnTo>
                    <a:pt x="4732489" y="2521857"/>
                  </a:lnTo>
                  <a:lnTo>
                    <a:pt x="4731822" y="2523576"/>
                  </a:lnTo>
                  <a:lnTo>
                    <a:pt x="4731441" y="2525146"/>
                  </a:lnTo>
                  <a:lnTo>
                    <a:pt x="4735091" y="2524416"/>
                  </a:lnTo>
                  <a:lnTo>
                    <a:pt x="4735848" y="2523665"/>
                  </a:lnTo>
                  <a:lnTo>
                    <a:pt x="4735988" y="2522343"/>
                  </a:lnTo>
                  <a:lnTo>
                    <a:pt x="4735656" y="2521414"/>
                  </a:lnTo>
                  <a:lnTo>
                    <a:pt x="4735500" y="2520645"/>
                  </a:lnTo>
                  <a:lnTo>
                    <a:pt x="4736162" y="2519813"/>
                  </a:lnTo>
                  <a:lnTo>
                    <a:pt x="4737168" y="2519912"/>
                  </a:lnTo>
                  <a:lnTo>
                    <a:pt x="4737648" y="2521468"/>
                  </a:lnTo>
                  <a:lnTo>
                    <a:pt x="4737829" y="2524573"/>
                  </a:lnTo>
                  <a:lnTo>
                    <a:pt x="4737649" y="2526338"/>
                  </a:lnTo>
                  <a:lnTo>
                    <a:pt x="4736894" y="2526790"/>
                  </a:lnTo>
                  <a:lnTo>
                    <a:pt x="4735790" y="2526839"/>
                  </a:lnTo>
                  <a:lnTo>
                    <a:pt x="4734569" y="2527395"/>
                  </a:lnTo>
                  <a:lnTo>
                    <a:pt x="4735550" y="2528034"/>
                  </a:lnTo>
                  <a:lnTo>
                    <a:pt x="4736862" y="2528623"/>
                  </a:lnTo>
                  <a:lnTo>
                    <a:pt x="4738147" y="2528954"/>
                  </a:lnTo>
                  <a:lnTo>
                    <a:pt x="4739046" y="2528828"/>
                  </a:lnTo>
                  <a:lnTo>
                    <a:pt x="4740786" y="2527855"/>
                  </a:lnTo>
                  <a:lnTo>
                    <a:pt x="4741407" y="2527950"/>
                  </a:lnTo>
                  <a:lnTo>
                    <a:pt x="4741158" y="2529131"/>
                  </a:lnTo>
                  <a:lnTo>
                    <a:pt x="4743844" y="2529933"/>
                  </a:lnTo>
                  <a:lnTo>
                    <a:pt x="4743054" y="2535999"/>
                  </a:lnTo>
                  <a:lnTo>
                    <a:pt x="4742513" y="2537493"/>
                  </a:lnTo>
                  <a:lnTo>
                    <a:pt x="4741014" y="2538441"/>
                  </a:lnTo>
                  <a:lnTo>
                    <a:pt x="4736782" y="2539131"/>
                  </a:lnTo>
                  <a:lnTo>
                    <a:pt x="4735083" y="2540084"/>
                  </a:lnTo>
                  <a:lnTo>
                    <a:pt x="4735538" y="2540761"/>
                  </a:lnTo>
                  <a:lnTo>
                    <a:pt x="4736709" y="2540101"/>
                  </a:lnTo>
                  <a:lnTo>
                    <a:pt x="4738344" y="2539873"/>
                  </a:lnTo>
                  <a:lnTo>
                    <a:pt x="4739996" y="2540207"/>
                  </a:lnTo>
                  <a:lnTo>
                    <a:pt x="4741223" y="2541229"/>
                  </a:lnTo>
                  <a:lnTo>
                    <a:pt x="4742169" y="2543717"/>
                  </a:lnTo>
                  <a:lnTo>
                    <a:pt x="4742164" y="2546042"/>
                  </a:lnTo>
                  <a:lnTo>
                    <a:pt x="4741489" y="2547962"/>
                  </a:lnTo>
                  <a:lnTo>
                    <a:pt x="4740427" y="2549232"/>
                  </a:lnTo>
                  <a:lnTo>
                    <a:pt x="4738839" y="2549954"/>
                  </a:lnTo>
                  <a:lnTo>
                    <a:pt x="4735324" y="2550617"/>
                  </a:lnTo>
                  <a:lnTo>
                    <a:pt x="4733741" y="2551348"/>
                  </a:lnTo>
                  <a:lnTo>
                    <a:pt x="4728531" y="2556067"/>
                  </a:lnTo>
                  <a:lnTo>
                    <a:pt x="4728984" y="2556745"/>
                  </a:lnTo>
                  <a:lnTo>
                    <a:pt x="4730031" y="2555900"/>
                  </a:lnTo>
                  <a:lnTo>
                    <a:pt x="4733759" y="2554109"/>
                  </a:lnTo>
                  <a:lnTo>
                    <a:pt x="4734008" y="2555701"/>
                  </a:lnTo>
                  <a:lnTo>
                    <a:pt x="4734099" y="2557305"/>
                  </a:lnTo>
                  <a:lnTo>
                    <a:pt x="4733818" y="2558634"/>
                  </a:lnTo>
                  <a:lnTo>
                    <a:pt x="4732950" y="2559399"/>
                  </a:lnTo>
                  <a:lnTo>
                    <a:pt x="4734593" y="2560152"/>
                  </a:lnTo>
                  <a:lnTo>
                    <a:pt x="4735434" y="2559849"/>
                  </a:lnTo>
                  <a:lnTo>
                    <a:pt x="4735760" y="2558784"/>
                  </a:lnTo>
                  <a:lnTo>
                    <a:pt x="4736070" y="2555487"/>
                  </a:lnTo>
                  <a:lnTo>
                    <a:pt x="4736479" y="2554543"/>
                  </a:lnTo>
                  <a:lnTo>
                    <a:pt x="4742913" y="2551154"/>
                  </a:lnTo>
                  <a:lnTo>
                    <a:pt x="4745512" y="2550755"/>
                  </a:lnTo>
                  <a:lnTo>
                    <a:pt x="4748003" y="2552097"/>
                  </a:lnTo>
                  <a:lnTo>
                    <a:pt x="4747571" y="2552414"/>
                  </a:lnTo>
                  <a:lnTo>
                    <a:pt x="4747339" y="2552845"/>
                  </a:lnTo>
                  <a:lnTo>
                    <a:pt x="4747170" y="2553306"/>
                  </a:lnTo>
                  <a:lnTo>
                    <a:pt x="4746938" y="2553719"/>
                  </a:lnTo>
                  <a:lnTo>
                    <a:pt x="4748806" y="2553872"/>
                  </a:lnTo>
                  <a:lnTo>
                    <a:pt x="4750958" y="2553291"/>
                  </a:lnTo>
                  <a:lnTo>
                    <a:pt x="4752841" y="2553510"/>
                  </a:lnTo>
                  <a:lnTo>
                    <a:pt x="4753884" y="2556031"/>
                  </a:lnTo>
                  <a:lnTo>
                    <a:pt x="4756850" y="2556885"/>
                  </a:lnTo>
                  <a:lnTo>
                    <a:pt x="4758102" y="2557803"/>
                  </a:lnTo>
                  <a:lnTo>
                    <a:pt x="4759642" y="2559767"/>
                  </a:lnTo>
                  <a:lnTo>
                    <a:pt x="4759766" y="2561069"/>
                  </a:lnTo>
                  <a:lnTo>
                    <a:pt x="4758729" y="2562069"/>
                  </a:lnTo>
                  <a:lnTo>
                    <a:pt x="4756623" y="2563380"/>
                  </a:lnTo>
                  <a:lnTo>
                    <a:pt x="4756419" y="2564032"/>
                  </a:lnTo>
                  <a:lnTo>
                    <a:pt x="4756243" y="2565222"/>
                  </a:lnTo>
                  <a:lnTo>
                    <a:pt x="4756044" y="2565661"/>
                  </a:lnTo>
                  <a:lnTo>
                    <a:pt x="4755550" y="2566161"/>
                  </a:lnTo>
                  <a:lnTo>
                    <a:pt x="4752743" y="2568164"/>
                  </a:lnTo>
                  <a:lnTo>
                    <a:pt x="4751978" y="2569110"/>
                  </a:lnTo>
                  <a:lnTo>
                    <a:pt x="4751615" y="2570235"/>
                  </a:lnTo>
                  <a:lnTo>
                    <a:pt x="4751896" y="2571553"/>
                  </a:lnTo>
                  <a:lnTo>
                    <a:pt x="4755879" y="2568636"/>
                  </a:lnTo>
                  <a:lnTo>
                    <a:pt x="4755450" y="2570569"/>
                  </a:lnTo>
                  <a:lnTo>
                    <a:pt x="4754306" y="2572206"/>
                  </a:lnTo>
                  <a:lnTo>
                    <a:pt x="4752789" y="2573348"/>
                  </a:lnTo>
                  <a:lnTo>
                    <a:pt x="4751241" y="2573801"/>
                  </a:lnTo>
                  <a:lnTo>
                    <a:pt x="4748441" y="2573630"/>
                  </a:lnTo>
                  <a:lnTo>
                    <a:pt x="4743330" y="2574953"/>
                  </a:lnTo>
                  <a:lnTo>
                    <a:pt x="4741918" y="2575815"/>
                  </a:lnTo>
                  <a:lnTo>
                    <a:pt x="4742947" y="2576873"/>
                  </a:lnTo>
                  <a:lnTo>
                    <a:pt x="4745171" y="2577660"/>
                  </a:lnTo>
                  <a:lnTo>
                    <a:pt x="4747306" y="2577680"/>
                  </a:lnTo>
                  <a:lnTo>
                    <a:pt x="4750575" y="2576587"/>
                  </a:lnTo>
                  <a:lnTo>
                    <a:pt x="4752384" y="2576732"/>
                  </a:lnTo>
                  <a:lnTo>
                    <a:pt x="4754519" y="2577969"/>
                  </a:lnTo>
                  <a:lnTo>
                    <a:pt x="4754189" y="2578209"/>
                  </a:lnTo>
                  <a:lnTo>
                    <a:pt x="4754492" y="2578584"/>
                  </a:lnTo>
                  <a:lnTo>
                    <a:pt x="4754667" y="2578643"/>
                  </a:lnTo>
                  <a:lnTo>
                    <a:pt x="4754806" y="2578784"/>
                  </a:lnTo>
                  <a:lnTo>
                    <a:pt x="4754979" y="2579390"/>
                  </a:lnTo>
                  <a:lnTo>
                    <a:pt x="4756228" y="2578627"/>
                  </a:lnTo>
                  <a:lnTo>
                    <a:pt x="4757540" y="2578892"/>
                  </a:lnTo>
                  <a:lnTo>
                    <a:pt x="4758900" y="2579585"/>
                  </a:lnTo>
                  <a:lnTo>
                    <a:pt x="4760332" y="2580109"/>
                  </a:lnTo>
                  <a:lnTo>
                    <a:pt x="4761766" y="2579953"/>
                  </a:lnTo>
                  <a:lnTo>
                    <a:pt x="4762752" y="2579131"/>
                  </a:lnTo>
                  <a:lnTo>
                    <a:pt x="4764524" y="2577037"/>
                  </a:lnTo>
                  <a:lnTo>
                    <a:pt x="4769236" y="2573574"/>
                  </a:lnTo>
                  <a:lnTo>
                    <a:pt x="4770708" y="2573303"/>
                  </a:lnTo>
                  <a:lnTo>
                    <a:pt x="4773218" y="2574838"/>
                  </a:lnTo>
                  <a:lnTo>
                    <a:pt x="4774498" y="2574425"/>
                  </a:lnTo>
                  <a:lnTo>
                    <a:pt x="4774707" y="2575560"/>
                  </a:lnTo>
                  <a:lnTo>
                    <a:pt x="4774423" y="2576339"/>
                  </a:lnTo>
                  <a:lnTo>
                    <a:pt x="4773949" y="2577032"/>
                  </a:lnTo>
                  <a:lnTo>
                    <a:pt x="4773573" y="2577888"/>
                  </a:lnTo>
                  <a:lnTo>
                    <a:pt x="4774037" y="2577668"/>
                  </a:lnTo>
                  <a:lnTo>
                    <a:pt x="4774944" y="2577593"/>
                  </a:lnTo>
                  <a:lnTo>
                    <a:pt x="4775409" y="2577466"/>
                  </a:lnTo>
                  <a:lnTo>
                    <a:pt x="4775384" y="2578833"/>
                  </a:lnTo>
                  <a:lnTo>
                    <a:pt x="4774683" y="2580792"/>
                  </a:lnTo>
                  <a:lnTo>
                    <a:pt x="4774502" y="2581837"/>
                  </a:lnTo>
                  <a:lnTo>
                    <a:pt x="4772730" y="2580996"/>
                  </a:lnTo>
                  <a:lnTo>
                    <a:pt x="4771427" y="2581623"/>
                  </a:lnTo>
                  <a:lnTo>
                    <a:pt x="4769307" y="2583798"/>
                  </a:lnTo>
                  <a:lnTo>
                    <a:pt x="4768635" y="2584026"/>
                  </a:lnTo>
                  <a:lnTo>
                    <a:pt x="4767892" y="2584074"/>
                  </a:lnTo>
                  <a:lnTo>
                    <a:pt x="4767103" y="2583968"/>
                  </a:lnTo>
                  <a:lnTo>
                    <a:pt x="4765069" y="2583311"/>
                  </a:lnTo>
                  <a:lnTo>
                    <a:pt x="4764581" y="2583416"/>
                  </a:lnTo>
                  <a:lnTo>
                    <a:pt x="4764268" y="2583783"/>
                  </a:lnTo>
                  <a:lnTo>
                    <a:pt x="4763607" y="2584195"/>
                  </a:lnTo>
                  <a:lnTo>
                    <a:pt x="4757670" y="2585821"/>
                  </a:lnTo>
                  <a:lnTo>
                    <a:pt x="4754853" y="2587484"/>
                  </a:lnTo>
                  <a:lnTo>
                    <a:pt x="4754427" y="2590057"/>
                  </a:lnTo>
                  <a:lnTo>
                    <a:pt x="4758196" y="2587206"/>
                  </a:lnTo>
                  <a:lnTo>
                    <a:pt x="4760385" y="2586241"/>
                  </a:lnTo>
                  <a:lnTo>
                    <a:pt x="4762617" y="2586392"/>
                  </a:lnTo>
                  <a:lnTo>
                    <a:pt x="4763905" y="2586894"/>
                  </a:lnTo>
                  <a:lnTo>
                    <a:pt x="4764275" y="2587186"/>
                  </a:lnTo>
                  <a:lnTo>
                    <a:pt x="4762704" y="2591009"/>
                  </a:lnTo>
                  <a:lnTo>
                    <a:pt x="4762442" y="2592043"/>
                  </a:lnTo>
                  <a:lnTo>
                    <a:pt x="4762617" y="2593326"/>
                  </a:lnTo>
                  <a:lnTo>
                    <a:pt x="4764641" y="2591964"/>
                  </a:lnTo>
                  <a:lnTo>
                    <a:pt x="4765820" y="2591908"/>
                  </a:lnTo>
                  <a:lnTo>
                    <a:pt x="4767177" y="2592773"/>
                  </a:lnTo>
                  <a:lnTo>
                    <a:pt x="4766736" y="2593802"/>
                  </a:lnTo>
                  <a:lnTo>
                    <a:pt x="4765792" y="2594331"/>
                  </a:lnTo>
                  <a:lnTo>
                    <a:pt x="4762073" y="2594846"/>
                  </a:lnTo>
                  <a:lnTo>
                    <a:pt x="4761137" y="2595264"/>
                  </a:lnTo>
                  <a:lnTo>
                    <a:pt x="4759366" y="2596620"/>
                  </a:lnTo>
                  <a:lnTo>
                    <a:pt x="4755782" y="2603295"/>
                  </a:lnTo>
                  <a:lnTo>
                    <a:pt x="4754076" y="2603779"/>
                  </a:lnTo>
                  <a:lnTo>
                    <a:pt x="4751894" y="2603282"/>
                  </a:lnTo>
                  <a:lnTo>
                    <a:pt x="4749523" y="2603460"/>
                  </a:lnTo>
                  <a:lnTo>
                    <a:pt x="4745365" y="2604921"/>
                  </a:lnTo>
                  <a:lnTo>
                    <a:pt x="4742147" y="2607735"/>
                  </a:lnTo>
                  <a:lnTo>
                    <a:pt x="4740900" y="2607679"/>
                  </a:lnTo>
                  <a:lnTo>
                    <a:pt x="4739847" y="2607418"/>
                  </a:lnTo>
                  <a:lnTo>
                    <a:pt x="4738940" y="2607692"/>
                  </a:lnTo>
                  <a:lnTo>
                    <a:pt x="4737185" y="2608970"/>
                  </a:lnTo>
                  <a:lnTo>
                    <a:pt x="4738431" y="2608825"/>
                  </a:lnTo>
                  <a:lnTo>
                    <a:pt x="4741295" y="2609172"/>
                  </a:lnTo>
                  <a:lnTo>
                    <a:pt x="4742677" y="2608704"/>
                  </a:lnTo>
                  <a:lnTo>
                    <a:pt x="4746853" y="2605905"/>
                  </a:lnTo>
                  <a:lnTo>
                    <a:pt x="4748435" y="2605553"/>
                  </a:lnTo>
                  <a:lnTo>
                    <a:pt x="4751797" y="2605589"/>
                  </a:lnTo>
                  <a:lnTo>
                    <a:pt x="4753285" y="2605336"/>
                  </a:lnTo>
                  <a:lnTo>
                    <a:pt x="4758969" y="2601510"/>
                  </a:lnTo>
                  <a:lnTo>
                    <a:pt x="4759435" y="2600763"/>
                  </a:lnTo>
                  <a:lnTo>
                    <a:pt x="4759427" y="2599526"/>
                  </a:lnTo>
                  <a:lnTo>
                    <a:pt x="4760659" y="2598586"/>
                  </a:lnTo>
                  <a:lnTo>
                    <a:pt x="4763271" y="2597559"/>
                  </a:lnTo>
                  <a:lnTo>
                    <a:pt x="4764266" y="2596404"/>
                  </a:lnTo>
                  <a:lnTo>
                    <a:pt x="4764972" y="2595922"/>
                  </a:lnTo>
                  <a:lnTo>
                    <a:pt x="4765642" y="2596242"/>
                  </a:lnTo>
                  <a:lnTo>
                    <a:pt x="4766236" y="2596680"/>
                  </a:lnTo>
                  <a:lnTo>
                    <a:pt x="4767215" y="2597057"/>
                  </a:lnTo>
                  <a:lnTo>
                    <a:pt x="4768237" y="2597241"/>
                  </a:lnTo>
                  <a:lnTo>
                    <a:pt x="4768961" y="2597104"/>
                  </a:lnTo>
                  <a:lnTo>
                    <a:pt x="4774172" y="2594300"/>
                  </a:lnTo>
                  <a:lnTo>
                    <a:pt x="4777710" y="2589766"/>
                  </a:lnTo>
                  <a:lnTo>
                    <a:pt x="4777853" y="2590423"/>
                  </a:lnTo>
                  <a:lnTo>
                    <a:pt x="4778614" y="2592814"/>
                  </a:lnTo>
                  <a:lnTo>
                    <a:pt x="4782302" y="2589477"/>
                  </a:lnTo>
                  <a:lnTo>
                    <a:pt x="4784187" y="2588945"/>
                  </a:lnTo>
                  <a:lnTo>
                    <a:pt x="4785876" y="2593593"/>
                  </a:lnTo>
                  <a:lnTo>
                    <a:pt x="4787788" y="2592528"/>
                  </a:lnTo>
                  <a:lnTo>
                    <a:pt x="4790106" y="2590474"/>
                  </a:lnTo>
                  <a:lnTo>
                    <a:pt x="4792190" y="2589797"/>
                  </a:lnTo>
                  <a:lnTo>
                    <a:pt x="4793053" y="2590931"/>
                  </a:lnTo>
                  <a:lnTo>
                    <a:pt x="4793789" y="2593957"/>
                  </a:lnTo>
                  <a:lnTo>
                    <a:pt x="4795413" y="2594256"/>
                  </a:lnTo>
                  <a:lnTo>
                    <a:pt x="4796264" y="2595503"/>
                  </a:lnTo>
                  <a:lnTo>
                    <a:pt x="4796637" y="2597137"/>
                  </a:lnTo>
                  <a:lnTo>
                    <a:pt x="4796108" y="2598474"/>
                  </a:lnTo>
                  <a:lnTo>
                    <a:pt x="4795209" y="2598822"/>
                  </a:lnTo>
                  <a:lnTo>
                    <a:pt x="4793892" y="2598931"/>
                  </a:lnTo>
                  <a:lnTo>
                    <a:pt x="4792547" y="2598844"/>
                  </a:lnTo>
                  <a:lnTo>
                    <a:pt x="4791581" y="2598612"/>
                  </a:lnTo>
                  <a:lnTo>
                    <a:pt x="4790450" y="2598682"/>
                  </a:lnTo>
                  <a:lnTo>
                    <a:pt x="4787136" y="2601369"/>
                  </a:lnTo>
                  <a:lnTo>
                    <a:pt x="4788245" y="2602062"/>
                  </a:lnTo>
                  <a:lnTo>
                    <a:pt x="4790417" y="2602216"/>
                  </a:lnTo>
                  <a:lnTo>
                    <a:pt x="4791450" y="2602920"/>
                  </a:lnTo>
                  <a:lnTo>
                    <a:pt x="4791925" y="2604062"/>
                  </a:lnTo>
                  <a:lnTo>
                    <a:pt x="4791311" y="2604646"/>
                  </a:lnTo>
                  <a:lnTo>
                    <a:pt x="4787228" y="2606156"/>
                  </a:lnTo>
                  <a:lnTo>
                    <a:pt x="4782070" y="2606809"/>
                  </a:lnTo>
                  <a:lnTo>
                    <a:pt x="4778239" y="2608338"/>
                  </a:lnTo>
                  <a:lnTo>
                    <a:pt x="4764259" y="2610193"/>
                  </a:lnTo>
                  <a:lnTo>
                    <a:pt x="4762479" y="2611061"/>
                  </a:lnTo>
                  <a:lnTo>
                    <a:pt x="4764165" y="2612109"/>
                  </a:lnTo>
                  <a:lnTo>
                    <a:pt x="4766116" y="2612513"/>
                  </a:lnTo>
                  <a:lnTo>
                    <a:pt x="4769772" y="2612227"/>
                  </a:lnTo>
                  <a:lnTo>
                    <a:pt x="4775110" y="2609300"/>
                  </a:lnTo>
                  <a:lnTo>
                    <a:pt x="4777652" y="2609472"/>
                  </a:lnTo>
                  <a:lnTo>
                    <a:pt x="4779110" y="2608942"/>
                  </a:lnTo>
                  <a:lnTo>
                    <a:pt x="4779951" y="2609038"/>
                  </a:lnTo>
                  <a:lnTo>
                    <a:pt x="4781529" y="2610083"/>
                  </a:lnTo>
                  <a:lnTo>
                    <a:pt x="4782251" y="2610250"/>
                  </a:lnTo>
                  <a:lnTo>
                    <a:pt x="4789739" y="2606956"/>
                  </a:lnTo>
                  <a:lnTo>
                    <a:pt x="4790196" y="2607637"/>
                  </a:lnTo>
                  <a:lnTo>
                    <a:pt x="4789535" y="2608934"/>
                  </a:lnTo>
                  <a:lnTo>
                    <a:pt x="4789158" y="2610170"/>
                  </a:lnTo>
                  <a:lnTo>
                    <a:pt x="4789535" y="2610733"/>
                  </a:lnTo>
                  <a:lnTo>
                    <a:pt x="4790162" y="2610064"/>
                  </a:lnTo>
                  <a:lnTo>
                    <a:pt x="4790637" y="2609350"/>
                  </a:lnTo>
                  <a:lnTo>
                    <a:pt x="4791214" y="2608855"/>
                  </a:lnTo>
                  <a:lnTo>
                    <a:pt x="4792137" y="2608823"/>
                  </a:lnTo>
                  <a:lnTo>
                    <a:pt x="4792041" y="2609175"/>
                  </a:lnTo>
                  <a:lnTo>
                    <a:pt x="4791999" y="2609239"/>
                  </a:lnTo>
                  <a:lnTo>
                    <a:pt x="4792044" y="2609327"/>
                  </a:lnTo>
                  <a:lnTo>
                    <a:pt x="4792188" y="2609796"/>
                  </a:lnTo>
                  <a:lnTo>
                    <a:pt x="4793561" y="2608609"/>
                  </a:lnTo>
                  <a:lnTo>
                    <a:pt x="4794085" y="2608401"/>
                  </a:lnTo>
                  <a:lnTo>
                    <a:pt x="4794573" y="2608511"/>
                  </a:lnTo>
                  <a:lnTo>
                    <a:pt x="4795204" y="2609208"/>
                  </a:lnTo>
                  <a:lnTo>
                    <a:pt x="4795652" y="2609176"/>
                  </a:lnTo>
                  <a:lnTo>
                    <a:pt x="4796429" y="2608439"/>
                  </a:lnTo>
                  <a:lnTo>
                    <a:pt x="4797218" y="2606442"/>
                  </a:lnTo>
                  <a:lnTo>
                    <a:pt x="4797893" y="2605597"/>
                  </a:lnTo>
                  <a:lnTo>
                    <a:pt x="4798294" y="2605887"/>
                  </a:lnTo>
                  <a:lnTo>
                    <a:pt x="4798398" y="2607120"/>
                  </a:lnTo>
                  <a:lnTo>
                    <a:pt x="4798220" y="2608557"/>
                  </a:lnTo>
                  <a:lnTo>
                    <a:pt x="4797783" y="2609464"/>
                  </a:lnTo>
                  <a:lnTo>
                    <a:pt x="4797045" y="2610201"/>
                  </a:lnTo>
                  <a:lnTo>
                    <a:pt x="4796491" y="2611227"/>
                  </a:lnTo>
                  <a:lnTo>
                    <a:pt x="4796310" y="2612498"/>
                  </a:lnTo>
                  <a:lnTo>
                    <a:pt x="4796687" y="2613983"/>
                  </a:lnTo>
                  <a:lnTo>
                    <a:pt x="4797809" y="2612788"/>
                  </a:lnTo>
                  <a:lnTo>
                    <a:pt x="4799407" y="2610135"/>
                  </a:lnTo>
                  <a:lnTo>
                    <a:pt x="4800576" y="2609180"/>
                  </a:lnTo>
                  <a:lnTo>
                    <a:pt x="4801910" y="2608876"/>
                  </a:lnTo>
                  <a:lnTo>
                    <a:pt x="4807494" y="2608796"/>
                  </a:lnTo>
                  <a:lnTo>
                    <a:pt x="4806774" y="2610307"/>
                  </a:lnTo>
                  <a:lnTo>
                    <a:pt x="4805533" y="2611129"/>
                  </a:lnTo>
                  <a:lnTo>
                    <a:pt x="4802699" y="2612336"/>
                  </a:lnTo>
                  <a:lnTo>
                    <a:pt x="4801829" y="2613811"/>
                  </a:lnTo>
                  <a:lnTo>
                    <a:pt x="4801279" y="2614465"/>
                  </a:lnTo>
                  <a:lnTo>
                    <a:pt x="4800725" y="2614293"/>
                  </a:lnTo>
                  <a:lnTo>
                    <a:pt x="4799995" y="2613720"/>
                  </a:lnTo>
                  <a:lnTo>
                    <a:pt x="4799607" y="2614353"/>
                  </a:lnTo>
                  <a:lnTo>
                    <a:pt x="4799486" y="2615520"/>
                  </a:lnTo>
                  <a:lnTo>
                    <a:pt x="4799535" y="2616523"/>
                  </a:lnTo>
                  <a:lnTo>
                    <a:pt x="4800807" y="2615874"/>
                  </a:lnTo>
                  <a:lnTo>
                    <a:pt x="4804044" y="2615712"/>
                  </a:lnTo>
                  <a:lnTo>
                    <a:pt x="4805520" y="2614899"/>
                  </a:lnTo>
                  <a:lnTo>
                    <a:pt x="4806495" y="2617619"/>
                  </a:lnTo>
                  <a:lnTo>
                    <a:pt x="4807201" y="2619117"/>
                  </a:lnTo>
                  <a:lnTo>
                    <a:pt x="4808298" y="2620116"/>
                  </a:lnTo>
                  <a:lnTo>
                    <a:pt x="4810467" y="2621368"/>
                  </a:lnTo>
                  <a:lnTo>
                    <a:pt x="4810284" y="2624360"/>
                  </a:lnTo>
                  <a:lnTo>
                    <a:pt x="4808756" y="2625663"/>
                  </a:lnTo>
                  <a:lnTo>
                    <a:pt x="4806931" y="2626613"/>
                  </a:lnTo>
                  <a:lnTo>
                    <a:pt x="4805855" y="2628558"/>
                  </a:lnTo>
                  <a:lnTo>
                    <a:pt x="4806978" y="2628975"/>
                  </a:lnTo>
                  <a:lnTo>
                    <a:pt x="4809724" y="2629413"/>
                  </a:lnTo>
                  <a:lnTo>
                    <a:pt x="4809731" y="2632324"/>
                  </a:lnTo>
                  <a:lnTo>
                    <a:pt x="4809146" y="2634442"/>
                  </a:lnTo>
                  <a:lnTo>
                    <a:pt x="4807140" y="2637879"/>
                  </a:lnTo>
                  <a:lnTo>
                    <a:pt x="4805920" y="2638926"/>
                  </a:lnTo>
                  <a:lnTo>
                    <a:pt x="4802483" y="2639605"/>
                  </a:lnTo>
                  <a:lnTo>
                    <a:pt x="4800779" y="2640685"/>
                  </a:lnTo>
                  <a:lnTo>
                    <a:pt x="4802540" y="2641212"/>
                  </a:lnTo>
                  <a:lnTo>
                    <a:pt x="4806370" y="2641850"/>
                  </a:lnTo>
                  <a:lnTo>
                    <a:pt x="4807579" y="2642651"/>
                  </a:lnTo>
                  <a:lnTo>
                    <a:pt x="4808562" y="2644765"/>
                  </a:lnTo>
                  <a:lnTo>
                    <a:pt x="4808716" y="2646620"/>
                  </a:lnTo>
                  <a:lnTo>
                    <a:pt x="4808345" y="2648213"/>
                  </a:lnTo>
                  <a:lnTo>
                    <a:pt x="4805309" y="2653761"/>
                  </a:lnTo>
                  <a:lnTo>
                    <a:pt x="4804354" y="2654792"/>
                  </a:lnTo>
                  <a:lnTo>
                    <a:pt x="4804138" y="2655440"/>
                  </a:lnTo>
                  <a:lnTo>
                    <a:pt x="4803675" y="2659017"/>
                  </a:lnTo>
                  <a:lnTo>
                    <a:pt x="4802134" y="2661022"/>
                  </a:lnTo>
                  <a:lnTo>
                    <a:pt x="4802000" y="2661652"/>
                  </a:lnTo>
                  <a:lnTo>
                    <a:pt x="4801845" y="2663990"/>
                  </a:lnTo>
                  <a:lnTo>
                    <a:pt x="4801284" y="2666029"/>
                  </a:lnTo>
                  <a:lnTo>
                    <a:pt x="4801203" y="2666725"/>
                  </a:lnTo>
                  <a:lnTo>
                    <a:pt x="4801235" y="2668865"/>
                  </a:lnTo>
                  <a:lnTo>
                    <a:pt x="4801034" y="2670839"/>
                  </a:lnTo>
                  <a:lnTo>
                    <a:pt x="4800431" y="2672609"/>
                  </a:lnTo>
                  <a:lnTo>
                    <a:pt x="4799256" y="2674161"/>
                  </a:lnTo>
                  <a:lnTo>
                    <a:pt x="4795011" y="2677225"/>
                  </a:lnTo>
                  <a:lnTo>
                    <a:pt x="4794544" y="2678022"/>
                  </a:lnTo>
                  <a:lnTo>
                    <a:pt x="4795097" y="2679783"/>
                  </a:lnTo>
                  <a:lnTo>
                    <a:pt x="4794988" y="2681785"/>
                  </a:lnTo>
                  <a:lnTo>
                    <a:pt x="4794489" y="2683535"/>
                  </a:lnTo>
                  <a:lnTo>
                    <a:pt x="4793878" y="2684554"/>
                  </a:lnTo>
                  <a:lnTo>
                    <a:pt x="4791818" y="2684606"/>
                  </a:lnTo>
                  <a:lnTo>
                    <a:pt x="4791075" y="2685332"/>
                  </a:lnTo>
                  <a:lnTo>
                    <a:pt x="4791875" y="2687373"/>
                  </a:lnTo>
                  <a:lnTo>
                    <a:pt x="4792141" y="2688376"/>
                  </a:lnTo>
                  <a:lnTo>
                    <a:pt x="4792040" y="2689630"/>
                  </a:lnTo>
                  <a:lnTo>
                    <a:pt x="4789257" y="2698123"/>
                  </a:lnTo>
                  <a:lnTo>
                    <a:pt x="4788255" y="2699605"/>
                  </a:lnTo>
                  <a:lnTo>
                    <a:pt x="4784669" y="2702163"/>
                  </a:lnTo>
                  <a:lnTo>
                    <a:pt x="4784115" y="2703036"/>
                  </a:lnTo>
                  <a:lnTo>
                    <a:pt x="4784384" y="2704117"/>
                  </a:lnTo>
                  <a:lnTo>
                    <a:pt x="4785771" y="2706867"/>
                  </a:lnTo>
                  <a:lnTo>
                    <a:pt x="4786793" y="2709349"/>
                  </a:lnTo>
                  <a:lnTo>
                    <a:pt x="4786820" y="2710328"/>
                  </a:lnTo>
                  <a:lnTo>
                    <a:pt x="4785504" y="2711930"/>
                  </a:lnTo>
                  <a:lnTo>
                    <a:pt x="4785111" y="2712945"/>
                  </a:lnTo>
                  <a:lnTo>
                    <a:pt x="4784924" y="2713998"/>
                  </a:lnTo>
                  <a:lnTo>
                    <a:pt x="4784911" y="2714886"/>
                  </a:lnTo>
                  <a:lnTo>
                    <a:pt x="4785276" y="2715450"/>
                  </a:lnTo>
                  <a:lnTo>
                    <a:pt x="4785456" y="2716908"/>
                  </a:lnTo>
                  <a:lnTo>
                    <a:pt x="4784684" y="2718159"/>
                  </a:lnTo>
                  <a:lnTo>
                    <a:pt x="4784259" y="2719196"/>
                  </a:lnTo>
                  <a:lnTo>
                    <a:pt x="4785450" y="2719986"/>
                  </a:lnTo>
                  <a:lnTo>
                    <a:pt x="4785622" y="2723160"/>
                  </a:lnTo>
                  <a:lnTo>
                    <a:pt x="4784567" y="2725824"/>
                  </a:lnTo>
                  <a:lnTo>
                    <a:pt x="4782457" y="2727103"/>
                  </a:lnTo>
                  <a:lnTo>
                    <a:pt x="4779427" y="2726077"/>
                  </a:lnTo>
                  <a:lnTo>
                    <a:pt x="4779524" y="2729658"/>
                  </a:lnTo>
                  <a:lnTo>
                    <a:pt x="4780933" y="2730411"/>
                  </a:lnTo>
                  <a:lnTo>
                    <a:pt x="4781784" y="2731675"/>
                  </a:lnTo>
                  <a:lnTo>
                    <a:pt x="4782028" y="2733179"/>
                  </a:lnTo>
                  <a:lnTo>
                    <a:pt x="4781622" y="2734644"/>
                  </a:lnTo>
                  <a:lnTo>
                    <a:pt x="4780621" y="2735676"/>
                  </a:lnTo>
                  <a:lnTo>
                    <a:pt x="4778151" y="2737120"/>
                  </a:lnTo>
                  <a:lnTo>
                    <a:pt x="4777439" y="2738420"/>
                  </a:lnTo>
                  <a:lnTo>
                    <a:pt x="4776458" y="2737931"/>
                  </a:lnTo>
                  <a:lnTo>
                    <a:pt x="4775877" y="2738469"/>
                  </a:lnTo>
                  <a:lnTo>
                    <a:pt x="4775355" y="2739493"/>
                  </a:lnTo>
                  <a:lnTo>
                    <a:pt x="4774554" y="2740446"/>
                  </a:lnTo>
                  <a:lnTo>
                    <a:pt x="4772015" y="2741411"/>
                  </a:lnTo>
                  <a:lnTo>
                    <a:pt x="4770775" y="2742308"/>
                  </a:lnTo>
                  <a:lnTo>
                    <a:pt x="4770767" y="2743555"/>
                  </a:lnTo>
                  <a:lnTo>
                    <a:pt x="4769587" y="2743953"/>
                  </a:lnTo>
                  <a:lnTo>
                    <a:pt x="4766437" y="2743357"/>
                  </a:lnTo>
                  <a:lnTo>
                    <a:pt x="4763533" y="2741584"/>
                  </a:lnTo>
                  <a:lnTo>
                    <a:pt x="4763085" y="2738466"/>
                  </a:lnTo>
                  <a:lnTo>
                    <a:pt x="4760984" y="2738041"/>
                  </a:lnTo>
                  <a:lnTo>
                    <a:pt x="4759341" y="2739388"/>
                  </a:lnTo>
                  <a:lnTo>
                    <a:pt x="4755847" y="2743756"/>
                  </a:lnTo>
                  <a:lnTo>
                    <a:pt x="4754350" y="2746371"/>
                  </a:lnTo>
                  <a:lnTo>
                    <a:pt x="4753544" y="2746800"/>
                  </a:lnTo>
                  <a:lnTo>
                    <a:pt x="4752672" y="2746979"/>
                  </a:lnTo>
                  <a:lnTo>
                    <a:pt x="4751862" y="2747395"/>
                  </a:lnTo>
                  <a:lnTo>
                    <a:pt x="4751272" y="2748507"/>
                  </a:lnTo>
                  <a:lnTo>
                    <a:pt x="4752655" y="2749214"/>
                  </a:lnTo>
                  <a:lnTo>
                    <a:pt x="4753351" y="2750212"/>
                  </a:lnTo>
                  <a:lnTo>
                    <a:pt x="4753350" y="2751284"/>
                  </a:lnTo>
                  <a:lnTo>
                    <a:pt x="4752606" y="2752200"/>
                  </a:lnTo>
                  <a:lnTo>
                    <a:pt x="4752099" y="2752086"/>
                  </a:lnTo>
                  <a:lnTo>
                    <a:pt x="4750926" y="2750920"/>
                  </a:lnTo>
                  <a:lnTo>
                    <a:pt x="4750350" y="2750876"/>
                  </a:lnTo>
                  <a:lnTo>
                    <a:pt x="4750118" y="2751285"/>
                  </a:lnTo>
                  <a:lnTo>
                    <a:pt x="4750193" y="2751827"/>
                  </a:lnTo>
                  <a:lnTo>
                    <a:pt x="4750310" y="2752384"/>
                  </a:lnTo>
                  <a:lnTo>
                    <a:pt x="4750234" y="2752853"/>
                  </a:lnTo>
                  <a:lnTo>
                    <a:pt x="4745697" y="2758700"/>
                  </a:lnTo>
                  <a:lnTo>
                    <a:pt x="4745401" y="2757478"/>
                  </a:lnTo>
                  <a:lnTo>
                    <a:pt x="4745432" y="2755557"/>
                  </a:lnTo>
                  <a:lnTo>
                    <a:pt x="4745205" y="2754434"/>
                  </a:lnTo>
                  <a:lnTo>
                    <a:pt x="4744222" y="2755360"/>
                  </a:lnTo>
                  <a:lnTo>
                    <a:pt x="4743697" y="2758491"/>
                  </a:lnTo>
                  <a:lnTo>
                    <a:pt x="4741806" y="2761088"/>
                  </a:lnTo>
                  <a:lnTo>
                    <a:pt x="4741392" y="2761437"/>
                  </a:lnTo>
                  <a:lnTo>
                    <a:pt x="4740682" y="2761246"/>
                  </a:lnTo>
                  <a:lnTo>
                    <a:pt x="4739850" y="2760557"/>
                  </a:lnTo>
                  <a:lnTo>
                    <a:pt x="4739137" y="2759591"/>
                  </a:lnTo>
                  <a:lnTo>
                    <a:pt x="4738596" y="2758507"/>
                  </a:lnTo>
                  <a:lnTo>
                    <a:pt x="4738307" y="2757459"/>
                  </a:lnTo>
                  <a:lnTo>
                    <a:pt x="4737286" y="2759196"/>
                  </a:lnTo>
                  <a:lnTo>
                    <a:pt x="4736271" y="2760180"/>
                  </a:lnTo>
                  <a:lnTo>
                    <a:pt x="4735811" y="2761471"/>
                  </a:lnTo>
                  <a:lnTo>
                    <a:pt x="4736445" y="2764156"/>
                  </a:lnTo>
                  <a:lnTo>
                    <a:pt x="4737460" y="2766419"/>
                  </a:lnTo>
                  <a:lnTo>
                    <a:pt x="4737744" y="2767404"/>
                  </a:lnTo>
                  <a:lnTo>
                    <a:pt x="4737504" y="2768037"/>
                  </a:lnTo>
                  <a:lnTo>
                    <a:pt x="4736572" y="2768251"/>
                  </a:lnTo>
                  <a:lnTo>
                    <a:pt x="4735683" y="2767766"/>
                  </a:lnTo>
                  <a:lnTo>
                    <a:pt x="4734957" y="2766777"/>
                  </a:lnTo>
                  <a:lnTo>
                    <a:pt x="4734531" y="2765469"/>
                  </a:lnTo>
                  <a:lnTo>
                    <a:pt x="4733920" y="2766760"/>
                  </a:lnTo>
                  <a:lnTo>
                    <a:pt x="4733672" y="2769993"/>
                  </a:lnTo>
                  <a:lnTo>
                    <a:pt x="4732236" y="2772191"/>
                  </a:lnTo>
                  <a:lnTo>
                    <a:pt x="4731205" y="2776865"/>
                  </a:lnTo>
                  <a:lnTo>
                    <a:pt x="4730829" y="2781735"/>
                  </a:lnTo>
                  <a:lnTo>
                    <a:pt x="4730664" y="2782637"/>
                  </a:lnTo>
                  <a:lnTo>
                    <a:pt x="4728064" y="2786516"/>
                  </a:lnTo>
                  <a:lnTo>
                    <a:pt x="4727183" y="2786320"/>
                  </a:lnTo>
                  <a:lnTo>
                    <a:pt x="4727038" y="2787390"/>
                  </a:lnTo>
                  <a:lnTo>
                    <a:pt x="4724304" y="2791385"/>
                  </a:lnTo>
                  <a:lnTo>
                    <a:pt x="4723778" y="2791688"/>
                  </a:lnTo>
                  <a:lnTo>
                    <a:pt x="4722711" y="2791706"/>
                  </a:lnTo>
                  <a:lnTo>
                    <a:pt x="4722408" y="2791848"/>
                  </a:lnTo>
                  <a:lnTo>
                    <a:pt x="4722114" y="2792722"/>
                  </a:lnTo>
                  <a:lnTo>
                    <a:pt x="4721751" y="2794657"/>
                  </a:lnTo>
                  <a:lnTo>
                    <a:pt x="4719230" y="2797340"/>
                  </a:lnTo>
                  <a:lnTo>
                    <a:pt x="4718032" y="2797698"/>
                  </a:lnTo>
                  <a:lnTo>
                    <a:pt x="4716592" y="2796595"/>
                  </a:lnTo>
                  <a:lnTo>
                    <a:pt x="4715502" y="2794591"/>
                  </a:lnTo>
                  <a:lnTo>
                    <a:pt x="4715065" y="2793268"/>
                  </a:lnTo>
                  <a:lnTo>
                    <a:pt x="4714423" y="2792941"/>
                  </a:lnTo>
                  <a:lnTo>
                    <a:pt x="4712710" y="2793902"/>
                  </a:lnTo>
                  <a:lnTo>
                    <a:pt x="4714226" y="2794037"/>
                  </a:lnTo>
                  <a:lnTo>
                    <a:pt x="4714732" y="2798490"/>
                  </a:lnTo>
                  <a:lnTo>
                    <a:pt x="4716223" y="2799619"/>
                  </a:lnTo>
                  <a:lnTo>
                    <a:pt x="4713573" y="2801053"/>
                  </a:lnTo>
                  <a:lnTo>
                    <a:pt x="4707350" y="2801185"/>
                  </a:lnTo>
                  <a:lnTo>
                    <a:pt x="4704539" y="2801994"/>
                  </a:lnTo>
                  <a:lnTo>
                    <a:pt x="4701221" y="2811888"/>
                  </a:lnTo>
                  <a:lnTo>
                    <a:pt x="4700524" y="2813277"/>
                  </a:lnTo>
                  <a:lnTo>
                    <a:pt x="4699223" y="2811875"/>
                  </a:lnTo>
                  <a:lnTo>
                    <a:pt x="4697925" y="2811426"/>
                  </a:lnTo>
                  <a:lnTo>
                    <a:pt x="4697193" y="2812052"/>
                  </a:lnTo>
                  <a:lnTo>
                    <a:pt x="4697580" y="2813892"/>
                  </a:lnTo>
                  <a:lnTo>
                    <a:pt x="4697920" y="2813991"/>
                  </a:lnTo>
                  <a:lnTo>
                    <a:pt x="4698724" y="2814443"/>
                  </a:lnTo>
                  <a:lnTo>
                    <a:pt x="4699548" y="2815132"/>
                  </a:lnTo>
                  <a:lnTo>
                    <a:pt x="4699943" y="2815985"/>
                  </a:lnTo>
                  <a:lnTo>
                    <a:pt x="4699582" y="2816610"/>
                  </a:lnTo>
                  <a:lnTo>
                    <a:pt x="4698735" y="2817012"/>
                  </a:lnTo>
                  <a:lnTo>
                    <a:pt x="4697746" y="2817035"/>
                  </a:lnTo>
                  <a:lnTo>
                    <a:pt x="4697001" y="2816518"/>
                  </a:lnTo>
                  <a:lnTo>
                    <a:pt x="4696020" y="2815479"/>
                  </a:lnTo>
                  <a:lnTo>
                    <a:pt x="4695619" y="2815936"/>
                  </a:lnTo>
                  <a:lnTo>
                    <a:pt x="4695957" y="2817216"/>
                  </a:lnTo>
                  <a:lnTo>
                    <a:pt x="4697183" y="2818626"/>
                  </a:lnTo>
                  <a:lnTo>
                    <a:pt x="4699038" y="2819532"/>
                  </a:lnTo>
                  <a:lnTo>
                    <a:pt x="4700799" y="2819726"/>
                  </a:lnTo>
                  <a:lnTo>
                    <a:pt x="4704206" y="2819332"/>
                  </a:lnTo>
                  <a:lnTo>
                    <a:pt x="4703581" y="2820095"/>
                  </a:lnTo>
                  <a:lnTo>
                    <a:pt x="4703713" y="2821260"/>
                  </a:lnTo>
                  <a:lnTo>
                    <a:pt x="4704086" y="2822613"/>
                  </a:lnTo>
                  <a:lnTo>
                    <a:pt x="4704162" y="2823918"/>
                  </a:lnTo>
                  <a:lnTo>
                    <a:pt x="4703663" y="2824927"/>
                  </a:lnTo>
                  <a:lnTo>
                    <a:pt x="4702173" y="2826504"/>
                  </a:lnTo>
                  <a:lnTo>
                    <a:pt x="4701862" y="2827686"/>
                  </a:lnTo>
                  <a:lnTo>
                    <a:pt x="4701816" y="2830392"/>
                  </a:lnTo>
                  <a:lnTo>
                    <a:pt x="4701536" y="2831553"/>
                  </a:lnTo>
                  <a:lnTo>
                    <a:pt x="4698681" y="2835165"/>
                  </a:lnTo>
                  <a:lnTo>
                    <a:pt x="4697909" y="2835217"/>
                  </a:lnTo>
                  <a:lnTo>
                    <a:pt x="4698073" y="2836611"/>
                  </a:lnTo>
                  <a:lnTo>
                    <a:pt x="4697826" y="2837796"/>
                  </a:lnTo>
                  <a:lnTo>
                    <a:pt x="4697126" y="2838243"/>
                  </a:lnTo>
                  <a:lnTo>
                    <a:pt x="4695954" y="2837404"/>
                  </a:lnTo>
                  <a:lnTo>
                    <a:pt x="4695827" y="2838585"/>
                  </a:lnTo>
                  <a:lnTo>
                    <a:pt x="4696060" y="2839755"/>
                  </a:lnTo>
                  <a:lnTo>
                    <a:pt x="4696740" y="2841430"/>
                  </a:lnTo>
                  <a:lnTo>
                    <a:pt x="4697245" y="2841182"/>
                  </a:lnTo>
                  <a:lnTo>
                    <a:pt x="4697686" y="2841061"/>
                  </a:lnTo>
                  <a:lnTo>
                    <a:pt x="4698131" y="2841251"/>
                  </a:lnTo>
                  <a:lnTo>
                    <a:pt x="4698684" y="2841935"/>
                  </a:lnTo>
                  <a:lnTo>
                    <a:pt x="4698189" y="2843464"/>
                  </a:lnTo>
                  <a:lnTo>
                    <a:pt x="4697883" y="2845145"/>
                  </a:lnTo>
                  <a:lnTo>
                    <a:pt x="4697939" y="2848081"/>
                  </a:lnTo>
                  <a:lnTo>
                    <a:pt x="4697787" y="2848692"/>
                  </a:lnTo>
                  <a:lnTo>
                    <a:pt x="4696454" y="2849075"/>
                  </a:lnTo>
                  <a:lnTo>
                    <a:pt x="4695904" y="2847471"/>
                  </a:lnTo>
                  <a:lnTo>
                    <a:pt x="4695556" y="2843998"/>
                  </a:lnTo>
                  <a:lnTo>
                    <a:pt x="4694207" y="2843137"/>
                  </a:lnTo>
                  <a:lnTo>
                    <a:pt x="4693157" y="2843760"/>
                  </a:lnTo>
                  <a:lnTo>
                    <a:pt x="4692410" y="2845097"/>
                  </a:lnTo>
                  <a:lnTo>
                    <a:pt x="4691968" y="2846360"/>
                  </a:lnTo>
                  <a:lnTo>
                    <a:pt x="4691850" y="2847096"/>
                  </a:lnTo>
                  <a:lnTo>
                    <a:pt x="4691813" y="2848487"/>
                  </a:lnTo>
                  <a:lnTo>
                    <a:pt x="4691591" y="2849287"/>
                  </a:lnTo>
                  <a:lnTo>
                    <a:pt x="4691171" y="2849632"/>
                  </a:lnTo>
                  <a:lnTo>
                    <a:pt x="4690608" y="2849730"/>
                  </a:lnTo>
                  <a:lnTo>
                    <a:pt x="4690151" y="2850073"/>
                  </a:lnTo>
                  <a:lnTo>
                    <a:pt x="4690013" y="2851125"/>
                  </a:lnTo>
                  <a:lnTo>
                    <a:pt x="4691269" y="2851714"/>
                  </a:lnTo>
                  <a:lnTo>
                    <a:pt x="4691919" y="2851451"/>
                  </a:lnTo>
                  <a:lnTo>
                    <a:pt x="4692343" y="2850775"/>
                  </a:lnTo>
                  <a:lnTo>
                    <a:pt x="4692926" y="2850104"/>
                  </a:lnTo>
                  <a:lnTo>
                    <a:pt x="4693739" y="2850223"/>
                  </a:lnTo>
                  <a:lnTo>
                    <a:pt x="4694267" y="2851386"/>
                  </a:lnTo>
                  <a:lnTo>
                    <a:pt x="4694913" y="2853831"/>
                  </a:lnTo>
                  <a:lnTo>
                    <a:pt x="4695080" y="2854284"/>
                  </a:lnTo>
                  <a:lnTo>
                    <a:pt x="4695156" y="2855111"/>
                  </a:lnTo>
                  <a:lnTo>
                    <a:pt x="4695387" y="2855623"/>
                  </a:lnTo>
                  <a:lnTo>
                    <a:pt x="4695867" y="2855977"/>
                  </a:lnTo>
                  <a:lnTo>
                    <a:pt x="4696892" y="2855862"/>
                  </a:lnTo>
                  <a:lnTo>
                    <a:pt x="4697365" y="2856189"/>
                  </a:lnTo>
                  <a:lnTo>
                    <a:pt x="4697945" y="2857162"/>
                  </a:lnTo>
                  <a:lnTo>
                    <a:pt x="4698404" y="2858221"/>
                  </a:lnTo>
                  <a:lnTo>
                    <a:pt x="4698734" y="2859353"/>
                  </a:lnTo>
                  <a:lnTo>
                    <a:pt x="4698917" y="2860513"/>
                  </a:lnTo>
                  <a:lnTo>
                    <a:pt x="4699514" y="2860232"/>
                  </a:lnTo>
                  <a:lnTo>
                    <a:pt x="4700049" y="2860258"/>
                  </a:lnTo>
                  <a:lnTo>
                    <a:pt x="4701217" y="2860787"/>
                  </a:lnTo>
                  <a:lnTo>
                    <a:pt x="4700076" y="2862525"/>
                  </a:lnTo>
                  <a:lnTo>
                    <a:pt x="4700935" y="2864107"/>
                  </a:lnTo>
                  <a:lnTo>
                    <a:pt x="4702513" y="2865450"/>
                  </a:lnTo>
                  <a:lnTo>
                    <a:pt x="4703532" y="2866481"/>
                  </a:lnTo>
                  <a:lnTo>
                    <a:pt x="4703594" y="2867572"/>
                  </a:lnTo>
                  <a:lnTo>
                    <a:pt x="4703177" y="2868424"/>
                  </a:lnTo>
                  <a:lnTo>
                    <a:pt x="4702887" y="2869358"/>
                  </a:lnTo>
                  <a:lnTo>
                    <a:pt x="4703285" y="2870647"/>
                  </a:lnTo>
                  <a:lnTo>
                    <a:pt x="4703425" y="2871575"/>
                  </a:lnTo>
                  <a:lnTo>
                    <a:pt x="4703027" y="2872521"/>
                  </a:lnTo>
                  <a:lnTo>
                    <a:pt x="4701882" y="2873877"/>
                  </a:lnTo>
                  <a:lnTo>
                    <a:pt x="4702538" y="2874402"/>
                  </a:lnTo>
                  <a:lnTo>
                    <a:pt x="4703059" y="2874761"/>
                  </a:lnTo>
                  <a:lnTo>
                    <a:pt x="4703583" y="2874927"/>
                  </a:lnTo>
                  <a:lnTo>
                    <a:pt x="4704247" y="2874922"/>
                  </a:lnTo>
                  <a:lnTo>
                    <a:pt x="4703010" y="2876858"/>
                  </a:lnTo>
                  <a:lnTo>
                    <a:pt x="4700766" y="2877027"/>
                  </a:lnTo>
                  <a:lnTo>
                    <a:pt x="4698260" y="2875802"/>
                  </a:lnTo>
                  <a:lnTo>
                    <a:pt x="4696205" y="2873549"/>
                  </a:lnTo>
                  <a:lnTo>
                    <a:pt x="4695711" y="2872085"/>
                  </a:lnTo>
                  <a:lnTo>
                    <a:pt x="4695613" y="2868892"/>
                  </a:lnTo>
                  <a:lnTo>
                    <a:pt x="4695327" y="2867407"/>
                  </a:lnTo>
                  <a:lnTo>
                    <a:pt x="4694707" y="2866248"/>
                  </a:lnTo>
                  <a:lnTo>
                    <a:pt x="4693811" y="2865195"/>
                  </a:lnTo>
                  <a:lnTo>
                    <a:pt x="4692987" y="2864911"/>
                  </a:lnTo>
                  <a:lnTo>
                    <a:pt x="4692560" y="2866062"/>
                  </a:lnTo>
                  <a:lnTo>
                    <a:pt x="4692856" y="2867968"/>
                  </a:lnTo>
                  <a:lnTo>
                    <a:pt x="4694581" y="2872733"/>
                  </a:lnTo>
                  <a:lnTo>
                    <a:pt x="4695180" y="2875508"/>
                  </a:lnTo>
                  <a:lnTo>
                    <a:pt x="4694133" y="2881932"/>
                  </a:lnTo>
                  <a:lnTo>
                    <a:pt x="4694687" y="2882953"/>
                  </a:lnTo>
                  <a:lnTo>
                    <a:pt x="4694618" y="2885012"/>
                  </a:lnTo>
                  <a:lnTo>
                    <a:pt x="4693115" y="2884883"/>
                  </a:lnTo>
                  <a:lnTo>
                    <a:pt x="4691225" y="2884111"/>
                  </a:lnTo>
                  <a:lnTo>
                    <a:pt x="4689975" y="2884241"/>
                  </a:lnTo>
                  <a:lnTo>
                    <a:pt x="4689904" y="2885113"/>
                  </a:lnTo>
                  <a:lnTo>
                    <a:pt x="4690417" y="2885886"/>
                  </a:lnTo>
                  <a:lnTo>
                    <a:pt x="4691077" y="2886712"/>
                  </a:lnTo>
                  <a:lnTo>
                    <a:pt x="4691444" y="2887728"/>
                  </a:lnTo>
                  <a:lnTo>
                    <a:pt x="4691427" y="2888808"/>
                  </a:lnTo>
                  <a:lnTo>
                    <a:pt x="4691196" y="2889239"/>
                  </a:lnTo>
                  <a:lnTo>
                    <a:pt x="4690794" y="2889553"/>
                  </a:lnTo>
                  <a:lnTo>
                    <a:pt x="4690258" y="2890267"/>
                  </a:lnTo>
                  <a:lnTo>
                    <a:pt x="4689661" y="2892177"/>
                  </a:lnTo>
                  <a:lnTo>
                    <a:pt x="4689572" y="2895678"/>
                  </a:lnTo>
                  <a:lnTo>
                    <a:pt x="4688954" y="2897412"/>
                  </a:lnTo>
                  <a:lnTo>
                    <a:pt x="4688213" y="2898033"/>
                  </a:lnTo>
                  <a:lnTo>
                    <a:pt x="4686241" y="2898939"/>
                  </a:lnTo>
                  <a:lnTo>
                    <a:pt x="4685780" y="2899464"/>
                  </a:lnTo>
                  <a:lnTo>
                    <a:pt x="4685831" y="2900320"/>
                  </a:lnTo>
                  <a:lnTo>
                    <a:pt x="4686219" y="2900830"/>
                  </a:lnTo>
                  <a:lnTo>
                    <a:pt x="4686866" y="2901014"/>
                  </a:lnTo>
                  <a:lnTo>
                    <a:pt x="4687709" y="2900877"/>
                  </a:lnTo>
                  <a:lnTo>
                    <a:pt x="4687831" y="2902414"/>
                  </a:lnTo>
                  <a:lnTo>
                    <a:pt x="4687245" y="2903021"/>
                  </a:lnTo>
                  <a:lnTo>
                    <a:pt x="4686481" y="2903387"/>
                  </a:lnTo>
                  <a:lnTo>
                    <a:pt x="4686058" y="2904199"/>
                  </a:lnTo>
                  <a:lnTo>
                    <a:pt x="4686186" y="2905416"/>
                  </a:lnTo>
                  <a:lnTo>
                    <a:pt x="4686944" y="2908111"/>
                  </a:lnTo>
                  <a:lnTo>
                    <a:pt x="4688396" y="2908240"/>
                  </a:lnTo>
                  <a:lnTo>
                    <a:pt x="4690025" y="2907175"/>
                  </a:lnTo>
                  <a:lnTo>
                    <a:pt x="4691426" y="2907823"/>
                  </a:lnTo>
                  <a:lnTo>
                    <a:pt x="4692330" y="2909558"/>
                  </a:lnTo>
                  <a:lnTo>
                    <a:pt x="4692433" y="2911379"/>
                  </a:lnTo>
                  <a:lnTo>
                    <a:pt x="4691025" y="2913101"/>
                  </a:lnTo>
                  <a:lnTo>
                    <a:pt x="4688381" y="2914331"/>
                  </a:lnTo>
                  <a:lnTo>
                    <a:pt x="4687069" y="2914028"/>
                  </a:lnTo>
                  <a:lnTo>
                    <a:pt x="4686684" y="2914769"/>
                  </a:lnTo>
                  <a:lnTo>
                    <a:pt x="4686653" y="2915421"/>
                  </a:lnTo>
                  <a:lnTo>
                    <a:pt x="4686543" y="2916304"/>
                  </a:lnTo>
                  <a:lnTo>
                    <a:pt x="4686128" y="2917089"/>
                  </a:lnTo>
                  <a:lnTo>
                    <a:pt x="4685791" y="2918223"/>
                  </a:lnTo>
                  <a:lnTo>
                    <a:pt x="4685900" y="2919593"/>
                  </a:lnTo>
                  <a:lnTo>
                    <a:pt x="4686220" y="2921149"/>
                  </a:lnTo>
                  <a:lnTo>
                    <a:pt x="4686331" y="2922565"/>
                  </a:lnTo>
                  <a:lnTo>
                    <a:pt x="4685838" y="2923499"/>
                  </a:lnTo>
                  <a:lnTo>
                    <a:pt x="4682771" y="2926192"/>
                  </a:lnTo>
                  <a:lnTo>
                    <a:pt x="4681013" y="2928946"/>
                  </a:lnTo>
                  <a:lnTo>
                    <a:pt x="4679403" y="2930492"/>
                  </a:lnTo>
                  <a:lnTo>
                    <a:pt x="4679142" y="2931375"/>
                  </a:lnTo>
                  <a:lnTo>
                    <a:pt x="4679002" y="2932364"/>
                  </a:lnTo>
                  <a:lnTo>
                    <a:pt x="4678649" y="2933411"/>
                  </a:lnTo>
                  <a:lnTo>
                    <a:pt x="4677566" y="2933233"/>
                  </a:lnTo>
                  <a:lnTo>
                    <a:pt x="4676473" y="2934525"/>
                  </a:lnTo>
                  <a:lnTo>
                    <a:pt x="4675472" y="2934473"/>
                  </a:lnTo>
                  <a:lnTo>
                    <a:pt x="4675089" y="2936685"/>
                  </a:lnTo>
                  <a:lnTo>
                    <a:pt x="4674993" y="2941847"/>
                  </a:lnTo>
                  <a:lnTo>
                    <a:pt x="4674397" y="2944055"/>
                  </a:lnTo>
                  <a:lnTo>
                    <a:pt x="4674738" y="2944643"/>
                  </a:lnTo>
                  <a:lnTo>
                    <a:pt x="4675251" y="2944411"/>
                  </a:lnTo>
                  <a:lnTo>
                    <a:pt x="4676716" y="2944269"/>
                  </a:lnTo>
                  <a:lnTo>
                    <a:pt x="4677052" y="2945596"/>
                  </a:lnTo>
                  <a:lnTo>
                    <a:pt x="4677749" y="2946625"/>
                  </a:lnTo>
                  <a:lnTo>
                    <a:pt x="4678675" y="2947155"/>
                  </a:lnTo>
                  <a:lnTo>
                    <a:pt x="4679673" y="2946962"/>
                  </a:lnTo>
                  <a:lnTo>
                    <a:pt x="4679298" y="2946281"/>
                  </a:lnTo>
                  <a:lnTo>
                    <a:pt x="4679068" y="2944698"/>
                  </a:lnTo>
                  <a:lnTo>
                    <a:pt x="4679235" y="2943597"/>
                  </a:lnTo>
                  <a:lnTo>
                    <a:pt x="4680078" y="2944380"/>
                  </a:lnTo>
                  <a:lnTo>
                    <a:pt x="4680497" y="2946486"/>
                  </a:lnTo>
                  <a:lnTo>
                    <a:pt x="4679913" y="2948729"/>
                  </a:lnTo>
                  <a:lnTo>
                    <a:pt x="4678072" y="2952311"/>
                  </a:lnTo>
                  <a:lnTo>
                    <a:pt x="4677025" y="2953764"/>
                  </a:lnTo>
                  <a:lnTo>
                    <a:pt x="4676557" y="2954659"/>
                  </a:lnTo>
                  <a:lnTo>
                    <a:pt x="4676586" y="2955449"/>
                  </a:lnTo>
                  <a:lnTo>
                    <a:pt x="4677263" y="2957189"/>
                  </a:lnTo>
                  <a:lnTo>
                    <a:pt x="4676497" y="2957270"/>
                  </a:lnTo>
                  <a:lnTo>
                    <a:pt x="4675313" y="2956965"/>
                  </a:lnTo>
                  <a:lnTo>
                    <a:pt x="4674696" y="2957529"/>
                  </a:lnTo>
                  <a:lnTo>
                    <a:pt x="4674525" y="2959700"/>
                  </a:lnTo>
                  <a:lnTo>
                    <a:pt x="4673884" y="2961443"/>
                  </a:lnTo>
                  <a:lnTo>
                    <a:pt x="4672627" y="2962427"/>
                  </a:lnTo>
                  <a:lnTo>
                    <a:pt x="4670608" y="2962316"/>
                  </a:lnTo>
                  <a:lnTo>
                    <a:pt x="4670537" y="2963400"/>
                  </a:lnTo>
                  <a:lnTo>
                    <a:pt x="4670141" y="2963912"/>
                  </a:lnTo>
                  <a:lnTo>
                    <a:pt x="4669639" y="2964265"/>
                  </a:lnTo>
                  <a:lnTo>
                    <a:pt x="4669297" y="2964905"/>
                  </a:lnTo>
                  <a:lnTo>
                    <a:pt x="4669264" y="2965366"/>
                  </a:lnTo>
                  <a:lnTo>
                    <a:pt x="4669329" y="2966364"/>
                  </a:lnTo>
                  <a:lnTo>
                    <a:pt x="4669301" y="2966743"/>
                  </a:lnTo>
                  <a:lnTo>
                    <a:pt x="4669005" y="2967872"/>
                  </a:lnTo>
                  <a:lnTo>
                    <a:pt x="4668629" y="2968844"/>
                  </a:lnTo>
                  <a:lnTo>
                    <a:pt x="4668182" y="2968800"/>
                  </a:lnTo>
                  <a:lnTo>
                    <a:pt x="4667682" y="2966882"/>
                  </a:lnTo>
                  <a:lnTo>
                    <a:pt x="4665260" y="2968406"/>
                  </a:lnTo>
                  <a:lnTo>
                    <a:pt x="4665554" y="2967273"/>
                  </a:lnTo>
                  <a:lnTo>
                    <a:pt x="4665360" y="2966032"/>
                  </a:lnTo>
                  <a:lnTo>
                    <a:pt x="4664865" y="2964814"/>
                  </a:lnTo>
                  <a:lnTo>
                    <a:pt x="4663661" y="2962714"/>
                  </a:lnTo>
                  <a:lnTo>
                    <a:pt x="4663441" y="2962397"/>
                  </a:lnTo>
                  <a:lnTo>
                    <a:pt x="4662103" y="2963360"/>
                  </a:lnTo>
                  <a:lnTo>
                    <a:pt x="4661435" y="2965288"/>
                  </a:lnTo>
                  <a:lnTo>
                    <a:pt x="4661310" y="2968372"/>
                  </a:lnTo>
                  <a:lnTo>
                    <a:pt x="4660853" y="2970937"/>
                  </a:lnTo>
                  <a:lnTo>
                    <a:pt x="4659167" y="2971271"/>
                  </a:lnTo>
                  <a:lnTo>
                    <a:pt x="4659489" y="2970294"/>
                  </a:lnTo>
                  <a:lnTo>
                    <a:pt x="4659675" y="2969194"/>
                  </a:lnTo>
                  <a:lnTo>
                    <a:pt x="4659670" y="2968003"/>
                  </a:lnTo>
                  <a:lnTo>
                    <a:pt x="4659378" y="2966741"/>
                  </a:lnTo>
                  <a:lnTo>
                    <a:pt x="4658759" y="2967847"/>
                  </a:lnTo>
                  <a:lnTo>
                    <a:pt x="4657897" y="2968125"/>
                  </a:lnTo>
                  <a:lnTo>
                    <a:pt x="4656896" y="2967606"/>
                  </a:lnTo>
                  <a:lnTo>
                    <a:pt x="4655849" y="2966326"/>
                  </a:lnTo>
                  <a:lnTo>
                    <a:pt x="4655803" y="2967631"/>
                  </a:lnTo>
                  <a:lnTo>
                    <a:pt x="4657526" y="2970629"/>
                  </a:lnTo>
                  <a:lnTo>
                    <a:pt x="4657420" y="2971564"/>
                  </a:lnTo>
                  <a:lnTo>
                    <a:pt x="4654854" y="2972411"/>
                  </a:lnTo>
                  <a:lnTo>
                    <a:pt x="4653733" y="2973006"/>
                  </a:lnTo>
                  <a:lnTo>
                    <a:pt x="4653175" y="2974218"/>
                  </a:lnTo>
                  <a:lnTo>
                    <a:pt x="4653967" y="2974570"/>
                  </a:lnTo>
                  <a:lnTo>
                    <a:pt x="4654541" y="2975028"/>
                  </a:lnTo>
                  <a:lnTo>
                    <a:pt x="4654707" y="2975567"/>
                  </a:lnTo>
                  <a:lnTo>
                    <a:pt x="4654281" y="2976163"/>
                  </a:lnTo>
                  <a:lnTo>
                    <a:pt x="4653594" y="2976258"/>
                  </a:lnTo>
                  <a:lnTo>
                    <a:pt x="4652371" y="2975159"/>
                  </a:lnTo>
                  <a:lnTo>
                    <a:pt x="4651761" y="2975101"/>
                  </a:lnTo>
                  <a:lnTo>
                    <a:pt x="4651230" y="2975150"/>
                  </a:lnTo>
                  <a:lnTo>
                    <a:pt x="4650644" y="2974997"/>
                  </a:lnTo>
                  <a:lnTo>
                    <a:pt x="4650153" y="2975069"/>
                  </a:lnTo>
                  <a:lnTo>
                    <a:pt x="4649924" y="2975770"/>
                  </a:lnTo>
                  <a:lnTo>
                    <a:pt x="4649831" y="2976582"/>
                  </a:lnTo>
                  <a:lnTo>
                    <a:pt x="4649578" y="2977120"/>
                  </a:lnTo>
                  <a:lnTo>
                    <a:pt x="4649105" y="2977363"/>
                  </a:lnTo>
                  <a:lnTo>
                    <a:pt x="4648321" y="2977245"/>
                  </a:lnTo>
                  <a:lnTo>
                    <a:pt x="4647918" y="2975662"/>
                  </a:lnTo>
                  <a:lnTo>
                    <a:pt x="4646546" y="2977200"/>
                  </a:lnTo>
                  <a:lnTo>
                    <a:pt x="4644847" y="2978450"/>
                  </a:lnTo>
                  <a:lnTo>
                    <a:pt x="4644562" y="2979191"/>
                  </a:lnTo>
                  <a:lnTo>
                    <a:pt x="4644288" y="2981831"/>
                  </a:lnTo>
                  <a:lnTo>
                    <a:pt x="4643901" y="2982623"/>
                  </a:lnTo>
                  <a:lnTo>
                    <a:pt x="4640886" y="2985729"/>
                  </a:lnTo>
                  <a:lnTo>
                    <a:pt x="4639216" y="2985913"/>
                  </a:lnTo>
                  <a:lnTo>
                    <a:pt x="4637759" y="2982845"/>
                  </a:lnTo>
                  <a:lnTo>
                    <a:pt x="4637361" y="2985235"/>
                  </a:lnTo>
                  <a:lnTo>
                    <a:pt x="4637058" y="2986215"/>
                  </a:lnTo>
                  <a:lnTo>
                    <a:pt x="4636381" y="2987280"/>
                  </a:lnTo>
                  <a:lnTo>
                    <a:pt x="4633099" y="2989305"/>
                  </a:lnTo>
                  <a:lnTo>
                    <a:pt x="4633065" y="2988810"/>
                  </a:lnTo>
                  <a:lnTo>
                    <a:pt x="4632978" y="2988436"/>
                  </a:lnTo>
                  <a:lnTo>
                    <a:pt x="4632867" y="2988088"/>
                  </a:lnTo>
                  <a:lnTo>
                    <a:pt x="4632778" y="2987674"/>
                  </a:lnTo>
                  <a:lnTo>
                    <a:pt x="4631504" y="2988455"/>
                  </a:lnTo>
                  <a:lnTo>
                    <a:pt x="4630874" y="2989624"/>
                  </a:lnTo>
                  <a:lnTo>
                    <a:pt x="4630641" y="2991158"/>
                  </a:lnTo>
                  <a:lnTo>
                    <a:pt x="4630555" y="2993055"/>
                  </a:lnTo>
                  <a:lnTo>
                    <a:pt x="4629969" y="2993967"/>
                  </a:lnTo>
                  <a:lnTo>
                    <a:pt x="4627411" y="2993290"/>
                  </a:lnTo>
                  <a:lnTo>
                    <a:pt x="4626524" y="2994147"/>
                  </a:lnTo>
                  <a:lnTo>
                    <a:pt x="4626024" y="2992221"/>
                  </a:lnTo>
                  <a:lnTo>
                    <a:pt x="4626327" y="2990536"/>
                  </a:lnTo>
                  <a:lnTo>
                    <a:pt x="4627098" y="2989120"/>
                  </a:lnTo>
                  <a:lnTo>
                    <a:pt x="4627992" y="2987997"/>
                  </a:lnTo>
                  <a:lnTo>
                    <a:pt x="4626128" y="2988342"/>
                  </a:lnTo>
                  <a:lnTo>
                    <a:pt x="4624744" y="2990567"/>
                  </a:lnTo>
                  <a:lnTo>
                    <a:pt x="4621913" y="2999127"/>
                  </a:lnTo>
                  <a:lnTo>
                    <a:pt x="4621882" y="2999608"/>
                  </a:lnTo>
                  <a:lnTo>
                    <a:pt x="4621310" y="2999714"/>
                  </a:lnTo>
                  <a:lnTo>
                    <a:pt x="4620863" y="2999410"/>
                  </a:lnTo>
                  <a:lnTo>
                    <a:pt x="4620409" y="2998841"/>
                  </a:lnTo>
                  <a:lnTo>
                    <a:pt x="4620402" y="2998741"/>
                  </a:lnTo>
                  <a:lnTo>
                    <a:pt x="4620156" y="2998590"/>
                  </a:lnTo>
                  <a:lnTo>
                    <a:pt x="4619831" y="2998451"/>
                  </a:lnTo>
                  <a:lnTo>
                    <a:pt x="4619572" y="2998407"/>
                  </a:lnTo>
                  <a:lnTo>
                    <a:pt x="4619095" y="2998683"/>
                  </a:lnTo>
                  <a:lnTo>
                    <a:pt x="4618648" y="2999777"/>
                  </a:lnTo>
                  <a:lnTo>
                    <a:pt x="4618340" y="3000106"/>
                  </a:lnTo>
                  <a:lnTo>
                    <a:pt x="4617238" y="3000222"/>
                  </a:lnTo>
                  <a:lnTo>
                    <a:pt x="4616071" y="3000140"/>
                  </a:lnTo>
                  <a:lnTo>
                    <a:pt x="4614941" y="3000284"/>
                  </a:lnTo>
                  <a:lnTo>
                    <a:pt x="4613950" y="3001044"/>
                  </a:lnTo>
                  <a:lnTo>
                    <a:pt x="4613885" y="3001629"/>
                  </a:lnTo>
                  <a:lnTo>
                    <a:pt x="4614168" y="3002313"/>
                  </a:lnTo>
                  <a:lnTo>
                    <a:pt x="4614511" y="3002925"/>
                  </a:lnTo>
                  <a:lnTo>
                    <a:pt x="4614627" y="3003244"/>
                  </a:lnTo>
                  <a:lnTo>
                    <a:pt x="4614173" y="3003474"/>
                  </a:lnTo>
                  <a:lnTo>
                    <a:pt x="4612601" y="3003605"/>
                  </a:lnTo>
                  <a:lnTo>
                    <a:pt x="4611331" y="3005250"/>
                  </a:lnTo>
                  <a:lnTo>
                    <a:pt x="4611427" y="3005425"/>
                  </a:lnTo>
                  <a:lnTo>
                    <a:pt x="4611520" y="3005903"/>
                  </a:lnTo>
                  <a:lnTo>
                    <a:pt x="4611489" y="3006498"/>
                  </a:lnTo>
                  <a:lnTo>
                    <a:pt x="4611205" y="3006993"/>
                  </a:lnTo>
                  <a:lnTo>
                    <a:pt x="4608940" y="3007092"/>
                  </a:lnTo>
                  <a:lnTo>
                    <a:pt x="4608262" y="3007602"/>
                  </a:lnTo>
                  <a:lnTo>
                    <a:pt x="4609595" y="3008920"/>
                  </a:lnTo>
                  <a:lnTo>
                    <a:pt x="4608810" y="3009350"/>
                  </a:lnTo>
                  <a:lnTo>
                    <a:pt x="4605653" y="3009227"/>
                  </a:lnTo>
                  <a:lnTo>
                    <a:pt x="4604188" y="3009585"/>
                  </a:lnTo>
                  <a:lnTo>
                    <a:pt x="4599375" y="3013287"/>
                  </a:lnTo>
                  <a:lnTo>
                    <a:pt x="4594018" y="3020418"/>
                  </a:lnTo>
                  <a:lnTo>
                    <a:pt x="4589857" y="3024250"/>
                  </a:lnTo>
                  <a:lnTo>
                    <a:pt x="4586599" y="3029776"/>
                  </a:lnTo>
                  <a:lnTo>
                    <a:pt x="4583708" y="3032622"/>
                  </a:lnTo>
                  <a:lnTo>
                    <a:pt x="4581389" y="3036291"/>
                  </a:lnTo>
                  <a:lnTo>
                    <a:pt x="4580168" y="3037409"/>
                  </a:lnTo>
                  <a:lnTo>
                    <a:pt x="4576008" y="3039489"/>
                  </a:lnTo>
                  <a:lnTo>
                    <a:pt x="4575655" y="3038837"/>
                  </a:lnTo>
                  <a:lnTo>
                    <a:pt x="4576803" y="3037986"/>
                  </a:lnTo>
                  <a:lnTo>
                    <a:pt x="4577738" y="3035481"/>
                  </a:lnTo>
                  <a:lnTo>
                    <a:pt x="4578513" y="3034540"/>
                  </a:lnTo>
                  <a:lnTo>
                    <a:pt x="4579234" y="3033894"/>
                  </a:lnTo>
                  <a:lnTo>
                    <a:pt x="4583559" y="3028203"/>
                  </a:lnTo>
                  <a:lnTo>
                    <a:pt x="4584479" y="3027437"/>
                  </a:lnTo>
                  <a:lnTo>
                    <a:pt x="4585038" y="3026422"/>
                  </a:lnTo>
                  <a:lnTo>
                    <a:pt x="4584890" y="3025006"/>
                  </a:lnTo>
                  <a:lnTo>
                    <a:pt x="4584139" y="3023963"/>
                  </a:lnTo>
                  <a:lnTo>
                    <a:pt x="4582885" y="3024062"/>
                  </a:lnTo>
                  <a:lnTo>
                    <a:pt x="4582720" y="3026443"/>
                  </a:lnTo>
                  <a:lnTo>
                    <a:pt x="4581540" y="3028154"/>
                  </a:lnTo>
                  <a:lnTo>
                    <a:pt x="4578512" y="3030996"/>
                  </a:lnTo>
                  <a:lnTo>
                    <a:pt x="4576385" y="3034815"/>
                  </a:lnTo>
                  <a:lnTo>
                    <a:pt x="4574850" y="3036248"/>
                  </a:lnTo>
                  <a:lnTo>
                    <a:pt x="4572645" y="3036293"/>
                  </a:lnTo>
                  <a:lnTo>
                    <a:pt x="4571678" y="3033325"/>
                  </a:lnTo>
                  <a:lnTo>
                    <a:pt x="4569574" y="3032206"/>
                  </a:lnTo>
                  <a:lnTo>
                    <a:pt x="4567404" y="3031683"/>
                  </a:lnTo>
                  <a:lnTo>
                    <a:pt x="4566250" y="3030496"/>
                  </a:lnTo>
                  <a:lnTo>
                    <a:pt x="4564665" y="3030120"/>
                  </a:lnTo>
                  <a:lnTo>
                    <a:pt x="4563178" y="3030552"/>
                  </a:lnTo>
                  <a:lnTo>
                    <a:pt x="4560836" y="3032044"/>
                  </a:lnTo>
                  <a:lnTo>
                    <a:pt x="4560016" y="3032235"/>
                  </a:lnTo>
                  <a:lnTo>
                    <a:pt x="4559019" y="3032282"/>
                  </a:lnTo>
                  <a:lnTo>
                    <a:pt x="4558173" y="3032550"/>
                  </a:lnTo>
                  <a:lnTo>
                    <a:pt x="4557771" y="3033385"/>
                  </a:lnTo>
                  <a:lnTo>
                    <a:pt x="4557455" y="3034332"/>
                  </a:lnTo>
                  <a:lnTo>
                    <a:pt x="4556801" y="3035119"/>
                  </a:lnTo>
                  <a:lnTo>
                    <a:pt x="4555210" y="3036226"/>
                  </a:lnTo>
                  <a:lnTo>
                    <a:pt x="4547855" y="3038740"/>
                  </a:lnTo>
                  <a:lnTo>
                    <a:pt x="4543036" y="3041376"/>
                  </a:lnTo>
                  <a:lnTo>
                    <a:pt x="4541324" y="3041775"/>
                  </a:lnTo>
                  <a:lnTo>
                    <a:pt x="4537824" y="3041693"/>
                  </a:lnTo>
                  <a:lnTo>
                    <a:pt x="4536128" y="3041372"/>
                  </a:lnTo>
                  <a:lnTo>
                    <a:pt x="4534666" y="3040885"/>
                  </a:lnTo>
                  <a:lnTo>
                    <a:pt x="4533698" y="3040843"/>
                  </a:lnTo>
                  <a:lnTo>
                    <a:pt x="4533016" y="3041445"/>
                  </a:lnTo>
                  <a:lnTo>
                    <a:pt x="4532477" y="3042267"/>
                  </a:lnTo>
                  <a:lnTo>
                    <a:pt x="4531609" y="3043186"/>
                  </a:lnTo>
                  <a:lnTo>
                    <a:pt x="4531129" y="3043891"/>
                  </a:lnTo>
                  <a:lnTo>
                    <a:pt x="4530859" y="3043915"/>
                  </a:lnTo>
                  <a:lnTo>
                    <a:pt x="4530257" y="3043368"/>
                  </a:lnTo>
                  <a:lnTo>
                    <a:pt x="4529942" y="3042812"/>
                  </a:lnTo>
                  <a:lnTo>
                    <a:pt x="4529607" y="3042550"/>
                  </a:lnTo>
                  <a:lnTo>
                    <a:pt x="4528963" y="3042873"/>
                  </a:lnTo>
                  <a:lnTo>
                    <a:pt x="4528471" y="3043702"/>
                  </a:lnTo>
                  <a:lnTo>
                    <a:pt x="4528419" y="3044778"/>
                  </a:lnTo>
                  <a:lnTo>
                    <a:pt x="4528465" y="3045858"/>
                  </a:lnTo>
                  <a:lnTo>
                    <a:pt x="4528293" y="3046696"/>
                  </a:lnTo>
                  <a:lnTo>
                    <a:pt x="4527453" y="3047455"/>
                  </a:lnTo>
                  <a:lnTo>
                    <a:pt x="4526674" y="3047260"/>
                  </a:lnTo>
                  <a:lnTo>
                    <a:pt x="4525854" y="3046844"/>
                  </a:lnTo>
                  <a:lnTo>
                    <a:pt x="4524901" y="3046950"/>
                  </a:lnTo>
                  <a:lnTo>
                    <a:pt x="4518079" y="3051388"/>
                  </a:lnTo>
                  <a:lnTo>
                    <a:pt x="4508183" y="3055798"/>
                  </a:lnTo>
                  <a:lnTo>
                    <a:pt x="4507806" y="3055079"/>
                  </a:lnTo>
                  <a:lnTo>
                    <a:pt x="4509598" y="3052257"/>
                  </a:lnTo>
                  <a:lnTo>
                    <a:pt x="4509282" y="3051656"/>
                  </a:lnTo>
                  <a:lnTo>
                    <a:pt x="4507021" y="3054226"/>
                  </a:lnTo>
                  <a:lnTo>
                    <a:pt x="4505757" y="3055277"/>
                  </a:lnTo>
                  <a:lnTo>
                    <a:pt x="4504605" y="3055119"/>
                  </a:lnTo>
                  <a:lnTo>
                    <a:pt x="4504696" y="3056344"/>
                  </a:lnTo>
                  <a:lnTo>
                    <a:pt x="4504343" y="3057144"/>
                  </a:lnTo>
                  <a:lnTo>
                    <a:pt x="4503222" y="3058637"/>
                  </a:lnTo>
                  <a:lnTo>
                    <a:pt x="4501678" y="3058667"/>
                  </a:lnTo>
                  <a:lnTo>
                    <a:pt x="4497222" y="3062061"/>
                  </a:lnTo>
                  <a:lnTo>
                    <a:pt x="4495487" y="3062957"/>
                  </a:lnTo>
                  <a:lnTo>
                    <a:pt x="4494710" y="3063005"/>
                  </a:lnTo>
                  <a:lnTo>
                    <a:pt x="4493758" y="3062670"/>
                  </a:lnTo>
                  <a:lnTo>
                    <a:pt x="4492188" y="3061670"/>
                  </a:lnTo>
                  <a:lnTo>
                    <a:pt x="4491465" y="3061632"/>
                  </a:lnTo>
                  <a:lnTo>
                    <a:pt x="4490597" y="3062324"/>
                  </a:lnTo>
                  <a:lnTo>
                    <a:pt x="4490221" y="3063246"/>
                  </a:lnTo>
                  <a:lnTo>
                    <a:pt x="4490112" y="3065474"/>
                  </a:lnTo>
                  <a:lnTo>
                    <a:pt x="4489895" y="3066224"/>
                  </a:lnTo>
                  <a:lnTo>
                    <a:pt x="4489012" y="3066882"/>
                  </a:lnTo>
                  <a:lnTo>
                    <a:pt x="4485997" y="3067499"/>
                  </a:lnTo>
                  <a:lnTo>
                    <a:pt x="4483091" y="3069142"/>
                  </a:lnTo>
                  <a:lnTo>
                    <a:pt x="4482212" y="3070234"/>
                  </a:lnTo>
                  <a:lnTo>
                    <a:pt x="4482843" y="3071226"/>
                  </a:lnTo>
                  <a:lnTo>
                    <a:pt x="4483981" y="3072035"/>
                  </a:lnTo>
                  <a:lnTo>
                    <a:pt x="4484596" y="3072558"/>
                  </a:lnTo>
                  <a:lnTo>
                    <a:pt x="4484118" y="3073989"/>
                  </a:lnTo>
                  <a:lnTo>
                    <a:pt x="4482873" y="3075495"/>
                  </a:lnTo>
                  <a:lnTo>
                    <a:pt x="4480206" y="3077598"/>
                  </a:lnTo>
                  <a:lnTo>
                    <a:pt x="4474582" y="3079507"/>
                  </a:lnTo>
                  <a:lnTo>
                    <a:pt x="4473221" y="3080743"/>
                  </a:lnTo>
                  <a:lnTo>
                    <a:pt x="4472898" y="3081681"/>
                  </a:lnTo>
                  <a:lnTo>
                    <a:pt x="4472678" y="3083786"/>
                  </a:lnTo>
                  <a:lnTo>
                    <a:pt x="4472431" y="3084524"/>
                  </a:lnTo>
                  <a:lnTo>
                    <a:pt x="4470908" y="3085478"/>
                  </a:lnTo>
                  <a:lnTo>
                    <a:pt x="4469938" y="3085867"/>
                  </a:lnTo>
                  <a:lnTo>
                    <a:pt x="4469398" y="3085834"/>
                  </a:lnTo>
                  <a:lnTo>
                    <a:pt x="4468094" y="3084161"/>
                  </a:lnTo>
                  <a:lnTo>
                    <a:pt x="4466506" y="3083403"/>
                  </a:lnTo>
                  <a:lnTo>
                    <a:pt x="4464768" y="3083347"/>
                  </a:lnTo>
                  <a:lnTo>
                    <a:pt x="4463016" y="3083811"/>
                  </a:lnTo>
                  <a:lnTo>
                    <a:pt x="4461478" y="3084770"/>
                  </a:lnTo>
                  <a:lnTo>
                    <a:pt x="4458012" y="3088300"/>
                  </a:lnTo>
                  <a:lnTo>
                    <a:pt x="4457363" y="3088265"/>
                  </a:lnTo>
                  <a:lnTo>
                    <a:pt x="4455782" y="3087389"/>
                  </a:lnTo>
                  <a:lnTo>
                    <a:pt x="4454911" y="3087467"/>
                  </a:lnTo>
                  <a:lnTo>
                    <a:pt x="4454172" y="3088043"/>
                  </a:lnTo>
                  <a:lnTo>
                    <a:pt x="4453683" y="3088604"/>
                  </a:lnTo>
                  <a:lnTo>
                    <a:pt x="4453119" y="3088977"/>
                  </a:lnTo>
                  <a:lnTo>
                    <a:pt x="4452183" y="3088979"/>
                  </a:lnTo>
                  <a:lnTo>
                    <a:pt x="4451540" y="3088666"/>
                  </a:lnTo>
                  <a:lnTo>
                    <a:pt x="4450063" y="3087569"/>
                  </a:lnTo>
                  <a:lnTo>
                    <a:pt x="4449173" y="3087251"/>
                  </a:lnTo>
                  <a:lnTo>
                    <a:pt x="4448283" y="3087429"/>
                  </a:lnTo>
                  <a:lnTo>
                    <a:pt x="4445610" y="3089220"/>
                  </a:lnTo>
                  <a:lnTo>
                    <a:pt x="4444768" y="3089417"/>
                  </a:lnTo>
                  <a:lnTo>
                    <a:pt x="4443101" y="3089177"/>
                  </a:lnTo>
                  <a:lnTo>
                    <a:pt x="4442431" y="3089273"/>
                  </a:lnTo>
                  <a:lnTo>
                    <a:pt x="4431831" y="3096150"/>
                  </a:lnTo>
                  <a:lnTo>
                    <a:pt x="4429540" y="3098617"/>
                  </a:lnTo>
                  <a:lnTo>
                    <a:pt x="4426085" y="3101286"/>
                  </a:lnTo>
                  <a:lnTo>
                    <a:pt x="4425573" y="3101989"/>
                  </a:lnTo>
                  <a:lnTo>
                    <a:pt x="4424722" y="3104578"/>
                  </a:lnTo>
                  <a:lnTo>
                    <a:pt x="4424219" y="3105185"/>
                  </a:lnTo>
                  <a:lnTo>
                    <a:pt x="4417770" y="3108312"/>
                  </a:lnTo>
                  <a:lnTo>
                    <a:pt x="4410718" y="3109982"/>
                  </a:lnTo>
                  <a:lnTo>
                    <a:pt x="4408846" y="3109719"/>
                  </a:lnTo>
                  <a:lnTo>
                    <a:pt x="4407114" y="3109203"/>
                  </a:lnTo>
                  <a:lnTo>
                    <a:pt x="4405058" y="3109258"/>
                  </a:lnTo>
                  <a:lnTo>
                    <a:pt x="4403084" y="3109778"/>
                  </a:lnTo>
                  <a:lnTo>
                    <a:pt x="4401606" y="3110659"/>
                  </a:lnTo>
                  <a:lnTo>
                    <a:pt x="4400586" y="3112023"/>
                  </a:lnTo>
                  <a:lnTo>
                    <a:pt x="4398910" y="3115056"/>
                  </a:lnTo>
                  <a:lnTo>
                    <a:pt x="4393647" y="3119650"/>
                  </a:lnTo>
                  <a:lnTo>
                    <a:pt x="4379409" y="3128408"/>
                  </a:lnTo>
                  <a:lnTo>
                    <a:pt x="4378942" y="3128881"/>
                  </a:lnTo>
                  <a:lnTo>
                    <a:pt x="4378672" y="3129034"/>
                  </a:lnTo>
                  <a:lnTo>
                    <a:pt x="4378144" y="3129078"/>
                  </a:lnTo>
                  <a:lnTo>
                    <a:pt x="4376873" y="3128758"/>
                  </a:lnTo>
                  <a:lnTo>
                    <a:pt x="4376375" y="3128480"/>
                  </a:lnTo>
                  <a:lnTo>
                    <a:pt x="4376681" y="3128253"/>
                  </a:lnTo>
                  <a:lnTo>
                    <a:pt x="4375779" y="3128630"/>
                  </a:lnTo>
                  <a:lnTo>
                    <a:pt x="4374693" y="3129876"/>
                  </a:lnTo>
                  <a:lnTo>
                    <a:pt x="4368701" y="3132871"/>
                  </a:lnTo>
                  <a:lnTo>
                    <a:pt x="4362928" y="3134274"/>
                  </a:lnTo>
                  <a:lnTo>
                    <a:pt x="4360759" y="3135231"/>
                  </a:lnTo>
                  <a:lnTo>
                    <a:pt x="4359784" y="3136687"/>
                  </a:lnTo>
                  <a:lnTo>
                    <a:pt x="4358817" y="3137674"/>
                  </a:lnTo>
                  <a:lnTo>
                    <a:pt x="4356700" y="3137401"/>
                  </a:lnTo>
                  <a:lnTo>
                    <a:pt x="4353023" y="3136407"/>
                  </a:lnTo>
                  <a:lnTo>
                    <a:pt x="4352627" y="3136814"/>
                  </a:lnTo>
                  <a:lnTo>
                    <a:pt x="4351629" y="3138445"/>
                  </a:lnTo>
                  <a:lnTo>
                    <a:pt x="4351064" y="3139034"/>
                  </a:lnTo>
                  <a:lnTo>
                    <a:pt x="4341694" y="3144817"/>
                  </a:lnTo>
                  <a:lnTo>
                    <a:pt x="4337886" y="3148947"/>
                  </a:lnTo>
                  <a:lnTo>
                    <a:pt x="4332467" y="3152620"/>
                  </a:lnTo>
                  <a:lnTo>
                    <a:pt x="4326365" y="3158145"/>
                  </a:lnTo>
                  <a:lnTo>
                    <a:pt x="4319921" y="3161068"/>
                  </a:lnTo>
                  <a:lnTo>
                    <a:pt x="4318149" y="3161096"/>
                  </a:lnTo>
                  <a:lnTo>
                    <a:pt x="4315473" y="3160655"/>
                  </a:lnTo>
                  <a:lnTo>
                    <a:pt x="4312781" y="3160753"/>
                  </a:lnTo>
                  <a:lnTo>
                    <a:pt x="4310583" y="3161826"/>
                  </a:lnTo>
                  <a:lnTo>
                    <a:pt x="4309372" y="3164309"/>
                  </a:lnTo>
                  <a:lnTo>
                    <a:pt x="4308835" y="3169768"/>
                  </a:lnTo>
                  <a:lnTo>
                    <a:pt x="4308552" y="3171058"/>
                  </a:lnTo>
                  <a:lnTo>
                    <a:pt x="4307760" y="3172040"/>
                  </a:lnTo>
                  <a:lnTo>
                    <a:pt x="4306688" y="3172459"/>
                  </a:lnTo>
                  <a:lnTo>
                    <a:pt x="4305782" y="3171934"/>
                  </a:lnTo>
                  <a:lnTo>
                    <a:pt x="4305476" y="3170112"/>
                  </a:lnTo>
                  <a:lnTo>
                    <a:pt x="4304175" y="3171068"/>
                  </a:lnTo>
                  <a:lnTo>
                    <a:pt x="4304799" y="3172713"/>
                  </a:lnTo>
                  <a:lnTo>
                    <a:pt x="4306277" y="3174454"/>
                  </a:lnTo>
                  <a:lnTo>
                    <a:pt x="4307537" y="3175664"/>
                  </a:lnTo>
                  <a:lnTo>
                    <a:pt x="4305948" y="3175871"/>
                  </a:lnTo>
                  <a:lnTo>
                    <a:pt x="4302742" y="3177683"/>
                  </a:lnTo>
                  <a:lnTo>
                    <a:pt x="4301299" y="3177595"/>
                  </a:lnTo>
                  <a:lnTo>
                    <a:pt x="4299897" y="3177066"/>
                  </a:lnTo>
                  <a:lnTo>
                    <a:pt x="4298549" y="3177120"/>
                  </a:lnTo>
                  <a:lnTo>
                    <a:pt x="4296008" y="3178144"/>
                  </a:lnTo>
                  <a:lnTo>
                    <a:pt x="4293989" y="3179782"/>
                  </a:lnTo>
                  <a:lnTo>
                    <a:pt x="4292218" y="3181810"/>
                  </a:lnTo>
                  <a:lnTo>
                    <a:pt x="4290281" y="3183255"/>
                  </a:lnTo>
                  <a:lnTo>
                    <a:pt x="4286550" y="3183074"/>
                  </a:lnTo>
                  <a:lnTo>
                    <a:pt x="4286044" y="3182807"/>
                  </a:lnTo>
                  <a:lnTo>
                    <a:pt x="4285926" y="3182019"/>
                  </a:lnTo>
                  <a:lnTo>
                    <a:pt x="4285727" y="3181287"/>
                  </a:lnTo>
                  <a:lnTo>
                    <a:pt x="4285167" y="3180299"/>
                  </a:lnTo>
                  <a:lnTo>
                    <a:pt x="4284481" y="3179353"/>
                  </a:lnTo>
                  <a:lnTo>
                    <a:pt x="4283915" y="3178789"/>
                  </a:lnTo>
                  <a:lnTo>
                    <a:pt x="4282479" y="3178421"/>
                  </a:lnTo>
                  <a:lnTo>
                    <a:pt x="4281253" y="3178984"/>
                  </a:lnTo>
                  <a:lnTo>
                    <a:pt x="4280276" y="3180084"/>
                  </a:lnTo>
                  <a:lnTo>
                    <a:pt x="4279079" y="3182626"/>
                  </a:lnTo>
                  <a:lnTo>
                    <a:pt x="4278185" y="3185767"/>
                  </a:lnTo>
                  <a:lnTo>
                    <a:pt x="4277963" y="3187603"/>
                  </a:lnTo>
                  <a:lnTo>
                    <a:pt x="4278367" y="3189569"/>
                  </a:lnTo>
                  <a:lnTo>
                    <a:pt x="4279533" y="3190681"/>
                  </a:lnTo>
                  <a:lnTo>
                    <a:pt x="4282244" y="3191739"/>
                  </a:lnTo>
                  <a:lnTo>
                    <a:pt x="4282928" y="3190805"/>
                  </a:lnTo>
                  <a:lnTo>
                    <a:pt x="4284355" y="3189531"/>
                  </a:lnTo>
                  <a:lnTo>
                    <a:pt x="4285928" y="3188535"/>
                  </a:lnTo>
                  <a:lnTo>
                    <a:pt x="4287039" y="3188445"/>
                  </a:lnTo>
                  <a:lnTo>
                    <a:pt x="4287540" y="3189250"/>
                  </a:lnTo>
                  <a:lnTo>
                    <a:pt x="4287404" y="3190031"/>
                  </a:lnTo>
                  <a:lnTo>
                    <a:pt x="4286676" y="3191196"/>
                  </a:lnTo>
                  <a:lnTo>
                    <a:pt x="4286332" y="3192120"/>
                  </a:lnTo>
                  <a:lnTo>
                    <a:pt x="4286120" y="3192477"/>
                  </a:lnTo>
                  <a:lnTo>
                    <a:pt x="4283996" y="3193094"/>
                  </a:lnTo>
                  <a:lnTo>
                    <a:pt x="4281202" y="3193014"/>
                  </a:lnTo>
                  <a:lnTo>
                    <a:pt x="4280550" y="3193293"/>
                  </a:lnTo>
                  <a:lnTo>
                    <a:pt x="4279358" y="3194077"/>
                  </a:lnTo>
                  <a:lnTo>
                    <a:pt x="4278634" y="3194288"/>
                  </a:lnTo>
                  <a:lnTo>
                    <a:pt x="4277302" y="3194202"/>
                  </a:lnTo>
                  <a:lnTo>
                    <a:pt x="4274922" y="3193562"/>
                  </a:lnTo>
                  <a:lnTo>
                    <a:pt x="4273572" y="3193558"/>
                  </a:lnTo>
                  <a:lnTo>
                    <a:pt x="4273983" y="3194575"/>
                  </a:lnTo>
                  <a:lnTo>
                    <a:pt x="4274514" y="3195410"/>
                  </a:lnTo>
                  <a:lnTo>
                    <a:pt x="4275160" y="3196054"/>
                  </a:lnTo>
                  <a:lnTo>
                    <a:pt x="4275932" y="3196532"/>
                  </a:lnTo>
                  <a:lnTo>
                    <a:pt x="4274798" y="3197656"/>
                  </a:lnTo>
                  <a:lnTo>
                    <a:pt x="4273940" y="3199484"/>
                  </a:lnTo>
                  <a:lnTo>
                    <a:pt x="4273002" y="3203371"/>
                  </a:lnTo>
                  <a:lnTo>
                    <a:pt x="4272562" y="3210007"/>
                  </a:lnTo>
                  <a:lnTo>
                    <a:pt x="4271867" y="3211875"/>
                  </a:lnTo>
                  <a:lnTo>
                    <a:pt x="4269449" y="3214707"/>
                  </a:lnTo>
                  <a:lnTo>
                    <a:pt x="4263986" y="3219354"/>
                  </a:lnTo>
                  <a:lnTo>
                    <a:pt x="4262646" y="3223021"/>
                  </a:lnTo>
                  <a:lnTo>
                    <a:pt x="4262465" y="3225490"/>
                  </a:lnTo>
                  <a:lnTo>
                    <a:pt x="4262500" y="3226838"/>
                  </a:lnTo>
                  <a:lnTo>
                    <a:pt x="4262734" y="3228009"/>
                  </a:lnTo>
                  <a:lnTo>
                    <a:pt x="4263345" y="3228776"/>
                  </a:lnTo>
                  <a:lnTo>
                    <a:pt x="4264277" y="3229676"/>
                  </a:lnTo>
                  <a:lnTo>
                    <a:pt x="4264869" y="3230541"/>
                  </a:lnTo>
                  <a:lnTo>
                    <a:pt x="4263806" y="3232542"/>
                  </a:lnTo>
                  <a:lnTo>
                    <a:pt x="4263875" y="3234853"/>
                  </a:lnTo>
                  <a:lnTo>
                    <a:pt x="4264196" y="3237460"/>
                  </a:lnTo>
                  <a:lnTo>
                    <a:pt x="4264279" y="3239666"/>
                  </a:lnTo>
                  <a:lnTo>
                    <a:pt x="4263744" y="3241629"/>
                  </a:lnTo>
                  <a:lnTo>
                    <a:pt x="4262883" y="3241561"/>
                  </a:lnTo>
                  <a:lnTo>
                    <a:pt x="4261620" y="3240871"/>
                  </a:lnTo>
                  <a:lnTo>
                    <a:pt x="4259876" y="3240969"/>
                  </a:lnTo>
                  <a:lnTo>
                    <a:pt x="4258730" y="3242160"/>
                  </a:lnTo>
                  <a:lnTo>
                    <a:pt x="4258120" y="3244001"/>
                  </a:lnTo>
                  <a:lnTo>
                    <a:pt x="4257875" y="3246010"/>
                  </a:lnTo>
                  <a:lnTo>
                    <a:pt x="4257849" y="3249358"/>
                  </a:lnTo>
                  <a:lnTo>
                    <a:pt x="4258008" y="3251248"/>
                  </a:lnTo>
                  <a:lnTo>
                    <a:pt x="4258323" y="3253142"/>
                  </a:lnTo>
                  <a:lnTo>
                    <a:pt x="4258833" y="3254769"/>
                  </a:lnTo>
                  <a:lnTo>
                    <a:pt x="4259823" y="3256301"/>
                  </a:lnTo>
                  <a:lnTo>
                    <a:pt x="4260912" y="3257427"/>
                  </a:lnTo>
                  <a:lnTo>
                    <a:pt x="4261869" y="3258642"/>
                  </a:lnTo>
                  <a:lnTo>
                    <a:pt x="4262459" y="3260436"/>
                  </a:lnTo>
                  <a:lnTo>
                    <a:pt x="4262380" y="3261979"/>
                  </a:lnTo>
                  <a:lnTo>
                    <a:pt x="4261529" y="3265788"/>
                  </a:lnTo>
                  <a:lnTo>
                    <a:pt x="4261352" y="3267569"/>
                  </a:lnTo>
                  <a:lnTo>
                    <a:pt x="4261514" y="3268916"/>
                  </a:lnTo>
                  <a:lnTo>
                    <a:pt x="4262522" y="3273679"/>
                  </a:lnTo>
                  <a:lnTo>
                    <a:pt x="4264203" y="3275527"/>
                  </a:lnTo>
                  <a:lnTo>
                    <a:pt x="4265772" y="3278647"/>
                  </a:lnTo>
                  <a:lnTo>
                    <a:pt x="4266917" y="3282001"/>
                  </a:lnTo>
                  <a:lnTo>
                    <a:pt x="4267338" y="3284551"/>
                  </a:lnTo>
                  <a:lnTo>
                    <a:pt x="4266977" y="3287790"/>
                  </a:lnTo>
                  <a:lnTo>
                    <a:pt x="4264173" y="3300508"/>
                  </a:lnTo>
                  <a:lnTo>
                    <a:pt x="4262997" y="3302220"/>
                  </a:lnTo>
                  <a:lnTo>
                    <a:pt x="4253392" y="3306620"/>
                  </a:lnTo>
                  <a:lnTo>
                    <a:pt x="4251365" y="3308036"/>
                  </a:lnTo>
                  <a:lnTo>
                    <a:pt x="4249869" y="3310265"/>
                  </a:lnTo>
                  <a:lnTo>
                    <a:pt x="4248694" y="3310054"/>
                  </a:lnTo>
                  <a:lnTo>
                    <a:pt x="4247700" y="3310614"/>
                  </a:lnTo>
                  <a:lnTo>
                    <a:pt x="4246070" y="3312067"/>
                  </a:lnTo>
                  <a:lnTo>
                    <a:pt x="4242105" y="3313943"/>
                  </a:lnTo>
                  <a:lnTo>
                    <a:pt x="4241503" y="3314428"/>
                  </a:lnTo>
                  <a:lnTo>
                    <a:pt x="4240067" y="3316266"/>
                  </a:lnTo>
                  <a:lnTo>
                    <a:pt x="4239725" y="3317077"/>
                  </a:lnTo>
                  <a:lnTo>
                    <a:pt x="4239505" y="3318497"/>
                  </a:lnTo>
                  <a:lnTo>
                    <a:pt x="4239165" y="3319289"/>
                  </a:lnTo>
                  <a:lnTo>
                    <a:pt x="4238530" y="3319797"/>
                  </a:lnTo>
                  <a:lnTo>
                    <a:pt x="4235373" y="3321004"/>
                  </a:lnTo>
                  <a:lnTo>
                    <a:pt x="4231286" y="3321673"/>
                  </a:lnTo>
                  <a:lnTo>
                    <a:pt x="4229483" y="3322346"/>
                  </a:lnTo>
                  <a:lnTo>
                    <a:pt x="4226482" y="3324612"/>
                  </a:lnTo>
                  <a:lnTo>
                    <a:pt x="4224525" y="3325589"/>
                  </a:lnTo>
                  <a:lnTo>
                    <a:pt x="4222377" y="3325669"/>
                  </a:lnTo>
                  <a:lnTo>
                    <a:pt x="4222635" y="3326979"/>
                  </a:lnTo>
                  <a:lnTo>
                    <a:pt x="4222552" y="3328092"/>
                  </a:lnTo>
                  <a:lnTo>
                    <a:pt x="4222035" y="3329924"/>
                  </a:lnTo>
                  <a:lnTo>
                    <a:pt x="4218973" y="3330017"/>
                  </a:lnTo>
                  <a:lnTo>
                    <a:pt x="4218770" y="3331990"/>
                  </a:lnTo>
                  <a:lnTo>
                    <a:pt x="4219453" y="3334922"/>
                  </a:lnTo>
                  <a:lnTo>
                    <a:pt x="4219058" y="3337856"/>
                  </a:lnTo>
                  <a:lnTo>
                    <a:pt x="4218626" y="3338232"/>
                  </a:lnTo>
                  <a:lnTo>
                    <a:pt x="4217405" y="3338594"/>
                  </a:lnTo>
                  <a:lnTo>
                    <a:pt x="4216885" y="3338864"/>
                  </a:lnTo>
                  <a:lnTo>
                    <a:pt x="4216488" y="3339424"/>
                  </a:lnTo>
                  <a:lnTo>
                    <a:pt x="4215970" y="3340717"/>
                  </a:lnTo>
                  <a:lnTo>
                    <a:pt x="4215455" y="3341165"/>
                  </a:lnTo>
                  <a:lnTo>
                    <a:pt x="4211796" y="3342575"/>
                  </a:lnTo>
                  <a:lnTo>
                    <a:pt x="4210514" y="3342704"/>
                  </a:lnTo>
                  <a:lnTo>
                    <a:pt x="4210778" y="3343327"/>
                  </a:lnTo>
                  <a:lnTo>
                    <a:pt x="4214885" y="3344412"/>
                  </a:lnTo>
                  <a:lnTo>
                    <a:pt x="4216220" y="3344160"/>
                  </a:lnTo>
                  <a:lnTo>
                    <a:pt x="4218031" y="3342560"/>
                  </a:lnTo>
                  <a:lnTo>
                    <a:pt x="4218987" y="3342464"/>
                  </a:lnTo>
                  <a:lnTo>
                    <a:pt x="4220141" y="3343903"/>
                  </a:lnTo>
                  <a:lnTo>
                    <a:pt x="4220459" y="3344648"/>
                  </a:lnTo>
                  <a:lnTo>
                    <a:pt x="4221436" y="3346482"/>
                  </a:lnTo>
                  <a:lnTo>
                    <a:pt x="4219458" y="3348890"/>
                  </a:lnTo>
                  <a:lnTo>
                    <a:pt x="4213151" y="3353427"/>
                  </a:lnTo>
                  <a:lnTo>
                    <a:pt x="4212363" y="3354784"/>
                  </a:lnTo>
                  <a:lnTo>
                    <a:pt x="4211063" y="3357910"/>
                  </a:lnTo>
                  <a:lnTo>
                    <a:pt x="4210257" y="3358894"/>
                  </a:lnTo>
                  <a:lnTo>
                    <a:pt x="4209266" y="3359608"/>
                  </a:lnTo>
                  <a:lnTo>
                    <a:pt x="4206963" y="3360680"/>
                  </a:lnTo>
                  <a:lnTo>
                    <a:pt x="4209401" y="3354979"/>
                  </a:lnTo>
                  <a:lnTo>
                    <a:pt x="4209538" y="3353042"/>
                  </a:lnTo>
                  <a:lnTo>
                    <a:pt x="4208353" y="3350627"/>
                  </a:lnTo>
                  <a:lnTo>
                    <a:pt x="4205114" y="3349322"/>
                  </a:lnTo>
                  <a:lnTo>
                    <a:pt x="4204439" y="3347140"/>
                  </a:lnTo>
                  <a:lnTo>
                    <a:pt x="4202000" y="3346868"/>
                  </a:lnTo>
                  <a:lnTo>
                    <a:pt x="4201194" y="3346995"/>
                  </a:lnTo>
                  <a:lnTo>
                    <a:pt x="4202719" y="3348003"/>
                  </a:lnTo>
                  <a:lnTo>
                    <a:pt x="4204599" y="3350191"/>
                  </a:lnTo>
                  <a:lnTo>
                    <a:pt x="4206175" y="3352388"/>
                  </a:lnTo>
                  <a:lnTo>
                    <a:pt x="4206797" y="3353412"/>
                  </a:lnTo>
                  <a:lnTo>
                    <a:pt x="4206244" y="3354045"/>
                  </a:lnTo>
                  <a:lnTo>
                    <a:pt x="4205036" y="3357481"/>
                  </a:lnTo>
                  <a:lnTo>
                    <a:pt x="4203236" y="3359751"/>
                  </a:lnTo>
                  <a:lnTo>
                    <a:pt x="4202874" y="3360545"/>
                  </a:lnTo>
                  <a:lnTo>
                    <a:pt x="4202005" y="3361964"/>
                  </a:lnTo>
                  <a:lnTo>
                    <a:pt x="4198498" y="3364690"/>
                  </a:lnTo>
                  <a:lnTo>
                    <a:pt x="4197416" y="3365869"/>
                  </a:lnTo>
                  <a:lnTo>
                    <a:pt x="4196749" y="3367995"/>
                  </a:lnTo>
                  <a:lnTo>
                    <a:pt x="4196418" y="3370828"/>
                  </a:lnTo>
                  <a:lnTo>
                    <a:pt x="4196854" y="3373720"/>
                  </a:lnTo>
                  <a:lnTo>
                    <a:pt x="4198484" y="3376054"/>
                  </a:lnTo>
                  <a:lnTo>
                    <a:pt x="4195239" y="3379977"/>
                  </a:lnTo>
                  <a:lnTo>
                    <a:pt x="4196429" y="3380933"/>
                  </a:lnTo>
                  <a:lnTo>
                    <a:pt x="4198717" y="3380218"/>
                  </a:lnTo>
                  <a:lnTo>
                    <a:pt x="4199996" y="3381064"/>
                  </a:lnTo>
                  <a:lnTo>
                    <a:pt x="4191090" y="3385921"/>
                  </a:lnTo>
                  <a:lnTo>
                    <a:pt x="4190477" y="3386605"/>
                  </a:lnTo>
                  <a:lnTo>
                    <a:pt x="4190313" y="3387626"/>
                  </a:lnTo>
                  <a:lnTo>
                    <a:pt x="4190318" y="3388729"/>
                  </a:lnTo>
                  <a:lnTo>
                    <a:pt x="4190220" y="3389647"/>
                  </a:lnTo>
                  <a:lnTo>
                    <a:pt x="4187224" y="3395272"/>
                  </a:lnTo>
                  <a:lnTo>
                    <a:pt x="4185968" y="3396701"/>
                  </a:lnTo>
                  <a:lnTo>
                    <a:pt x="4185183" y="3398173"/>
                  </a:lnTo>
                  <a:lnTo>
                    <a:pt x="4183735" y="3399377"/>
                  </a:lnTo>
                  <a:lnTo>
                    <a:pt x="4183698" y="3400149"/>
                  </a:lnTo>
                  <a:lnTo>
                    <a:pt x="4184001" y="3401070"/>
                  </a:lnTo>
                  <a:lnTo>
                    <a:pt x="4184112" y="3402158"/>
                  </a:lnTo>
                  <a:lnTo>
                    <a:pt x="4183656" y="3403885"/>
                  </a:lnTo>
                  <a:lnTo>
                    <a:pt x="4182801" y="3404971"/>
                  </a:lnTo>
                  <a:lnTo>
                    <a:pt x="4179832" y="3406519"/>
                  </a:lnTo>
                  <a:lnTo>
                    <a:pt x="4178907" y="3407760"/>
                  </a:lnTo>
                  <a:lnTo>
                    <a:pt x="4178708" y="3409907"/>
                  </a:lnTo>
                  <a:lnTo>
                    <a:pt x="4180689" y="3423971"/>
                  </a:lnTo>
                  <a:lnTo>
                    <a:pt x="4180167" y="3427774"/>
                  </a:lnTo>
                  <a:lnTo>
                    <a:pt x="4177533" y="3430353"/>
                  </a:lnTo>
                  <a:lnTo>
                    <a:pt x="4176845" y="3430398"/>
                  </a:lnTo>
                  <a:lnTo>
                    <a:pt x="4176020" y="3430295"/>
                  </a:lnTo>
                  <a:lnTo>
                    <a:pt x="4175295" y="3430419"/>
                  </a:lnTo>
                  <a:lnTo>
                    <a:pt x="4174881" y="3431124"/>
                  </a:lnTo>
                  <a:lnTo>
                    <a:pt x="4174338" y="3437166"/>
                  </a:lnTo>
                  <a:lnTo>
                    <a:pt x="4174804" y="3440788"/>
                  </a:lnTo>
                  <a:lnTo>
                    <a:pt x="4174804" y="3442179"/>
                  </a:lnTo>
                  <a:lnTo>
                    <a:pt x="4176120" y="3445724"/>
                  </a:lnTo>
                  <a:lnTo>
                    <a:pt x="4175321" y="3450745"/>
                  </a:lnTo>
                  <a:lnTo>
                    <a:pt x="4172609" y="3459362"/>
                  </a:lnTo>
                  <a:lnTo>
                    <a:pt x="4172727" y="3464653"/>
                  </a:lnTo>
                  <a:lnTo>
                    <a:pt x="4172493" y="3467304"/>
                  </a:lnTo>
                  <a:lnTo>
                    <a:pt x="4171329" y="3468901"/>
                  </a:lnTo>
                  <a:lnTo>
                    <a:pt x="4170014" y="3470085"/>
                  </a:lnTo>
                  <a:lnTo>
                    <a:pt x="4169191" y="3471860"/>
                  </a:lnTo>
                  <a:lnTo>
                    <a:pt x="4168551" y="3473779"/>
                  </a:lnTo>
                  <a:lnTo>
                    <a:pt x="4167785" y="3475388"/>
                  </a:lnTo>
                  <a:lnTo>
                    <a:pt x="4167379" y="3475652"/>
                  </a:lnTo>
                  <a:lnTo>
                    <a:pt x="4166313" y="3475882"/>
                  </a:lnTo>
                  <a:lnTo>
                    <a:pt x="4165956" y="3476187"/>
                  </a:lnTo>
                  <a:lnTo>
                    <a:pt x="4165859" y="3476822"/>
                  </a:lnTo>
                  <a:lnTo>
                    <a:pt x="4166033" y="3477411"/>
                  </a:lnTo>
                  <a:lnTo>
                    <a:pt x="4166263" y="3477947"/>
                  </a:lnTo>
                  <a:lnTo>
                    <a:pt x="4166301" y="3478394"/>
                  </a:lnTo>
                  <a:lnTo>
                    <a:pt x="4163964" y="3486828"/>
                  </a:lnTo>
                  <a:lnTo>
                    <a:pt x="4163046" y="3488769"/>
                  </a:lnTo>
                  <a:lnTo>
                    <a:pt x="4161774" y="3490064"/>
                  </a:lnTo>
                  <a:lnTo>
                    <a:pt x="4160798" y="3490387"/>
                  </a:lnTo>
                  <a:lnTo>
                    <a:pt x="4158002" y="3490155"/>
                  </a:lnTo>
                  <a:lnTo>
                    <a:pt x="4156954" y="3490403"/>
                  </a:lnTo>
                  <a:lnTo>
                    <a:pt x="4154567" y="3491644"/>
                  </a:lnTo>
                  <a:lnTo>
                    <a:pt x="4152910" y="3491740"/>
                  </a:lnTo>
                  <a:lnTo>
                    <a:pt x="4151251" y="3490926"/>
                  </a:lnTo>
                  <a:lnTo>
                    <a:pt x="4148284" y="3488638"/>
                  </a:lnTo>
                  <a:lnTo>
                    <a:pt x="4146358" y="3487568"/>
                  </a:lnTo>
                  <a:lnTo>
                    <a:pt x="4144536" y="3486983"/>
                  </a:lnTo>
                  <a:lnTo>
                    <a:pt x="4140633" y="3485547"/>
                  </a:lnTo>
                  <a:lnTo>
                    <a:pt x="4137185" y="3484745"/>
                  </a:lnTo>
                  <a:lnTo>
                    <a:pt x="4133657" y="3486234"/>
                  </a:lnTo>
                  <a:lnTo>
                    <a:pt x="4130137" y="3488457"/>
                  </a:lnTo>
                  <a:lnTo>
                    <a:pt x="4126702" y="3489827"/>
                  </a:lnTo>
                  <a:lnTo>
                    <a:pt x="4124766" y="3489470"/>
                  </a:lnTo>
                  <a:lnTo>
                    <a:pt x="4120586" y="3487520"/>
                  </a:lnTo>
                  <a:lnTo>
                    <a:pt x="4118815" y="3487481"/>
                  </a:lnTo>
                  <a:lnTo>
                    <a:pt x="4116969" y="3487872"/>
                  </a:lnTo>
                  <a:lnTo>
                    <a:pt x="4115000" y="3487732"/>
                  </a:lnTo>
                  <a:lnTo>
                    <a:pt x="4107648" y="3486033"/>
                  </a:lnTo>
                  <a:lnTo>
                    <a:pt x="4105949" y="3486420"/>
                  </a:lnTo>
                  <a:lnTo>
                    <a:pt x="4104905" y="3488169"/>
                  </a:lnTo>
                  <a:lnTo>
                    <a:pt x="4103659" y="3489030"/>
                  </a:lnTo>
                  <a:lnTo>
                    <a:pt x="4088963" y="3491209"/>
                  </a:lnTo>
                  <a:lnTo>
                    <a:pt x="4086282" y="3492950"/>
                  </a:lnTo>
                  <a:lnTo>
                    <a:pt x="4085184" y="3493260"/>
                  </a:lnTo>
                  <a:lnTo>
                    <a:pt x="4083426" y="3492715"/>
                  </a:lnTo>
                  <a:lnTo>
                    <a:pt x="4080196" y="3491250"/>
                  </a:lnTo>
                  <a:lnTo>
                    <a:pt x="4078596" y="3491039"/>
                  </a:lnTo>
                  <a:lnTo>
                    <a:pt x="4076785" y="3491461"/>
                  </a:lnTo>
                  <a:lnTo>
                    <a:pt x="4076081" y="3491940"/>
                  </a:lnTo>
                  <a:lnTo>
                    <a:pt x="4075518" y="3492532"/>
                  </a:lnTo>
                  <a:lnTo>
                    <a:pt x="4074865" y="3492970"/>
                  </a:lnTo>
                  <a:lnTo>
                    <a:pt x="4073927" y="3493014"/>
                  </a:lnTo>
                  <a:lnTo>
                    <a:pt x="4070590" y="3492650"/>
                  </a:lnTo>
                  <a:lnTo>
                    <a:pt x="4062619" y="3494102"/>
                  </a:lnTo>
                  <a:lnTo>
                    <a:pt x="4061085" y="3495062"/>
                  </a:lnTo>
                  <a:lnTo>
                    <a:pt x="4059152" y="3497418"/>
                  </a:lnTo>
                  <a:lnTo>
                    <a:pt x="4057850" y="3498468"/>
                  </a:lnTo>
                  <a:lnTo>
                    <a:pt x="4062383" y="3495628"/>
                  </a:lnTo>
                  <a:lnTo>
                    <a:pt x="4064057" y="3495115"/>
                  </a:lnTo>
                  <a:lnTo>
                    <a:pt x="4070990" y="3495764"/>
                  </a:lnTo>
                  <a:lnTo>
                    <a:pt x="4074949" y="3494929"/>
                  </a:lnTo>
                  <a:lnTo>
                    <a:pt x="4077028" y="3494928"/>
                  </a:lnTo>
                  <a:lnTo>
                    <a:pt x="4078654" y="3495636"/>
                  </a:lnTo>
                  <a:lnTo>
                    <a:pt x="4079030" y="3497355"/>
                  </a:lnTo>
                  <a:lnTo>
                    <a:pt x="4078117" y="3498914"/>
                  </a:lnTo>
                  <a:lnTo>
                    <a:pt x="4076488" y="3500187"/>
                  </a:lnTo>
                  <a:lnTo>
                    <a:pt x="4072983" y="3501856"/>
                  </a:lnTo>
                  <a:lnTo>
                    <a:pt x="4074434" y="3503034"/>
                  </a:lnTo>
                  <a:lnTo>
                    <a:pt x="4075297" y="3504298"/>
                  </a:lnTo>
                  <a:lnTo>
                    <a:pt x="4076222" y="3505048"/>
                  </a:lnTo>
                  <a:lnTo>
                    <a:pt x="4077823" y="3504673"/>
                  </a:lnTo>
                  <a:lnTo>
                    <a:pt x="4078781" y="3503813"/>
                  </a:lnTo>
                  <a:lnTo>
                    <a:pt x="4080928" y="3500244"/>
                  </a:lnTo>
                  <a:lnTo>
                    <a:pt x="4083172" y="3498504"/>
                  </a:lnTo>
                  <a:lnTo>
                    <a:pt x="4092812" y="3494355"/>
                  </a:lnTo>
                  <a:lnTo>
                    <a:pt x="4096276" y="3492162"/>
                  </a:lnTo>
                  <a:lnTo>
                    <a:pt x="4101072" y="3490891"/>
                  </a:lnTo>
                  <a:lnTo>
                    <a:pt x="4102242" y="3490935"/>
                  </a:lnTo>
                  <a:lnTo>
                    <a:pt x="4103910" y="3491307"/>
                  </a:lnTo>
                  <a:lnTo>
                    <a:pt x="4107499" y="3490340"/>
                  </a:lnTo>
                  <a:lnTo>
                    <a:pt x="4110085" y="3490389"/>
                  </a:lnTo>
                  <a:lnTo>
                    <a:pt x="4111103" y="3490242"/>
                  </a:lnTo>
                  <a:lnTo>
                    <a:pt x="4112067" y="3490399"/>
                  </a:lnTo>
                  <a:lnTo>
                    <a:pt x="4113560" y="3492142"/>
                  </a:lnTo>
                  <a:lnTo>
                    <a:pt x="4114467" y="3491945"/>
                  </a:lnTo>
                  <a:lnTo>
                    <a:pt x="4115277" y="3491228"/>
                  </a:lnTo>
                  <a:lnTo>
                    <a:pt x="4115733" y="3490469"/>
                  </a:lnTo>
                  <a:lnTo>
                    <a:pt x="4120938" y="3492353"/>
                  </a:lnTo>
                  <a:lnTo>
                    <a:pt x="4126572" y="3493224"/>
                  </a:lnTo>
                  <a:lnTo>
                    <a:pt x="4131698" y="3492242"/>
                  </a:lnTo>
                  <a:lnTo>
                    <a:pt x="4135345" y="3488552"/>
                  </a:lnTo>
                  <a:lnTo>
                    <a:pt x="4137349" y="3488976"/>
                  </a:lnTo>
                  <a:lnTo>
                    <a:pt x="4141411" y="3488554"/>
                  </a:lnTo>
                  <a:lnTo>
                    <a:pt x="4143471" y="3488726"/>
                  </a:lnTo>
                  <a:lnTo>
                    <a:pt x="4145306" y="3489662"/>
                  </a:lnTo>
                  <a:lnTo>
                    <a:pt x="4149753" y="3493723"/>
                  </a:lnTo>
                  <a:lnTo>
                    <a:pt x="4151877" y="3494452"/>
                  </a:lnTo>
                  <a:lnTo>
                    <a:pt x="4154122" y="3494434"/>
                  </a:lnTo>
                  <a:lnTo>
                    <a:pt x="4158176" y="3493243"/>
                  </a:lnTo>
                  <a:lnTo>
                    <a:pt x="4160122" y="3493280"/>
                  </a:lnTo>
                  <a:lnTo>
                    <a:pt x="4160367" y="3495181"/>
                  </a:lnTo>
                  <a:lnTo>
                    <a:pt x="4159449" y="3499218"/>
                  </a:lnTo>
                  <a:lnTo>
                    <a:pt x="4159693" y="3501129"/>
                  </a:lnTo>
                  <a:lnTo>
                    <a:pt x="4160946" y="3506669"/>
                  </a:lnTo>
                  <a:lnTo>
                    <a:pt x="4161508" y="3508504"/>
                  </a:lnTo>
                  <a:lnTo>
                    <a:pt x="4161267" y="3509186"/>
                  </a:lnTo>
                  <a:lnTo>
                    <a:pt x="4160617" y="3510213"/>
                  </a:lnTo>
                  <a:lnTo>
                    <a:pt x="4160173" y="3511299"/>
                  </a:lnTo>
                  <a:lnTo>
                    <a:pt x="4160527" y="3512147"/>
                  </a:lnTo>
                  <a:lnTo>
                    <a:pt x="4160964" y="3512954"/>
                  </a:lnTo>
                  <a:lnTo>
                    <a:pt x="4161321" y="3514353"/>
                  </a:lnTo>
                  <a:lnTo>
                    <a:pt x="4161645" y="3516916"/>
                  </a:lnTo>
                  <a:lnTo>
                    <a:pt x="4161543" y="3518965"/>
                  </a:lnTo>
                  <a:lnTo>
                    <a:pt x="4160269" y="3525241"/>
                  </a:lnTo>
                  <a:lnTo>
                    <a:pt x="4160181" y="3527307"/>
                  </a:lnTo>
                  <a:lnTo>
                    <a:pt x="4160927" y="3531965"/>
                  </a:lnTo>
                  <a:lnTo>
                    <a:pt x="4160828" y="3534281"/>
                  </a:lnTo>
                  <a:lnTo>
                    <a:pt x="4160391" y="3535377"/>
                  </a:lnTo>
                  <a:lnTo>
                    <a:pt x="4159144" y="3537181"/>
                  </a:lnTo>
                  <a:lnTo>
                    <a:pt x="4158645" y="3538365"/>
                  </a:lnTo>
                  <a:lnTo>
                    <a:pt x="4157634" y="3543293"/>
                  </a:lnTo>
                  <a:lnTo>
                    <a:pt x="4156878" y="3544913"/>
                  </a:lnTo>
                  <a:lnTo>
                    <a:pt x="4154723" y="3547678"/>
                  </a:lnTo>
                  <a:lnTo>
                    <a:pt x="4154278" y="3548770"/>
                  </a:lnTo>
                  <a:lnTo>
                    <a:pt x="4153602" y="3549764"/>
                  </a:lnTo>
                  <a:lnTo>
                    <a:pt x="4152537" y="3550161"/>
                  </a:lnTo>
                  <a:lnTo>
                    <a:pt x="4151533" y="3550737"/>
                  </a:lnTo>
                  <a:lnTo>
                    <a:pt x="4151029" y="3552243"/>
                  </a:lnTo>
                  <a:lnTo>
                    <a:pt x="4152075" y="3553457"/>
                  </a:lnTo>
                  <a:lnTo>
                    <a:pt x="4151487" y="3555621"/>
                  </a:lnTo>
                  <a:lnTo>
                    <a:pt x="4150321" y="3558030"/>
                  </a:lnTo>
                  <a:lnTo>
                    <a:pt x="4149660" y="3559994"/>
                  </a:lnTo>
                  <a:lnTo>
                    <a:pt x="4149829" y="3561778"/>
                  </a:lnTo>
                  <a:lnTo>
                    <a:pt x="4150332" y="3563219"/>
                  </a:lnTo>
                  <a:lnTo>
                    <a:pt x="4150936" y="3564487"/>
                  </a:lnTo>
                  <a:lnTo>
                    <a:pt x="4151402" y="3565766"/>
                  </a:lnTo>
                  <a:lnTo>
                    <a:pt x="4151574" y="3567093"/>
                  </a:lnTo>
                  <a:lnTo>
                    <a:pt x="4151519" y="3568454"/>
                  </a:lnTo>
                  <a:lnTo>
                    <a:pt x="4151032" y="3571187"/>
                  </a:lnTo>
                  <a:lnTo>
                    <a:pt x="4150506" y="3572119"/>
                  </a:lnTo>
                  <a:lnTo>
                    <a:pt x="4148725" y="3573750"/>
                  </a:lnTo>
                  <a:lnTo>
                    <a:pt x="4147591" y="3575724"/>
                  </a:lnTo>
                  <a:lnTo>
                    <a:pt x="4146674" y="3576481"/>
                  </a:lnTo>
                  <a:lnTo>
                    <a:pt x="4142903" y="3578646"/>
                  </a:lnTo>
                  <a:lnTo>
                    <a:pt x="4141029" y="3580384"/>
                  </a:lnTo>
                  <a:lnTo>
                    <a:pt x="4139421" y="3582352"/>
                  </a:lnTo>
                  <a:lnTo>
                    <a:pt x="4138378" y="3584187"/>
                  </a:lnTo>
                  <a:lnTo>
                    <a:pt x="4137706" y="3583991"/>
                  </a:lnTo>
                  <a:lnTo>
                    <a:pt x="4136557" y="3583827"/>
                  </a:lnTo>
                  <a:lnTo>
                    <a:pt x="4135920" y="3583540"/>
                  </a:lnTo>
                  <a:lnTo>
                    <a:pt x="4135827" y="3585401"/>
                  </a:lnTo>
                  <a:lnTo>
                    <a:pt x="4137075" y="3590715"/>
                  </a:lnTo>
                  <a:lnTo>
                    <a:pt x="4136768" y="3592096"/>
                  </a:lnTo>
                  <a:lnTo>
                    <a:pt x="4136010" y="3593518"/>
                  </a:lnTo>
                  <a:lnTo>
                    <a:pt x="4135851" y="3596167"/>
                  </a:lnTo>
                  <a:lnTo>
                    <a:pt x="4136157" y="3601246"/>
                  </a:lnTo>
                  <a:lnTo>
                    <a:pt x="4135869" y="3606520"/>
                  </a:lnTo>
                  <a:lnTo>
                    <a:pt x="4135357" y="3609304"/>
                  </a:lnTo>
                  <a:lnTo>
                    <a:pt x="4134550" y="3610739"/>
                  </a:lnTo>
                  <a:lnTo>
                    <a:pt x="4133670" y="3619197"/>
                  </a:lnTo>
                  <a:lnTo>
                    <a:pt x="4132860" y="3623249"/>
                  </a:lnTo>
                  <a:lnTo>
                    <a:pt x="4131384" y="3626888"/>
                  </a:lnTo>
                  <a:lnTo>
                    <a:pt x="4129291" y="3630025"/>
                  </a:lnTo>
                  <a:lnTo>
                    <a:pt x="4121734" y="3637267"/>
                  </a:lnTo>
                  <a:lnTo>
                    <a:pt x="4119833" y="3639988"/>
                  </a:lnTo>
                  <a:lnTo>
                    <a:pt x="4109715" y="3663148"/>
                  </a:lnTo>
                  <a:lnTo>
                    <a:pt x="4109452" y="3664402"/>
                  </a:lnTo>
                  <a:lnTo>
                    <a:pt x="4109131" y="3668475"/>
                  </a:lnTo>
                  <a:lnTo>
                    <a:pt x="4109022" y="3669044"/>
                  </a:lnTo>
                  <a:lnTo>
                    <a:pt x="4109106" y="3670369"/>
                  </a:lnTo>
                  <a:lnTo>
                    <a:pt x="4108564" y="3671693"/>
                  </a:lnTo>
                  <a:lnTo>
                    <a:pt x="4105666" y="3676383"/>
                  </a:lnTo>
                  <a:lnTo>
                    <a:pt x="4104675" y="3677040"/>
                  </a:lnTo>
                  <a:lnTo>
                    <a:pt x="4103548" y="3679168"/>
                  </a:lnTo>
                  <a:lnTo>
                    <a:pt x="4102812" y="3679855"/>
                  </a:lnTo>
                  <a:lnTo>
                    <a:pt x="4095350" y="3683382"/>
                  </a:lnTo>
                  <a:lnTo>
                    <a:pt x="4092109" y="3685820"/>
                  </a:lnTo>
                  <a:lnTo>
                    <a:pt x="4087525" y="3690437"/>
                  </a:lnTo>
                  <a:lnTo>
                    <a:pt x="4084217" y="3692646"/>
                  </a:lnTo>
                  <a:lnTo>
                    <a:pt x="4081424" y="3695947"/>
                  </a:lnTo>
                  <a:lnTo>
                    <a:pt x="4079743" y="3697116"/>
                  </a:lnTo>
                  <a:lnTo>
                    <a:pt x="4076109" y="3698555"/>
                  </a:lnTo>
                  <a:lnTo>
                    <a:pt x="4075265" y="3698638"/>
                  </a:lnTo>
                  <a:lnTo>
                    <a:pt x="4073491" y="3698245"/>
                  </a:lnTo>
                  <a:lnTo>
                    <a:pt x="4072761" y="3698287"/>
                  </a:lnTo>
                  <a:lnTo>
                    <a:pt x="4070707" y="3698718"/>
                  </a:lnTo>
                  <a:lnTo>
                    <a:pt x="4069083" y="3698804"/>
                  </a:lnTo>
                  <a:lnTo>
                    <a:pt x="4067748" y="3699458"/>
                  </a:lnTo>
                  <a:lnTo>
                    <a:pt x="4063555" y="3708221"/>
                  </a:lnTo>
                  <a:lnTo>
                    <a:pt x="4061415" y="3711590"/>
                  </a:lnTo>
                  <a:lnTo>
                    <a:pt x="4058970" y="3714102"/>
                  </a:lnTo>
                  <a:lnTo>
                    <a:pt x="4053376" y="3717866"/>
                  </a:lnTo>
                  <a:lnTo>
                    <a:pt x="4049118" y="3721808"/>
                  </a:lnTo>
                  <a:lnTo>
                    <a:pt x="4048303" y="3723011"/>
                  </a:lnTo>
                  <a:lnTo>
                    <a:pt x="4048323" y="3724993"/>
                  </a:lnTo>
                  <a:lnTo>
                    <a:pt x="4049183" y="3730920"/>
                  </a:lnTo>
                  <a:lnTo>
                    <a:pt x="4049147" y="3732265"/>
                  </a:lnTo>
                  <a:lnTo>
                    <a:pt x="4047124" y="3735352"/>
                  </a:lnTo>
                  <a:lnTo>
                    <a:pt x="4044540" y="3737217"/>
                  </a:lnTo>
                  <a:lnTo>
                    <a:pt x="4043352" y="3738468"/>
                  </a:lnTo>
                  <a:lnTo>
                    <a:pt x="4041487" y="3741215"/>
                  </a:lnTo>
                  <a:lnTo>
                    <a:pt x="4038339" y="3743263"/>
                  </a:lnTo>
                  <a:lnTo>
                    <a:pt x="4037161" y="3744829"/>
                  </a:lnTo>
                  <a:lnTo>
                    <a:pt x="4030804" y="3758957"/>
                  </a:lnTo>
                  <a:lnTo>
                    <a:pt x="4028305" y="3761622"/>
                  </a:lnTo>
                  <a:lnTo>
                    <a:pt x="4026802" y="3762495"/>
                  </a:lnTo>
                  <a:lnTo>
                    <a:pt x="4021713" y="3764120"/>
                  </a:lnTo>
                  <a:lnTo>
                    <a:pt x="4019539" y="3765592"/>
                  </a:lnTo>
                  <a:lnTo>
                    <a:pt x="4014895" y="3769206"/>
                  </a:lnTo>
                  <a:lnTo>
                    <a:pt x="4010732" y="3773358"/>
                  </a:lnTo>
                  <a:lnTo>
                    <a:pt x="4006097" y="3778746"/>
                  </a:lnTo>
                  <a:lnTo>
                    <a:pt x="4007246" y="3780108"/>
                  </a:lnTo>
                  <a:lnTo>
                    <a:pt x="4007813" y="3786204"/>
                  </a:lnTo>
                  <a:lnTo>
                    <a:pt x="4007650" y="3789855"/>
                  </a:lnTo>
                  <a:lnTo>
                    <a:pt x="4004794" y="3793212"/>
                  </a:lnTo>
                  <a:lnTo>
                    <a:pt x="4002399" y="3794389"/>
                  </a:lnTo>
                  <a:lnTo>
                    <a:pt x="3999094" y="3797048"/>
                  </a:lnTo>
                  <a:lnTo>
                    <a:pt x="3998361" y="3799836"/>
                  </a:lnTo>
                  <a:lnTo>
                    <a:pt x="3998790" y="3801785"/>
                  </a:lnTo>
                  <a:lnTo>
                    <a:pt x="3999015" y="3803593"/>
                  </a:lnTo>
                  <a:lnTo>
                    <a:pt x="3998984" y="3807631"/>
                  </a:lnTo>
                  <a:lnTo>
                    <a:pt x="3997599" y="3817509"/>
                  </a:lnTo>
                  <a:lnTo>
                    <a:pt x="3996549" y="3821029"/>
                  </a:lnTo>
                  <a:lnTo>
                    <a:pt x="3994045" y="3824304"/>
                  </a:lnTo>
                  <a:lnTo>
                    <a:pt x="3992953" y="3826214"/>
                  </a:lnTo>
                  <a:lnTo>
                    <a:pt x="3992789" y="3829771"/>
                  </a:lnTo>
                  <a:lnTo>
                    <a:pt x="3990921" y="3835761"/>
                  </a:lnTo>
                  <a:lnTo>
                    <a:pt x="3986766" y="3841564"/>
                  </a:lnTo>
                  <a:lnTo>
                    <a:pt x="3974290" y="3848362"/>
                  </a:lnTo>
                  <a:lnTo>
                    <a:pt x="3969715" y="3853665"/>
                  </a:lnTo>
                  <a:lnTo>
                    <a:pt x="3964749" y="3865068"/>
                  </a:lnTo>
                  <a:lnTo>
                    <a:pt x="3963696" y="3869299"/>
                  </a:lnTo>
                  <a:lnTo>
                    <a:pt x="3963598" y="3871436"/>
                  </a:lnTo>
                  <a:lnTo>
                    <a:pt x="3963281" y="3872240"/>
                  </a:lnTo>
                  <a:lnTo>
                    <a:pt x="3961647" y="3873375"/>
                  </a:lnTo>
                  <a:lnTo>
                    <a:pt x="3961005" y="3874285"/>
                  </a:lnTo>
                  <a:lnTo>
                    <a:pt x="3960493" y="3875374"/>
                  </a:lnTo>
                  <a:lnTo>
                    <a:pt x="3960159" y="3876403"/>
                  </a:lnTo>
                  <a:lnTo>
                    <a:pt x="3959423" y="3877781"/>
                  </a:lnTo>
                  <a:lnTo>
                    <a:pt x="3958072" y="3879083"/>
                  </a:lnTo>
                  <a:lnTo>
                    <a:pt x="3955233" y="3880928"/>
                  </a:lnTo>
                  <a:lnTo>
                    <a:pt x="3950732" y="3882406"/>
                  </a:lnTo>
                  <a:lnTo>
                    <a:pt x="3949069" y="3882453"/>
                  </a:lnTo>
                  <a:lnTo>
                    <a:pt x="3948276" y="3882612"/>
                  </a:lnTo>
                  <a:lnTo>
                    <a:pt x="3947323" y="3882538"/>
                  </a:lnTo>
                  <a:lnTo>
                    <a:pt x="3944621" y="3880767"/>
                  </a:lnTo>
                  <a:lnTo>
                    <a:pt x="3943103" y="3880137"/>
                  </a:lnTo>
                  <a:lnTo>
                    <a:pt x="3942366" y="3880098"/>
                  </a:lnTo>
                  <a:lnTo>
                    <a:pt x="3941175" y="3880349"/>
                  </a:lnTo>
                  <a:lnTo>
                    <a:pt x="3934690" y="3883410"/>
                  </a:lnTo>
                  <a:lnTo>
                    <a:pt x="3933518" y="3883448"/>
                  </a:lnTo>
                  <a:lnTo>
                    <a:pt x="3932282" y="3882939"/>
                  </a:lnTo>
                  <a:lnTo>
                    <a:pt x="3929754" y="3881251"/>
                  </a:lnTo>
                  <a:lnTo>
                    <a:pt x="3928233" y="3881536"/>
                  </a:lnTo>
                  <a:lnTo>
                    <a:pt x="3929529" y="3882089"/>
                  </a:lnTo>
                  <a:lnTo>
                    <a:pt x="3930940" y="3883269"/>
                  </a:lnTo>
                  <a:lnTo>
                    <a:pt x="3932178" y="3884653"/>
                  </a:lnTo>
                  <a:lnTo>
                    <a:pt x="3933553" y="3885626"/>
                  </a:lnTo>
                  <a:lnTo>
                    <a:pt x="3935380" y="3885582"/>
                  </a:lnTo>
                  <a:lnTo>
                    <a:pt x="3937591" y="3884998"/>
                  </a:lnTo>
                  <a:lnTo>
                    <a:pt x="3949799" y="3884980"/>
                  </a:lnTo>
                  <a:lnTo>
                    <a:pt x="3951690" y="3884540"/>
                  </a:lnTo>
                  <a:lnTo>
                    <a:pt x="3953643" y="3884623"/>
                  </a:lnTo>
                  <a:lnTo>
                    <a:pt x="3955533" y="3885352"/>
                  </a:lnTo>
                  <a:lnTo>
                    <a:pt x="3957157" y="3885467"/>
                  </a:lnTo>
                  <a:lnTo>
                    <a:pt x="3958334" y="3883677"/>
                  </a:lnTo>
                  <a:lnTo>
                    <a:pt x="3959348" y="3884951"/>
                  </a:lnTo>
                  <a:lnTo>
                    <a:pt x="3959433" y="3886741"/>
                  </a:lnTo>
                  <a:lnTo>
                    <a:pt x="3961165" y="3888902"/>
                  </a:lnTo>
                  <a:lnTo>
                    <a:pt x="3963523" y="3890887"/>
                  </a:lnTo>
                  <a:lnTo>
                    <a:pt x="3965498" y="3892164"/>
                  </a:lnTo>
                  <a:lnTo>
                    <a:pt x="3965069" y="3892568"/>
                  </a:lnTo>
                  <a:lnTo>
                    <a:pt x="3964895" y="3892807"/>
                  </a:lnTo>
                  <a:lnTo>
                    <a:pt x="3964731" y="3893221"/>
                  </a:lnTo>
                  <a:lnTo>
                    <a:pt x="3962564" y="3896166"/>
                  </a:lnTo>
                  <a:lnTo>
                    <a:pt x="3955600" y="3898746"/>
                  </a:lnTo>
                  <a:lnTo>
                    <a:pt x="3952633" y="3900633"/>
                  </a:lnTo>
                  <a:lnTo>
                    <a:pt x="3951890" y="3902285"/>
                  </a:lnTo>
                  <a:lnTo>
                    <a:pt x="3950819" y="3906746"/>
                  </a:lnTo>
                  <a:lnTo>
                    <a:pt x="3950208" y="3907819"/>
                  </a:lnTo>
                  <a:lnTo>
                    <a:pt x="3948659" y="3908680"/>
                  </a:lnTo>
                  <a:lnTo>
                    <a:pt x="3944262" y="3913624"/>
                  </a:lnTo>
                  <a:lnTo>
                    <a:pt x="3943912" y="3914240"/>
                  </a:lnTo>
                  <a:lnTo>
                    <a:pt x="3943456" y="3914754"/>
                  </a:lnTo>
                  <a:lnTo>
                    <a:pt x="3942531" y="3915198"/>
                  </a:lnTo>
                  <a:lnTo>
                    <a:pt x="3941788" y="3915844"/>
                  </a:lnTo>
                  <a:lnTo>
                    <a:pt x="3940953" y="3917789"/>
                  </a:lnTo>
                  <a:lnTo>
                    <a:pt x="3940222" y="3918427"/>
                  </a:lnTo>
                  <a:lnTo>
                    <a:pt x="3940064" y="3918808"/>
                  </a:lnTo>
                  <a:lnTo>
                    <a:pt x="3938767" y="3920782"/>
                  </a:lnTo>
                  <a:lnTo>
                    <a:pt x="3938109" y="3921510"/>
                  </a:lnTo>
                  <a:lnTo>
                    <a:pt x="3935980" y="3922697"/>
                  </a:lnTo>
                  <a:lnTo>
                    <a:pt x="3935329" y="3923259"/>
                  </a:lnTo>
                  <a:lnTo>
                    <a:pt x="3934315" y="3924877"/>
                  </a:lnTo>
                  <a:lnTo>
                    <a:pt x="3933391" y="3927273"/>
                  </a:lnTo>
                  <a:lnTo>
                    <a:pt x="3932862" y="3929894"/>
                  </a:lnTo>
                  <a:lnTo>
                    <a:pt x="3933029" y="3932181"/>
                  </a:lnTo>
                  <a:lnTo>
                    <a:pt x="3932775" y="3933785"/>
                  </a:lnTo>
                  <a:lnTo>
                    <a:pt x="3931533" y="3935462"/>
                  </a:lnTo>
                  <a:lnTo>
                    <a:pt x="3925014" y="3942016"/>
                  </a:lnTo>
                  <a:lnTo>
                    <a:pt x="3921991" y="3947999"/>
                  </a:lnTo>
                  <a:lnTo>
                    <a:pt x="3919896" y="3948763"/>
                  </a:lnTo>
                  <a:lnTo>
                    <a:pt x="3910180" y="3950795"/>
                  </a:lnTo>
                  <a:lnTo>
                    <a:pt x="3908872" y="3951322"/>
                  </a:lnTo>
                  <a:lnTo>
                    <a:pt x="3907735" y="3952186"/>
                  </a:lnTo>
                  <a:lnTo>
                    <a:pt x="3905598" y="3954904"/>
                  </a:lnTo>
                  <a:lnTo>
                    <a:pt x="3901769" y="3957951"/>
                  </a:lnTo>
                  <a:lnTo>
                    <a:pt x="3900772" y="3959019"/>
                  </a:lnTo>
                  <a:lnTo>
                    <a:pt x="3898321" y="3962690"/>
                  </a:lnTo>
                  <a:lnTo>
                    <a:pt x="3897248" y="3963682"/>
                  </a:lnTo>
                  <a:lnTo>
                    <a:pt x="3893576" y="3966095"/>
                  </a:lnTo>
                  <a:lnTo>
                    <a:pt x="3885088" y="3975927"/>
                  </a:lnTo>
                  <a:lnTo>
                    <a:pt x="3881243" y="3982558"/>
                  </a:lnTo>
                  <a:lnTo>
                    <a:pt x="3875089" y="3993125"/>
                  </a:lnTo>
                  <a:lnTo>
                    <a:pt x="3868462" y="4004427"/>
                  </a:lnTo>
                  <a:lnTo>
                    <a:pt x="3861843" y="4015659"/>
                  </a:lnTo>
                  <a:lnTo>
                    <a:pt x="3859386" y="4022600"/>
                  </a:lnTo>
                  <a:lnTo>
                    <a:pt x="3857587" y="4026679"/>
                  </a:lnTo>
                  <a:lnTo>
                    <a:pt x="3855594" y="4031006"/>
                  </a:lnTo>
                  <a:lnTo>
                    <a:pt x="3855275" y="4033976"/>
                  </a:lnTo>
                  <a:lnTo>
                    <a:pt x="3855019" y="4035987"/>
                  </a:lnTo>
                  <a:lnTo>
                    <a:pt x="3854329" y="4037733"/>
                  </a:lnTo>
                  <a:lnTo>
                    <a:pt x="3852462" y="4039314"/>
                  </a:lnTo>
                  <a:lnTo>
                    <a:pt x="3841370" y="4048767"/>
                  </a:lnTo>
                  <a:lnTo>
                    <a:pt x="3836462" y="4055255"/>
                  </a:lnTo>
                  <a:lnTo>
                    <a:pt x="3835059" y="4058632"/>
                  </a:lnTo>
                  <a:lnTo>
                    <a:pt x="3835299" y="4059293"/>
                  </a:lnTo>
                  <a:lnTo>
                    <a:pt x="3836653" y="4061629"/>
                  </a:lnTo>
                  <a:lnTo>
                    <a:pt x="3836842" y="4062171"/>
                  </a:lnTo>
                  <a:lnTo>
                    <a:pt x="3836100" y="4064296"/>
                  </a:lnTo>
                  <a:lnTo>
                    <a:pt x="3834772" y="4065653"/>
                  </a:lnTo>
                  <a:lnTo>
                    <a:pt x="3827394" y="4071647"/>
                  </a:lnTo>
                  <a:lnTo>
                    <a:pt x="3826699" y="4072269"/>
                  </a:lnTo>
                  <a:lnTo>
                    <a:pt x="3826222" y="4073296"/>
                  </a:lnTo>
                  <a:lnTo>
                    <a:pt x="3826137" y="4074224"/>
                  </a:lnTo>
                  <a:lnTo>
                    <a:pt x="3826130" y="4075084"/>
                  </a:lnTo>
                  <a:lnTo>
                    <a:pt x="3825892" y="4075890"/>
                  </a:lnTo>
                  <a:lnTo>
                    <a:pt x="3821274" y="4082814"/>
                  </a:lnTo>
                  <a:lnTo>
                    <a:pt x="3819973" y="4085377"/>
                  </a:lnTo>
                  <a:lnTo>
                    <a:pt x="3818343" y="4092087"/>
                  </a:lnTo>
                  <a:lnTo>
                    <a:pt x="3816698" y="4098799"/>
                  </a:lnTo>
                  <a:lnTo>
                    <a:pt x="3815049" y="4105510"/>
                  </a:lnTo>
                  <a:lnTo>
                    <a:pt x="3813381" y="4112216"/>
                  </a:lnTo>
                  <a:lnTo>
                    <a:pt x="3811715" y="4118925"/>
                  </a:lnTo>
                  <a:lnTo>
                    <a:pt x="3810037" y="4125635"/>
                  </a:lnTo>
                  <a:lnTo>
                    <a:pt x="3808352" y="4132347"/>
                  </a:lnTo>
                  <a:lnTo>
                    <a:pt x="3806656" y="4139050"/>
                  </a:lnTo>
                  <a:lnTo>
                    <a:pt x="3806305" y="4139438"/>
                  </a:lnTo>
                  <a:lnTo>
                    <a:pt x="3805950" y="4139826"/>
                  </a:lnTo>
                  <a:lnTo>
                    <a:pt x="3805601" y="4140207"/>
                  </a:lnTo>
                  <a:lnTo>
                    <a:pt x="3805244" y="4140593"/>
                  </a:lnTo>
                  <a:lnTo>
                    <a:pt x="3804895" y="4140986"/>
                  </a:lnTo>
                  <a:lnTo>
                    <a:pt x="3804539" y="4141371"/>
                  </a:lnTo>
                  <a:lnTo>
                    <a:pt x="3804185" y="4141751"/>
                  </a:lnTo>
                  <a:lnTo>
                    <a:pt x="3803835" y="4142143"/>
                  </a:lnTo>
                  <a:lnTo>
                    <a:pt x="3786158" y="4147431"/>
                  </a:lnTo>
                  <a:lnTo>
                    <a:pt x="3768464" y="4152663"/>
                  </a:lnTo>
                  <a:lnTo>
                    <a:pt x="3750756" y="4157836"/>
                  </a:lnTo>
                  <a:lnTo>
                    <a:pt x="3733025" y="4162942"/>
                  </a:lnTo>
                  <a:lnTo>
                    <a:pt x="3715277" y="4167990"/>
                  </a:lnTo>
                  <a:lnTo>
                    <a:pt x="3697515" y="4172975"/>
                  </a:lnTo>
                  <a:lnTo>
                    <a:pt x="3679734" y="4177899"/>
                  </a:lnTo>
                  <a:lnTo>
                    <a:pt x="3661934" y="4182756"/>
                  </a:lnTo>
                  <a:lnTo>
                    <a:pt x="3657481" y="4185632"/>
                  </a:lnTo>
                  <a:lnTo>
                    <a:pt x="3644216" y="4197117"/>
                  </a:lnTo>
                  <a:lnTo>
                    <a:pt x="3635167" y="4204900"/>
                  </a:lnTo>
                  <a:lnTo>
                    <a:pt x="3628661" y="4210489"/>
                  </a:lnTo>
                  <a:lnTo>
                    <a:pt x="3638162" y="4221542"/>
                  </a:lnTo>
                  <a:lnTo>
                    <a:pt x="3642384" y="4227622"/>
                  </a:lnTo>
                  <a:lnTo>
                    <a:pt x="3643188" y="4229350"/>
                  </a:lnTo>
                  <a:lnTo>
                    <a:pt x="3645870" y="4238633"/>
                  </a:lnTo>
                  <a:lnTo>
                    <a:pt x="3646087" y="4239776"/>
                  </a:lnTo>
                  <a:lnTo>
                    <a:pt x="3646240" y="4241184"/>
                  </a:lnTo>
                  <a:lnTo>
                    <a:pt x="3646145" y="4242149"/>
                  </a:lnTo>
                  <a:lnTo>
                    <a:pt x="3645896" y="4243124"/>
                  </a:lnTo>
                  <a:lnTo>
                    <a:pt x="3645815" y="4244267"/>
                  </a:lnTo>
                  <a:lnTo>
                    <a:pt x="3646215" y="4245758"/>
                  </a:lnTo>
                  <a:lnTo>
                    <a:pt x="3646633" y="4246688"/>
                  </a:lnTo>
                  <a:lnTo>
                    <a:pt x="3647430" y="4247438"/>
                  </a:lnTo>
                  <a:lnTo>
                    <a:pt x="3648811" y="4248450"/>
                  </a:lnTo>
                  <a:lnTo>
                    <a:pt x="3649897" y="4249122"/>
                  </a:lnTo>
                  <a:lnTo>
                    <a:pt x="3650703" y="4249878"/>
                  </a:lnTo>
                  <a:lnTo>
                    <a:pt x="3651020" y="4250758"/>
                  </a:lnTo>
                  <a:lnTo>
                    <a:pt x="3650913" y="4252449"/>
                  </a:lnTo>
                  <a:lnTo>
                    <a:pt x="3651158" y="4254733"/>
                  </a:lnTo>
                  <a:lnTo>
                    <a:pt x="3652219" y="4255694"/>
                  </a:lnTo>
                  <a:lnTo>
                    <a:pt x="3653569" y="4256576"/>
                  </a:lnTo>
                  <a:lnTo>
                    <a:pt x="3655887" y="4257611"/>
                  </a:lnTo>
                  <a:lnTo>
                    <a:pt x="3657980" y="4258150"/>
                  </a:lnTo>
                  <a:lnTo>
                    <a:pt x="3659981" y="4258295"/>
                  </a:lnTo>
                  <a:lnTo>
                    <a:pt x="3661945" y="4259148"/>
                  </a:lnTo>
                  <a:lnTo>
                    <a:pt x="3662873" y="4260835"/>
                  </a:lnTo>
                  <a:lnTo>
                    <a:pt x="3663146" y="4265331"/>
                  </a:lnTo>
                  <a:lnTo>
                    <a:pt x="3660947" y="4271405"/>
                  </a:lnTo>
                  <a:lnTo>
                    <a:pt x="3657487" y="4276516"/>
                  </a:lnTo>
                  <a:lnTo>
                    <a:pt x="3646842" y="4285471"/>
                  </a:lnTo>
                  <a:lnTo>
                    <a:pt x="3636161" y="4294406"/>
                  </a:lnTo>
                  <a:lnTo>
                    <a:pt x="3625445" y="4303312"/>
                  </a:lnTo>
                  <a:lnTo>
                    <a:pt x="3614705" y="4312200"/>
                  </a:lnTo>
                  <a:lnTo>
                    <a:pt x="3605577" y="4319715"/>
                  </a:lnTo>
                  <a:lnTo>
                    <a:pt x="3603933" y="4321065"/>
                  </a:lnTo>
                  <a:lnTo>
                    <a:pt x="3593128" y="4329899"/>
                  </a:lnTo>
                  <a:lnTo>
                    <a:pt x="3582289" y="4338713"/>
                  </a:lnTo>
                  <a:lnTo>
                    <a:pt x="3571419" y="4347510"/>
                  </a:lnTo>
                  <a:lnTo>
                    <a:pt x="3561659" y="4352126"/>
                  </a:lnTo>
                  <a:lnTo>
                    <a:pt x="3551885" y="4356709"/>
                  </a:lnTo>
                  <a:lnTo>
                    <a:pt x="3550663" y="4357280"/>
                  </a:lnTo>
                  <a:lnTo>
                    <a:pt x="3542103" y="4361276"/>
                  </a:lnTo>
                  <a:lnTo>
                    <a:pt x="3532305" y="4365829"/>
                  </a:lnTo>
                  <a:lnTo>
                    <a:pt x="3522499" y="4370359"/>
                  </a:lnTo>
                  <a:lnTo>
                    <a:pt x="3512677" y="4374878"/>
                  </a:lnTo>
                  <a:lnTo>
                    <a:pt x="3502846" y="4379370"/>
                  </a:lnTo>
                  <a:lnTo>
                    <a:pt x="3493000" y="4383846"/>
                  </a:lnTo>
                  <a:lnTo>
                    <a:pt x="3482985" y="4393518"/>
                  </a:lnTo>
                  <a:lnTo>
                    <a:pt x="3472940" y="4403165"/>
                  </a:lnTo>
                  <a:lnTo>
                    <a:pt x="3462857" y="4412792"/>
                  </a:lnTo>
                  <a:lnTo>
                    <a:pt x="3452749" y="4422401"/>
                  </a:lnTo>
                  <a:lnTo>
                    <a:pt x="3442605" y="4431992"/>
                  </a:lnTo>
                  <a:lnTo>
                    <a:pt x="3432425" y="4441551"/>
                  </a:lnTo>
                  <a:lnTo>
                    <a:pt x="3422205" y="4451103"/>
                  </a:lnTo>
                  <a:lnTo>
                    <a:pt x="3411960" y="4460631"/>
                  </a:lnTo>
                  <a:lnTo>
                    <a:pt x="3409919" y="4461610"/>
                  </a:lnTo>
                  <a:lnTo>
                    <a:pt x="3392520" y="4465637"/>
                  </a:lnTo>
                  <a:lnTo>
                    <a:pt x="3388717" y="4465217"/>
                  </a:lnTo>
                  <a:lnTo>
                    <a:pt x="3374809" y="4460213"/>
                  </a:lnTo>
                  <a:lnTo>
                    <a:pt x="3364124" y="4456340"/>
                  </a:lnTo>
                  <a:lnTo>
                    <a:pt x="3356508" y="4453563"/>
                  </a:lnTo>
                  <a:lnTo>
                    <a:pt x="3353622" y="4451083"/>
                  </a:lnTo>
                  <a:lnTo>
                    <a:pt x="3350651" y="4446805"/>
                  </a:lnTo>
                  <a:lnTo>
                    <a:pt x="3349500" y="4444671"/>
                  </a:lnTo>
                  <a:lnTo>
                    <a:pt x="3346390" y="4438896"/>
                  </a:lnTo>
                  <a:lnTo>
                    <a:pt x="3345302" y="4434087"/>
                  </a:lnTo>
                  <a:lnTo>
                    <a:pt x="3345552" y="4426410"/>
                  </a:lnTo>
                  <a:lnTo>
                    <a:pt x="3344213" y="4417425"/>
                  </a:lnTo>
                  <a:lnTo>
                    <a:pt x="3344037" y="4413108"/>
                  </a:lnTo>
                  <a:lnTo>
                    <a:pt x="3344907" y="4409383"/>
                  </a:lnTo>
                  <a:lnTo>
                    <a:pt x="3346665" y="4405423"/>
                  </a:lnTo>
                  <a:lnTo>
                    <a:pt x="3349317" y="4401936"/>
                  </a:lnTo>
                  <a:lnTo>
                    <a:pt x="3356613" y="4397831"/>
                  </a:lnTo>
                  <a:lnTo>
                    <a:pt x="3364632" y="4391486"/>
                  </a:lnTo>
                  <a:lnTo>
                    <a:pt x="3366848" y="4388826"/>
                  </a:lnTo>
                  <a:lnTo>
                    <a:pt x="3373269" y="4376354"/>
                  </a:lnTo>
                  <a:lnTo>
                    <a:pt x="3376485" y="4371420"/>
                  </a:lnTo>
                  <a:lnTo>
                    <a:pt x="3379278" y="4370464"/>
                  </a:lnTo>
                  <a:lnTo>
                    <a:pt x="3381662" y="4368778"/>
                  </a:lnTo>
                  <a:lnTo>
                    <a:pt x="3383392" y="4366302"/>
                  </a:lnTo>
                  <a:lnTo>
                    <a:pt x="3384636" y="4362850"/>
                  </a:lnTo>
                  <a:lnTo>
                    <a:pt x="3385282" y="4359767"/>
                  </a:lnTo>
                  <a:lnTo>
                    <a:pt x="3386014" y="4351625"/>
                  </a:lnTo>
                  <a:lnTo>
                    <a:pt x="3385664" y="4347055"/>
                  </a:lnTo>
                  <a:lnTo>
                    <a:pt x="3385733" y="4345019"/>
                  </a:lnTo>
                  <a:lnTo>
                    <a:pt x="3385541" y="4343880"/>
                  </a:lnTo>
                  <a:lnTo>
                    <a:pt x="3385177" y="4343123"/>
                  </a:lnTo>
                  <a:lnTo>
                    <a:pt x="3383836" y="4341172"/>
                  </a:lnTo>
                  <a:lnTo>
                    <a:pt x="3383730" y="4339369"/>
                  </a:lnTo>
                  <a:lnTo>
                    <a:pt x="3384271" y="4336076"/>
                  </a:lnTo>
                  <a:lnTo>
                    <a:pt x="3384126" y="4333944"/>
                  </a:lnTo>
                  <a:lnTo>
                    <a:pt x="3384320" y="4330011"/>
                  </a:lnTo>
                  <a:lnTo>
                    <a:pt x="3385455" y="4326208"/>
                  </a:lnTo>
                  <a:lnTo>
                    <a:pt x="3386050" y="4322563"/>
                  </a:lnTo>
                  <a:lnTo>
                    <a:pt x="3385209" y="4319013"/>
                  </a:lnTo>
                  <a:lnTo>
                    <a:pt x="3384926" y="4315317"/>
                  </a:lnTo>
                  <a:lnTo>
                    <a:pt x="3386179" y="4308184"/>
                  </a:lnTo>
                  <a:lnTo>
                    <a:pt x="3387428" y="4301054"/>
                  </a:lnTo>
                  <a:lnTo>
                    <a:pt x="3388670" y="4293915"/>
                  </a:lnTo>
                  <a:lnTo>
                    <a:pt x="3389899" y="4286782"/>
                  </a:lnTo>
                  <a:lnTo>
                    <a:pt x="3391127" y="4279647"/>
                  </a:lnTo>
                  <a:lnTo>
                    <a:pt x="3392349" y="4272517"/>
                  </a:lnTo>
                  <a:lnTo>
                    <a:pt x="3393560" y="4265385"/>
                  </a:lnTo>
                  <a:lnTo>
                    <a:pt x="3394771" y="4258247"/>
                  </a:lnTo>
                  <a:lnTo>
                    <a:pt x="3394828" y="4255276"/>
                  </a:lnTo>
                  <a:lnTo>
                    <a:pt x="3394333" y="4252713"/>
                  </a:lnTo>
                  <a:lnTo>
                    <a:pt x="3393941" y="4251619"/>
                  </a:lnTo>
                  <a:lnTo>
                    <a:pt x="3385757" y="4230222"/>
                  </a:lnTo>
                  <a:lnTo>
                    <a:pt x="3377595" y="4208822"/>
                  </a:lnTo>
                  <a:lnTo>
                    <a:pt x="3369443" y="4187408"/>
                  </a:lnTo>
                  <a:lnTo>
                    <a:pt x="3361322" y="4165984"/>
                  </a:lnTo>
                  <a:lnTo>
                    <a:pt x="3353221" y="4144541"/>
                  </a:lnTo>
                  <a:lnTo>
                    <a:pt x="3345131" y="4123086"/>
                  </a:lnTo>
                  <a:lnTo>
                    <a:pt x="3337066" y="4101618"/>
                  </a:lnTo>
                  <a:lnTo>
                    <a:pt x="3329021" y="4080136"/>
                  </a:lnTo>
                  <a:lnTo>
                    <a:pt x="3326940" y="4076048"/>
                  </a:lnTo>
                  <a:lnTo>
                    <a:pt x="3323098" y="4072766"/>
                  </a:lnTo>
                  <a:lnTo>
                    <a:pt x="3308624" y="4067538"/>
                  </a:lnTo>
                  <a:lnTo>
                    <a:pt x="3286665" y="4059508"/>
                  </a:lnTo>
                  <a:lnTo>
                    <a:pt x="3271451" y="4053871"/>
                  </a:lnTo>
                  <a:lnTo>
                    <a:pt x="3254866" y="4047672"/>
                  </a:lnTo>
                  <a:lnTo>
                    <a:pt x="3245254" y="4044043"/>
                  </a:lnTo>
                  <a:lnTo>
                    <a:pt x="3238159" y="4041349"/>
                  </a:lnTo>
                  <a:lnTo>
                    <a:pt x="3240060" y="4035105"/>
                  </a:lnTo>
                  <a:lnTo>
                    <a:pt x="3242289" y="4027745"/>
                  </a:lnTo>
                  <a:lnTo>
                    <a:pt x="3244429" y="4020621"/>
                  </a:lnTo>
                  <a:lnTo>
                    <a:pt x="3244369" y="4019016"/>
                  </a:lnTo>
                  <a:lnTo>
                    <a:pt x="3243221" y="4017556"/>
                  </a:lnTo>
                  <a:lnTo>
                    <a:pt x="3241603" y="4016344"/>
                  </a:lnTo>
                  <a:lnTo>
                    <a:pt x="3240142" y="4015505"/>
                  </a:lnTo>
                  <a:lnTo>
                    <a:pt x="3235051" y="4011742"/>
                  </a:lnTo>
                  <a:lnTo>
                    <a:pt x="3230939" y="4009825"/>
                  </a:lnTo>
                  <a:lnTo>
                    <a:pt x="3227057" y="4010212"/>
                  </a:lnTo>
                  <a:lnTo>
                    <a:pt x="3219685" y="4013066"/>
                  </a:lnTo>
                  <a:lnTo>
                    <a:pt x="3215632" y="4012753"/>
                  </a:lnTo>
                  <a:lnTo>
                    <a:pt x="3213990" y="4012785"/>
                  </a:lnTo>
                  <a:lnTo>
                    <a:pt x="3212773" y="4013405"/>
                  </a:lnTo>
                  <a:lnTo>
                    <a:pt x="3211705" y="4014479"/>
                  </a:lnTo>
                  <a:lnTo>
                    <a:pt x="3208131" y="4019682"/>
                  </a:lnTo>
                  <a:lnTo>
                    <a:pt x="3207010" y="4020600"/>
                  </a:lnTo>
                  <a:lnTo>
                    <a:pt x="3205664" y="4020576"/>
                  </a:lnTo>
                  <a:lnTo>
                    <a:pt x="3204590" y="4019693"/>
                  </a:lnTo>
                  <a:lnTo>
                    <a:pt x="3202602" y="4016989"/>
                  </a:lnTo>
                  <a:lnTo>
                    <a:pt x="3201421" y="4015989"/>
                  </a:lnTo>
                  <a:lnTo>
                    <a:pt x="3200947" y="4015677"/>
                  </a:lnTo>
                  <a:lnTo>
                    <a:pt x="3199760" y="4011988"/>
                  </a:lnTo>
                  <a:lnTo>
                    <a:pt x="3196781" y="4010379"/>
                  </a:lnTo>
                  <a:lnTo>
                    <a:pt x="3193902" y="4007657"/>
                  </a:lnTo>
                  <a:lnTo>
                    <a:pt x="3192712" y="4005287"/>
                  </a:lnTo>
                  <a:lnTo>
                    <a:pt x="3192295" y="4004002"/>
                  </a:lnTo>
                  <a:lnTo>
                    <a:pt x="3192039" y="4002550"/>
                  </a:lnTo>
                  <a:lnTo>
                    <a:pt x="3190993" y="3999878"/>
                  </a:lnTo>
                  <a:lnTo>
                    <a:pt x="3190086" y="3998005"/>
                  </a:lnTo>
                  <a:lnTo>
                    <a:pt x="3189365" y="3996090"/>
                  </a:lnTo>
                  <a:lnTo>
                    <a:pt x="3189572" y="3994549"/>
                  </a:lnTo>
                  <a:lnTo>
                    <a:pt x="3189756" y="3992327"/>
                  </a:lnTo>
                  <a:lnTo>
                    <a:pt x="3187482" y="3989760"/>
                  </a:lnTo>
                  <a:lnTo>
                    <a:pt x="3185627" y="3987380"/>
                  </a:lnTo>
                  <a:lnTo>
                    <a:pt x="3184170" y="3983976"/>
                  </a:lnTo>
                  <a:lnTo>
                    <a:pt x="3186023" y="3973370"/>
                  </a:lnTo>
                  <a:lnTo>
                    <a:pt x="3182975" y="3972317"/>
                  </a:lnTo>
                  <a:lnTo>
                    <a:pt x="3179191" y="3972487"/>
                  </a:lnTo>
                  <a:lnTo>
                    <a:pt x="3176236" y="3975240"/>
                  </a:lnTo>
                  <a:lnTo>
                    <a:pt x="3171984" y="3978781"/>
                  </a:lnTo>
                  <a:lnTo>
                    <a:pt x="3168085" y="3977191"/>
                  </a:lnTo>
                  <a:lnTo>
                    <a:pt x="3165359" y="3977976"/>
                  </a:lnTo>
                  <a:lnTo>
                    <a:pt x="3163021" y="3979369"/>
                  </a:lnTo>
                  <a:lnTo>
                    <a:pt x="3161571" y="3982044"/>
                  </a:lnTo>
                  <a:lnTo>
                    <a:pt x="3160492" y="3983516"/>
                  </a:lnTo>
                  <a:lnTo>
                    <a:pt x="3159745" y="3984942"/>
                  </a:lnTo>
                  <a:lnTo>
                    <a:pt x="3158885" y="3986156"/>
                  </a:lnTo>
                  <a:lnTo>
                    <a:pt x="3157480" y="3986994"/>
                  </a:lnTo>
                  <a:lnTo>
                    <a:pt x="3155297" y="3987269"/>
                  </a:lnTo>
                  <a:lnTo>
                    <a:pt x="3153260" y="3986725"/>
                  </a:lnTo>
                  <a:lnTo>
                    <a:pt x="3151305" y="3985555"/>
                  </a:lnTo>
                  <a:lnTo>
                    <a:pt x="3141918" y="3977417"/>
                  </a:lnTo>
                  <a:lnTo>
                    <a:pt x="3134765" y="3971185"/>
                  </a:lnTo>
                  <a:lnTo>
                    <a:pt x="3133291" y="3968843"/>
                  </a:lnTo>
                  <a:lnTo>
                    <a:pt x="3129557" y="3959770"/>
                  </a:lnTo>
                  <a:lnTo>
                    <a:pt x="3127118" y="3953842"/>
                  </a:lnTo>
                  <a:lnTo>
                    <a:pt x="3124708" y="3947979"/>
                  </a:lnTo>
                  <a:lnTo>
                    <a:pt x="3123633" y="3945890"/>
                  </a:lnTo>
                  <a:lnTo>
                    <a:pt x="3122242" y="3944386"/>
                  </a:lnTo>
                  <a:lnTo>
                    <a:pt x="3120911" y="3943831"/>
                  </a:lnTo>
                  <a:lnTo>
                    <a:pt x="3119581" y="3943264"/>
                  </a:lnTo>
                  <a:lnTo>
                    <a:pt x="3118250" y="3942713"/>
                  </a:lnTo>
                  <a:lnTo>
                    <a:pt x="3116920" y="3942146"/>
                  </a:lnTo>
                  <a:lnTo>
                    <a:pt x="3115587" y="3941590"/>
                  </a:lnTo>
                  <a:lnTo>
                    <a:pt x="3114259" y="3941032"/>
                  </a:lnTo>
                  <a:lnTo>
                    <a:pt x="3112933" y="3940466"/>
                  </a:lnTo>
                  <a:lnTo>
                    <a:pt x="3111604" y="3939911"/>
                  </a:lnTo>
                  <a:lnTo>
                    <a:pt x="3101460" y="3936016"/>
                  </a:lnTo>
                  <a:lnTo>
                    <a:pt x="3091333" y="3932097"/>
                  </a:lnTo>
                  <a:lnTo>
                    <a:pt x="3081221" y="3928169"/>
                  </a:lnTo>
                  <a:lnTo>
                    <a:pt x="3071126" y="3924218"/>
                  </a:lnTo>
                  <a:lnTo>
                    <a:pt x="3061045" y="3920243"/>
                  </a:lnTo>
                  <a:lnTo>
                    <a:pt x="3050982" y="3916254"/>
                  </a:lnTo>
                  <a:lnTo>
                    <a:pt x="3040933" y="3912242"/>
                  </a:lnTo>
                  <a:lnTo>
                    <a:pt x="3030903" y="3908206"/>
                  </a:lnTo>
                  <a:lnTo>
                    <a:pt x="3022521" y="3904929"/>
                  </a:lnTo>
                  <a:lnTo>
                    <a:pt x="3014155" y="3901640"/>
                  </a:lnTo>
                  <a:lnTo>
                    <a:pt x="3005799" y="3898337"/>
                  </a:lnTo>
                  <a:lnTo>
                    <a:pt x="2997453" y="3895008"/>
                  </a:lnTo>
                  <a:lnTo>
                    <a:pt x="2989122" y="3891670"/>
                  </a:lnTo>
                  <a:lnTo>
                    <a:pt x="2980800" y="3888330"/>
                  </a:lnTo>
                  <a:lnTo>
                    <a:pt x="2972488" y="3884965"/>
                  </a:lnTo>
                  <a:lnTo>
                    <a:pt x="2964187" y="3881589"/>
                  </a:lnTo>
                  <a:lnTo>
                    <a:pt x="2949377" y="3875722"/>
                  </a:lnTo>
                  <a:lnTo>
                    <a:pt x="2934607" y="3869808"/>
                  </a:lnTo>
                  <a:lnTo>
                    <a:pt x="2919870" y="3863853"/>
                  </a:lnTo>
                  <a:lnTo>
                    <a:pt x="2905163" y="3857854"/>
                  </a:lnTo>
                  <a:lnTo>
                    <a:pt x="2890494" y="3851817"/>
                  </a:lnTo>
                  <a:lnTo>
                    <a:pt x="2875859" y="3845729"/>
                  </a:lnTo>
                  <a:lnTo>
                    <a:pt x="2861262" y="3839600"/>
                  </a:lnTo>
                  <a:lnTo>
                    <a:pt x="2846700" y="3833423"/>
                  </a:lnTo>
                  <a:lnTo>
                    <a:pt x="2844500" y="3832998"/>
                  </a:lnTo>
                  <a:lnTo>
                    <a:pt x="2842234" y="3833401"/>
                  </a:lnTo>
                  <a:lnTo>
                    <a:pt x="2830252" y="3838576"/>
                  </a:lnTo>
                  <a:lnTo>
                    <a:pt x="2825787" y="3840632"/>
                  </a:lnTo>
                  <a:lnTo>
                    <a:pt x="2816321" y="3847734"/>
                  </a:lnTo>
                  <a:lnTo>
                    <a:pt x="2807983" y="3853944"/>
                  </a:lnTo>
                  <a:lnTo>
                    <a:pt x="2794965" y="3863581"/>
                  </a:lnTo>
                  <a:lnTo>
                    <a:pt x="2784671" y="3871166"/>
                  </a:lnTo>
                  <a:lnTo>
                    <a:pt x="2778157" y="3875936"/>
                  </a:lnTo>
                  <a:lnTo>
                    <a:pt x="2776508" y="3876616"/>
                  </a:lnTo>
                  <a:lnTo>
                    <a:pt x="2774781" y="3876708"/>
                  </a:lnTo>
                  <a:lnTo>
                    <a:pt x="2769160" y="3875806"/>
                  </a:lnTo>
                  <a:lnTo>
                    <a:pt x="2766440" y="3876046"/>
                  </a:lnTo>
                  <a:lnTo>
                    <a:pt x="2759539" y="3876646"/>
                  </a:lnTo>
                  <a:lnTo>
                    <a:pt x="2754773" y="3875911"/>
                  </a:lnTo>
                  <a:lnTo>
                    <a:pt x="2753151" y="3876007"/>
                  </a:lnTo>
                  <a:lnTo>
                    <a:pt x="2750712" y="3876847"/>
                  </a:lnTo>
                  <a:lnTo>
                    <a:pt x="2749822" y="3876666"/>
                  </a:lnTo>
                  <a:lnTo>
                    <a:pt x="2748175" y="3875986"/>
                  </a:lnTo>
                  <a:lnTo>
                    <a:pt x="2746870" y="3875739"/>
                  </a:lnTo>
                  <a:lnTo>
                    <a:pt x="2745579" y="3875886"/>
                  </a:lnTo>
                  <a:lnTo>
                    <a:pt x="2743971" y="3876430"/>
                  </a:lnTo>
                  <a:lnTo>
                    <a:pt x="2737021" y="3880188"/>
                  </a:lnTo>
                  <a:lnTo>
                    <a:pt x="2735687" y="3880157"/>
                  </a:lnTo>
                  <a:lnTo>
                    <a:pt x="2731072" y="3878170"/>
                  </a:lnTo>
                  <a:lnTo>
                    <a:pt x="2729886" y="3877367"/>
                  </a:lnTo>
                  <a:lnTo>
                    <a:pt x="2728830" y="3876263"/>
                  </a:lnTo>
                  <a:lnTo>
                    <a:pt x="2724344" y="3870050"/>
                  </a:lnTo>
                  <a:lnTo>
                    <a:pt x="2723348" y="3869043"/>
                  </a:lnTo>
                  <a:lnTo>
                    <a:pt x="2719763" y="3867864"/>
                  </a:lnTo>
                  <a:lnTo>
                    <a:pt x="2715499" y="3868172"/>
                  </a:lnTo>
                  <a:lnTo>
                    <a:pt x="2694426" y="3873114"/>
                  </a:lnTo>
                  <a:lnTo>
                    <a:pt x="2693881" y="3872986"/>
                  </a:lnTo>
                  <a:lnTo>
                    <a:pt x="2693443" y="3872707"/>
                  </a:lnTo>
                  <a:lnTo>
                    <a:pt x="2692912" y="3872567"/>
                  </a:lnTo>
                  <a:lnTo>
                    <a:pt x="2692098" y="3872857"/>
                  </a:lnTo>
                  <a:lnTo>
                    <a:pt x="2690018" y="3874110"/>
                  </a:lnTo>
                  <a:lnTo>
                    <a:pt x="2689265" y="3874271"/>
                  </a:lnTo>
                  <a:lnTo>
                    <a:pt x="2687741" y="3873858"/>
                  </a:lnTo>
                  <a:lnTo>
                    <a:pt x="2686802" y="3872963"/>
                  </a:lnTo>
                  <a:lnTo>
                    <a:pt x="2685789" y="3872304"/>
                  </a:lnTo>
                  <a:lnTo>
                    <a:pt x="2684031" y="3872612"/>
                  </a:lnTo>
                  <a:lnTo>
                    <a:pt x="2677609" y="3875264"/>
                  </a:lnTo>
                  <a:lnTo>
                    <a:pt x="2674028" y="3875653"/>
                  </a:lnTo>
                  <a:lnTo>
                    <a:pt x="2671237" y="3874117"/>
                  </a:lnTo>
                  <a:lnTo>
                    <a:pt x="2670339" y="3872392"/>
                  </a:lnTo>
                  <a:lnTo>
                    <a:pt x="2669601" y="3869186"/>
                  </a:lnTo>
                  <a:lnTo>
                    <a:pt x="2668800" y="3867756"/>
                  </a:lnTo>
                  <a:lnTo>
                    <a:pt x="2667889" y="3867040"/>
                  </a:lnTo>
                  <a:lnTo>
                    <a:pt x="2667100" y="3866735"/>
                  </a:lnTo>
                  <a:lnTo>
                    <a:pt x="2666415" y="3866232"/>
                  </a:lnTo>
                  <a:lnTo>
                    <a:pt x="2665811" y="3864918"/>
                  </a:lnTo>
                  <a:lnTo>
                    <a:pt x="2665793" y="3863926"/>
                  </a:lnTo>
                  <a:lnTo>
                    <a:pt x="2666482" y="3862577"/>
                  </a:lnTo>
                  <a:lnTo>
                    <a:pt x="2666197" y="3861563"/>
                  </a:lnTo>
                  <a:lnTo>
                    <a:pt x="2663653" y="3860243"/>
                  </a:lnTo>
                  <a:lnTo>
                    <a:pt x="2660118" y="3861343"/>
                  </a:lnTo>
                  <a:lnTo>
                    <a:pt x="2654208" y="3865420"/>
                  </a:lnTo>
                  <a:lnTo>
                    <a:pt x="2652828" y="3866576"/>
                  </a:lnTo>
                  <a:lnTo>
                    <a:pt x="2649813" y="3868356"/>
                  </a:lnTo>
                  <a:lnTo>
                    <a:pt x="2640643" y="3876003"/>
                  </a:lnTo>
                  <a:lnTo>
                    <a:pt x="2638359" y="3878912"/>
                  </a:lnTo>
                  <a:lnTo>
                    <a:pt x="2635705" y="3881076"/>
                  </a:lnTo>
                  <a:lnTo>
                    <a:pt x="2629242" y="3882360"/>
                  </a:lnTo>
                  <a:lnTo>
                    <a:pt x="2624837" y="3885041"/>
                  </a:lnTo>
                  <a:lnTo>
                    <a:pt x="2623458" y="3884686"/>
                  </a:lnTo>
                  <a:lnTo>
                    <a:pt x="2622040" y="3883908"/>
                  </a:lnTo>
                  <a:lnTo>
                    <a:pt x="2620364" y="3883551"/>
                  </a:lnTo>
                  <a:lnTo>
                    <a:pt x="2613978" y="3884629"/>
                  </a:lnTo>
                  <a:lnTo>
                    <a:pt x="2613054" y="3884227"/>
                  </a:lnTo>
                  <a:lnTo>
                    <a:pt x="2613125" y="3883324"/>
                  </a:lnTo>
                  <a:lnTo>
                    <a:pt x="2613435" y="3882200"/>
                  </a:lnTo>
                  <a:lnTo>
                    <a:pt x="2613262" y="3881130"/>
                  </a:lnTo>
                  <a:lnTo>
                    <a:pt x="2612576" y="3880381"/>
                  </a:lnTo>
                  <a:lnTo>
                    <a:pt x="2611988" y="3880203"/>
                  </a:lnTo>
                  <a:lnTo>
                    <a:pt x="2610447" y="3880413"/>
                  </a:lnTo>
                  <a:lnTo>
                    <a:pt x="2604973" y="3879936"/>
                  </a:lnTo>
                  <a:lnTo>
                    <a:pt x="2603112" y="3878538"/>
                  </a:lnTo>
                  <a:lnTo>
                    <a:pt x="2604447" y="3875664"/>
                  </a:lnTo>
                  <a:lnTo>
                    <a:pt x="2601866" y="3872523"/>
                  </a:lnTo>
                  <a:lnTo>
                    <a:pt x="2600569" y="3871399"/>
                  </a:lnTo>
                  <a:lnTo>
                    <a:pt x="2598986" y="3870677"/>
                  </a:lnTo>
                  <a:lnTo>
                    <a:pt x="2592546" y="3870224"/>
                  </a:lnTo>
                  <a:lnTo>
                    <a:pt x="2584631" y="3867294"/>
                  </a:lnTo>
                  <a:lnTo>
                    <a:pt x="2583243" y="3866500"/>
                  </a:lnTo>
                  <a:lnTo>
                    <a:pt x="2581943" y="3865363"/>
                  </a:lnTo>
                  <a:lnTo>
                    <a:pt x="2580681" y="3863872"/>
                  </a:lnTo>
                  <a:lnTo>
                    <a:pt x="2579526" y="3861245"/>
                  </a:lnTo>
                  <a:lnTo>
                    <a:pt x="2578701" y="3858511"/>
                  </a:lnTo>
                  <a:lnTo>
                    <a:pt x="2577577" y="3856266"/>
                  </a:lnTo>
                  <a:lnTo>
                    <a:pt x="2575516" y="3855098"/>
                  </a:lnTo>
                  <a:lnTo>
                    <a:pt x="2569355" y="3855161"/>
                  </a:lnTo>
                  <a:lnTo>
                    <a:pt x="2561821" y="3856820"/>
                  </a:lnTo>
                  <a:lnTo>
                    <a:pt x="2560236" y="3857781"/>
                  </a:lnTo>
                  <a:lnTo>
                    <a:pt x="2558811" y="3860140"/>
                  </a:lnTo>
                  <a:lnTo>
                    <a:pt x="2559072" y="3862324"/>
                  </a:lnTo>
                  <a:lnTo>
                    <a:pt x="2559893" y="3864472"/>
                  </a:lnTo>
                  <a:lnTo>
                    <a:pt x="2560110" y="3866712"/>
                  </a:lnTo>
                  <a:lnTo>
                    <a:pt x="2559257" y="3867885"/>
                  </a:lnTo>
                  <a:lnTo>
                    <a:pt x="2557556" y="3869068"/>
                  </a:lnTo>
                  <a:lnTo>
                    <a:pt x="2555704" y="3869902"/>
                  </a:lnTo>
                  <a:lnTo>
                    <a:pt x="2554389" y="3870023"/>
                  </a:lnTo>
                  <a:lnTo>
                    <a:pt x="2553388" y="3869024"/>
                  </a:lnTo>
                  <a:lnTo>
                    <a:pt x="2550605" y="3863822"/>
                  </a:lnTo>
                  <a:lnTo>
                    <a:pt x="2547984" y="3860669"/>
                  </a:lnTo>
                  <a:lnTo>
                    <a:pt x="2547066" y="3858926"/>
                  </a:lnTo>
                  <a:lnTo>
                    <a:pt x="2546574" y="3856362"/>
                  </a:lnTo>
                  <a:lnTo>
                    <a:pt x="2546266" y="3851927"/>
                  </a:lnTo>
                  <a:lnTo>
                    <a:pt x="2545654" y="3850209"/>
                  </a:lnTo>
                  <a:lnTo>
                    <a:pt x="2544334" y="3847839"/>
                  </a:lnTo>
                  <a:lnTo>
                    <a:pt x="2541612" y="3846657"/>
                  </a:lnTo>
                  <a:lnTo>
                    <a:pt x="2538435" y="3846748"/>
                  </a:lnTo>
                  <a:lnTo>
                    <a:pt x="2532192" y="3848055"/>
                  </a:lnTo>
                  <a:lnTo>
                    <a:pt x="2530709" y="3847766"/>
                  </a:lnTo>
                  <a:lnTo>
                    <a:pt x="2528729" y="3847518"/>
                  </a:lnTo>
                  <a:lnTo>
                    <a:pt x="2527557" y="3846003"/>
                  </a:lnTo>
                  <a:lnTo>
                    <a:pt x="2528015" y="3843469"/>
                  </a:lnTo>
                  <a:lnTo>
                    <a:pt x="2529373" y="3842628"/>
                  </a:lnTo>
                  <a:lnTo>
                    <a:pt x="2532569" y="3841608"/>
                  </a:lnTo>
                  <a:lnTo>
                    <a:pt x="2533936" y="3840942"/>
                  </a:lnTo>
                  <a:lnTo>
                    <a:pt x="2533633" y="3839150"/>
                  </a:lnTo>
                  <a:lnTo>
                    <a:pt x="2532189" y="3837418"/>
                  </a:lnTo>
                  <a:lnTo>
                    <a:pt x="2526525" y="3836420"/>
                  </a:lnTo>
                  <a:lnTo>
                    <a:pt x="2514820" y="3833739"/>
                  </a:lnTo>
                  <a:lnTo>
                    <a:pt x="2509450" y="3830543"/>
                  </a:lnTo>
                  <a:lnTo>
                    <a:pt x="2507668" y="3830054"/>
                  </a:lnTo>
                  <a:lnTo>
                    <a:pt x="2496608" y="3829923"/>
                  </a:lnTo>
                  <a:lnTo>
                    <a:pt x="2487437" y="3829804"/>
                  </a:lnTo>
                  <a:lnTo>
                    <a:pt x="2478236" y="3831961"/>
                  </a:lnTo>
                  <a:lnTo>
                    <a:pt x="2475998" y="3833241"/>
                  </a:lnTo>
                  <a:lnTo>
                    <a:pt x="2473554" y="3834091"/>
                  </a:lnTo>
                  <a:lnTo>
                    <a:pt x="2473441" y="3835231"/>
                  </a:lnTo>
                  <a:lnTo>
                    <a:pt x="2473624" y="3836766"/>
                  </a:lnTo>
                  <a:lnTo>
                    <a:pt x="2473144" y="3838451"/>
                  </a:lnTo>
                  <a:lnTo>
                    <a:pt x="2470908" y="3840199"/>
                  </a:lnTo>
                  <a:lnTo>
                    <a:pt x="2465491" y="3840903"/>
                  </a:lnTo>
                  <a:lnTo>
                    <a:pt x="2463128" y="3842312"/>
                  </a:lnTo>
                  <a:lnTo>
                    <a:pt x="2461911" y="3841832"/>
                  </a:lnTo>
                  <a:lnTo>
                    <a:pt x="2451768" y="3843907"/>
                  </a:lnTo>
                  <a:lnTo>
                    <a:pt x="2450163" y="3843663"/>
                  </a:lnTo>
                  <a:lnTo>
                    <a:pt x="2447820" y="3841156"/>
                  </a:lnTo>
                  <a:lnTo>
                    <a:pt x="2445573" y="3833282"/>
                  </a:lnTo>
                  <a:lnTo>
                    <a:pt x="2442647" y="3831344"/>
                  </a:lnTo>
                  <a:lnTo>
                    <a:pt x="2431013" y="3831072"/>
                  </a:lnTo>
                  <a:lnTo>
                    <a:pt x="2416666" y="3830703"/>
                  </a:lnTo>
                  <a:lnTo>
                    <a:pt x="2415276" y="3830186"/>
                  </a:lnTo>
                  <a:lnTo>
                    <a:pt x="2415153" y="3829636"/>
                  </a:lnTo>
                  <a:lnTo>
                    <a:pt x="2414831" y="3827358"/>
                  </a:lnTo>
                  <a:lnTo>
                    <a:pt x="2414608" y="3826576"/>
                  </a:lnTo>
                  <a:lnTo>
                    <a:pt x="2414072" y="3825846"/>
                  </a:lnTo>
                  <a:lnTo>
                    <a:pt x="2413394" y="3825183"/>
                  </a:lnTo>
                  <a:lnTo>
                    <a:pt x="2412684" y="3824672"/>
                  </a:lnTo>
                  <a:lnTo>
                    <a:pt x="2412054" y="3824388"/>
                  </a:lnTo>
                  <a:lnTo>
                    <a:pt x="2410670" y="3824221"/>
                  </a:lnTo>
                  <a:lnTo>
                    <a:pt x="2398552" y="3826094"/>
                  </a:lnTo>
                  <a:lnTo>
                    <a:pt x="2395664" y="3825785"/>
                  </a:lnTo>
                  <a:lnTo>
                    <a:pt x="2390251" y="3823588"/>
                  </a:lnTo>
                  <a:lnTo>
                    <a:pt x="2383125" y="3818141"/>
                  </a:lnTo>
                  <a:lnTo>
                    <a:pt x="2382156" y="3816951"/>
                  </a:lnTo>
                  <a:lnTo>
                    <a:pt x="2381441" y="3815085"/>
                  </a:lnTo>
                  <a:lnTo>
                    <a:pt x="2381216" y="3813323"/>
                  </a:lnTo>
                  <a:lnTo>
                    <a:pt x="2381239" y="3811306"/>
                  </a:lnTo>
                  <a:lnTo>
                    <a:pt x="2381205" y="3809106"/>
                  </a:lnTo>
                  <a:lnTo>
                    <a:pt x="2381076" y="3803492"/>
                  </a:lnTo>
                  <a:lnTo>
                    <a:pt x="2377658" y="3791504"/>
                  </a:lnTo>
                  <a:lnTo>
                    <a:pt x="2374595" y="3780724"/>
                  </a:lnTo>
                  <a:lnTo>
                    <a:pt x="2373693" y="3778589"/>
                  </a:lnTo>
                  <a:lnTo>
                    <a:pt x="2373097" y="3776422"/>
                  </a:lnTo>
                  <a:lnTo>
                    <a:pt x="2373325" y="3771608"/>
                  </a:lnTo>
                  <a:lnTo>
                    <a:pt x="2372964" y="3769591"/>
                  </a:lnTo>
                  <a:lnTo>
                    <a:pt x="2372213" y="3767182"/>
                  </a:lnTo>
                  <a:lnTo>
                    <a:pt x="2371562" y="3762775"/>
                  </a:lnTo>
                  <a:lnTo>
                    <a:pt x="2370663" y="3761065"/>
                  </a:lnTo>
                  <a:lnTo>
                    <a:pt x="2369415" y="3760081"/>
                  </a:lnTo>
                  <a:lnTo>
                    <a:pt x="2364336" y="3757269"/>
                  </a:lnTo>
                  <a:lnTo>
                    <a:pt x="2360271" y="3756234"/>
                  </a:lnTo>
                  <a:lnTo>
                    <a:pt x="2351676" y="3756703"/>
                  </a:lnTo>
                  <a:lnTo>
                    <a:pt x="2347508" y="3755122"/>
                  </a:lnTo>
                  <a:lnTo>
                    <a:pt x="2347666" y="3761241"/>
                  </a:lnTo>
                  <a:lnTo>
                    <a:pt x="2347914" y="3770955"/>
                  </a:lnTo>
                  <a:lnTo>
                    <a:pt x="2348226" y="3783288"/>
                  </a:lnTo>
                  <a:lnTo>
                    <a:pt x="2348496" y="3793873"/>
                  </a:lnTo>
                  <a:lnTo>
                    <a:pt x="2348339" y="3795030"/>
                  </a:lnTo>
                  <a:lnTo>
                    <a:pt x="2347876" y="3795703"/>
                  </a:lnTo>
                  <a:lnTo>
                    <a:pt x="2347263" y="3795976"/>
                  </a:lnTo>
                  <a:lnTo>
                    <a:pt x="2331424" y="3796337"/>
                  </a:lnTo>
                  <a:lnTo>
                    <a:pt x="2315587" y="3796647"/>
                  </a:lnTo>
                  <a:lnTo>
                    <a:pt x="2299750" y="3796905"/>
                  </a:lnTo>
                  <a:lnTo>
                    <a:pt x="2283907" y="3797110"/>
                  </a:lnTo>
                  <a:lnTo>
                    <a:pt x="2268060" y="3797263"/>
                  </a:lnTo>
                  <a:lnTo>
                    <a:pt x="2252221" y="3797364"/>
                  </a:lnTo>
                  <a:lnTo>
                    <a:pt x="2236379" y="3797413"/>
                  </a:lnTo>
                  <a:lnTo>
                    <a:pt x="2220537" y="3797409"/>
                  </a:lnTo>
                  <a:lnTo>
                    <a:pt x="2204697" y="3797354"/>
                  </a:lnTo>
                  <a:lnTo>
                    <a:pt x="2199601" y="3797325"/>
                  </a:lnTo>
                  <a:lnTo>
                    <a:pt x="2188856" y="3797246"/>
                  </a:lnTo>
                  <a:lnTo>
                    <a:pt x="2173015" y="3797086"/>
                  </a:lnTo>
                  <a:lnTo>
                    <a:pt x="2157175" y="3796873"/>
                  </a:lnTo>
                  <a:lnTo>
                    <a:pt x="2141335" y="3796609"/>
                  </a:lnTo>
                  <a:lnTo>
                    <a:pt x="2125494" y="3796292"/>
                  </a:lnTo>
                  <a:lnTo>
                    <a:pt x="2109661" y="3795924"/>
                  </a:lnTo>
                  <a:lnTo>
                    <a:pt x="2093821" y="3795503"/>
                  </a:lnTo>
                  <a:lnTo>
                    <a:pt x="2077986" y="3795029"/>
                  </a:lnTo>
                  <a:lnTo>
                    <a:pt x="2062154" y="3794504"/>
                  </a:lnTo>
                  <a:lnTo>
                    <a:pt x="2046321" y="3793926"/>
                  </a:lnTo>
                  <a:lnTo>
                    <a:pt x="2030492" y="3793296"/>
                  </a:lnTo>
                  <a:lnTo>
                    <a:pt x="2014665" y="3792615"/>
                  </a:lnTo>
                  <a:lnTo>
                    <a:pt x="1998843" y="3791881"/>
                  </a:lnTo>
                  <a:lnTo>
                    <a:pt x="1983023" y="3791094"/>
                  </a:lnTo>
                  <a:lnTo>
                    <a:pt x="1967203" y="3790256"/>
                  </a:lnTo>
                  <a:lnTo>
                    <a:pt x="1951389" y="3789366"/>
                  </a:lnTo>
                  <a:lnTo>
                    <a:pt x="1935575" y="3788423"/>
                  </a:lnTo>
                  <a:lnTo>
                    <a:pt x="1919767" y="3787428"/>
                  </a:lnTo>
                  <a:lnTo>
                    <a:pt x="1903961" y="3786381"/>
                  </a:lnTo>
                  <a:lnTo>
                    <a:pt x="1901614" y="3786221"/>
                  </a:lnTo>
                  <a:lnTo>
                    <a:pt x="1888153" y="3785281"/>
                  </a:lnTo>
                  <a:lnTo>
                    <a:pt x="1872355" y="3784130"/>
                  </a:lnTo>
                  <a:lnTo>
                    <a:pt x="1856561" y="3782927"/>
                  </a:lnTo>
                  <a:lnTo>
                    <a:pt x="1840775" y="3781672"/>
                  </a:lnTo>
                  <a:lnTo>
                    <a:pt x="1824989" y="3780370"/>
                  </a:lnTo>
                  <a:lnTo>
                    <a:pt x="1809206" y="3779011"/>
                  </a:lnTo>
                  <a:lnTo>
                    <a:pt x="1793430" y="3777599"/>
                  </a:lnTo>
                  <a:lnTo>
                    <a:pt x="1777655" y="3776135"/>
                  </a:lnTo>
                  <a:lnTo>
                    <a:pt x="1761889" y="3774620"/>
                  </a:lnTo>
                  <a:lnTo>
                    <a:pt x="1746128" y="3773052"/>
                  </a:lnTo>
                  <a:lnTo>
                    <a:pt x="1730371" y="3771432"/>
                  </a:lnTo>
                  <a:lnTo>
                    <a:pt x="1714621" y="3769760"/>
                  </a:lnTo>
                  <a:lnTo>
                    <a:pt x="1709027" y="3769154"/>
                  </a:lnTo>
                  <a:lnTo>
                    <a:pt x="1698881" y="3768037"/>
                  </a:lnTo>
                  <a:lnTo>
                    <a:pt x="1683143" y="3766262"/>
                  </a:lnTo>
                  <a:lnTo>
                    <a:pt x="1667411" y="3764434"/>
                  </a:lnTo>
                  <a:lnTo>
                    <a:pt x="1651682" y="3762554"/>
                  </a:lnTo>
                  <a:lnTo>
                    <a:pt x="1635961" y="3760623"/>
                  </a:lnTo>
                  <a:lnTo>
                    <a:pt x="1620251" y="3758640"/>
                  </a:lnTo>
                  <a:lnTo>
                    <a:pt x="1604544" y="3756604"/>
                  </a:lnTo>
                  <a:lnTo>
                    <a:pt x="1588848" y="3754517"/>
                  </a:lnTo>
                  <a:lnTo>
                    <a:pt x="1573157" y="3752378"/>
                  </a:lnTo>
                  <a:lnTo>
                    <a:pt x="1557475" y="3750188"/>
                  </a:lnTo>
                  <a:lnTo>
                    <a:pt x="1541800" y="3747945"/>
                  </a:lnTo>
                  <a:lnTo>
                    <a:pt x="1526128" y="3745651"/>
                  </a:lnTo>
                  <a:lnTo>
                    <a:pt x="1510468" y="3743305"/>
                  </a:lnTo>
                  <a:lnTo>
                    <a:pt x="1494817" y="3740907"/>
                  </a:lnTo>
                  <a:lnTo>
                    <a:pt x="1479171" y="3738456"/>
                  </a:lnTo>
                  <a:lnTo>
                    <a:pt x="1463536" y="3735955"/>
                  </a:lnTo>
                  <a:lnTo>
                    <a:pt x="1447910" y="3733402"/>
                  </a:lnTo>
                  <a:lnTo>
                    <a:pt x="1432293" y="3730797"/>
                  </a:lnTo>
                  <a:lnTo>
                    <a:pt x="1416688" y="3728142"/>
                  </a:lnTo>
                  <a:lnTo>
                    <a:pt x="1401087" y="3725433"/>
                  </a:lnTo>
                  <a:lnTo>
                    <a:pt x="1385498" y="3722673"/>
                  </a:lnTo>
                  <a:lnTo>
                    <a:pt x="1369918" y="3719862"/>
                  </a:lnTo>
                  <a:lnTo>
                    <a:pt x="1354347" y="3716999"/>
                  </a:lnTo>
                  <a:lnTo>
                    <a:pt x="1338787" y="3714085"/>
                  </a:lnTo>
                  <a:lnTo>
                    <a:pt x="1323233" y="3711118"/>
                  </a:lnTo>
                  <a:lnTo>
                    <a:pt x="1307692" y="3708100"/>
                  </a:lnTo>
                  <a:lnTo>
                    <a:pt x="1292168" y="3705032"/>
                  </a:lnTo>
                  <a:lnTo>
                    <a:pt x="1285455" y="3703689"/>
                  </a:lnTo>
                  <a:lnTo>
                    <a:pt x="1276647" y="3701911"/>
                  </a:lnTo>
                  <a:lnTo>
                    <a:pt x="1261141" y="3698740"/>
                  </a:lnTo>
                  <a:lnTo>
                    <a:pt x="1245642" y="3695516"/>
                  </a:lnTo>
                  <a:lnTo>
                    <a:pt x="1230157" y="3692242"/>
                  </a:lnTo>
                  <a:lnTo>
                    <a:pt x="1214682" y="3688916"/>
                  </a:lnTo>
                  <a:lnTo>
                    <a:pt x="1199223" y="3685539"/>
                  </a:lnTo>
                  <a:lnTo>
                    <a:pt x="1183772" y="3682111"/>
                  </a:lnTo>
                  <a:lnTo>
                    <a:pt x="1168331" y="3678631"/>
                  </a:lnTo>
                  <a:lnTo>
                    <a:pt x="1152901" y="3675099"/>
                  </a:lnTo>
                  <a:lnTo>
                    <a:pt x="1137486" y="3671516"/>
                  </a:lnTo>
                  <a:lnTo>
                    <a:pt x="1122084" y="3667883"/>
                  </a:lnTo>
                  <a:lnTo>
                    <a:pt x="1106694" y="3664198"/>
                  </a:lnTo>
                  <a:lnTo>
                    <a:pt x="1091314" y="3660467"/>
                  </a:lnTo>
                  <a:lnTo>
                    <a:pt x="1075949" y="3656686"/>
                  </a:lnTo>
                  <a:lnTo>
                    <a:pt x="1060602" y="3652849"/>
                  </a:lnTo>
                  <a:lnTo>
                    <a:pt x="1045264" y="3648960"/>
                  </a:lnTo>
                  <a:lnTo>
                    <a:pt x="1029937" y="3645019"/>
                  </a:lnTo>
                  <a:lnTo>
                    <a:pt x="1014625" y="3641027"/>
                  </a:lnTo>
                  <a:lnTo>
                    <a:pt x="1000500" y="3637297"/>
                  </a:lnTo>
                  <a:lnTo>
                    <a:pt x="999329" y="3636985"/>
                  </a:lnTo>
                  <a:lnTo>
                    <a:pt x="984047" y="3632893"/>
                  </a:lnTo>
                  <a:lnTo>
                    <a:pt x="968780" y="3628750"/>
                  </a:lnTo>
                  <a:lnTo>
                    <a:pt x="953525" y="3624554"/>
                  </a:lnTo>
                  <a:lnTo>
                    <a:pt x="938284" y="3620309"/>
                  </a:lnTo>
                  <a:lnTo>
                    <a:pt x="923065" y="3616014"/>
                  </a:lnTo>
                  <a:lnTo>
                    <a:pt x="907852" y="3611666"/>
                  </a:lnTo>
                  <a:lnTo>
                    <a:pt x="892654" y="3607268"/>
                  </a:lnTo>
                  <a:lnTo>
                    <a:pt x="877479" y="3602821"/>
                  </a:lnTo>
                  <a:lnTo>
                    <a:pt x="863058" y="3598544"/>
                  </a:lnTo>
                  <a:lnTo>
                    <a:pt x="862314" y="3598322"/>
                  </a:lnTo>
                  <a:lnTo>
                    <a:pt x="847166" y="3593772"/>
                  </a:lnTo>
                  <a:lnTo>
                    <a:pt x="832034" y="3589173"/>
                  </a:lnTo>
                  <a:lnTo>
                    <a:pt x="816918" y="3584522"/>
                  </a:lnTo>
                  <a:lnTo>
                    <a:pt x="801818" y="3579821"/>
                  </a:lnTo>
                  <a:lnTo>
                    <a:pt x="794956" y="3577667"/>
                  </a:lnTo>
                  <a:lnTo>
                    <a:pt x="786733" y="3575069"/>
                  </a:lnTo>
                  <a:lnTo>
                    <a:pt x="771663" y="3570267"/>
                  </a:lnTo>
                  <a:lnTo>
                    <a:pt x="756613" y="3565415"/>
                  </a:lnTo>
                  <a:lnTo>
                    <a:pt x="741583" y="3560513"/>
                  </a:lnTo>
                  <a:lnTo>
                    <a:pt x="726567" y="3555561"/>
                  </a:lnTo>
                  <a:lnTo>
                    <a:pt x="711566" y="3550557"/>
                  </a:lnTo>
                  <a:lnTo>
                    <a:pt x="696584" y="3545504"/>
                  </a:lnTo>
                  <a:lnTo>
                    <a:pt x="681621" y="3540401"/>
                  </a:lnTo>
                  <a:lnTo>
                    <a:pt x="666675" y="3535248"/>
                  </a:lnTo>
                  <a:lnTo>
                    <a:pt x="651751" y="3530046"/>
                  </a:lnTo>
                  <a:lnTo>
                    <a:pt x="636840" y="3524792"/>
                  </a:lnTo>
                  <a:lnTo>
                    <a:pt x="621946" y="3519488"/>
                  </a:lnTo>
                  <a:lnTo>
                    <a:pt x="607071" y="3514134"/>
                  </a:lnTo>
                  <a:lnTo>
                    <a:pt x="592217" y="3508731"/>
                  </a:lnTo>
                  <a:lnTo>
                    <a:pt x="577381" y="3503279"/>
                  </a:lnTo>
                  <a:lnTo>
                    <a:pt x="562563" y="3497775"/>
                  </a:lnTo>
                  <a:lnTo>
                    <a:pt x="547765" y="3492222"/>
                  </a:lnTo>
                  <a:lnTo>
                    <a:pt x="532991" y="3486622"/>
                  </a:lnTo>
                  <a:lnTo>
                    <a:pt x="518232" y="3480969"/>
                  </a:lnTo>
                  <a:lnTo>
                    <a:pt x="503493" y="3475268"/>
                  </a:lnTo>
                  <a:lnTo>
                    <a:pt x="488772" y="3469516"/>
                  </a:lnTo>
                  <a:lnTo>
                    <a:pt x="474074" y="3463716"/>
                  </a:lnTo>
                  <a:lnTo>
                    <a:pt x="459395" y="3457866"/>
                  </a:lnTo>
                  <a:lnTo>
                    <a:pt x="444740" y="3451968"/>
                  </a:lnTo>
                  <a:lnTo>
                    <a:pt x="430099" y="3446018"/>
                  </a:lnTo>
                  <a:lnTo>
                    <a:pt x="415477" y="3440017"/>
                  </a:lnTo>
                  <a:lnTo>
                    <a:pt x="408851" y="3437279"/>
                  </a:lnTo>
                  <a:lnTo>
                    <a:pt x="408754" y="3436222"/>
                  </a:lnTo>
                  <a:lnTo>
                    <a:pt x="407901" y="3433968"/>
                  </a:lnTo>
                  <a:lnTo>
                    <a:pt x="406175" y="3434104"/>
                  </a:lnTo>
                  <a:lnTo>
                    <a:pt x="404750" y="3433877"/>
                  </a:lnTo>
                  <a:lnTo>
                    <a:pt x="403165" y="3432035"/>
                  </a:lnTo>
                  <a:lnTo>
                    <a:pt x="402396" y="3429421"/>
                  </a:lnTo>
                  <a:lnTo>
                    <a:pt x="403135" y="3427584"/>
                  </a:lnTo>
                  <a:lnTo>
                    <a:pt x="404410" y="3426314"/>
                  </a:lnTo>
                  <a:lnTo>
                    <a:pt x="404657" y="3425191"/>
                  </a:lnTo>
                  <a:lnTo>
                    <a:pt x="403964" y="3424193"/>
                  </a:lnTo>
                  <a:lnTo>
                    <a:pt x="402389" y="3423321"/>
                  </a:lnTo>
                  <a:lnTo>
                    <a:pt x="400780" y="3422823"/>
                  </a:lnTo>
                  <a:lnTo>
                    <a:pt x="399222" y="3422632"/>
                  </a:lnTo>
                  <a:lnTo>
                    <a:pt x="392559" y="3423653"/>
                  </a:lnTo>
                  <a:lnTo>
                    <a:pt x="390915" y="3424776"/>
                  </a:lnTo>
                  <a:lnTo>
                    <a:pt x="390511" y="3426720"/>
                  </a:lnTo>
                  <a:lnTo>
                    <a:pt x="390442" y="3429294"/>
                  </a:lnTo>
                  <a:lnTo>
                    <a:pt x="390123" y="3429475"/>
                  </a:lnTo>
                  <a:lnTo>
                    <a:pt x="390122" y="3429475"/>
                  </a:lnTo>
                  <a:lnTo>
                    <a:pt x="386465" y="3427940"/>
                  </a:lnTo>
                  <a:lnTo>
                    <a:pt x="386743" y="3426572"/>
                  </a:lnTo>
                  <a:lnTo>
                    <a:pt x="386926" y="3424755"/>
                  </a:lnTo>
                  <a:lnTo>
                    <a:pt x="386899" y="3423271"/>
                  </a:lnTo>
                  <a:lnTo>
                    <a:pt x="386334" y="3421489"/>
                  </a:lnTo>
                  <a:lnTo>
                    <a:pt x="385672" y="3420385"/>
                  </a:lnTo>
                  <a:lnTo>
                    <a:pt x="385676" y="3419543"/>
                  </a:lnTo>
                  <a:lnTo>
                    <a:pt x="387109" y="3418529"/>
                  </a:lnTo>
                  <a:lnTo>
                    <a:pt x="391882" y="3416882"/>
                  </a:lnTo>
                  <a:lnTo>
                    <a:pt x="393987" y="3415694"/>
                  </a:lnTo>
                  <a:lnTo>
                    <a:pt x="395974" y="3413253"/>
                  </a:lnTo>
                  <a:lnTo>
                    <a:pt x="392413" y="3414429"/>
                  </a:lnTo>
                  <a:lnTo>
                    <a:pt x="389129" y="3414520"/>
                  </a:lnTo>
                  <a:lnTo>
                    <a:pt x="386230" y="3413327"/>
                  </a:lnTo>
                  <a:lnTo>
                    <a:pt x="383834" y="3410626"/>
                  </a:lnTo>
                  <a:lnTo>
                    <a:pt x="384100" y="3409942"/>
                  </a:lnTo>
                  <a:lnTo>
                    <a:pt x="385350" y="3409078"/>
                  </a:lnTo>
                  <a:lnTo>
                    <a:pt x="386676" y="3404761"/>
                  </a:lnTo>
                  <a:lnTo>
                    <a:pt x="387721" y="3403340"/>
                  </a:lnTo>
                  <a:lnTo>
                    <a:pt x="389107" y="3403426"/>
                  </a:lnTo>
                  <a:lnTo>
                    <a:pt x="390432" y="3404523"/>
                  </a:lnTo>
                  <a:lnTo>
                    <a:pt x="391332" y="3406034"/>
                  </a:lnTo>
                  <a:lnTo>
                    <a:pt x="391414" y="3404682"/>
                  </a:lnTo>
                  <a:lnTo>
                    <a:pt x="389945" y="3402147"/>
                  </a:lnTo>
                  <a:lnTo>
                    <a:pt x="388108" y="3399845"/>
                  </a:lnTo>
                  <a:lnTo>
                    <a:pt x="386995" y="3397800"/>
                  </a:lnTo>
                  <a:lnTo>
                    <a:pt x="387246" y="3394996"/>
                  </a:lnTo>
                  <a:lnTo>
                    <a:pt x="389311" y="3395332"/>
                  </a:lnTo>
                  <a:lnTo>
                    <a:pt x="392035" y="3396790"/>
                  </a:lnTo>
                  <a:lnTo>
                    <a:pt x="394294" y="3397330"/>
                  </a:lnTo>
                  <a:lnTo>
                    <a:pt x="393836" y="3394790"/>
                  </a:lnTo>
                  <a:lnTo>
                    <a:pt x="394636" y="3394119"/>
                  </a:lnTo>
                  <a:lnTo>
                    <a:pt x="395731" y="3394524"/>
                  </a:lnTo>
                  <a:lnTo>
                    <a:pt x="396166" y="3395192"/>
                  </a:lnTo>
                  <a:lnTo>
                    <a:pt x="396153" y="3396429"/>
                  </a:lnTo>
                  <a:lnTo>
                    <a:pt x="396901" y="3397406"/>
                  </a:lnTo>
                  <a:lnTo>
                    <a:pt x="398094" y="3397922"/>
                  </a:lnTo>
                  <a:lnTo>
                    <a:pt x="399388" y="3397790"/>
                  </a:lnTo>
                  <a:lnTo>
                    <a:pt x="399570" y="3398672"/>
                  </a:lnTo>
                  <a:lnTo>
                    <a:pt x="400546" y="3398291"/>
                  </a:lnTo>
                  <a:lnTo>
                    <a:pt x="401738" y="3398600"/>
                  </a:lnTo>
                  <a:lnTo>
                    <a:pt x="402854" y="3399360"/>
                  </a:lnTo>
                  <a:lnTo>
                    <a:pt x="403579" y="3400355"/>
                  </a:lnTo>
                  <a:lnTo>
                    <a:pt x="406366" y="3402187"/>
                  </a:lnTo>
                  <a:lnTo>
                    <a:pt x="409619" y="3401467"/>
                  </a:lnTo>
                  <a:lnTo>
                    <a:pt x="412893" y="3398813"/>
                  </a:lnTo>
                  <a:lnTo>
                    <a:pt x="417696" y="3392247"/>
                  </a:lnTo>
                  <a:lnTo>
                    <a:pt x="418686" y="3390648"/>
                  </a:lnTo>
                  <a:lnTo>
                    <a:pt x="419533" y="3388849"/>
                  </a:lnTo>
                  <a:lnTo>
                    <a:pt x="419575" y="3387918"/>
                  </a:lnTo>
                  <a:lnTo>
                    <a:pt x="419225" y="3387005"/>
                  </a:lnTo>
                  <a:lnTo>
                    <a:pt x="418656" y="3386653"/>
                  </a:lnTo>
                  <a:lnTo>
                    <a:pt x="418046" y="3387425"/>
                  </a:lnTo>
                  <a:lnTo>
                    <a:pt x="416999" y="3390692"/>
                  </a:lnTo>
                  <a:lnTo>
                    <a:pt x="416312" y="3391930"/>
                  </a:lnTo>
                  <a:lnTo>
                    <a:pt x="409580" y="3398355"/>
                  </a:lnTo>
                  <a:lnTo>
                    <a:pt x="403403" y="3398007"/>
                  </a:lnTo>
                  <a:lnTo>
                    <a:pt x="392233" y="3389067"/>
                  </a:lnTo>
                  <a:lnTo>
                    <a:pt x="391180" y="3388540"/>
                  </a:lnTo>
                  <a:lnTo>
                    <a:pt x="388128" y="3388203"/>
                  </a:lnTo>
                  <a:lnTo>
                    <a:pt x="388336" y="3386380"/>
                  </a:lnTo>
                  <a:lnTo>
                    <a:pt x="388347" y="3384991"/>
                  </a:lnTo>
                  <a:lnTo>
                    <a:pt x="387934" y="3384018"/>
                  </a:lnTo>
                  <a:lnTo>
                    <a:pt x="389089" y="3383039"/>
                  </a:lnTo>
                  <a:lnTo>
                    <a:pt x="391440" y="3382382"/>
                  </a:lnTo>
                  <a:lnTo>
                    <a:pt x="392736" y="3381216"/>
                  </a:lnTo>
                  <a:lnTo>
                    <a:pt x="393618" y="3379817"/>
                  </a:lnTo>
                  <a:lnTo>
                    <a:pt x="394294" y="3378278"/>
                  </a:lnTo>
                  <a:lnTo>
                    <a:pt x="396283" y="3370829"/>
                  </a:lnTo>
                  <a:lnTo>
                    <a:pt x="396791" y="3369738"/>
                  </a:lnTo>
                  <a:lnTo>
                    <a:pt x="398786" y="3366787"/>
                  </a:lnTo>
                  <a:lnTo>
                    <a:pt x="400896" y="3364174"/>
                  </a:lnTo>
                  <a:lnTo>
                    <a:pt x="401844" y="3363240"/>
                  </a:lnTo>
                  <a:lnTo>
                    <a:pt x="401640" y="3363048"/>
                  </a:lnTo>
                  <a:lnTo>
                    <a:pt x="401455" y="3362960"/>
                  </a:lnTo>
                  <a:lnTo>
                    <a:pt x="401420" y="3362762"/>
                  </a:lnTo>
                  <a:lnTo>
                    <a:pt x="401650" y="3362278"/>
                  </a:lnTo>
                  <a:lnTo>
                    <a:pt x="402597" y="3361915"/>
                  </a:lnTo>
                  <a:lnTo>
                    <a:pt x="403592" y="3360963"/>
                  </a:lnTo>
                  <a:lnTo>
                    <a:pt x="404302" y="3359581"/>
                  </a:lnTo>
                  <a:lnTo>
                    <a:pt x="404388" y="3357937"/>
                  </a:lnTo>
                  <a:lnTo>
                    <a:pt x="408115" y="3356568"/>
                  </a:lnTo>
                  <a:lnTo>
                    <a:pt x="409870" y="3355191"/>
                  </a:lnTo>
                  <a:lnTo>
                    <a:pt x="409246" y="3353472"/>
                  </a:lnTo>
                  <a:lnTo>
                    <a:pt x="407588" y="3354385"/>
                  </a:lnTo>
                  <a:lnTo>
                    <a:pt x="406264" y="3354926"/>
                  </a:lnTo>
                  <a:lnTo>
                    <a:pt x="405291" y="3355023"/>
                  </a:lnTo>
                  <a:lnTo>
                    <a:pt x="404299" y="3354968"/>
                  </a:lnTo>
                  <a:lnTo>
                    <a:pt x="403297" y="3355423"/>
                  </a:lnTo>
                  <a:lnTo>
                    <a:pt x="402401" y="3356124"/>
                  </a:lnTo>
                  <a:lnTo>
                    <a:pt x="401716" y="3356805"/>
                  </a:lnTo>
                  <a:lnTo>
                    <a:pt x="401159" y="3359462"/>
                  </a:lnTo>
                  <a:lnTo>
                    <a:pt x="400738" y="3360753"/>
                  </a:lnTo>
                  <a:lnTo>
                    <a:pt x="399927" y="3362217"/>
                  </a:lnTo>
                  <a:lnTo>
                    <a:pt x="399226" y="3362487"/>
                  </a:lnTo>
                  <a:lnTo>
                    <a:pt x="398497" y="3362369"/>
                  </a:lnTo>
                  <a:lnTo>
                    <a:pt x="396730" y="3362860"/>
                  </a:lnTo>
                  <a:lnTo>
                    <a:pt x="394932" y="3361894"/>
                  </a:lnTo>
                  <a:lnTo>
                    <a:pt x="394102" y="3361638"/>
                  </a:lnTo>
                  <a:lnTo>
                    <a:pt x="393399" y="3361944"/>
                  </a:lnTo>
                  <a:lnTo>
                    <a:pt x="391873" y="3363247"/>
                  </a:lnTo>
                  <a:lnTo>
                    <a:pt x="391257" y="3363581"/>
                  </a:lnTo>
                  <a:lnTo>
                    <a:pt x="389746" y="3362524"/>
                  </a:lnTo>
                  <a:lnTo>
                    <a:pt x="388690" y="3362107"/>
                  </a:lnTo>
                  <a:lnTo>
                    <a:pt x="387955" y="3362578"/>
                  </a:lnTo>
                  <a:lnTo>
                    <a:pt x="387412" y="3362808"/>
                  </a:lnTo>
                  <a:lnTo>
                    <a:pt x="385115" y="3363121"/>
                  </a:lnTo>
                  <a:lnTo>
                    <a:pt x="384231" y="3363441"/>
                  </a:lnTo>
                  <a:lnTo>
                    <a:pt x="380896" y="3363891"/>
                  </a:lnTo>
                  <a:lnTo>
                    <a:pt x="379651" y="3364493"/>
                  </a:lnTo>
                  <a:lnTo>
                    <a:pt x="380287" y="3366166"/>
                  </a:lnTo>
                  <a:lnTo>
                    <a:pt x="379101" y="3368083"/>
                  </a:lnTo>
                  <a:lnTo>
                    <a:pt x="378745" y="3372493"/>
                  </a:lnTo>
                  <a:lnTo>
                    <a:pt x="377341" y="3374293"/>
                  </a:lnTo>
                  <a:lnTo>
                    <a:pt x="375617" y="3375249"/>
                  </a:lnTo>
                  <a:lnTo>
                    <a:pt x="374221" y="3375622"/>
                  </a:lnTo>
                  <a:lnTo>
                    <a:pt x="372956" y="3375455"/>
                  </a:lnTo>
                  <a:lnTo>
                    <a:pt x="371637" y="3374716"/>
                  </a:lnTo>
                  <a:lnTo>
                    <a:pt x="359862" y="3360697"/>
                  </a:lnTo>
                  <a:lnTo>
                    <a:pt x="358395" y="3359463"/>
                  </a:lnTo>
                  <a:lnTo>
                    <a:pt x="354691" y="3357522"/>
                  </a:lnTo>
                  <a:lnTo>
                    <a:pt x="353525" y="3356546"/>
                  </a:lnTo>
                  <a:lnTo>
                    <a:pt x="352719" y="3355143"/>
                  </a:lnTo>
                  <a:lnTo>
                    <a:pt x="352576" y="3354174"/>
                  </a:lnTo>
                  <a:lnTo>
                    <a:pt x="352614" y="3353350"/>
                  </a:lnTo>
                  <a:lnTo>
                    <a:pt x="352534" y="3352534"/>
                  </a:lnTo>
                  <a:lnTo>
                    <a:pt x="352047" y="3351607"/>
                  </a:lnTo>
                  <a:lnTo>
                    <a:pt x="351202" y="3350756"/>
                  </a:lnTo>
                  <a:lnTo>
                    <a:pt x="350624" y="3350397"/>
                  </a:lnTo>
                  <a:lnTo>
                    <a:pt x="350208" y="3349897"/>
                  </a:lnTo>
                  <a:lnTo>
                    <a:pt x="349845" y="3348579"/>
                  </a:lnTo>
                  <a:lnTo>
                    <a:pt x="349479" y="3346126"/>
                  </a:lnTo>
                  <a:lnTo>
                    <a:pt x="349449" y="3339795"/>
                  </a:lnTo>
                  <a:lnTo>
                    <a:pt x="349287" y="3338811"/>
                  </a:lnTo>
                  <a:lnTo>
                    <a:pt x="348538" y="3337101"/>
                  </a:lnTo>
                  <a:lnTo>
                    <a:pt x="348348" y="3336065"/>
                  </a:lnTo>
                  <a:lnTo>
                    <a:pt x="348565" y="3334591"/>
                  </a:lnTo>
                  <a:lnTo>
                    <a:pt x="349189" y="3332690"/>
                  </a:lnTo>
                  <a:lnTo>
                    <a:pt x="350116" y="3331183"/>
                  </a:lnTo>
                  <a:lnTo>
                    <a:pt x="351225" y="3330838"/>
                  </a:lnTo>
                  <a:lnTo>
                    <a:pt x="351904" y="3330450"/>
                  </a:lnTo>
                  <a:lnTo>
                    <a:pt x="354075" y="3327933"/>
                  </a:lnTo>
                  <a:lnTo>
                    <a:pt x="355159" y="3326963"/>
                  </a:lnTo>
                  <a:lnTo>
                    <a:pt x="356402" y="3326536"/>
                  </a:lnTo>
                  <a:lnTo>
                    <a:pt x="357615" y="3326560"/>
                  </a:lnTo>
                  <a:lnTo>
                    <a:pt x="359964" y="3327369"/>
                  </a:lnTo>
                  <a:lnTo>
                    <a:pt x="360845" y="3328145"/>
                  </a:lnTo>
                  <a:lnTo>
                    <a:pt x="360986" y="3329149"/>
                  </a:lnTo>
                  <a:lnTo>
                    <a:pt x="360850" y="3330287"/>
                  </a:lnTo>
                  <a:lnTo>
                    <a:pt x="360912" y="3331473"/>
                  </a:lnTo>
                  <a:lnTo>
                    <a:pt x="362470" y="3337374"/>
                  </a:lnTo>
                  <a:lnTo>
                    <a:pt x="362965" y="3341580"/>
                  </a:lnTo>
                  <a:lnTo>
                    <a:pt x="363155" y="3342160"/>
                  </a:lnTo>
                  <a:lnTo>
                    <a:pt x="362097" y="3346293"/>
                  </a:lnTo>
                  <a:lnTo>
                    <a:pt x="361482" y="3347617"/>
                  </a:lnTo>
                  <a:lnTo>
                    <a:pt x="361448" y="3349349"/>
                  </a:lnTo>
                  <a:lnTo>
                    <a:pt x="360850" y="3353642"/>
                  </a:lnTo>
                  <a:lnTo>
                    <a:pt x="360949" y="3355479"/>
                  </a:lnTo>
                  <a:lnTo>
                    <a:pt x="361733" y="3356788"/>
                  </a:lnTo>
                  <a:lnTo>
                    <a:pt x="362697" y="3356275"/>
                  </a:lnTo>
                  <a:lnTo>
                    <a:pt x="363743" y="3354968"/>
                  </a:lnTo>
                  <a:lnTo>
                    <a:pt x="364760" y="3353900"/>
                  </a:lnTo>
                  <a:lnTo>
                    <a:pt x="364705" y="3351967"/>
                  </a:lnTo>
                  <a:lnTo>
                    <a:pt x="364919" y="3349861"/>
                  </a:lnTo>
                  <a:lnTo>
                    <a:pt x="365624" y="3347973"/>
                  </a:lnTo>
                  <a:lnTo>
                    <a:pt x="367055" y="3346726"/>
                  </a:lnTo>
                  <a:lnTo>
                    <a:pt x="367771" y="3346675"/>
                  </a:lnTo>
                  <a:lnTo>
                    <a:pt x="370037" y="3347207"/>
                  </a:lnTo>
                  <a:lnTo>
                    <a:pt x="370914" y="3346844"/>
                  </a:lnTo>
                  <a:lnTo>
                    <a:pt x="371644" y="3346369"/>
                  </a:lnTo>
                  <a:lnTo>
                    <a:pt x="372390" y="3346055"/>
                  </a:lnTo>
                  <a:lnTo>
                    <a:pt x="376265" y="3346985"/>
                  </a:lnTo>
                  <a:lnTo>
                    <a:pt x="379909" y="3347070"/>
                  </a:lnTo>
                  <a:lnTo>
                    <a:pt x="383336" y="3346028"/>
                  </a:lnTo>
                  <a:lnTo>
                    <a:pt x="385640" y="3343420"/>
                  </a:lnTo>
                  <a:lnTo>
                    <a:pt x="375150" y="3344721"/>
                  </a:lnTo>
                  <a:lnTo>
                    <a:pt x="366200" y="3342286"/>
                  </a:lnTo>
                  <a:lnTo>
                    <a:pt x="365453" y="3341619"/>
                  </a:lnTo>
                  <a:lnTo>
                    <a:pt x="365996" y="3339457"/>
                  </a:lnTo>
                  <a:lnTo>
                    <a:pt x="365921" y="3337524"/>
                  </a:lnTo>
                  <a:lnTo>
                    <a:pt x="364283" y="3330142"/>
                  </a:lnTo>
                  <a:lnTo>
                    <a:pt x="362715" y="3327460"/>
                  </a:lnTo>
                  <a:lnTo>
                    <a:pt x="362416" y="3326456"/>
                  </a:lnTo>
                  <a:lnTo>
                    <a:pt x="362820" y="3324300"/>
                  </a:lnTo>
                  <a:lnTo>
                    <a:pt x="364200" y="3322961"/>
                  </a:lnTo>
                  <a:lnTo>
                    <a:pt x="367516" y="3320945"/>
                  </a:lnTo>
                  <a:lnTo>
                    <a:pt x="368783" y="3319296"/>
                  </a:lnTo>
                  <a:lnTo>
                    <a:pt x="369604" y="3317510"/>
                  </a:lnTo>
                  <a:lnTo>
                    <a:pt x="370852" y="3313820"/>
                  </a:lnTo>
                  <a:lnTo>
                    <a:pt x="371228" y="3311569"/>
                  </a:lnTo>
                  <a:lnTo>
                    <a:pt x="370522" y="3310132"/>
                  </a:lnTo>
                  <a:lnTo>
                    <a:pt x="369438" y="3309007"/>
                  </a:lnTo>
                  <a:lnTo>
                    <a:pt x="368673" y="3307673"/>
                  </a:lnTo>
                  <a:lnTo>
                    <a:pt x="368747" y="3305067"/>
                  </a:lnTo>
                  <a:lnTo>
                    <a:pt x="369944" y="3302909"/>
                  </a:lnTo>
                  <a:lnTo>
                    <a:pt x="371821" y="3301638"/>
                  </a:lnTo>
                  <a:lnTo>
                    <a:pt x="374806" y="3301728"/>
                  </a:lnTo>
                  <a:lnTo>
                    <a:pt x="376500" y="3300844"/>
                  </a:lnTo>
                  <a:lnTo>
                    <a:pt x="377411" y="3300879"/>
                  </a:lnTo>
                  <a:lnTo>
                    <a:pt x="380526" y="3301771"/>
                  </a:lnTo>
                  <a:lnTo>
                    <a:pt x="381427" y="3301815"/>
                  </a:lnTo>
                  <a:lnTo>
                    <a:pt x="385031" y="3299601"/>
                  </a:lnTo>
                  <a:lnTo>
                    <a:pt x="386995" y="3297988"/>
                  </a:lnTo>
                  <a:lnTo>
                    <a:pt x="387263" y="3296985"/>
                  </a:lnTo>
                  <a:lnTo>
                    <a:pt x="386250" y="3295541"/>
                  </a:lnTo>
                  <a:lnTo>
                    <a:pt x="385368" y="3290708"/>
                  </a:lnTo>
                  <a:lnTo>
                    <a:pt x="384873" y="3289396"/>
                  </a:lnTo>
                  <a:lnTo>
                    <a:pt x="382024" y="3285374"/>
                  </a:lnTo>
                  <a:lnTo>
                    <a:pt x="379722" y="3283340"/>
                  </a:lnTo>
                  <a:lnTo>
                    <a:pt x="378027" y="3279757"/>
                  </a:lnTo>
                  <a:lnTo>
                    <a:pt x="376781" y="3278573"/>
                  </a:lnTo>
                  <a:lnTo>
                    <a:pt x="376796" y="3280218"/>
                  </a:lnTo>
                  <a:lnTo>
                    <a:pt x="377035" y="3281903"/>
                  </a:lnTo>
                  <a:lnTo>
                    <a:pt x="377441" y="3283464"/>
                  </a:lnTo>
                  <a:lnTo>
                    <a:pt x="377941" y="3284750"/>
                  </a:lnTo>
                  <a:lnTo>
                    <a:pt x="378918" y="3286119"/>
                  </a:lnTo>
                  <a:lnTo>
                    <a:pt x="381272" y="3288379"/>
                  </a:lnTo>
                  <a:lnTo>
                    <a:pt x="382101" y="3289884"/>
                  </a:lnTo>
                  <a:lnTo>
                    <a:pt x="382192" y="3290489"/>
                  </a:lnTo>
                  <a:lnTo>
                    <a:pt x="382156" y="3291975"/>
                  </a:lnTo>
                  <a:lnTo>
                    <a:pt x="382218" y="3292736"/>
                  </a:lnTo>
                  <a:lnTo>
                    <a:pt x="382582" y="3293436"/>
                  </a:lnTo>
                  <a:lnTo>
                    <a:pt x="383782" y="3294923"/>
                  </a:lnTo>
                  <a:lnTo>
                    <a:pt x="383948" y="3295545"/>
                  </a:lnTo>
                  <a:lnTo>
                    <a:pt x="382985" y="3296652"/>
                  </a:lnTo>
                  <a:lnTo>
                    <a:pt x="381195" y="3297631"/>
                  </a:lnTo>
                  <a:lnTo>
                    <a:pt x="378027" y="3298714"/>
                  </a:lnTo>
                  <a:lnTo>
                    <a:pt x="369465" y="3298936"/>
                  </a:lnTo>
                  <a:lnTo>
                    <a:pt x="368258" y="3299664"/>
                  </a:lnTo>
                  <a:lnTo>
                    <a:pt x="367126" y="3301246"/>
                  </a:lnTo>
                  <a:lnTo>
                    <a:pt x="366293" y="3303221"/>
                  </a:lnTo>
                  <a:lnTo>
                    <a:pt x="365699" y="3305405"/>
                  </a:lnTo>
                  <a:lnTo>
                    <a:pt x="365380" y="3307551"/>
                  </a:lnTo>
                  <a:lnTo>
                    <a:pt x="365380" y="3309407"/>
                  </a:lnTo>
                  <a:lnTo>
                    <a:pt x="365914" y="3311321"/>
                  </a:lnTo>
                  <a:lnTo>
                    <a:pt x="367501" y="3314130"/>
                  </a:lnTo>
                  <a:lnTo>
                    <a:pt x="367816" y="3316214"/>
                  </a:lnTo>
                  <a:lnTo>
                    <a:pt x="367023" y="3316863"/>
                  </a:lnTo>
                  <a:lnTo>
                    <a:pt x="365310" y="3318839"/>
                  </a:lnTo>
                  <a:lnTo>
                    <a:pt x="364381" y="3319577"/>
                  </a:lnTo>
                  <a:lnTo>
                    <a:pt x="362257" y="3320084"/>
                  </a:lnTo>
                  <a:lnTo>
                    <a:pt x="362061" y="3320186"/>
                  </a:lnTo>
                  <a:lnTo>
                    <a:pt x="361629" y="3320273"/>
                  </a:lnTo>
                  <a:lnTo>
                    <a:pt x="361330" y="3320394"/>
                  </a:lnTo>
                  <a:lnTo>
                    <a:pt x="360991" y="3320443"/>
                  </a:lnTo>
                  <a:lnTo>
                    <a:pt x="360458" y="3320297"/>
                  </a:lnTo>
                  <a:lnTo>
                    <a:pt x="359621" y="3319510"/>
                  </a:lnTo>
                  <a:lnTo>
                    <a:pt x="359500" y="3318414"/>
                  </a:lnTo>
                  <a:lnTo>
                    <a:pt x="360082" y="3316079"/>
                  </a:lnTo>
                  <a:lnTo>
                    <a:pt x="360302" y="3315499"/>
                  </a:lnTo>
                  <a:lnTo>
                    <a:pt x="360531" y="3315270"/>
                  </a:lnTo>
                  <a:lnTo>
                    <a:pt x="360754" y="3314919"/>
                  </a:lnTo>
                  <a:lnTo>
                    <a:pt x="360947" y="3313945"/>
                  </a:lnTo>
                  <a:lnTo>
                    <a:pt x="360908" y="3313329"/>
                  </a:lnTo>
                  <a:lnTo>
                    <a:pt x="360523" y="3312019"/>
                  </a:lnTo>
                  <a:lnTo>
                    <a:pt x="360394" y="3311345"/>
                  </a:lnTo>
                  <a:lnTo>
                    <a:pt x="361392" y="3310530"/>
                  </a:lnTo>
                  <a:lnTo>
                    <a:pt x="362292" y="3309286"/>
                  </a:lnTo>
                  <a:lnTo>
                    <a:pt x="362618" y="3307994"/>
                  </a:lnTo>
                  <a:lnTo>
                    <a:pt x="361895" y="3307068"/>
                  </a:lnTo>
                  <a:lnTo>
                    <a:pt x="361085" y="3307611"/>
                  </a:lnTo>
                  <a:lnTo>
                    <a:pt x="357229" y="3311579"/>
                  </a:lnTo>
                  <a:lnTo>
                    <a:pt x="357667" y="3312506"/>
                  </a:lnTo>
                  <a:lnTo>
                    <a:pt x="357936" y="3313973"/>
                  </a:lnTo>
                  <a:lnTo>
                    <a:pt x="357776" y="3315223"/>
                  </a:lnTo>
                  <a:lnTo>
                    <a:pt x="356962" y="3315445"/>
                  </a:lnTo>
                  <a:lnTo>
                    <a:pt x="355919" y="3315142"/>
                  </a:lnTo>
                  <a:lnTo>
                    <a:pt x="354965" y="3315250"/>
                  </a:lnTo>
                  <a:lnTo>
                    <a:pt x="354338" y="3315994"/>
                  </a:lnTo>
                  <a:lnTo>
                    <a:pt x="354272" y="3317585"/>
                  </a:lnTo>
                  <a:lnTo>
                    <a:pt x="352529" y="3318022"/>
                  </a:lnTo>
                  <a:lnTo>
                    <a:pt x="349012" y="3318114"/>
                  </a:lnTo>
                  <a:lnTo>
                    <a:pt x="347377" y="3317795"/>
                  </a:lnTo>
                  <a:lnTo>
                    <a:pt x="342291" y="3315549"/>
                  </a:lnTo>
                  <a:lnTo>
                    <a:pt x="340438" y="3315542"/>
                  </a:lnTo>
                  <a:lnTo>
                    <a:pt x="339932" y="3317994"/>
                  </a:lnTo>
                  <a:lnTo>
                    <a:pt x="338718" y="3318062"/>
                  </a:lnTo>
                  <a:lnTo>
                    <a:pt x="337597" y="3316838"/>
                  </a:lnTo>
                  <a:lnTo>
                    <a:pt x="337008" y="3313997"/>
                  </a:lnTo>
                  <a:lnTo>
                    <a:pt x="335216" y="3313186"/>
                  </a:lnTo>
                  <a:lnTo>
                    <a:pt x="331778" y="3312510"/>
                  </a:lnTo>
                  <a:lnTo>
                    <a:pt x="330238" y="3311319"/>
                  </a:lnTo>
                  <a:lnTo>
                    <a:pt x="327964" y="3308066"/>
                  </a:lnTo>
                  <a:lnTo>
                    <a:pt x="325963" y="3306318"/>
                  </a:lnTo>
                  <a:lnTo>
                    <a:pt x="325779" y="3305363"/>
                  </a:lnTo>
                  <a:lnTo>
                    <a:pt x="325891" y="3304220"/>
                  </a:lnTo>
                  <a:lnTo>
                    <a:pt x="326652" y="3301835"/>
                  </a:lnTo>
                  <a:lnTo>
                    <a:pt x="326688" y="3301056"/>
                  </a:lnTo>
                  <a:lnTo>
                    <a:pt x="324997" y="3295758"/>
                  </a:lnTo>
                  <a:lnTo>
                    <a:pt x="324005" y="3294027"/>
                  </a:lnTo>
                  <a:lnTo>
                    <a:pt x="322818" y="3292969"/>
                  </a:lnTo>
                  <a:lnTo>
                    <a:pt x="322482" y="3292299"/>
                  </a:lnTo>
                  <a:lnTo>
                    <a:pt x="322312" y="3289990"/>
                  </a:lnTo>
                  <a:lnTo>
                    <a:pt x="321766" y="3289234"/>
                  </a:lnTo>
                  <a:lnTo>
                    <a:pt x="320929" y="3288600"/>
                  </a:lnTo>
                  <a:lnTo>
                    <a:pt x="318425" y="3284231"/>
                  </a:lnTo>
                  <a:lnTo>
                    <a:pt x="317326" y="3280980"/>
                  </a:lnTo>
                  <a:lnTo>
                    <a:pt x="316266" y="3273006"/>
                  </a:lnTo>
                  <a:lnTo>
                    <a:pt x="316445" y="3271337"/>
                  </a:lnTo>
                  <a:lnTo>
                    <a:pt x="317695" y="3269906"/>
                  </a:lnTo>
                  <a:lnTo>
                    <a:pt x="318549" y="3271400"/>
                  </a:lnTo>
                  <a:lnTo>
                    <a:pt x="319182" y="3273845"/>
                  </a:lnTo>
                  <a:lnTo>
                    <a:pt x="319775" y="3275294"/>
                  </a:lnTo>
                  <a:lnTo>
                    <a:pt x="320847" y="3276552"/>
                  </a:lnTo>
                  <a:lnTo>
                    <a:pt x="322030" y="3280773"/>
                  </a:lnTo>
                  <a:lnTo>
                    <a:pt x="322805" y="3282365"/>
                  </a:lnTo>
                  <a:lnTo>
                    <a:pt x="323250" y="3278186"/>
                  </a:lnTo>
                  <a:lnTo>
                    <a:pt x="323831" y="3276325"/>
                  </a:lnTo>
                  <a:lnTo>
                    <a:pt x="325164" y="3276023"/>
                  </a:lnTo>
                  <a:lnTo>
                    <a:pt x="325686" y="3275787"/>
                  </a:lnTo>
                  <a:lnTo>
                    <a:pt x="326472" y="3275015"/>
                  </a:lnTo>
                  <a:lnTo>
                    <a:pt x="327225" y="3274008"/>
                  </a:lnTo>
                  <a:lnTo>
                    <a:pt x="327665" y="3273070"/>
                  </a:lnTo>
                  <a:lnTo>
                    <a:pt x="327568" y="3272294"/>
                  </a:lnTo>
                  <a:lnTo>
                    <a:pt x="326378" y="3270047"/>
                  </a:lnTo>
                  <a:lnTo>
                    <a:pt x="327618" y="3269266"/>
                  </a:lnTo>
                  <a:lnTo>
                    <a:pt x="328917" y="3269235"/>
                  </a:lnTo>
                  <a:lnTo>
                    <a:pt x="329907" y="3268822"/>
                  </a:lnTo>
                  <a:lnTo>
                    <a:pt x="330235" y="3266900"/>
                  </a:lnTo>
                  <a:lnTo>
                    <a:pt x="332061" y="3266713"/>
                  </a:lnTo>
                  <a:lnTo>
                    <a:pt x="334074" y="3265613"/>
                  </a:lnTo>
                  <a:lnTo>
                    <a:pt x="335582" y="3263961"/>
                  </a:lnTo>
                  <a:lnTo>
                    <a:pt x="335900" y="3262118"/>
                  </a:lnTo>
                  <a:lnTo>
                    <a:pt x="338203" y="3259896"/>
                  </a:lnTo>
                  <a:lnTo>
                    <a:pt x="338660" y="3259212"/>
                  </a:lnTo>
                  <a:lnTo>
                    <a:pt x="338775" y="3258031"/>
                  </a:lnTo>
                  <a:lnTo>
                    <a:pt x="338248" y="3255968"/>
                  </a:lnTo>
                  <a:lnTo>
                    <a:pt x="338492" y="3254650"/>
                  </a:lnTo>
                  <a:lnTo>
                    <a:pt x="338545" y="3252770"/>
                  </a:lnTo>
                  <a:lnTo>
                    <a:pt x="337558" y="3251092"/>
                  </a:lnTo>
                  <a:lnTo>
                    <a:pt x="336309" y="3249528"/>
                  </a:lnTo>
                  <a:lnTo>
                    <a:pt x="335566" y="3248036"/>
                  </a:lnTo>
                  <a:lnTo>
                    <a:pt x="335436" y="3246889"/>
                  </a:lnTo>
                  <a:lnTo>
                    <a:pt x="335656" y="3246707"/>
                  </a:lnTo>
                  <a:lnTo>
                    <a:pt x="336252" y="3246776"/>
                  </a:lnTo>
                  <a:lnTo>
                    <a:pt x="338702" y="3245578"/>
                  </a:lnTo>
                  <a:lnTo>
                    <a:pt x="339232" y="3245060"/>
                  </a:lnTo>
                  <a:lnTo>
                    <a:pt x="339859" y="3243822"/>
                  </a:lnTo>
                  <a:lnTo>
                    <a:pt x="341393" y="3242327"/>
                  </a:lnTo>
                  <a:lnTo>
                    <a:pt x="343579" y="3242151"/>
                  </a:lnTo>
                  <a:lnTo>
                    <a:pt x="345763" y="3242725"/>
                  </a:lnTo>
                  <a:lnTo>
                    <a:pt x="347272" y="3243457"/>
                  </a:lnTo>
                  <a:lnTo>
                    <a:pt x="348838" y="3245082"/>
                  </a:lnTo>
                  <a:lnTo>
                    <a:pt x="349609" y="3245390"/>
                  </a:lnTo>
                  <a:lnTo>
                    <a:pt x="350451" y="3245223"/>
                  </a:lnTo>
                  <a:lnTo>
                    <a:pt x="352158" y="3244299"/>
                  </a:lnTo>
                  <a:lnTo>
                    <a:pt x="352922" y="3244282"/>
                  </a:lnTo>
                  <a:lnTo>
                    <a:pt x="354284" y="3244571"/>
                  </a:lnTo>
                  <a:lnTo>
                    <a:pt x="357934" y="3244360"/>
                  </a:lnTo>
                  <a:lnTo>
                    <a:pt x="359437" y="3244016"/>
                  </a:lnTo>
                  <a:lnTo>
                    <a:pt x="364577" y="3241492"/>
                  </a:lnTo>
                  <a:lnTo>
                    <a:pt x="365563" y="3240607"/>
                  </a:lnTo>
                  <a:lnTo>
                    <a:pt x="365394" y="3239102"/>
                  </a:lnTo>
                  <a:lnTo>
                    <a:pt x="363399" y="3239571"/>
                  </a:lnTo>
                  <a:lnTo>
                    <a:pt x="359426" y="3241567"/>
                  </a:lnTo>
                  <a:lnTo>
                    <a:pt x="353218" y="3242105"/>
                  </a:lnTo>
                  <a:lnTo>
                    <a:pt x="347267" y="3241007"/>
                  </a:lnTo>
                  <a:lnTo>
                    <a:pt x="342247" y="3238082"/>
                  </a:lnTo>
                  <a:lnTo>
                    <a:pt x="341064" y="3238583"/>
                  </a:lnTo>
                  <a:lnTo>
                    <a:pt x="339679" y="3240340"/>
                  </a:lnTo>
                  <a:lnTo>
                    <a:pt x="335954" y="3242384"/>
                  </a:lnTo>
                  <a:lnTo>
                    <a:pt x="334948" y="3243237"/>
                  </a:lnTo>
                  <a:lnTo>
                    <a:pt x="333990" y="3243756"/>
                  </a:lnTo>
                  <a:lnTo>
                    <a:pt x="329013" y="3245071"/>
                  </a:lnTo>
                  <a:lnTo>
                    <a:pt x="327436" y="3244910"/>
                  </a:lnTo>
                  <a:lnTo>
                    <a:pt x="326154" y="3243988"/>
                  </a:lnTo>
                  <a:lnTo>
                    <a:pt x="324945" y="3242820"/>
                  </a:lnTo>
                  <a:lnTo>
                    <a:pt x="323596" y="3241870"/>
                  </a:lnTo>
                  <a:lnTo>
                    <a:pt x="320729" y="3240857"/>
                  </a:lnTo>
                  <a:lnTo>
                    <a:pt x="320166" y="3240308"/>
                  </a:lnTo>
                  <a:lnTo>
                    <a:pt x="319993" y="3238754"/>
                  </a:lnTo>
                  <a:lnTo>
                    <a:pt x="320609" y="3237988"/>
                  </a:lnTo>
                  <a:lnTo>
                    <a:pt x="321548" y="3237375"/>
                  </a:lnTo>
                  <a:lnTo>
                    <a:pt x="322349" y="3236250"/>
                  </a:lnTo>
                  <a:lnTo>
                    <a:pt x="322825" y="3233941"/>
                  </a:lnTo>
                  <a:lnTo>
                    <a:pt x="322776" y="3231450"/>
                  </a:lnTo>
                  <a:lnTo>
                    <a:pt x="322196" y="3229373"/>
                  </a:lnTo>
                  <a:lnTo>
                    <a:pt x="321059" y="3228308"/>
                  </a:lnTo>
                  <a:lnTo>
                    <a:pt x="320758" y="3230684"/>
                  </a:lnTo>
                  <a:lnTo>
                    <a:pt x="320054" y="3233625"/>
                  </a:lnTo>
                  <a:lnTo>
                    <a:pt x="318761" y="3235854"/>
                  </a:lnTo>
                  <a:lnTo>
                    <a:pt x="315221" y="3236456"/>
                  </a:lnTo>
                  <a:lnTo>
                    <a:pt x="313153" y="3237204"/>
                  </a:lnTo>
                  <a:lnTo>
                    <a:pt x="311771" y="3236916"/>
                  </a:lnTo>
                  <a:lnTo>
                    <a:pt x="312382" y="3234146"/>
                  </a:lnTo>
                  <a:lnTo>
                    <a:pt x="313183" y="3232876"/>
                  </a:lnTo>
                  <a:lnTo>
                    <a:pt x="313797" y="3232705"/>
                  </a:lnTo>
                  <a:lnTo>
                    <a:pt x="314424" y="3232783"/>
                  </a:lnTo>
                  <a:lnTo>
                    <a:pt x="315252" y="3232261"/>
                  </a:lnTo>
                  <a:lnTo>
                    <a:pt x="316438" y="3228765"/>
                  </a:lnTo>
                  <a:lnTo>
                    <a:pt x="316670" y="3228306"/>
                  </a:lnTo>
                  <a:lnTo>
                    <a:pt x="316829" y="3227316"/>
                  </a:lnTo>
                  <a:lnTo>
                    <a:pt x="317369" y="3226331"/>
                  </a:lnTo>
                  <a:lnTo>
                    <a:pt x="318046" y="3225331"/>
                  </a:lnTo>
                  <a:lnTo>
                    <a:pt x="319264" y="3222975"/>
                  </a:lnTo>
                  <a:lnTo>
                    <a:pt x="319786" y="3222318"/>
                  </a:lnTo>
                  <a:lnTo>
                    <a:pt x="320371" y="3222040"/>
                  </a:lnTo>
                  <a:lnTo>
                    <a:pt x="321182" y="3221822"/>
                  </a:lnTo>
                  <a:lnTo>
                    <a:pt x="326290" y="3222468"/>
                  </a:lnTo>
                  <a:lnTo>
                    <a:pt x="327414" y="3221812"/>
                  </a:lnTo>
                  <a:lnTo>
                    <a:pt x="328933" y="3219330"/>
                  </a:lnTo>
                  <a:lnTo>
                    <a:pt x="330382" y="3218784"/>
                  </a:lnTo>
                  <a:lnTo>
                    <a:pt x="333607" y="3219328"/>
                  </a:lnTo>
                  <a:lnTo>
                    <a:pt x="334117" y="3219045"/>
                  </a:lnTo>
                  <a:lnTo>
                    <a:pt x="335640" y="3217698"/>
                  </a:lnTo>
                  <a:lnTo>
                    <a:pt x="336124" y="3217130"/>
                  </a:lnTo>
                  <a:lnTo>
                    <a:pt x="336347" y="3216501"/>
                  </a:lnTo>
                  <a:lnTo>
                    <a:pt x="336899" y="3214509"/>
                  </a:lnTo>
                  <a:lnTo>
                    <a:pt x="337208" y="3213949"/>
                  </a:lnTo>
                  <a:lnTo>
                    <a:pt x="338382" y="3212545"/>
                  </a:lnTo>
                  <a:lnTo>
                    <a:pt x="340246" y="3208399"/>
                  </a:lnTo>
                  <a:lnTo>
                    <a:pt x="341636" y="3206495"/>
                  </a:lnTo>
                  <a:lnTo>
                    <a:pt x="344491" y="3204577"/>
                  </a:lnTo>
                  <a:lnTo>
                    <a:pt x="345451" y="3203241"/>
                  </a:lnTo>
                  <a:lnTo>
                    <a:pt x="345525" y="3200919"/>
                  </a:lnTo>
                  <a:lnTo>
                    <a:pt x="342544" y="3197245"/>
                  </a:lnTo>
                  <a:lnTo>
                    <a:pt x="342110" y="3196453"/>
                  </a:lnTo>
                  <a:lnTo>
                    <a:pt x="342090" y="3195714"/>
                  </a:lnTo>
                  <a:lnTo>
                    <a:pt x="342491" y="3194824"/>
                  </a:lnTo>
                  <a:lnTo>
                    <a:pt x="342778" y="3194483"/>
                  </a:lnTo>
                  <a:lnTo>
                    <a:pt x="345146" y="3192986"/>
                  </a:lnTo>
                  <a:lnTo>
                    <a:pt x="347059" y="3192397"/>
                  </a:lnTo>
                  <a:lnTo>
                    <a:pt x="348079" y="3191828"/>
                  </a:lnTo>
                  <a:lnTo>
                    <a:pt x="351081" y="3189629"/>
                  </a:lnTo>
                  <a:lnTo>
                    <a:pt x="352515" y="3189094"/>
                  </a:lnTo>
                  <a:lnTo>
                    <a:pt x="354084" y="3189212"/>
                  </a:lnTo>
                  <a:lnTo>
                    <a:pt x="354376" y="3185646"/>
                  </a:lnTo>
                  <a:lnTo>
                    <a:pt x="354219" y="3184177"/>
                  </a:lnTo>
                  <a:lnTo>
                    <a:pt x="353254" y="3183189"/>
                  </a:lnTo>
                  <a:lnTo>
                    <a:pt x="352199" y="3182762"/>
                  </a:lnTo>
                  <a:lnTo>
                    <a:pt x="351299" y="3182820"/>
                  </a:lnTo>
                  <a:lnTo>
                    <a:pt x="350395" y="3183729"/>
                  </a:lnTo>
                  <a:lnTo>
                    <a:pt x="349321" y="3185860"/>
                  </a:lnTo>
                  <a:lnTo>
                    <a:pt x="348433" y="3186687"/>
                  </a:lnTo>
                  <a:lnTo>
                    <a:pt x="344125" y="3189579"/>
                  </a:lnTo>
                  <a:lnTo>
                    <a:pt x="342662" y="3190022"/>
                  </a:lnTo>
                  <a:lnTo>
                    <a:pt x="339807" y="3190394"/>
                  </a:lnTo>
                  <a:lnTo>
                    <a:pt x="338338" y="3191175"/>
                  </a:lnTo>
                  <a:lnTo>
                    <a:pt x="339390" y="3192240"/>
                  </a:lnTo>
                  <a:lnTo>
                    <a:pt x="339837" y="3193000"/>
                  </a:lnTo>
                  <a:lnTo>
                    <a:pt x="339819" y="3193820"/>
                  </a:lnTo>
                  <a:lnTo>
                    <a:pt x="338791" y="3196507"/>
                  </a:lnTo>
                  <a:lnTo>
                    <a:pt x="338709" y="3196996"/>
                  </a:lnTo>
                  <a:lnTo>
                    <a:pt x="339869" y="3197891"/>
                  </a:lnTo>
                  <a:lnTo>
                    <a:pt x="340679" y="3199312"/>
                  </a:lnTo>
                  <a:lnTo>
                    <a:pt x="340673" y="3200980"/>
                  </a:lnTo>
                  <a:lnTo>
                    <a:pt x="338605" y="3203553"/>
                  </a:lnTo>
                  <a:lnTo>
                    <a:pt x="336407" y="3206875"/>
                  </a:lnTo>
                  <a:lnTo>
                    <a:pt x="335818" y="3208008"/>
                  </a:lnTo>
                  <a:lnTo>
                    <a:pt x="335679" y="3209552"/>
                  </a:lnTo>
                  <a:lnTo>
                    <a:pt x="335908" y="3210611"/>
                  </a:lnTo>
                  <a:lnTo>
                    <a:pt x="335586" y="3211569"/>
                  </a:lnTo>
                  <a:lnTo>
                    <a:pt x="332879" y="3213432"/>
                  </a:lnTo>
                  <a:lnTo>
                    <a:pt x="332357" y="3213617"/>
                  </a:lnTo>
                  <a:lnTo>
                    <a:pt x="331729" y="3213492"/>
                  </a:lnTo>
                  <a:lnTo>
                    <a:pt x="331635" y="3213244"/>
                  </a:lnTo>
                  <a:lnTo>
                    <a:pt x="331711" y="3212846"/>
                  </a:lnTo>
                  <a:lnTo>
                    <a:pt x="331695" y="3212537"/>
                  </a:lnTo>
                  <a:lnTo>
                    <a:pt x="331352" y="3212501"/>
                  </a:lnTo>
                  <a:lnTo>
                    <a:pt x="330938" y="3212785"/>
                  </a:lnTo>
                  <a:lnTo>
                    <a:pt x="330344" y="3213556"/>
                  </a:lnTo>
                  <a:lnTo>
                    <a:pt x="325143" y="3215016"/>
                  </a:lnTo>
                  <a:lnTo>
                    <a:pt x="323156" y="3217405"/>
                  </a:lnTo>
                  <a:lnTo>
                    <a:pt x="317880" y="3218851"/>
                  </a:lnTo>
                  <a:lnTo>
                    <a:pt x="315445" y="3220754"/>
                  </a:lnTo>
                  <a:lnTo>
                    <a:pt x="315335" y="3223015"/>
                  </a:lnTo>
                  <a:lnTo>
                    <a:pt x="313618" y="3224312"/>
                  </a:lnTo>
                  <a:lnTo>
                    <a:pt x="311371" y="3224790"/>
                  </a:lnTo>
                  <a:lnTo>
                    <a:pt x="309659" y="3224637"/>
                  </a:lnTo>
                  <a:lnTo>
                    <a:pt x="308548" y="3223949"/>
                  </a:lnTo>
                  <a:lnTo>
                    <a:pt x="308098" y="3223005"/>
                  </a:lnTo>
                  <a:lnTo>
                    <a:pt x="308032" y="3219871"/>
                  </a:lnTo>
                  <a:lnTo>
                    <a:pt x="307621" y="3218009"/>
                  </a:lnTo>
                  <a:lnTo>
                    <a:pt x="307639" y="3217158"/>
                  </a:lnTo>
                  <a:lnTo>
                    <a:pt x="307994" y="3216458"/>
                  </a:lnTo>
                  <a:lnTo>
                    <a:pt x="308606" y="3215862"/>
                  </a:lnTo>
                  <a:lnTo>
                    <a:pt x="309117" y="3215176"/>
                  </a:lnTo>
                  <a:lnTo>
                    <a:pt x="309174" y="3214222"/>
                  </a:lnTo>
                  <a:lnTo>
                    <a:pt x="308514" y="3213609"/>
                  </a:lnTo>
                  <a:lnTo>
                    <a:pt x="307435" y="3214126"/>
                  </a:lnTo>
                  <a:lnTo>
                    <a:pt x="305388" y="3215781"/>
                  </a:lnTo>
                  <a:lnTo>
                    <a:pt x="304086" y="3216364"/>
                  </a:lnTo>
                  <a:lnTo>
                    <a:pt x="303712" y="3216181"/>
                  </a:lnTo>
                  <a:lnTo>
                    <a:pt x="303497" y="3215575"/>
                  </a:lnTo>
                  <a:lnTo>
                    <a:pt x="302702" y="3214874"/>
                  </a:lnTo>
                  <a:lnTo>
                    <a:pt x="302314" y="3212829"/>
                  </a:lnTo>
                  <a:lnTo>
                    <a:pt x="303304" y="3209567"/>
                  </a:lnTo>
                  <a:lnTo>
                    <a:pt x="303713" y="3207012"/>
                  </a:lnTo>
                  <a:lnTo>
                    <a:pt x="301599" y="3207056"/>
                  </a:lnTo>
                  <a:lnTo>
                    <a:pt x="301343" y="3207954"/>
                  </a:lnTo>
                  <a:lnTo>
                    <a:pt x="300560" y="3209280"/>
                  </a:lnTo>
                  <a:lnTo>
                    <a:pt x="299576" y="3210596"/>
                  </a:lnTo>
                  <a:lnTo>
                    <a:pt x="298719" y="3211458"/>
                  </a:lnTo>
                  <a:lnTo>
                    <a:pt x="297143" y="3212274"/>
                  </a:lnTo>
                  <a:lnTo>
                    <a:pt x="295633" y="3212510"/>
                  </a:lnTo>
                  <a:lnTo>
                    <a:pt x="289761" y="3211024"/>
                  </a:lnTo>
                  <a:lnTo>
                    <a:pt x="288130" y="3210262"/>
                  </a:lnTo>
                  <a:lnTo>
                    <a:pt x="287129" y="3209339"/>
                  </a:lnTo>
                  <a:lnTo>
                    <a:pt x="286704" y="3207785"/>
                  </a:lnTo>
                  <a:lnTo>
                    <a:pt x="287280" y="3207145"/>
                  </a:lnTo>
                  <a:lnTo>
                    <a:pt x="288376" y="3206855"/>
                  </a:lnTo>
                  <a:lnTo>
                    <a:pt x="289508" y="3206348"/>
                  </a:lnTo>
                  <a:lnTo>
                    <a:pt x="290498" y="3205285"/>
                  </a:lnTo>
                  <a:lnTo>
                    <a:pt x="292794" y="3202025"/>
                  </a:lnTo>
                  <a:lnTo>
                    <a:pt x="293412" y="3200788"/>
                  </a:lnTo>
                  <a:lnTo>
                    <a:pt x="293639" y="3199730"/>
                  </a:lnTo>
                  <a:lnTo>
                    <a:pt x="293781" y="3197908"/>
                  </a:lnTo>
                  <a:lnTo>
                    <a:pt x="294034" y="3196970"/>
                  </a:lnTo>
                  <a:lnTo>
                    <a:pt x="295712" y="3194399"/>
                  </a:lnTo>
                  <a:lnTo>
                    <a:pt x="297028" y="3192735"/>
                  </a:lnTo>
                  <a:lnTo>
                    <a:pt x="298245" y="3191533"/>
                  </a:lnTo>
                  <a:lnTo>
                    <a:pt x="299530" y="3190734"/>
                  </a:lnTo>
                  <a:lnTo>
                    <a:pt x="301061" y="3190261"/>
                  </a:lnTo>
                  <a:lnTo>
                    <a:pt x="302969" y="3190241"/>
                  </a:lnTo>
                  <a:lnTo>
                    <a:pt x="303800" y="3189979"/>
                  </a:lnTo>
                  <a:lnTo>
                    <a:pt x="304534" y="3189558"/>
                  </a:lnTo>
                  <a:lnTo>
                    <a:pt x="305927" y="3188495"/>
                  </a:lnTo>
                  <a:lnTo>
                    <a:pt x="306766" y="3187992"/>
                  </a:lnTo>
                  <a:lnTo>
                    <a:pt x="305197" y="3186415"/>
                  </a:lnTo>
                  <a:lnTo>
                    <a:pt x="303052" y="3187024"/>
                  </a:lnTo>
                  <a:lnTo>
                    <a:pt x="300716" y="3188198"/>
                  </a:lnTo>
                  <a:lnTo>
                    <a:pt x="298565" y="3188347"/>
                  </a:lnTo>
                  <a:lnTo>
                    <a:pt x="296520" y="3188873"/>
                  </a:lnTo>
                  <a:lnTo>
                    <a:pt x="294480" y="3191289"/>
                  </a:lnTo>
                  <a:lnTo>
                    <a:pt x="293035" y="3194242"/>
                  </a:lnTo>
                  <a:lnTo>
                    <a:pt x="292745" y="3196367"/>
                  </a:lnTo>
                  <a:lnTo>
                    <a:pt x="291411" y="3197729"/>
                  </a:lnTo>
                  <a:lnTo>
                    <a:pt x="290220" y="3199632"/>
                  </a:lnTo>
                  <a:lnTo>
                    <a:pt x="288944" y="3201104"/>
                  </a:lnTo>
                  <a:lnTo>
                    <a:pt x="286096" y="3201281"/>
                  </a:lnTo>
                  <a:lnTo>
                    <a:pt x="285615" y="3202460"/>
                  </a:lnTo>
                  <a:lnTo>
                    <a:pt x="285556" y="3203832"/>
                  </a:lnTo>
                  <a:lnTo>
                    <a:pt x="285598" y="3204517"/>
                  </a:lnTo>
                  <a:lnTo>
                    <a:pt x="284796" y="3205869"/>
                  </a:lnTo>
                  <a:lnTo>
                    <a:pt x="284165" y="3206527"/>
                  </a:lnTo>
                  <a:lnTo>
                    <a:pt x="282486" y="3207574"/>
                  </a:lnTo>
                  <a:lnTo>
                    <a:pt x="281530" y="3208036"/>
                  </a:lnTo>
                  <a:lnTo>
                    <a:pt x="280483" y="3208216"/>
                  </a:lnTo>
                  <a:lnTo>
                    <a:pt x="279479" y="3208155"/>
                  </a:lnTo>
                  <a:lnTo>
                    <a:pt x="277332" y="3207326"/>
                  </a:lnTo>
                  <a:lnTo>
                    <a:pt x="277024" y="3206942"/>
                  </a:lnTo>
                  <a:lnTo>
                    <a:pt x="276605" y="3206044"/>
                  </a:lnTo>
                  <a:lnTo>
                    <a:pt x="275084" y="3200243"/>
                  </a:lnTo>
                  <a:lnTo>
                    <a:pt x="273963" y="3199043"/>
                  </a:lnTo>
                  <a:lnTo>
                    <a:pt x="275118" y="3198059"/>
                  </a:lnTo>
                  <a:lnTo>
                    <a:pt x="277328" y="3198803"/>
                  </a:lnTo>
                  <a:lnTo>
                    <a:pt x="278597" y="3198015"/>
                  </a:lnTo>
                  <a:lnTo>
                    <a:pt x="276130" y="3195479"/>
                  </a:lnTo>
                  <a:lnTo>
                    <a:pt x="274508" y="3194532"/>
                  </a:lnTo>
                  <a:lnTo>
                    <a:pt x="272876" y="3194422"/>
                  </a:lnTo>
                  <a:lnTo>
                    <a:pt x="272264" y="3194764"/>
                  </a:lnTo>
                  <a:lnTo>
                    <a:pt x="270857" y="3195898"/>
                  </a:lnTo>
                  <a:lnTo>
                    <a:pt x="269993" y="3196273"/>
                  </a:lnTo>
                  <a:lnTo>
                    <a:pt x="263173" y="3196078"/>
                  </a:lnTo>
                  <a:lnTo>
                    <a:pt x="259649" y="3194912"/>
                  </a:lnTo>
                  <a:lnTo>
                    <a:pt x="256840" y="3192728"/>
                  </a:lnTo>
                  <a:lnTo>
                    <a:pt x="255811" y="3189526"/>
                  </a:lnTo>
                  <a:lnTo>
                    <a:pt x="254033" y="3189830"/>
                  </a:lnTo>
                  <a:lnTo>
                    <a:pt x="252701" y="3189394"/>
                  </a:lnTo>
                  <a:lnTo>
                    <a:pt x="246241" y="3184928"/>
                  </a:lnTo>
                  <a:lnTo>
                    <a:pt x="245352" y="3183753"/>
                  </a:lnTo>
                  <a:lnTo>
                    <a:pt x="244652" y="3181941"/>
                  </a:lnTo>
                  <a:lnTo>
                    <a:pt x="245190" y="3181516"/>
                  </a:lnTo>
                  <a:lnTo>
                    <a:pt x="246419" y="3181563"/>
                  </a:lnTo>
                  <a:lnTo>
                    <a:pt x="247794" y="3181176"/>
                  </a:lnTo>
                  <a:lnTo>
                    <a:pt x="249063" y="3181054"/>
                  </a:lnTo>
                  <a:lnTo>
                    <a:pt x="249956" y="3182215"/>
                  </a:lnTo>
                  <a:lnTo>
                    <a:pt x="251061" y="3184923"/>
                  </a:lnTo>
                  <a:lnTo>
                    <a:pt x="251895" y="3181878"/>
                  </a:lnTo>
                  <a:lnTo>
                    <a:pt x="252576" y="3180406"/>
                  </a:lnTo>
                  <a:lnTo>
                    <a:pt x="253502" y="3179420"/>
                  </a:lnTo>
                  <a:lnTo>
                    <a:pt x="254062" y="3179394"/>
                  </a:lnTo>
                  <a:lnTo>
                    <a:pt x="256392" y="3179906"/>
                  </a:lnTo>
                  <a:lnTo>
                    <a:pt x="258318" y="3179526"/>
                  </a:lnTo>
                  <a:lnTo>
                    <a:pt x="259133" y="3179567"/>
                  </a:lnTo>
                  <a:lnTo>
                    <a:pt x="259483" y="3179906"/>
                  </a:lnTo>
                  <a:lnTo>
                    <a:pt x="259655" y="3180460"/>
                  </a:lnTo>
                  <a:lnTo>
                    <a:pt x="259898" y="3180832"/>
                  </a:lnTo>
                  <a:lnTo>
                    <a:pt x="261996" y="3180110"/>
                  </a:lnTo>
                  <a:lnTo>
                    <a:pt x="267764" y="3181682"/>
                  </a:lnTo>
                  <a:lnTo>
                    <a:pt x="269203" y="3181753"/>
                  </a:lnTo>
                  <a:lnTo>
                    <a:pt x="270941" y="3181156"/>
                  </a:lnTo>
                  <a:lnTo>
                    <a:pt x="270290" y="3178982"/>
                  </a:lnTo>
                  <a:lnTo>
                    <a:pt x="268621" y="3178394"/>
                  </a:lnTo>
                  <a:lnTo>
                    <a:pt x="264915" y="3178288"/>
                  </a:lnTo>
                  <a:lnTo>
                    <a:pt x="263072" y="3177751"/>
                  </a:lnTo>
                  <a:lnTo>
                    <a:pt x="257686" y="3178049"/>
                  </a:lnTo>
                  <a:lnTo>
                    <a:pt x="255644" y="3177764"/>
                  </a:lnTo>
                  <a:lnTo>
                    <a:pt x="250377" y="3175367"/>
                  </a:lnTo>
                  <a:lnTo>
                    <a:pt x="250062" y="3174699"/>
                  </a:lnTo>
                  <a:lnTo>
                    <a:pt x="250080" y="3172446"/>
                  </a:lnTo>
                  <a:lnTo>
                    <a:pt x="249845" y="3171811"/>
                  </a:lnTo>
                  <a:lnTo>
                    <a:pt x="249581" y="3171448"/>
                  </a:lnTo>
                  <a:lnTo>
                    <a:pt x="250294" y="3171260"/>
                  </a:lnTo>
                  <a:lnTo>
                    <a:pt x="251977" y="3171195"/>
                  </a:lnTo>
                  <a:lnTo>
                    <a:pt x="253802" y="3171452"/>
                  </a:lnTo>
                  <a:lnTo>
                    <a:pt x="260404" y="3174118"/>
                  </a:lnTo>
                  <a:lnTo>
                    <a:pt x="265595" y="3174418"/>
                  </a:lnTo>
                  <a:lnTo>
                    <a:pt x="267507" y="3175193"/>
                  </a:lnTo>
                  <a:lnTo>
                    <a:pt x="271873" y="3178979"/>
                  </a:lnTo>
                  <a:lnTo>
                    <a:pt x="273503" y="3179488"/>
                  </a:lnTo>
                  <a:lnTo>
                    <a:pt x="280021" y="3179802"/>
                  </a:lnTo>
                  <a:lnTo>
                    <a:pt x="285144" y="3181232"/>
                  </a:lnTo>
                  <a:lnTo>
                    <a:pt x="285647" y="3181592"/>
                  </a:lnTo>
                  <a:lnTo>
                    <a:pt x="286353" y="3182488"/>
                  </a:lnTo>
                  <a:lnTo>
                    <a:pt x="286970" y="3182905"/>
                  </a:lnTo>
                  <a:lnTo>
                    <a:pt x="287786" y="3182908"/>
                  </a:lnTo>
                  <a:lnTo>
                    <a:pt x="288529" y="3182332"/>
                  </a:lnTo>
                  <a:lnTo>
                    <a:pt x="291087" y="3179153"/>
                  </a:lnTo>
                  <a:lnTo>
                    <a:pt x="291730" y="3178520"/>
                  </a:lnTo>
                  <a:lnTo>
                    <a:pt x="292440" y="3178089"/>
                  </a:lnTo>
                  <a:lnTo>
                    <a:pt x="293514" y="3177904"/>
                  </a:lnTo>
                  <a:lnTo>
                    <a:pt x="295412" y="3178159"/>
                  </a:lnTo>
                  <a:lnTo>
                    <a:pt x="296439" y="3177828"/>
                  </a:lnTo>
                  <a:lnTo>
                    <a:pt x="298202" y="3175865"/>
                  </a:lnTo>
                  <a:lnTo>
                    <a:pt x="298250" y="3173704"/>
                  </a:lnTo>
                  <a:lnTo>
                    <a:pt x="297764" y="3171409"/>
                  </a:lnTo>
                  <a:lnTo>
                    <a:pt x="297909" y="3169078"/>
                  </a:lnTo>
                  <a:lnTo>
                    <a:pt x="299091" y="3167376"/>
                  </a:lnTo>
                  <a:lnTo>
                    <a:pt x="300526" y="3167115"/>
                  </a:lnTo>
                  <a:lnTo>
                    <a:pt x="304909" y="3168818"/>
                  </a:lnTo>
                  <a:lnTo>
                    <a:pt x="305843" y="3168335"/>
                  </a:lnTo>
                  <a:lnTo>
                    <a:pt x="306770" y="3166987"/>
                  </a:lnTo>
                  <a:lnTo>
                    <a:pt x="308485" y="3164922"/>
                  </a:lnTo>
                  <a:lnTo>
                    <a:pt x="309227" y="3164477"/>
                  </a:lnTo>
                  <a:lnTo>
                    <a:pt x="309885" y="3164403"/>
                  </a:lnTo>
                  <a:lnTo>
                    <a:pt x="310562" y="3164103"/>
                  </a:lnTo>
                  <a:lnTo>
                    <a:pt x="311367" y="3162992"/>
                  </a:lnTo>
                  <a:lnTo>
                    <a:pt x="311824" y="3161826"/>
                  </a:lnTo>
                  <a:lnTo>
                    <a:pt x="312006" y="3160687"/>
                  </a:lnTo>
                  <a:lnTo>
                    <a:pt x="312001" y="3159652"/>
                  </a:lnTo>
                  <a:lnTo>
                    <a:pt x="311898" y="3158758"/>
                  </a:lnTo>
                  <a:lnTo>
                    <a:pt x="311853" y="3156514"/>
                  </a:lnTo>
                  <a:lnTo>
                    <a:pt x="312967" y="3149772"/>
                  </a:lnTo>
                  <a:lnTo>
                    <a:pt x="312776" y="3147636"/>
                  </a:lnTo>
                  <a:lnTo>
                    <a:pt x="310447" y="3142766"/>
                  </a:lnTo>
                  <a:lnTo>
                    <a:pt x="309536" y="3145190"/>
                  </a:lnTo>
                  <a:lnTo>
                    <a:pt x="309049" y="3147047"/>
                  </a:lnTo>
                  <a:lnTo>
                    <a:pt x="308240" y="3152413"/>
                  </a:lnTo>
                  <a:lnTo>
                    <a:pt x="307836" y="3158050"/>
                  </a:lnTo>
                  <a:lnTo>
                    <a:pt x="308095" y="3159141"/>
                  </a:lnTo>
                  <a:lnTo>
                    <a:pt x="309018" y="3160958"/>
                  </a:lnTo>
                  <a:lnTo>
                    <a:pt x="309201" y="3161978"/>
                  </a:lnTo>
                  <a:lnTo>
                    <a:pt x="307401" y="3163466"/>
                  </a:lnTo>
                  <a:lnTo>
                    <a:pt x="305719" y="3164200"/>
                  </a:lnTo>
                  <a:lnTo>
                    <a:pt x="304006" y="3164219"/>
                  </a:lnTo>
                  <a:lnTo>
                    <a:pt x="302104" y="3163576"/>
                  </a:lnTo>
                  <a:lnTo>
                    <a:pt x="301259" y="3163542"/>
                  </a:lnTo>
                  <a:lnTo>
                    <a:pt x="299967" y="3163806"/>
                  </a:lnTo>
                  <a:lnTo>
                    <a:pt x="298624" y="3164277"/>
                  </a:lnTo>
                  <a:lnTo>
                    <a:pt x="297648" y="3164846"/>
                  </a:lnTo>
                  <a:lnTo>
                    <a:pt x="297050" y="3165711"/>
                  </a:lnTo>
                  <a:lnTo>
                    <a:pt x="296160" y="3167276"/>
                  </a:lnTo>
                  <a:lnTo>
                    <a:pt x="295441" y="3168804"/>
                  </a:lnTo>
                  <a:lnTo>
                    <a:pt x="295353" y="3169590"/>
                  </a:lnTo>
                  <a:lnTo>
                    <a:pt x="296583" y="3172265"/>
                  </a:lnTo>
                  <a:lnTo>
                    <a:pt x="296704" y="3173027"/>
                  </a:lnTo>
                  <a:lnTo>
                    <a:pt x="295794" y="3174554"/>
                  </a:lnTo>
                  <a:lnTo>
                    <a:pt x="295048" y="3174746"/>
                  </a:lnTo>
                  <a:lnTo>
                    <a:pt x="294226" y="3174375"/>
                  </a:lnTo>
                  <a:lnTo>
                    <a:pt x="293101" y="3174213"/>
                  </a:lnTo>
                  <a:lnTo>
                    <a:pt x="290919" y="3175175"/>
                  </a:lnTo>
                  <a:lnTo>
                    <a:pt x="286965" y="3178244"/>
                  </a:lnTo>
                  <a:lnTo>
                    <a:pt x="284999" y="3178610"/>
                  </a:lnTo>
                  <a:lnTo>
                    <a:pt x="285297" y="3177928"/>
                  </a:lnTo>
                  <a:lnTo>
                    <a:pt x="278095" y="3175026"/>
                  </a:lnTo>
                  <a:lnTo>
                    <a:pt x="276384" y="3175813"/>
                  </a:lnTo>
                  <a:lnTo>
                    <a:pt x="275644" y="3176267"/>
                  </a:lnTo>
                  <a:lnTo>
                    <a:pt x="274429" y="3176209"/>
                  </a:lnTo>
                  <a:lnTo>
                    <a:pt x="273208" y="3175806"/>
                  </a:lnTo>
                  <a:lnTo>
                    <a:pt x="272465" y="3175228"/>
                  </a:lnTo>
                  <a:lnTo>
                    <a:pt x="272114" y="3173754"/>
                  </a:lnTo>
                  <a:lnTo>
                    <a:pt x="272127" y="3172362"/>
                  </a:lnTo>
                  <a:lnTo>
                    <a:pt x="271764" y="3171301"/>
                  </a:lnTo>
                  <a:lnTo>
                    <a:pt x="270285" y="3170807"/>
                  </a:lnTo>
                  <a:lnTo>
                    <a:pt x="269229" y="3171045"/>
                  </a:lnTo>
                  <a:lnTo>
                    <a:pt x="266779" y="3172057"/>
                  </a:lnTo>
                  <a:lnTo>
                    <a:pt x="265833" y="3172067"/>
                  </a:lnTo>
                  <a:lnTo>
                    <a:pt x="257274" y="3169591"/>
                  </a:lnTo>
                  <a:lnTo>
                    <a:pt x="255819" y="3168498"/>
                  </a:lnTo>
                  <a:lnTo>
                    <a:pt x="255703" y="3166303"/>
                  </a:lnTo>
                  <a:lnTo>
                    <a:pt x="257474" y="3165148"/>
                  </a:lnTo>
                  <a:lnTo>
                    <a:pt x="260510" y="3165544"/>
                  </a:lnTo>
                  <a:lnTo>
                    <a:pt x="262281" y="3164923"/>
                  </a:lnTo>
                  <a:lnTo>
                    <a:pt x="264453" y="3163777"/>
                  </a:lnTo>
                  <a:lnTo>
                    <a:pt x="270008" y="3163264"/>
                  </a:lnTo>
                  <a:lnTo>
                    <a:pt x="272154" y="3162521"/>
                  </a:lnTo>
                  <a:lnTo>
                    <a:pt x="272202" y="3161851"/>
                  </a:lnTo>
                  <a:lnTo>
                    <a:pt x="269376" y="3160497"/>
                  </a:lnTo>
                  <a:lnTo>
                    <a:pt x="267642" y="3160306"/>
                  </a:lnTo>
                  <a:lnTo>
                    <a:pt x="265749" y="3160599"/>
                  </a:lnTo>
                  <a:lnTo>
                    <a:pt x="263960" y="3160459"/>
                  </a:lnTo>
                  <a:lnTo>
                    <a:pt x="262585" y="3158959"/>
                  </a:lnTo>
                  <a:lnTo>
                    <a:pt x="262245" y="3156736"/>
                  </a:lnTo>
                  <a:lnTo>
                    <a:pt x="263104" y="3155137"/>
                  </a:lnTo>
                  <a:lnTo>
                    <a:pt x="264506" y="3153642"/>
                  </a:lnTo>
                  <a:lnTo>
                    <a:pt x="265784" y="3151762"/>
                  </a:lnTo>
                  <a:lnTo>
                    <a:pt x="266124" y="3150155"/>
                  </a:lnTo>
                  <a:lnTo>
                    <a:pt x="265047" y="3150410"/>
                  </a:lnTo>
                  <a:lnTo>
                    <a:pt x="263390" y="3151187"/>
                  </a:lnTo>
                  <a:lnTo>
                    <a:pt x="262001" y="3151100"/>
                  </a:lnTo>
                  <a:lnTo>
                    <a:pt x="261847" y="3150549"/>
                  </a:lnTo>
                  <a:lnTo>
                    <a:pt x="262045" y="3149872"/>
                  </a:lnTo>
                  <a:lnTo>
                    <a:pt x="262335" y="3149254"/>
                  </a:lnTo>
                  <a:lnTo>
                    <a:pt x="262417" y="3148904"/>
                  </a:lnTo>
                  <a:lnTo>
                    <a:pt x="261566" y="3148436"/>
                  </a:lnTo>
                  <a:lnTo>
                    <a:pt x="261530" y="3148477"/>
                  </a:lnTo>
                  <a:lnTo>
                    <a:pt x="260601" y="3147937"/>
                  </a:lnTo>
                  <a:lnTo>
                    <a:pt x="257622" y="3147420"/>
                  </a:lnTo>
                  <a:lnTo>
                    <a:pt x="254355" y="3145945"/>
                  </a:lnTo>
                  <a:lnTo>
                    <a:pt x="252719" y="3145611"/>
                  </a:lnTo>
                  <a:lnTo>
                    <a:pt x="246941" y="3146446"/>
                  </a:lnTo>
                  <a:lnTo>
                    <a:pt x="244913" y="3146097"/>
                  </a:lnTo>
                  <a:lnTo>
                    <a:pt x="243912" y="3144531"/>
                  </a:lnTo>
                  <a:lnTo>
                    <a:pt x="243530" y="3143605"/>
                  </a:lnTo>
                  <a:lnTo>
                    <a:pt x="242197" y="3142271"/>
                  </a:lnTo>
                  <a:lnTo>
                    <a:pt x="241926" y="3141379"/>
                  </a:lnTo>
                  <a:lnTo>
                    <a:pt x="242162" y="3140331"/>
                  </a:lnTo>
                  <a:lnTo>
                    <a:pt x="243001" y="3138865"/>
                  </a:lnTo>
                  <a:lnTo>
                    <a:pt x="243046" y="3137866"/>
                  </a:lnTo>
                  <a:lnTo>
                    <a:pt x="244340" y="3137111"/>
                  </a:lnTo>
                  <a:lnTo>
                    <a:pt x="249002" y="3135289"/>
                  </a:lnTo>
                  <a:lnTo>
                    <a:pt x="249515" y="3135720"/>
                  </a:lnTo>
                  <a:lnTo>
                    <a:pt x="249882" y="3136515"/>
                  </a:lnTo>
                  <a:lnTo>
                    <a:pt x="250523" y="3137289"/>
                  </a:lnTo>
                  <a:lnTo>
                    <a:pt x="256761" y="3141239"/>
                  </a:lnTo>
                  <a:lnTo>
                    <a:pt x="259795" y="3141504"/>
                  </a:lnTo>
                  <a:lnTo>
                    <a:pt x="265321" y="3145279"/>
                  </a:lnTo>
                  <a:lnTo>
                    <a:pt x="266767" y="3145345"/>
                  </a:lnTo>
                  <a:lnTo>
                    <a:pt x="268543" y="3144663"/>
                  </a:lnTo>
                  <a:lnTo>
                    <a:pt x="269932" y="3143413"/>
                  </a:lnTo>
                  <a:lnTo>
                    <a:pt x="270226" y="3141774"/>
                  </a:lnTo>
                  <a:lnTo>
                    <a:pt x="269242" y="3141783"/>
                  </a:lnTo>
                  <a:lnTo>
                    <a:pt x="266297" y="3142511"/>
                  </a:lnTo>
                  <a:lnTo>
                    <a:pt x="265105" y="3142380"/>
                  </a:lnTo>
                  <a:lnTo>
                    <a:pt x="255546" y="3136425"/>
                  </a:lnTo>
                  <a:lnTo>
                    <a:pt x="252760" y="3133556"/>
                  </a:lnTo>
                  <a:lnTo>
                    <a:pt x="251851" y="3131547"/>
                  </a:lnTo>
                  <a:lnTo>
                    <a:pt x="252584" y="3126223"/>
                  </a:lnTo>
                  <a:lnTo>
                    <a:pt x="254287" y="3120898"/>
                  </a:lnTo>
                  <a:lnTo>
                    <a:pt x="254926" y="3119508"/>
                  </a:lnTo>
                  <a:lnTo>
                    <a:pt x="254509" y="3119305"/>
                  </a:lnTo>
                  <a:lnTo>
                    <a:pt x="251080" y="3123055"/>
                  </a:lnTo>
                  <a:lnTo>
                    <a:pt x="249418" y="3125466"/>
                  </a:lnTo>
                  <a:lnTo>
                    <a:pt x="248871" y="3127803"/>
                  </a:lnTo>
                  <a:lnTo>
                    <a:pt x="248776" y="3131116"/>
                  </a:lnTo>
                  <a:lnTo>
                    <a:pt x="247634" y="3132275"/>
                  </a:lnTo>
                  <a:lnTo>
                    <a:pt x="246076" y="3132774"/>
                  </a:lnTo>
                  <a:lnTo>
                    <a:pt x="244743" y="3134107"/>
                  </a:lnTo>
                  <a:lnTo>
                    <a:pt x="243553" y="3134563"/>
                  </a:lnTo>
                  <a:lnTo>
                    <a:pt x="236167" y="3134382"/>
                  </a:lnTo>
                  <a:lnTo>
                    <a:pt x="234774" y="3133789"/>
                  </a:lnTo>
                  <a:lnTo>
                    <a:pt x="233507" y="3132634"/>
                  </a:lnTo>
                  <a:lnTo>
                    <a:pt x="232208" y="3130905"/>
                  </a:lnTo>
                  <a:lnTo>
                    <a:pt x="232423" y="3130210"/>
                  </a:lnTo>
                  <a:lnTo>
                    <a:pt x="232225" y="3129284"/>
                  </a:lnTo>
                  <a:lnTo>
                    <a:pt x="231673" y="3128346"/>
                  </a:lnTo>
                  <a:lnTo>
                    <a:pt x="229730" y="3126945"/>
                  </a:lnTo>
                  <a:lnTo>
                    <a:pt x="229232" y="3126166"/>
                  </a:lnTo>
                  <a:lnTo>
                    <a:pt x="228934" y="3123869"/>
                  </a:lnTo>
                  <a:lnTo>
                    <a:pt x="228484" y="3122684"/>
                  </a:lnTo>
                  <a:lnTo>
                    <a:pt x="227706" y="3122339"/>
                  </a:lnTo>
                  <a:lnTo>
                    <a:pt x="226803" y="3122497"/>
                  </a:lnTo>
                  <a:lnTo>
                    <a:pt x="225968" y="3122856"/>
                  </a:lnTo>
                  <a:lnTo>
                    <a:pt x="224812" y="3123689"/>
                  </a:lnTo>
                  <a:lnTo>
                    <a:pt x="224220" y="3124397"/>
                  </a:lnTo>
                  <a:lnTo>
                    <a:pt x="223560" y="3124688"/>
                  </a:lnTo>
                  <a:lnTo>
                    <a:pt x="215635" y="3120822"/>
                  </a:lnTo>
                  <a:lnTo>
                    <a:pt x="214486" y="3119212"/>
                  </a:lnTo>
                  <a:lnTo>
                    <a:pt x="214042" y="3118134"/>
                  </a:lnTo>
                  <a:lnTo>
                    <a:pt x="213289" y="3117166"/>
                  </a:lnTo>
                  <a:lnTo>
                    <a:pt x="211616" y="3115738"/>
                  </a:lnTo>
                  <a:lnTo>
                    <a:pt x="210032" y="3115068"/>
                  </a:lnTo>
                  <a:lnTo>
                    <a:pt x="209147" y="3114427"/>
                  </a:lnTo>
                  <a:lnTo>
                    <a:pt x="208591" y="3113328"/>
                  </a:lnTo>
                  <a:lnTo>
                    <a:pt x="207466" y="3114382"/>
                  </a:lnTo>
                  <a:lnTo>
                    <a:pt x="208072" y="3116002"/>
                  </a:lnTo>
                  <a:lnTo>
                    <a:pt x="209447" y="3117580"/>
                  </a:lnTo>
                  <a:lnTo>
                    <a:pt x="211889" y="3119495"/>
                  </a:lnTo>
                  <a:lnTo>
                    <a:pt x="214397" y="3122411"/>
                  </a:lnTo>
                  <a:lnTo>
                    <a:pt x="215860" y="3123592"/>
                  </a:lnTo>
                  <a:lnTo>
                    <a:pt x="219193" y="3125244"/>
                  </a:lnTo>
                  <a:lnTo>
                    <a:pt x="219921" y="3125990"/>
                  </a:lnTo>
                  <a:lnTo>
                    <a:pt x="220527" y="3126874"/>
                  </a:lnTo>
                  <a:lnTo>
                    <a:pt x="220579" y="3127428"/>
                  </a:lnTo>
                  <a:lnTo>
                    <a:pt x="219615" y="3127189"/>
                  </a:lnTo>
                  <a:lnTo>
                    <a:pt x="217987" y="3127210"/>
                  </a:lnTo>
                  <a:lnTo>
                    <a:pt x="213845" y="3129016"/>
                  </a:lnTo>
                  <a:lnTo>
                    <a:pt x="212126" y="3129361"/>
                  </a:lnTo>
                  <a:lnTo>
                    <a:pt x="210900" y="3128634"/>
                  </a:lnTo>
                  <a:lnTo>
                    <a:pt x="209711" y="3127087"/>
                  </a:lnTo>
                  <a:lnTo>
                    <a:pt x="207397" y="3121631"/>
                  </a:lnTo>
                  <a:lnTo>
                    <a:pt x="202810" y="3117998"/>
                  </a:lnTo>
                  <a:lnTo>
                    <a:pt x="202376" y="3117260"/>
                  </a:lnTo>
                  <a:lnTo>
                    <a:pt x="201632" y="3114834"/>
                  </a:lnTo>
                  <a:lnTo>
                    <a:pt x="202127" y="3112658"/>
                  </a:lnTo>
                  <a:lnTo>
                    <a:pt x="201663" y="3112361"/>
                  </a:lnTo>
                  <a:lnTo>
                    <a:pt x="200507" y="3112426"/>
                  </a:lnTo>
                  <a:lnTo>
                    <a:pt x="199986" y="3112343"/>
                  </a:lnTo>
                  <a:lnTo>
                    <a:pt x="198486" y="3111471"/>
                  </a:lnTo>
                  <a:lnTo>
                    <a:pt x="197434" y="3110596"/>
                  </a:lnTo>
                  <a:lnTo>
                    <a:pt x="192579" y="3104816"/>
                  </a:lnTo>
                  <a:lnTo>
                    <a:pt x="191960" y="3103231"/>
                  </a:lnTo>
                  <a:lnTo>
                    <a:pt x="193698" y="3102867"/>
                  </a:lnTo>
                  <a:lnTo>
                    <a:pt x="194570" y="3102487"/>
                  </a:lnTo>
                  <a:lnTo>
                    <a:pt x="194924" y="3101926"/>
                  </a:lnTo>
                  <a:lnTo>
                    <a:pt x="194756" y="3101016"/>
                  </a:lnTo>
                  <a:lnTo>
                    <a:pt x="194370" y="3100355"/>
                  </a:lnTo>
                  <a:lnTo>
                    <a:pt x="193802" y="3099919"/>
                  </a:lnTo>
                  <a:lnTo>
                    <a:pt x="193085" y="3099711"/>
                  </a:lnTo>
                  <a:lnTo>
                    <a:pt x="193505" y="3099923"/>
                  </a:lnTo>
                  <a:lnTo>
                    <a:pt x="191757" y="3099398"/>
                  </a:lnTo>
                  <a:lnTo>
                    <a:pt x="190061" y="3097690"/>
                  </a:lnTo>
                  <a:lnTo>
                    <a:pt x="189136" y="3095671"/>
                  </a:lnTo>
                  <a:lnTo>
                    <a:pt x="189703" y="3094213"/>
                  </a:lnTo>
                  <a:lnTo>
                    <a:pt x="191608" y="3092330"/>
                  </a:lnTo>
                  <a:lnTo>
                    <a:pt x="193509" y="3089694"/>
                  </a:lnTo>
                  <a:lnTo>
                    <a:pt x="195284" y="3087590"/>
                  </a:lnTo>
                  <a:lnTo>
                    <a:pt x="196802" y="3087338"/>
                  </a:lnTo>
                  <a:lnTo>
                    <a:pt x="197090" y="3086723"/>
                  </a:lnTo>
                  <a:lnTo>
                    <a:pt x="196224" y="3085083"/>
                  </a:lnTo>
                  <a:lnTo>
                    <a:pt x="194588" y="3084652"/>
                  </a:lnTo>
                  <a:lnTo>
                    <a:pt x="192617" y="3084658"/>
                  </a:lnTo>
                  <a:lnTo>
                    <a:pt x="187084" y="3083275"/>
                  </a:lnTo>
                  <a:lnTo>
                    <a:pt x="185455" y="3082341"/>
                  </a:lnTo>
                  <a:lnTo>
                    <a:pt x="184533" y="3080348"/>
                  </a:lnTo>
                  <a:lnTo>
                    <a:pt x="185210" y="3078363"/>
                  </a:lnTo>
                  <a:lnTo>
                    <a:pt x="181682" y="3071880"/>
                  </a:lnTo>
                  <a:lnTo>
                    <a:pt x="182217" y="3069827"/>
                  </a:lnTo>
                  <a:lnTo>
                    <a:pt x="182085" y="3068324"/>
                  </a:lnTo>
                  <a:lnTo>
                    <a:pt x="182677" y="3067296"/>
                  </a:lnTo>
                  <a:lnTo>
                    <a:pt x="183491" y="3066318"/>
                  </a:lnTo>
                  <a:lnTo>
                    <a:pt x="184008" y="3064968"/>
                  </a:lnTo>
                  <a:lnTo>
                    <a:pt x="185515" y="3064877"/>
                  </a:lnTo>
                  <a:lnTo>
                    <a:pt x="186914" y="3064456"/>
                  </a:lnTo>
                  <a:lnTo>
                    <a:pt x="188384" y="3064206"/>
                  </a:lnTo>
                  <a:lnTo>
                    <a:pt x="195894" y="3065899"/>
                  </a:lnTo>
                  <a:lnTo>
                    <a:pt x="197503" y="3065463"/>
                  </a:lnTo>
                  <a:lnTo>
                    <a:pt x="200409" y="3065104"/>
                  </a:lnTo>
                  <a:lnTo>
                    <a:pt x="209357" y="3071020"/>
                  </a:lnTo>
                  <a:lnTo>
                    <a:pt x="209890" y="3071533"/>
                  </a:lnTo>
                  <a:lnTo>
                    <a:pt x="210570" y="3073029"/>
                  </a:lnTo>
                  <a:lnTo>
                    <a:pt x="211008" y="3073587"/>
                  </a:lnTo>
                  <a:lnTo>
                    <a:pt x="221243" y="3076996"/>
                  </a:lnTo>
                  <a:lnTo>
                    <a:pt x="224694" y="3076298"/>
                  </a:lnTo>
                  <a:lnTo>
                    <a:pt x="227208" y="3076319"/>
                  </a:lnTo>
                  <a:lnTo>
                    <a:pt x="227820" y="3076194"/>
                  </a:lnTo>
                  <a:lnTo>
                    <a:pt x="229277" y="3074973"/>
                  </a:lnTo>
                  <a:lnTo>
                    <a:pt x="230803" y="3073102"/>
                  </a:lnTo>
                  <a:lnTo>
                    <a:pt x="232024" y="3071063"/>
                  </a:lnTo>
                  <a:lnTo>
                    <a:pt x="232577" y="3069346"/>
                  </a:lnTo>
                  <a:lnTo>
                    <a:pt x="231020" y="3070225"/>
                  </a:lnTo>
                  <a:lnTo>
                    <a:pt x="227203" y="3073208"/>
                  </a:lnTo>
                  <a:lnTo>
                    <a:pt x="226153" y="3073705"/>
                  </a:lnTo>
                  <a:lnTo>
                    <a:pt x="224425" y="3073436"/>
                  </a:lnTo>
                  <a:lnTo>
                    <a:pt x="220022" y="3073998"/>
                  </a:lnTo>
                  <a:lnTo>
                    <a:pt x="218131" y="3073843"/>
                  </a:lnTo>
                  <a:lnTo>
                    <a:pt x="204573" y="3065261"/>
                  </a:lnTo>
                  <a:lnTo>
                    <a:pt x="204862" y="3064646"/>
                  </a:lnTo>
                  <a:lnTo>
                    <a:pt x="206580" y="3064458"/>
                  </a:lnTo>
                  <a:lnTo>
                    <a:pt x="208423" y="3063984"/>
                  </a:lnTo>
                  <a:lnTo>
                    <a:pt x="209364" y="3063211"/>
                  </a:lnTo>
                  <a:lnTo>
                    <a:pt x="208340" y="3062162"/>
                  </a:lnTo>
                  <a:lnTo>
                    <a:pt x="206358" y="3061695"/>
                  </a:lnTo>
                  <a:lnTo>
                    <a:pt x="202493" y="3062087"/>
                  </a:lnTo>
                  <a:lnTo>
                    <a:pt x="200610" y="3061653"/>
                  </a:lnTo>
                  <a:lnTo>
                    <a:pt x="197365" y="3059196"/>
                  </a:lnTo>
                  <a:lnTo>
                    <a:pt x="195441" y="3058230"/>
                  </a:lnTo>
                  <a:lnTo>
                    <a:pt x="193566" y="3058484"/>
                  </a:lnTo>
                  <a:lnTo>
                    <a:pt x="192251" y="3058410"/>
                  </a:lnTo>
                  <a:lnTo>
                    <a:pt x="190433" y="3057412"/>
                  </a:lnTo>
                  <a:lnTo>
                    <a:pt x="189148" y="3055698"/>
                  </a:lnTo>
                  <a:lnTo>
                    <a:pt x="189461" y="3053466"/>
                  </a:lnTo>
                  <a:lnTo>
                    <a:pt x="190828" y="3052351"/>
                  </a:lnTo>
                  <a:lnTo>
                    <a:pt x="192838" y="3051765"/>
                  </a:lnTo>
                  <a:lnTo>
                    <a:pt x="194887" y="3051667"/>
                  </a:lnTo>
                  <a:lnTo>
                    <a:pt x="196362" y="3051977"/>
                  </a:lnTo>
                  <a:lnTo>
                    <a:pt x="198084" y="3052661"/>
                  </a:lnTo>
                  <a:lnTo>
                    <a:pt x="199303" y="3052610"/>
                  </a:lnTo>
                  <a:lnTo>
                    <a:pt x="204007" y="3049514"/>
                  </a:lnTo>
                  <a:lnTo>
                    <a:pt x="205636" y="3048725"/>
                  </a:lnTo>
                  <a:lnTo>
                    <a:pt x="207206" y="3048508"/>
                  </a:lnTo>
                  <a:lnTo>
                    <a:pt x="208857" y="3048993"/>
                  </a:lnTo>
                  <a:lnTo>
                    <a:pt x="209506" y="3048900"/>
                  </a:lnTo>
                  <a:lnTo>
                    <a:pt x="209862" y="3048066"/>
                  </a:lnTo>
                  <a:lnTo>
                    <a:pt x="210177" y="3047007"/>
                  </a:lnTo>
                  <a:lnTo>
                    <a:pt x="210686" y="3046245"/>
                  </a:lnTo>
                  <a:lnTo>
                    <a:pt x="211646" y="3045866"/>
                  </a:lnTo>
                  <a:lnTo>
                    <a:pt x="212541" y="3045723"/>
                  </a:lnTo>
                  <a:lnTo>
                    <a:pt x="213431" y="3045368"/>
                  </a:lnTo>
                  <a:lnTo>
                    <a:pt x="214393" y="3044364"/>
                  </a:lnTo>
                  <a:lnTo>
                    <a:pt x="215380" y="3042302"/>
                  </a:lnTo>
                  <a:lnTo>
                    <a:pt x="216043" y="3040155"/>
                  </a:lnTo>
                  <a:lnTo>
                    <a:pt x="216851" y="3038177"/>
                  </a:lnTo>
                  <a:lnTo>
                    <a:pt x="218270" y="3036658"/>
                  </a:lnTo>
                  <a:lnTo>
                    <a:pt x="220082" y="3035959"/>
                  </a:lnTo>
                  <a:lnTo>
                    <a:pt x="221895" y="3035923"/>
                  </a:lnTo>
                  <a:lnTo>
                    <a:pt x="232366" y="3037867"/>
                  </a:lnTo>
                  <a:lnTo>
                    <a:pt x="249435" y="3044842"/>
                  </a:lnTo>
                  <a:lnTo>
                    <a:pt x="268620" y="3057262"/>
                  </a:lnTo>
                  <a:lnTo>
                    <a:pt x="270625" y="3058098"/>
                  </a:lnTo>
                  <a:lnTo>
                    <a:pt x="272403" y="3057784"/>
                  </a:lnTo>
                  <a:lnTo>
                    <a:pt x="272765" y="3057428"/>
                  </a:lnTo>
                  <a:lnTo>
                    <a:pt x="273038" y="3056974"/>
                  </a:lnTo>
                  <a:lnTo>
                    <a:pt x="273509" y="3055914"/>
                  </a:lnTo>
                  <a:lnTo>
                    <a:pt x="273901" y="3055652"/>
                  </a:lnTo>
                  <a:lnTo>
                    <a:pt x="274878" y="3056363"/>
                  </a:lnTo>
                  <a:lnTo>
                    <a:pt x="275309" y="3056426"/>
                  </a:lnTo>
                  <a:lnTo>
                    <a:pt x="275972" y="3055713"/>
                  </a:lnTo>
                  <a:lnTo>
                    <a:pt x="276660" y="3054761"/>
                  </a:lnTo>
                  <a:lnTo>
                    <a:pt x="277389" y="3053917"/>
                  </a:lnTo>
                  <a:lnTo>
                    <a:pt x="278189" y="3053538"/>
                  </a:lnTo>
                  <a:lnTo>
                    <a:pt x="278279" y="3047777"/>
                  </a:lnTo>
                  <a:lnTo>
                    <a:pt x="278776" y="3046607"/>
                  </a:lnTo>
                  <a:lnTo>
                    <a:pt x="278729" y="3045329"/>
                  </a:lnTo>
                  <a:lnTo>
                    <a:pt x="278491" y="3044055"/>
                  </a:lnTo>
                  <a:lnTo>
                    <a:pt x="278401" y="3042864"/>
                  </a:lnTo>
                  <a:lnTo>
                    <a:pt x="278162" y="3043686"/>
                  </a:lnTo>
                  <a:lnTo>
                    <a:pt x="278113" y="3044058"/>
                  </a:lnTo>
                  <a:lnTo>
                    <a:pt x="278206" y="3044503"/>
                  </a:lnTo>
                  <a:lnTo>
                    <a:pt x="276668" y="3046403"/>
                  </a:lnTo>
                  <a:lnTo>
                    <a:pt x="276315" y="3048276"/>
                  </a:lnTo>
                  <a:lnTo>
                    <a:pt x="276354" y="3050060"/>
                  </a:lnTo>
                  <a:lnTo>
                    <a:pt x="275983" y="3051701"/>
                  </a:lnTo>
                  <a:lnTo>
                    <a:pt x="275116" y="3052907"/>
                  </a:lnTo>
                  <a:lnTo>
                    <a:pt x="274401" y="3053189"/>
                  </a:lnTo>
                  <a:lnTo>
                    <a:pt x="273660" y="3053142"/>
                  </a:lnTo>
                  <a:lnTo>
                    <a:pt x="272672" y="3053399"/>
                  </a:lnTo>
                  <a:lnTo>
                    <a:pt x="270174" y="3055484"/>
                  </a:lnTo>
                  <a:lnTo>
                    <a:pt x="247917" y="3039752"/>
                  </a:lnTo>
                  <a:lnTo>
                    <a:pt x="237215" y="3036629"/>
                  </a:lnTo>
                  <a:lnTo>
                    <a:pt x="235848" y="3035331"/>
                  </a:lnTo>
                  <a:lnTo>
                    <a:pt x="234148" y="3031977"/>
                  </a:lnTo>
                  <a:lnTo>
                    <a:pt x="232975" y="3031083"/>
                  </a:lnTo>
                  <a:lnTo>
                    <a:pt x="231547" y="3033434"/>
                  </a:lnTo>
                  <a:lnTo>
                    <a:pt x="228977" y="3033958"/>
                  </a:lnTo>
                  <a:lnTo>
                    <a:pt x="226617" y="3033000"/>
                  </a:lnTo>
                  <a:lnTo>
                    <a:pt x="225834" y="3030893"/>
                  </a:lnTo>
                  <a:lnTo>
                    <a:pt x="226361" y="3030846"/>
                  </a:lnTo>
                  <a:lnTo>
                    <a:pt x="226716" y="3030613"/>
                  </a:lnTo>
                  <a:lnTo>
                    <a:pt x="226817" y="3030405"/>
                  </a:lnTo>
                  <a:lnTo>
                    <a:pt x="226598" y="3030444"/>
                  </a:lnTo>
                  <a:lnTo>
                    <a:pt x="227249" y="3030176"/>
                  </a:lnTo>
                  <a:lnTo>
                    <a:pt x="227593" y="3029943"/>
                  </a:lnTo>
                  <a:lnTo>
                    <a:pt x="228023" y="3029493"/>
                  </a:lnTo>
                  <a:lnTo>
                    <a:pt x="227645" y="3029302"/>
                  </a:lnTo>
                  <a:lnTo>
                    <a:pt x="229371" y="3025341"/>
                  </a:lnTo>
                  <a:lnTo>
                    <a:pt x="229891" y="3024520"/>
                  </a:lnTo>
                  <a:lnTo>
                    <a:pt x="230737" y="3024346"/>
                  </a:lnTo>
                  <a:lnTo>
                    <a:pt x="233249" y="3024690"/>
                  </a:lnTo>
                  <a:lnTo>
                    <a:pt x="234009" y="3024924"/>
                  </a:lnTo>
                  <a:lnTo>
                    <a:pt x="235307" y="3024148"/>
                  </a:lnTo>
                  <a:lnTo>
                    <a:pt x="240394" y="3017313"/>
                  </a:lnTo>
                  <a:lnTo>
                    <a:pt x="240213" y="3015631"/>
                  </a:lnTo>
                  <a:lnTo>
                    <a:pt x="238867" y="3016553"/>
                  </a:lnTo>
                  <a:lnTo>
                    <a:pt x="237136" y="3018076"/>
                  </a:lnTo>
                  <a:lnTo>
                    <a:pt x="235491" y="3019825"/>
                  </a:lnTo>
                  <a:lnTo>
                    <a:pt x="234416" y="3021386"/>
                  </a:lnTo>
                  <a:lnTo>
                    <a:pt x="233574" y="3022840"/>
                  </a:lnTo>
                  <a:lnTo>
                    <a:pt x="232907" y="3023240"/>
                  </a:lnTo>
                  <a:lnTo>
                    <a:pt x="230273" y="3022227"/>
                  </a:lnTo>
                  <a:lnTo>
                    <a:pt x="229933" y="3021826"/>
                  </a:lnTo>
                  <a:lnTo>
                    <a:pt x="229568" y="3021939"/>
                  </a:lnTo>
                  <a:lnTo>
                    <a:pt x="228565" y="3023014"/>
                  </a:lnTo>
                  <a:lnTo>
                    <a:pt x="225317" y="3027259"/>
                  </a:lnTo>
                  <a:lnTo>
                    <a:pt x="223671" y="3028226"/>
                  </a:lnTo>
                  <a:lnTo>
                    <a:pt x="222113" y="3026874"/>
                  </a:lnTo>
                  <a:lnTo>
                    <a:pt x="220752" y="3025272"/>
                  </a:lnTo>
                  <a:lnTo>
                    <a:pt x="218841" y="3024166"/>
                  </a:lnTo>
                  <a:lnTo>
                    <a:pt x="216658" y="3023549"/>
                  </a:lnTo>
                  <a:lnTo>
                    <a:pt x="214519" y="3023400"/>
                  </a:lnTo>
                  <a:lnTo>
                    <a:pt x="214171" y="3024135"/>
                  </a:lnTo>
                  <a:lnTo>
                    <a:pt x="215483" y="3025221"/>
                  </a:lnTo>
                  <a:lnTo>
                    <a:pt x="217711" y="3027939"/>
                  </a:lnTo>
                  <a:lnTo>
                    <a:pt x="219019" y="3029101"/>
                  </a:lnTo>
                  <a:lnTo>
                    <a:pt x="222280" y="3030188"/>
                  </a:lnTo>
                  <a:lnTo>
                    <a:pt x="223541" y="3031036"/>
                  </a:lnTo>
                  <a:lnTo>
                    <a:pt x="223503" y="3032593"/>
                  </a:lnTo>
                  <a:lnTo>
                    <a:pt x="222341" y="3033318"/>
                  </a:lnTo>
                  <a:lnTo>
                    <a:pt x="217481" y="3032958"/>
                  </a:lnTo>
                  <a:lnTo>
                    <a:pt x="215964" y="3034084"/>
                  </a:lnTo>
                  <a:lnTo>
                    <a:pt x="213566" y="3036584"/>
                  </a:lnTo>
                  <a:lnTo>
                    <a:pt x="212097" y="3037281"/>
                  </a:lnTo>
                  <a:lnTo>
                    <a:pt x="211752" y="3038012"/>
                  </a:lnTo>
                  <a:lnTo>
                    <a:pt x="212264" y="3039656"/>
                  </a:lnTo>
                  <a:lnTo>
                    <a:pt x="211985" y="3041226"/>
                  </a:lnTo>
                  <a:lnTo>
                    <a:pt x="210972" y="3042643"/>
                  </a:lnTo>
                  <a:lnTo>
                    <a:pt x="205552" y="3045999"/>
                  </a:lnTo>
                  <a:lnTo>
                    <a:pt x="203721" y="3046660"/>
                  </a:lnTo>
                  <a:lnTo>
                    <a:pt x="202058" y="3046450"/>
                  </a:lnTo>
                  <a:lnTo>
                    <a:pt x="199079" y="3045199"/>
                  </a:lnTo>
                  <a:lnTo>
                    <a:pt x="198317" y="3044541"/>
                  </a:lnTo>
                  <a:lnTo>
                    <a:pt x="197881" y="3040884"/>
                  </a:lnTo>
                  <a:lnTo>
                    <a:pt x="197886" y="3040139"/>
                  </a:lnTo>
                  <a:lnTo>
                    <a:pt x="199386" y="3039530"/>
                  </a:lnTo>
                  <a:lnTo>
                    <a:pt x="203304" y="3041547"/>
                  </a:lnTo>
                  <a:lnTo>
                    <a:pt x="204747" y="3041894"/>
                  </a:lnTo>
                  <a:lnTo>
                    <a:pt x="205037" y="3041280"/>
                  </a:lnTo>
                  <a:lnTo>
                    <a:pt x="204557" y="3040582"/>
                  </a:lnTo>
                  <a:lnTo>
                    <a:pt x="204099" y="3038949"/>
                  </a:lnTo>
                  <a:lnTo>
                    <a:pt x="203516" y="3037998"/>
                  </a:lnTo>
                  <a:lnTo>
                    <a:pt x="202493" y="3037321"/>
                  </a:lnTo>
                  <a:lnTo>
                    <a:pt x="197625" y="3035981"/>
                  </a:lnTo>
                  <a:lnTo>
                    <a:pt x="197385" y="3035694"/>
                  </a:lnTo>
                  <a:lnTo>
                    <a:pt x="197442" y="3034571"/>
                  </a:lnTo>
                  <a:lnTo>
                    <a:pt x="197944" y="3034081"/>
                  </a:lnTo>
                  <a:lnTo>
                    <a:pt x="198596" y="3033777"/>
                  </a:lnTo>
                  <a:lnTo>
                    <a:pt x="199076" y="3033215"/>
                  </a:lnTo>
                  <a:lnTo>
                    <a:pt x="199408" y="3031959"/>
                  </a:lnTo>
                  <a:lnTo>
                    <a:pt x="199597" y="3030784"/>
                  </a:lnTo>
                  <a:lnTo>
                    <a:pt x="199892" y="3029534"/>
                  </a:lnTo>
                  <a:lnTo>
                    <a:pt x="200555" y="3028044"/>
                  </a:lnTo>
                  <a:lnTo>
                    <a:pt x="198873" y="3027825"/>
                  </a:lnTo>
                  <a:lnTo>
                    <a:pt x="198938" y="3026631"/>
                  </a:lnTo>
                  <a:lnTo>
                    <a:pt x="199768" y="3024857"/>
                  </a:lnTo>
                  <a:lnTo>
                    <a:pt x="200381" y="3022927"/>
                  </a:lnTo>
                  <a:lnTo>
                    <a:pt x="200217" y="3021211"/>
                  </a:lnTo>
                  <a:lnTo>
                    <a:pt x="199707" y="3020215"/>
                  </a:lnTo>
                  <a:lnTo>
                    <a:pt x="199532" y="3019003"/>
                  </a:lnTo>
                  <a:lnTo>
                    <a:pt x="200377" y="3016607"/>
                  </a:lnTo>
                  <a:lnTo>
                    <a:pt x="201276" y="3014819"/>
                  </a:lnTo>
                  <a:lnTo>
                    <a:pt x="201800" y="3014161"/>
                  </a:lnTo>
                  <a:lnTo>
                    <a:pt x="202543" y="3013574"/>
                  </a:lnTo>
                  <a:lnTo>
                    <a:pt x="203082" y="3012943"/>
                  </a:lnTo>
                  <a:lnTo>
                    <a:pt x="203153" y="3012196"/>
                  </a:lnTo>
                  <a:lnTo>
                    <a:pt x="203102" y="3011376"/>
                  </a:lnTo>
                  <a:lnTo>
                    <a:pt x="203279" y="3010529"/>
                  </a:lnTo>
                  <a:lnTo>
                    <a:pt x="204550" y="3007868"/>
                  </a:lnTo>
                  <a:lnTo>
                    <a:pt x="204750" y="3007123"/>
                  </a:lnTo>
                  <a:lnTo>
                    <a:pt x="204813" y="3005503"/>
                  </a:lnTo>
                  <a:lnTo>
                    <a:pt x="205152" y="3004374"/>
                  </a:lnTo>
                  <a:lnTo>
                    <a:pt x="205509" y="3003914"/>
                  </a:lnTo>
                  <a:lnTo>
                    <a:pt x="207295" y="3002122"/>
                  </a:lnTo>
                  <a:lnTo>
                    <a:pt x="207289" y="3001925"/>
                  </a:lnTo>
                  <a:lnTo>
                    <a:pt x="207547" y="3000679"/>
                  </a:lnTo>
                  <a:lnTo>
                    <a:pt x="207686" y="3000237"/>
                  </a:lnTo>
                  <a:lnTo>
                    <a:pt x="208037" y="2999808"/>
                  </a:lnTo>
                  <a:lnTo>
                    <a:pt x="208420" y="2999691"/>
                  </a:lnTo>
                  <a:lnTo>
                    <a:pt x="208918" y="2999692"/>
                  </a:lnTo>
                  <a:lnTo>
                    <a:pt x="210056" y="2998022"/>
                  </a:lnTo>
                  <a:lnTo>
                    <a:pt x="211303" y="2996467"/>
                  </a:lnTo>
                  <a:lnTo>
                    <a:pt x="212578" y="2995449"/>
                  </a:lnTo>
                  <a:lnTo>
                    <a:pt x="214999" y="2995501"/>
                  </a:lnTo>
                  <a:lnTo>
                    <a:pt x="217969" y="2994669"/>
                  </a:lnTo>
                  <a:lnTo>
                    <a:pt x="219183" y="2994753"/>
                  </a:lnTo>
                  <a:lnTo>
                    <a:pt x="222176" y="2996844"/>
                  </a:lnTo>
                  <a:lnTo>
                    <a:pt x="223837" y="2997554"/>
                  </a:lnTo>
                  <a:lnTo>
                    <a:pt x="225415" y="2997183"/>
                  </a:lnTo>
                  <a:lnTo>
                    <a:pt x="225318" y="2996227"/>
                  </a:lnTo>
                  <a:lnTo>
                    <a:pt x="227344" y="2994200"/>
                  </a:lnTo>
                  <a:lnTo>
                    <a:pt x="231064" y="2988134"/>
                  </a:lnTo>
                  <a:lnTo>
                    <a:pt x="232897" y="2985799"/>
                  </a:lnTo>
                  <a:lnTo>
                    <a:pt x="235393" y="2984161"/>
                  </a:lnTo>
                  <a:lnTo>
                    <a:pt x="238270" y="2983135"/>
                  </a:lnTo>
                  <a:lnTo>
                    <a:pt x="241095" y="2982685"/>
                  </a:lnTo>
                  <a:lnTo>
                    <a:pt x="243424" y="2982792"/>
                  </a:lnTo>
                  <a:lnTo>
                    <a:pt x="244817" y="2983275"/>
                  </a:lnTo>
                  <a:lnTo>
                    <a:pt x="245633" y="2984092"/>
                  </a:lnTo>
                  <a:lnTo>
                    <a:pt x="245734" y="2985293"/>
                  </a:lnTo>
                  <a:lnTo>
                    <a:pt x="245001" y="2986938"/>
                  </a:lnTo>
                  <a:lnTo>
                    <a:pt x="243680" y="2988479"/>
                  </a:lnTo>
                  <a:lnTo>
                    <a:pt x="242467" y="2988904"/>
                  </a:lnTo>
                  <a:lnTo>
                    <a:pt x="241292" y="2988551"/>
                  </a:lnTo>
                  <a:lnTo>
                    <a:pt x="237979" y="2986390"/>
                  </a:lnTo>
                  <a:lnTo>
                    <a:pt x="237039" y="2986689"/>
                  </a:lnTo>
                  <a:lnTo>
                    <a:pt x="231130" y="2991661"/>
                  </a:lnTo>
                  <a:lnTo>
                    <a:pt x="234179" y="2990568"/>
                  </a:lnTo>
                  <a:lnTo>
                    <a:pt x="237246" y="2988737"/>
                  </a:lnTo>
                  <a:lnTo>
                    <a:pt x="238116" y="2988637"/>
                  </a:lnTo>
                  <a:lnTo>
                    <a:pt x="243192" y="2991103"/>
                  </a:lnTo>
                  <a:lnTo>
                    <a:pt x="245539" y="2991599"/>
                  </a:lnTo>
                  <a:lnTo>
                    <a:pt x="247759" y="2990837"/>
                  </a:lnTo>
                  <a:lnTo>
                    <a:pt x="247907" y="2985155"/>
                  </a:lnTo>
                  <a:lnTo>
                    <a:pt x="248038" y="2984295"/>
                  </a:lnTo>
                  <a:lnTo>
                    <a:pt x="247865" y="2983685"/>
                  </a:lnTo>
                  <a:lnTo>
                    <a:pt x="248050" y="2982630"/>
                  </a:lnTo>
                  <a:lnTo>
                    <a:pt x="248601" y="2981769"/>
                  </a:lnTo>
                  <a:lnTo>
                    <a:pt x="249513" y="2981703"/>
                  </a:lnTo>
                  <a:lnTo>
                    <a:pt x="251313" y="2982017"/>
                  </a:lnTo>
                  <a:lnTo>
                    <a:pt x="252463" y="2981942"/>
                  </a:lnTo>
                  <a:lnTo>
                    <a:pt x="253177" y="2981467"/>
                  </a:lnTo>
                  <a:lnTo>
                    <a:pt x="254551" y="2980156"/>
                  </a:lnTo>
                  <a:lnTo>
                    <a:pt x="256435" y="2979943"/>
                  </a:lnTo>
                  <a:lnTo>
                    <a:pt x="261224" y="2981319"/>
                  </a:lnTo>
                  <a:lnTo>
                    <a:pt x="262795" y="2981090"/>
                  </a:lnTo>
                  <a:lnTo>
                    <a:pt x="264391" y="2980436"/>
                  </a:lnTo>
                  <a:lnTo>
                    <a:pt x="270333" y="2977150"/>
                  </a:lnTo>
                  <a:lnTo>
                    <a:pt x="271489" y="2976854"/>
                  </a:lnTo>
                  <a:lnTo>
                    <a:pt x="273058" y="2977328"/>
                  </a:lnTo>
                  <a:lnTo>
                    <a:pt x="275879" y="2979663"/>
                  </a:lnTo>
                  <a:lnTo>
                    <a:pt x="278902" y="2981381"/>
                  </a:lnTo>
                  <a:lnTo>
                    <a:pt x="280131" y="2982424"/>
                  </a:lnTo>
                  <a:lnTo>
                    <a:pt x="281052" y="2983945"/>
                  </a:lnTo>
                  <a:lnTo>
                    <a:pt x="282127" y="2988000"/>
                  </a:lnTo>
                  <a:lnTo>
                    <a:pt x="282277" y="2989964"/>
                  </a:lnTo>
                  <a:lnTo>
                    <a:pt x="281777" y="2991961"/>
                  </a:lnTo>
                  <a:lnTo>
                    <a:pt x="280212" y="2993846"/>
                  </a:lnTo>
                  <a:lnTo>
                    <a:pt x="280969" y="2998410"/>
                  </a:lnTo>
                  <a:lnTo>
                    <a:pt x="285012" y="3010246"/>
                  </a:lnTo>
                  <a:lnTo>
                    <a:pt x="285542" y="3013031"/>
                  </a:lnTo>
                  <a:lnTo>
                    <a:pt x="286033" y="3014139"/>
                  </a:lnTo>
                  <a:lnTo>
                    <a:pt x="286797" y="3017305"/>
                  </a:lnTo>
                  <a:lnTo>
                    <a:pt x="286942" y="3018771"/>
                  </a:lnTo>
                  <a:lnTo>
                    <a:pt x="286463" y="3022814"/>
                  </a:lnTo>
                  <a:lnTo>
                    <a:pt x="286417" y="3024329"/>
                  </a:lnTo>
                  <a:lnTo>
                    <a:pt x="287530" y="3021934"/>
                  </a:lnTo>
                  <a:lnTo>
                    <a:pt x="288538" y="3020090"/>
                  </a:lnTo>
                  <a:lnTo>
                    <a:pt x="289139" y="3018392"/>
                  </a:lnTo>
                  <a:lnTo>
                    <a:pt x="289007" y="3016463"/>
                  </a:lnTo>
                  <a:lnTo>
                    <a:pt x="288602" y="3015670"/>
                  </a:lnTo>
                  <a:lnTo>
                    <a:pt x="288107" y="3014956"/>
                  </a:lnTo>
                  <a:lnTo>
                    <a:pt x="287820" y="3014142"/>
                  </a:lnTo>
                  <a:lnTo>
                    <a:pt x="288234" y="3012140"/>
                  </a:lnTo>
                  <a:lnTo>
                    <a:pt x="288199" y="3009322"/>
                  </a:lnTo>
                  <a:lnTo>
                    <a:pt x="288068" y="3008080"/>
                  </a:lnTo>
                  <a:lnTo>
                    <a:pt x="286721" y="3004327"/>
                  </a:lnTo>
                  <a:lnTo>
                    <a:pt x="283058" y="2997488"/>
                  </a:lnTo>
                  <a:lnTo>
                    <a:pt x="282910" y="2993445"/>
                  </a:lnTo>
                  <a:lnTo>
                    <a:pt x="284293" y="2991931"/>
                  </a:lnTo>
                  <a:lnTo>
                    <a:pt x="284913" y="2990692"/>
                  </a:lnTo>
                  <a:lnTo>
                    <a:pt x="285059" y="2989427"/>
                  </a:lnTo>
                  <a:lnTo>
                    <a:pt x="284900" y="2986359"/>
                  </a:lnTo>
                  <a:lnTo>
                    <a:pt x="284963" y="2984873"/>
                  </a:lnTo>
                  <a:lnTo>
                    <a:pt x="285586" y="2983452"/>
                  </a:lnTo>
                  <a:lnTo>
                    <a:pt x="287168" y="2982175"/>
                  </a:lnTo>
                  <a:lnTo>
                    <a:pt x="287785" y="2982095"/>
                  </a:lnTo>
                  <a:lnTo>
                    <a:pt x="289951" y="2982649"/>
                  </a:lnTo>
                  <a:lnTo>
                    <a:pt x="290362" y="2982451"/>
                  </a:lnTo>
                  <a:lnTo>
                    <a:pt x="290888" y="2981662"/>
                  </a:lnTo>
                  <a:lnTo>
                    <a:pt x="291172" y="2981589"/>
                  </a:lnTo>
                  <a:lnTo>
                    <a:pt x="292251" y="2982238"/>
                  </a:lnTo>
                  <a:lnTo>
                    <a:pt x="295238" y="2982398"/>
                  </a:lnTo>
                  <a:lnTo>
                    <a:pt x="297732" y="2983243"/>
                  </a:lnTo>
                  <a:lnTo>
                    <a:pt x="300182" y="2984451"/>
                  </a:lnTo>
                  <a:lnTo>
                    <a:pt x="300044" y="2981680"/>
                  </a:lnTo>
                  <a:lnTo>
                    <a:pt x="298319" y="2980334"/>
                  </a:lnTo>
                  <a:lnTo>
                    <a:pt x="289524" y="2979081"/>
                  </a:lnTo>
                  <a:lnTo>
                    <a:pt x="287425" y="2979165"/>
                  </a:lnTo>
                  <a:lnTo>
                    <a:pt x="285313" y="2979587"/>
                  </a:lnTo>
                  <a:lnTo>
                    <a:pt x="282694" y="2979668"/>
                  </a:lnTo>
                  <a:lnTo>
                    <a:pt x="280282" y="2978645"/>
                  </a:lnTo>
                  <a:lnTo>
                    <a:pt x="276360" y="2975122"/>
                  </a:lnTo>
                  <a:lnTo>
                    <a:pt x="275876" y="2974820"/>
                  </a:lnTo>
                  <a:lnTo>
                    <a:pt x="274708" y="2974459"/>
                  </a:lnTo>
                  <a:lnTo>
                    <a:pt x="274286" y="2974084"/>
                  </a:lnTo>
                  <a:lnTo>
                    <a:pt x="274104" y="2973397"/>
                  </a:lnTo>
                  <a:lnTo>
                    <a:pt x="274208" y="2972754"/>
                  </a:lnTo>
                  <a:lnTo>
                    <a:pt x="274384" y="2972176"/>
                  </a:lnTo>
                  <a:lnTo>
                    <a:pt x="274424" y="2971650"/>
                  </a:lnTo>
                  <a:lnTo>
                    <a:pt x="273774" y="2969282"/>
                  </a:lnTo>
                  <a:lnTo>
                    <a:pt x="274083" y="2968111"/>
                  </a:lnTo>
                  <a:lnTo>
                    <a:pt x="275504" y="2967194"/>
                  </a:lnTo>
                  <a:lnTo>
                    <a:pt x="275554" y="2963885"/>
                  </a:lnTo>
                  <a:lnTo>
                    <a:pt x="275264" y="2962845"/>
                  </a:lnTo>
                  <a:lnTo>
                    <a:pt x="274914" y="2962237"/>
                  </a:lnTo>
                  <a:lnTo>
                    <a:pt x="274837" y="2961483"/>
                  </a:lnTo>
                  <a:lnTo>
                    <a:pt x="276776" y="2956134"/>
                  </a:lnTo>
                  <a:lnTo>
                    <a:pt x="277772" y="2954806"/>
                  </a:lnTo>
                  <a:lnTo>
                    <a:pt x="281433" y="2952748"/>
                  </a:lnTo>
                  <a:lnTo>
                    <a:pt x="283224" y="2951987"/>
                  </a:lnTo>
                  <a:lnTo>
                    <a:pt x="285013" y="2951533"/>
                  </a:lnTo>
                  <a:lnTo>
                    <a:pt x="287876" y="2951759"/>
                  </a:lnTo>
                  <a:lnTo>
                    <a:pt x="291056" y="2950196"/>
                  </a:lnTo>
                  <a:lnTo>
                    <a:pt x="292671" y="2949802"/>
                  </a:lnTo>
                  <a:lnTo>
                    <a:pt x="296199" y="2950509"/>
                  </a:lnTo>
                  <a:lnTo>
                    <a:pt x="297938" y="2950020"/>
                  </a:lnTo>
                  <a:lnTo>
                    <a:pt x="299567" y="2947825"/>
                  </a:lnTo>
                  <a:lnTo>
                    <a:pt x="300789" y="2946454"/>
                  </a:lnTo>
                  <a:lnTo>
                    <a:pt x="304064" y="2944763"/>
                  </a:lnTo>
                  <a:lnTo>
                    <a:pt x="305421" y="2942824"/>
                  </a:lnTo>
                  <a:lnTo>
                    <a:pt x="305902" y="2940796"/>
                  </a:lnTo>
                  <a:lnTo>
                    <a:pt x="306155" y="2936606"/>
                  </a:lnTo>
                  <a:lnTo>
                    <a:pt x="307205" y="2932111"/>
                  </a:lnTo>
                  <a:lnTo>
                    <a:pt x="306564" y="2930035"/>
                  </a:lnTo>
                  <a:lnTo>
                    <a:pt x="304542" y="2926494"/>
                  </a:lnTo>
                  <a:lnTo>
                    <a:pt x="304356" y="2925537"/>
                  </a:lnTo>
                  <a:lnTo>
                    <a:pt x="304277" y="2924683"/>
                  </a:lnTo>
                  <a:lnTo>
                    <a:pt x="304067" y="2923977"/>
                  </a:lnTo>
                  <a:lnTo>
                    <a:pt x="303483" y="2923462"/>
                  </a:lnTo>
                  <a:lnTo>
                    <a:pt x="303226" y="2926418"/>
                  </a:lnTo>
                  <a:lnTo>
                    <a:pt x="303669" y="2932270"/>
                  </a:lnTo>
                  <a:lnTo>
                    <a:pt x="303176" y="2935807"/>
                  </a:lnTo>
                  <a:lnTo>
                    <a:pt x="302906" y="2936550"/>
                  </a:lnTo>
                  <a:lnTo>
                    <a:pt x="301744" y="2938880"/>
                  </a:lnTo>
                  <a:lnTo>
                    <a:pt x="301749" y="2939389"/>
                  </a:lnTo>
                  <a:lnTo>
                    <a:pt x="301923" y="2941272"/>
                  </a:lnTo>
                  <a:lnTo>
                    <a:pt x="301735" y="2942205"/>
                  </a:lnTo>
                  <a:lnTo>
                    <a:pt x="300717" y="2943336"/>
                  </a:lnTo>
                  <a:lnTo>
                    <a:pt x="294089" y="2947088"/>
                  </a:lnTo>
                  <a:lnTo>
                    <a:pt x="286345" y="2948295"/>
                  </a:lnTo>
                  <a:lnTo>
                    <a:pt x="280970" y="2950190"/>
                  </a:lnTo>
                  <a:lnTo>
                    <a:pt x="280040" y="2950637"/>
                  </a:lnTo>
                  <a:lnTo>
                    <a:pt x="278634" y="2950537"/>
                  </a:lnTo>
                  <a:lnTo>
                    <a:pt x="277347" y="2950873"/>
                  </a:lnTo>
                  <a:lnTo>
                    <a:pt x="276763" y="2952668"/>
                  </a:lnTo>
                  <a:lnTo>
                    <a:pt x="275579" y="2952981"/>
                  </a:lnTo>
                  <a:lnTo>
                    <a:pt x="274782" y="2953381"/>
                  </a:lnTo>
                  <a:lnTo>
                    <a:pt x="274201" y="2953954"/>
                  </a:lnTo>
                  <a:lnTo>
                    <a:pt x="273791" y="2955150"/>
                  </a:lnTo>
                  <a:lnTo>
                    <a:pt x="273833" y="2956145"/>
                  </a:lnTo>
                  <a:lnTo>
                    <a:pt x="273992" y="2956956"/>
                  </a:lnTo>
                  <a:lnTo>
                    <a:pt x="273956" y="2957580"/>
                  </a:lnTo>
                  <a:lnTo>
                    <a:pt x="272828" y="2958902"/>
                  </a:lnTo>
                  <a:lnTo>
                    <a:pt x="271380" y="2959385"/>
                  </a:lnTo>
                  <a:lnTo>
                    <a:pt x="259274" y="2959051"/>
                  </a:lnTo>
                  <a:lnTo>
                    <a:pt x="256936" y="2960703"/>
                  </a:lnTo>
                  <a:lnTo>
                    <a:pt x="254272" y="2962991"/>
                  </a:lnTo>
                  <a:lnTo>
                    <a:pt x="250677" y="2963252"/>
                  </a:lnTo>
                  <a:lnTo>
                    <a:pt x="247369" y="2962904"/>
                  </a:lnTo>
                  <a:lnTo>
                    <a:pt x="245568" y="2963361"/>
                  </a:lnTo>
                  <a:lnTo>
                    <a:pt x="244237" y="2965270"/>
                  </a:lnTo>
                  <a:lnTo>
                    <a:pt x="243239" y="2965065"/>
                  </a:lnTo>
                  <a:lnTo>
                    <a:pt x="242288" y="2963931"/>
                  </a:lnTo>
                  <a:lnTo>
                    <a:pt x="241088" y="2963059"/>
                  </a:lnTo>
                  <a:lnTo>
                    <a:pt x="239629" y="2963251"/>
                  </a:lnTo>
                  <a:lnTo>
                    <a:pt x="237994" y="2963881"/>
                  </a:lnTo>
                  <a:lnTo>
                    <a:pt x="236436" y="2964011"/>
                  </a:lnTo>
                  <a:lnTo>
                    <a:pt x="235206" y="2962701"/>
                  </a:lnTo>
                  <a:lnTo>
                    <a:pt x="235978" y="2961850"/>
                  </a:lnTo>
                  <a:lnTo>
                    <a:pt x="237125" y="2959883"/>
                  </a:lnTo>
                  <a:lnTo>
                    <a:pt x="237633" y="2959304"/>
                  </a:lnTo>
                  <a:lnTo>
                    <a:pt x="238590" y="2958658"/>
                  </a:lnTo>
                  <a:lnTo>
                    <a:pt x="241224" y="2956429"/>
                  </a:lnTo>
                  <a:lnTo>
                    <a:pt x="239736" y="2956120"/>
                  </a:lnTo>
                  <a:lnTo>
                    <a:pt x="237887" y="2957024"/>
                  </a:lnTo>
                  <a:lnTo>
                    <a:pt x="234602" y="2959737"/>
                  </a:lnTo>
                  <a:lnTo>
                    <a:pt x="233317" y="2961103"/>
                  </a:lnTo>
                  <a:lnTo>
                    <a:pt x="232583" y="2962085"/>
                  </a:lnTo>
                  <a:lnTo>
                    <a:pt x="231971" y="2963138"/>
                  </a:lnTo>
                  <a:lnTo>
                    <a:pt x="231328" y="2963841"/>
                  </a:lnTo>
                  <a:lnTo>
                    <a:pt x="230475" y="2964127"/>
                  </a:lnTo>
                  <a:lnTo>
                    <a:pt x="229587" y="2964260"/>
                  </a:lnTo>
                  <a:lnTo>
                    <a:pt x="228850" y="2964470"/>
                  </a:lnTo>
                  <a:lnTo>
                    <a:pt x="227063" y="2965518"/>
                  </a:lnTo>
                  <a:lnTo>
                    <a:pt x="225853" y="2965969"/>
                  </a:lnTo>
                  <a:lnTo>
                    <a:pt x="225326" y="2965264"/>
                  </a:lnTo>
                  <a:lnTo>
                    <a:pt x="225611" y="2962803"/>
                  </a:lnTo>
                  <a:lnTo>
                    <a:pt x="226077" y="2961605"/>
                  </a:lnTo>
                  <a:lnTo>
                    <a:pt x="226711" y="2960273"/>
                  </a:lnTo>
                  <a:lnTo>
                    <a:pt x="227011" y="2959068"/>
                  </a:lnTo>
                  <a:lnTo>
                    <a:pt x="225932" y="2957523"/>
                  </a:lnTo>
                  <a:lnTo>
                    <a:pt x="225808" y="2956409"/>
                  </a:lnTo>
                  <a:lnTo>
                    <a:pt x="225981" y="2955109"/>
                  </a:lnTo>
                  <a:lnTo>
                    <a:pt x="226317" y="2953873"/>
                  </a:lnTo>
                  <a:lnTo>
                    <a:pt x="227221" y="2953470"/>
                  </a:lnTo>
                  <a:lnTo>
                    <a:pt x="227838" y="2952874"/>
                  </a:lnTo>
                  <a:lnTo>
                    <a:pt x="228414" y="2952187"/>
                  </a:lnTo>
                  <a:lnTo>
                    <a:pt x="229185" y="2951535"/>
                  </a:lnTo>
                  <a:lnTo>
                    <a:pt x="230232" y="2951230"/>
                  </a:lnTo>
                  <a:lnTo>
                    <a:pt x="231813" y="2952000"/>
                  </a:lnTo>
                  <a:lnTo>
                    <a:pt x="232732" y="2952069"/>
                  </a:lnTo>
                  <a:lnTo>
                    <a:pt x="233968" y="2951082"/>
                  </a:lnTo>
                  <a:lnTo>
                    <a:pt x="234078" y="2949450"/>
                  </a:lnTo>
                  <a:lnTo>
                    <a:pt x="233264" y="2945713"/>
                  </a:lnTo>
                  <a:lnTo>
                    <a:pt x="233283" y="2942159"/>
                  </a:lnTo>
                  <a:lnTo>
                    <a:pt x="233491" y="2941142"/>
                  </a:lnTo>
                  <a:lnTo>
                    <a:pt x="234392" y="2939867"/>
                  </a:lnTo>
                  <a:lnTo>
                    <a:pt x="235328" y="2939341"/>
                  </a:lnTo>
                  <a:lnTo>
                    <a:pt x="236299" y="2939042"/>
                  </a:lnTo>
                  <a:lnTo>
                    <a:pt x="237287" y="2938482"/>
                  </a:lnTo>
                  <a:lnTo>
                    <a:pt x="237981" y="2937955"/>
                  </a:lnTo>
                  <a:lnTo>
                    <a:pt x="238758" y="2937242"/>
                  </a:lnTo>
                  <a:lnTo>
                    <a:pt x="239068" y="2936446"/>
                  </a:lnTo>
                  <a:lnTo>
                    <a:pt x="238356" y="2935685"/>
                  </a:lnTo>
                  <a:lnTo>
                    <a:pt x="237722" y="2935722"/>
                  </a:lnTo>
                  <a:lnTo>
                    <a:pt x="236214" y="2936939"/>
                  </a:lnTo>
                  <a:lnTo>
                    <a:pt x="235271" y="2937442"/>
                  </a:lnTo>
                  <a:lnTo>
                    <a:pt x="235123" y="2938365"/>
                  </a:lnTo>
                  <a:lnTo>
                    <a:pt x="234561" y="2939160"/>
                  </a:lnTo>
                  <a:lnTo>
                    <a:pt x="233762" y="2940042"/>
                  </a:lnTo>
                  <a:lnTo>
                    <a:pt x="232889" y="2941251"/>
                  </a:lnTo>
                  <a:lnTo>
                    <a:pt x="232282" y="2942657"/>
                  </a:lnTo>
                  <a:lnTo>
                    <a:pt x="232392" y="2943439"/>
                  </a:lnTo>
                  <a:lnTo>
                    <a:pt x="232665" y="2944344"/>
                  </a:lnTo>
                  <a:lnTo>
                    <a:pt x="232567" y="2946113"/>
                  </a:lnTo>
                  <a:lnTo>
                    <a:pt x="231370" y="2948024"/>
                  </a:lnTo>
                  <a:lnTo>
                    <a:pt x="229104" y="2949689"/>
                  </a:lnTo>
                  <a:lnTo>
                    <a:pt x="224554" y="2952197"/>
                  </a:lnTo>
                  <a:lnTo>
                    <a:pt x="223289" y="2949773"/>
                  </a:lnTo>
                  <a:lnTo>
                    <a:pt x="222839" y="2948354"/>
                  </a:lnTo>
                  <a:lnTo>
                    <a:pt x="223545" y="2945128"/>
                  </a:lnTo>
                  <a:lnTo>
                    <a:pt x="223274" y="2943858"/>
                  </a:lnTo>
                  <a:lnTo>
                    <a:pt x="222856" y="2942615"/>
                  </a:lnTo>
                  <a:lnTo>
                    <a:pt x="222816" y="2941068"/>
                  </a:lnTo>
                  <a:lnTo>
                    <a:pt x="223547" y="2940687"/>
                  </a:lnTo>
                  <a:lnTo>
                    <a:pt x="224737" y="2936685"/>
                  </a:lnTo>
                  <a:lnTo>
                    <a:pt x="227220" y="2933605"/>
                  </a:lnTo>
                  <a:lnTo>
                    <a:pt x="230228" y="2931922"/>
                  </a:lnTo>
                  <a:lnTo>
                    <a:pt x="233009" y="2932082"/>
                  </a:lnTo>
                  <a:lnTo>
                    <a:pt x="233616" y="2932792"/>
                  </a:lnTo>
                  <a:lnTo>
                    <a:pt x="233928" y="2933823"/>
                  </a:lnTo>
                  <a:lnTo>
                    <a:pt x="234084" y="2934774"/>
                  </a:lnTo>
                  <a:lnTo>
                    <a:pt x="234234" y="2935226"/>
                  </a:lnTo>
                  <a:lnTo>
                    <a:pt x="235210" y="2935191"/>
                  </a:lnTo>
                  <a:lnTo>
                    <a:pt x="235633" y="2934349"/>
                  </a:lnTo>
                  <a:lnTo>
                    <a:pt x="235797" y="2933324"/>
                  </a:lnTo>
                  <a:lnTo>
                    <a:pt x="235996" y="2932707"/>
                  </a:lnTo>
                  <a:lnTo>
                    <a:pt x="236830" y="2932438"/>
                  </a:lnTo>
                  <a:lnTo>
                    <a:pt x="238295" y="2932775"/>
                  </a:lnTo>
                  <a:lnTo>
                    <a:pt x="239027" y="2932677"/>
                  </a:lnTo>
                  <a:lnTo>
                    <a:pt x="239864" y="2932064"/>
                  </a:lnTo>
                  <a:lnTo>
                    <a:pt x="240711" y="2931162"/>
                  </a:lnTo>
                  <a:lnTo>
                    <a:pt x="242241" y="2929222"/>
                  </a:lnTo>
                  <a:lnTo>
                    <a:pt x="240911" y="2929255"/>
                  </a:lnTo>
                  <a:lnTo>
                    <a:pt x="237945" y="2929898"/>
                  </a:lnTo>
                  <a:lnTo>
                    <a:pt x="231652" y="2928232"/>
                  </a:lnTo>
                  <a:lnTo>
                    <a:pt x="230186" y="2928478"/>
                  </a:lnTo>
                  <a:lnTo>
                    <a:pt x="228535" y="2929473"/>
                  </a:lnTo>
                  <a:lnTo>
                    <a:pt x="227705" y="2929843"/>
                  </a:lnTo>
                  <a:lnTo>
                    <a:pt x="227041" y="2929829"/>
                  </a:lnTo>
                  <a:lnTo>
                    <a:pt x="226243" y="2929644"/>
                  </a:lnTo>
                  <a:lnTo>
                    <a:pt x="225707" y="2929966"/>
                  </a:lnTo>
                  <a:lnTo>
                    <a:pt x="225242" y="2930535"/>
                  </a:lnTo>
                  <a:lnTo>
                    <a:pt x="224656" y="2931112"/>
                  </a:lnTo>
                  <a:lnTo>
                    <a:pt x="218847" y="2935725"/>
                  </a:lnTo>
                  <a:lnTo>
                    <a:pt x="218254" y="2936348"/>
                  </a:lnTo>
                  <a:lnTo>
                    <a:pt x="217505" y="2937370"/>
                  </a:lnTo>
                  <a:lnTo>
                    <a:pt x="216808" y="2937944"/>
                  </a:lnTo>
                  <a:lnTo>
                    <a:pt x="216134" y="2938244"/>
                  </a:lnTo>
                  <a:lnTo>
                    <a:pt x="214789" y="2938449"/>
                  </a:lnTo>
                  <a:lnTo>
                    <a:pt x="214129" y="2938680"/>
                  </a:lnTo>
                  <a:lnTo>
                    <a:pt x="208947" y="2943632"/>
                  </a:lnTo>
                  <a:lnTo>
                    <a:pt x="204056" y="2946307"/>
                  </a:lnTo>
                  <a:lnTo>
                    <a:pt x="202850" y="2946703"/>
                  </a:lnTo>
                  <a:lnTo>
                    <a:pt x="202014" y="2946251"/>
                  </a:lnTo>
                  <a:lnTo>
                    <a:pt x="201628" y="2945446"/>
                  </a:lnTo>
                  <a:lnTo>
                    <a:pt x="201363" y="2944585"/>
                  </a:lnTo>
                  <a:lnTo>
                    <a:pt x="200882" y="2943993"/>
                  </a:lnTo>
                  <a:lnTo>
                    <a:pt x="199332" y="2943099"/>
                  </a:lnTo>
                  <a:lnTo>
                    <a:pt x="198691" y="2942521"/>
                  </a:lnTo>
                  <a:lnTo>
                    <a:pt x="198187" y="2941735"/>
                  </a:lnTo>
                  <a:lnTo>
                    <a:pt x="199576" y="2940819"/>
                  </a:lnTo>
                  <a:lnTo>
                    <a:pt x="200944" y="2940454"/>
                  </a:lnTo>
                  <a:lnTo>
                    <a:pt x="203488" y="2940304"/>
                  </a:lnTo>
                  <a:lnTo>
                    <a:pt x="203847" y="2938200"/>
                  </a:lnTo>
                  <a:lnTo>
                    <a:pt x="204843" y="2936285"/>
                  </a:lnTo>
                  <a:lnTo>
                    <a:pt x="206278" y="2934845"/>
                  </a:lnTo>
                  <a:lnTo>
                    <a:pt x="207952" y="2934158"/>
                  </a:lnTo>
                  <a:lnTo>
                    <a:pt x="208800" y="2934191"/>
                  </a:lnTo>
                  <a:lnTo>
                    <a:pt x="209265" y="2934480"/>
                  </a:lnTo>
                  <a:lnTo>
                    <a:pt x="209642" y="2934903"/>
                  </a:lnTo>
                  <a:lnTo>
                    <a:pt x="210206" y="2935338"/>
                  </a:lnTo>
                  <a:lnTo>
                    <a:pt x="211052" y="2935370"/>
                  </a:lnTo>
                  <a:lnTo>
                    <a:pt x="211637" y="2934673"/>
                  </a:lnTo>
                  <a:lnTo>
                    <a:pt x="212180" y="2933719"/>
                  </a:lnTo>
                  <a:lnTo>
                    <a:pt x="212866" y="2932990"/>
                  </a:lnTo>
                  <a:lnTo>
                    <a:pt x="214319" y="2932055"/>
                  </a:lnTo>
                  <a:lnTo>
                    <a:pt x="215847" y="2930719"/>
                  </a:lnTo>
                  <a:lnTo>
                    <a:pt x="217000" y="2928990"/>
                  </a:lnTo>
                  <a:lnTo>
                    <a:pt x="217535" y="2926078"/>
                  </a:lnTo>
                  <a:lnTo>
                    <a:pt x="218462" y="2924040"/>
                  </a:lnTo>
                  <a:lnTo>
                    <a:pt x="218649" y="2923692"/>
                  </a:lnTo>
                  <a:lnTo>
                    <a:pt x="219560" y="2920554"/>
                  </a:lnTo>
                  <a:lnTo>
                    <a:pt x="220170" y="2919444"/>
                  </a:lnTo>
                  <a:lnTo>
                    <a:pt x="221570" y="2917930"/>
                  </a:lnTo>
                  <a:lnTo>
                    <a:pt x="226309" y="2914161"/>
                  </a:lnTo>
                  <a:lnTo>
                    <a:pt x="226780" y="2913453"/>
                  </a:lnTo>
                  <a:lnTo>
                    <a:pt x="227330" y="2912493"/>
                  </a:lnTo>
                  <a:lnTo>
                    <a:pt x="227970" y="2911534"/>
                  </a:lnTo>
                  <a:lnTo>
                    <a:pt x="228703" y="2910829"/>
                  </a:lnTo>
                  <a:lnTo>
                    <a:pt x="231166" y="2909758"/>
                  </a:lnTo>
                  <a:lnTo>
                    <a:pt x="231790" y="2909076"/>
                  </a:lnTo>
                  <a:lnTo>
                    <a:pt x="232384" y="2908033"/>
                  </a:lnTo>
                  <a:lnTo>
                    <a:pt x="232841" y="2907555"/>
                  </a:lnTo>
                  <a:lnTo>
                    <a:pt x="233344" y="2907206"/>
                  </a:lnTo>
                  <a:lnTo>
                    <a:pt x="234866" y="2905794"/>
                  </a:lnTo>
                  <a:lnTo>
                    <a:pt x="235307" y="2905524"/>
                  </a:lnTo>
                  <a:lnTo>
                    <a:pt x="235715" y="2905085"/>
                  </a:lnTo>
                  <a:lnTo>
                    <a:pt x="236360" y="2903887"/>
                  </a:lnTo>
                  <a:lnTo>
                    <a:pt x="237178" y="2901873"/>
                  </a:lnTo>
                  <a:lnTo>
                    <a:pt x="238443" y="2897838"/>
                  </a:lnTo>
                  <a:lnTo>
                    <a:pt x="239333" y="2895726"/>
                  </a:lnTo>
                  <a:lnTo>
                    <a:pt x="241074" y="2893065"/>
                  </a:lnTo>
                  <a:lnTo>
                    <a:pt x="243304" y="2891892"/>
                  </a:lnTo>
                  <a:lnTo>
                    <a:pt x="245620" y="2891825"/>
                  </a:lnTo>
                  <a:lnTo>
                    <a:pt x="248209" y="2892599"/>
                  </a:lnTo>
                  <a:lnTo>
                    <a:pt x="248812" y="2892422"/>
                  </a:lnTo>
                  <a:lnTo>
                    <a:pt x="249185" y="2891924"/>
                  </a:lnTo>
                  <a:lnTo>
                    <a:pt x="249080" y="2891098"/>
                  </a:lnTo>
                  <a:lnTo>
                    <a:pt x="248760" y="2890853"/>
                  </a:lnTo>
                  <a:lnTo>
                    <a:pt x="244515" y="2890062"/>
                  </a:lnTo>
                  <a:lnTo>
                    <a:pt x="243655" y="2889374"/>
                  </a:lnTo>
                  <a:lnTo>
                    <a:pt x="243637" y="2887806"/>
                  </a:lnTo>
                  <a:lnTo>
                    <a:pt x="243278" y="2887620"/>
                  </a:lnTo>
                  <a:lnTo>
                    <a:pt x="242169" y="2889411"/>
                  </a:lnTo>
                  <a:lnTo>
                    <a:pt x="240372" y="2891317"/>
                  </a:lnTo>
                  <a:lnTo>
                    <a:pt x="238524" y="2892919"/>
                  </a:lnTo>
                  <a:lnTo>
                    <a:pt x="237263" y="2893814"/>
                  </a:lnTo>
                  <a:lnTo>
                    <a:pt x="234257" y="2894761"/>
                  </a:lnTo>
                  <a:lnTo>
                    <a:pt x="233279" y="2895323"/>
                  </a:lnTo>
                  <a:lnTo>
                    <a:pt x="232556" y="2895867"/>
                  </a:lnTo>
                  <a:lnTo>
                    <a:pt x="231857" y="2896254"/>
                  </a:lnTo>
                  <a:lnTo>
                    <a:pt x="230959" y="2896401"/>
                  </a:lnTo>
                  <a:lnTo>
                    <a:pt x="229202" y="2895902"/>
                  </a:lnTo>
                  <a:lnTo>
                    <a:pt x="227598" y="2894685"/>
                  </a:lnTo>
                  <a:lnTo>
                    <a:pt x="224591" y="2890959"/>
                  </a:lnTo>
                  <a:lnTo>
                    <a:pt x="221168" y="2888730"/>
                  </a:lnTo>
                  <a:lnTo>
                    <a:pt x="220782" y="2888029"/>
                  </a:lnTo>
                  <a:lnTo>
                    <a:pt x="221508" y="2885443"/>
                  </a:lnTo>
                  <a:lnTo>
                    <a:pt x="221304" y="2884597"/>
                  </a:lnTo>
                  <a:lnTo>
                    <a:pt x="220920" y="2883851"/>
                  </a:lnTo>
                  <a:lnTo>
                    <a:pt x="220710" y="2882976"/>
                  </a:lnTo>
                  <a:lnTo>
                    <a:pt x="220847" y="2879787"/>
                  </a:lnTo>
                  <a:lnTo>
                    <a:pt x="221000" y="2879295"/>
                  </a:lnTo>
                  <a:lnTo>
                    <a:pt x="221806" y="2878575"/>
                  </a:lnTo>
                  <a:lnTo>
                    <a:pt x="222570" y="2876410"/>
                  </a:lnTo>
                  <a:lnTo>
                    <a:pt x="223560" y="2872670"/>
                  </a:lnTo>
                  <a:lnTo>
                    <a:pt x="224470" y="2870526"/>
                  </a:lnTo>
                  <a:lnTo>
                    <a:pt x="225868" y="2866298"/>
                  </a:lnTo>
                  <a:lnTo>
                    <a:pt x="226767" y="2864169"/>
                  </a:lnTo>
                  <a:lnTo>
                    <a:pt x="226894" y="2863587"/>
                  </a:lnTo>
                  <a:lnTo>
                    <a:pt x="227167" y="2861574"/>
                  </a:lnTo>
                  <a:lnTo>
                    <a:pt x="227578" y="2860419"/>
                  </a:lnTo>
                  <a:lnTo>
                    <a:pt x="228280" y="2859649"/>
                  </a:lnTo>
                  <a:lnTo>
                    <a:pt x="229068" y="2859634"/>
                  </a:lnTo>
                  <a:lnTo>
                    <a:pt x="229911" y="2859898"/>
                  </a:lnTo>
                  <a:lnTo>
                    <a:pt x="230775" y="2859998"/>
                  </a:lnTo>
                  <a:lnTo>
                    <a:pt x="230300" y="2858510"/>
                  </a:lnTo>
                  <a:lnTo>
                    <a:pt x="229095" y="2857933"/>
                  </a:lnTo>
                  <a:lnTo>
                    <a:pt x="228227" y="2857156"/>
                  </a:lnTo>
                  <a:lnTo>
                    <a:pt x="228742" y="2855044"/>
                  </a:lnTo>
                  <a:lnTo>
                    <a:pt x="229671" y="2854642"/>
                  </a:lnTo>
                  <a:lnTo>
                    <a:pt x="232714" y="2855618"/>
                  </a:lnTo>
                  <a:lnTo>
                    <a:pt x="233939" y="2855693"/>
                  </a:lnTo>
                  <a:lnTo>
                    <a:pt x="233181" y="2854769"/>
                  </a:lnTo>
                  <a:lnTo>
                    <a:pt x="229386" y="2853283"/>
                  </a:lnTo>
                  <a:lnTo>
                    <a:pt x="228684" y="2852342"/>
                  </a:lnTo>
                  <a:lnTo>
                    <a:pt x="228425" y="2850831"/>
                  </a:lnTo>
                  <a:lnTo>
                    <a:pt x="228087" y="2842959"/>
                  </a:lnTo>
                  <a:lnTo>
                    <a:pt x="228202" y="2842013"/>
                  </a:lnTo>
                  <a:lnTo>
                    <a:pt x="228434" y="2841154"/>
                  </a:lnTo>
                  <a:lnTo>
                    <a:pt x="228204" y="2840725"/>
                  </a:lnTo>
                  <a:lnTo>
                    <a:pt x="227726" y="2840702"/>
                  </a:lnTo>
                  <a:lnTo>
                    <a:pt x="227224" y="2841069"/>
                  </a:lnTo>
                  <a:lnTo>
                    <a:pt x="226858" y="2841857"/>
                  </a:lnTo>
                  <a:lnTo>
                    <a:pt x="226596" y="2842956"/>
                  </a:lnTo>
                  <a:lnTo>
                    <a:pt x="226347" y="2844833"/>
                  </a:lnTo>
                  <a:lnTo>
                    <a:pt x="224734" y="2844987"/>
                  </a:lnTo>
                  <a:lnTo>
                    <a:pt x="223834" y="2843827"/>
                  </a:lnTo>
                  <a:lnTo>
                    <a:pt x="220969" y="2835090"/>
                  </a:lnTo>
                  <a:lnTo>
                    <a:pt x="220424" y="2834143"/>
                  </a:lnTo>
                  <a:lnTo>
                    <a:pt x="219588" y="2833080"/>
                  </a:lnTo>
                  <a:lnTo>
                    <a:pt x="219212" y="2831416"/>
                  </a:lnTo>
                  <a:lnTo>
                    <a:pt x="219055" y="2827900"/>
                  </a:lnTo>
                  <a:lnTo>
                    <a:pt x="219537" y="2825666"/>
                  </a:lnTo>
                  <a:lnTo>
                    <a:pt x="220920" y="2824097"/>
                  </a:lnTo>
                  <a:lnTo>
                    <a:pt x="222615" y="2823069"/>
                  </a:lnTo>
                  <a:lnTo>
                    <a:pt x="224025" y="2822452"/>
                  </a:lnTo>
                  <a:lnTo>
                    <a:pt x="222239" y="2821434"/>
                  </a:lnTo>
                  <a:lnTo>
                    <a:pt x="221837" y="2820602"/>
                  </a:lnTo>
                  <a:lnTo>
                    <a:pt x="222708" y="2819586"/>
                  </a:lnTo>
                  <a:lnTo>
                    <a:pt x="223775" y="2818731"/>
                  </a:lnTo>
                  <a:lnTo>
                    <a:pt x="223991" y="2818054"/>
                  </a:lnTo>
                  <a:lnTo>
                    <a:pt x="223980" y="2817190"/>
                  </a:lnTo>
                  <a:lnTo>
                    <a:pt x="224355" y="2815772"/>
                  </a:lnTo>
                  <a:lnTo>
                    <a:pt x="225702" y="2813920"/>
                  </a:lnTo>
                  <a:lnTo>
                    <a:pt x="228918" y="2812769"/>
                  </a:lnTo>
                  <a:lnTo>
                    <a:pt x="230526" y="2811467"/>
                  </a:lnTo>
                  <a:lnTo>
                    <a:pt x="228773" y="2810425"/>
                  </a:lnTo>
                  <a:lnTo>
                    <a:pt x="227797" y="2810255"/>
                  </a:lnTo>
                  <a:lnTo>
                    <a:pt x="226692" y="2810681"/>
                  </a:lnTo>
                  <a:lnTo>
                    <a:pt x="225497" y="2811554"/>
                  </a:lnTo>
                  <a:lnTo>
                    <a:pt x="224680" y="2812008"/>
                  </a:lnTo>
                  <a:lnTo>
                    <a:pt x="224126" y="2811710"/>
                  </a:lnTo>
                  <a:lnTo>
                    <a:pt x="223712" y="2810341"/>
                  </a:lnTo>
                  <a:lnTo>
                    <a:pt x="223765" y="2808148"/>
                  </a:lnTo>
                  <a:lnTo>
                    <a:pt x="225212" y="2803078"/>
                  </a:lnTo>
                  <a:lnTo>
                    <a:pt x="225704" y="2800402"/>
                  </a:lnTo>
                  <a:lnTo>
                    <a:pt x="227237" y="2801491"/>
                  </a:lnTo>
                  <a:lnTo>
                    <a:pt x="229394" y="2804873"/>
                  </a:lnTo>
                  <a:lnTo>
                    <a:pt x="230959" y="2805764"/>
                  </a:lnTo>
                  <a:lnTo>
                    <a:pt x="232459" y="2805327"/>
                  </a:lnTo>
                  <a:lnTo>
                    <a:pt x="234140" y="2804311"/>
                  </a:lnTo>
                  <a:lnTo>
                    <a:pt x="235719" y="2803760"/>
                  </a:lnTo>
                  <a:lnTo>
                    <a:pt x="236915" y="2804729"/>
                  </a:lnTo>
                  <a:lnTo>
                    <a:pt x="236989" y="2806589"/>
                  </a:lnTo>
                  <a:lnTo>
                    <a:pt x="235750" y="2811509"/>
                  </a:lnTo>
                  <a:lnTo>
                    <a:pt x="235575" y="2813321"/>
                  </a:lnTo>
                  <a:lnTo>
                    <a:pt x="235856" y="2813936"/>
                  </a:lnTo>
                  <a:lnTo>
                    <a:pt x="237245" y="2815907"/>
                  </a:lnTo>
                  <a:lnTo>
                    <a:pt x="237518" y="2816884"/>
                  </a:lnTo>
                  <a:lnTo>
                    <a:pt x="237871" y="2819698"/>
                  </a:lnTo>
                  <a:lnTo>
                    <a:pt x="238592" y="2819155"/>
                  </a:lnTo>
                  <a:lnTo>
                    <a:pt x="238277" y="2817395"/>
                  </a:lnTo>
                  <a:lnTo>
                    <a:pt x="238197" y="2816314"/>
                  </a:lnTo>
                  <a:lnTo>
                    <a:pt x="238361" y="2815655"/>
                  </a:lnTo>
                  <a:lnTo>
                    <a:pt x="239191" y="2815514"/>
                  </a:lnTo>
                  <a:lnTo>
                    <a:pt x="239912" y="2816361"/>
                  </a:lnTo>
                  <a:lnTo>
                    <a:pt x="240823" y="2818650"/>
                  </a:lnTo>
                  <a:lnTo>
                    <a:pt x="242503" y="2826380"/>
                  </a:lnTo>
                  <a:lnTo>
                    <a:pt x="244082" y="2829437"/>
                  </a:lnTo>
                  <a:lnTo>
                    <a:pt x="244337" y="2830658"/>
                  </a:lnTo>
                  <a:lnTo>
                    <a:pt x="244461" y="2830799"/>
                  </a:lnTo>
                  <a:lnTo>
                    <a:pt x="244686" y="2831537"/>
                  </a:lnTo>
                  <a:lnTo>
                    <a:pt x="244691" y="2832264"/>
                  </a:lnTo>
                  <a:lnTo>
                    <a:pt x="244200" y="2832352"/>
                  </a:lnTo>
                  <a:lnTo>
                    <a:pt x="243923" y="2832507"/>
                  </a:lnTo>
                  <a:lnTo>
                    <a:pt x="243559" y="2833038"/>
                  </a:lnTo>
                  <a:lnTo>
                    <a:pt x="243216" y="2833702"/>
                  </a:lnTo>
                  <a:lnTo>
                    <a:pt x="243013" y="2834249"/>
                  </a:lnTo>
                  <a:lnTo>
                    <a:pt x="242807" y="2835870"/>
                  </a:lnTo>
                  <a:lnTo>
                    <a:pt x="243251" y="2835884"/>
                  </a:lnTo>
                  <a:lnTo>
                    <a:pt x="244038" y="2834907"/>
                  </a:lnTo>
                  <a:lnTo>
                    <a:pt x="245676" y="2832121"/>
                  </a:lnTo>
                  <a:lnTo>
                    <a:pt x="246101" y="2830942"/>
                  </a:lnTo>
                  <a:lnTo>
                    <a:pt x="245948" y="2830007"/>
                  </a:lnTo>
                  <a:lnTo>
                    <a:pt x="245000" y="2829319"/>
                  </a:lnTo>
                  <a:lnTo>
                    <a:pt x="245302" y="2828709"/>
                  </a:lnTo>
                  <a:lnTo>
                    <a:pt x="246160" y="2828726"/>
                  </a:lnTo>
                  <a:lnTo>
                    <a:pt x="247877" y="2828079"/>
                  </a:lnTo>
                  <a:lnTo>
                    <a:pt x="248678" y="2827889"/>
                  </a:lnTo>
                  <a:lnTo>
                    <a:pt x="254384" y="2829201"/>
                  </a:lnTo>
                  <a:lnTo>
                    <a:pt x="255871" y="2828577"/>
                  </a:lnTo>
                  <a:lnTo>
                    <a:pt x="257611" y="2826699"/>
                  </a:lnTo>
                  <a:lnTo>
                    <a:pt x="259082" y="2830050"/>
                  </a:lnTo>
                  <a:lnTo>
                    <a:pt x="261874" y="2832479"/>
                  </a:lnTo>
                  <a:lnTo>
                    <a:pt x="267922" y="2835549"/>
                  </a:lnTo>
                  <a:lnTo>
                    <a:pt x="269049" y="2836473"/>
                  </a:lnTo>
                  <a:lnTo>
                    <a:pt x="269892" y="2837875"/>
                  </a:lnTo>
                  <a:lnTo>
                    <a:pt x="270237" y="2839514"/>
                  </a:lnTo>
                  <a:lnTo>
                    <a:pt x="269760" y="2841732"/>
                  </a:lnTo>
                  <a:lnTo>
                    <a:pt x="269926" y="2842801"/>
                  </a:lnTo>
                  <a:lnTo>
                    <a:pt x="269836" y="2843275"/>
                  </a:lnTo>
                  <a:lnTo>
                    <a:pt x="269407" y="2843854"/>
                  </a:lnTo>
                  <a:lnTo>
                    <a:pt x="268501" y="2844445"/>
                  </a:lnTo>
                  <a:lnTo>
                    <a:pt x="268071" y="2844882"/>
                  </a:lnTo>
                  <a:lnTo>
                    <a:pt x="267402" y="2845692"/>
                  </a:lnTo>
                  <a:lnTo>
                    <a:pt x="264929" y="2848284"/>
                  </a:lnTo>
                  <a:lnTo>
                    <a:pt x="268154" y="2846640"/>
                  </a:lnTo>
                  <a:lnTo>
                    <a:pt x="269734" y="2846319"/>
                  </a:lnTo>
                  <a:lnTo>
                    <a:pt x="270544" y="2847432"/>
                  </a:lnTo>
                  <a:lnTo>
                    <a:pt x="270994" y="2848828"/>
                  </a:lnTo>
                  <a:lnTo>
                    <a:pt x="272501" y="2851634"/>
                  </a:lnTo>
                  <a:lnTo>
                    <a:pt x="272845" y="2853324"/>
                  </a:lnTo>
                  <a:lnTo>
                    <a:pt x="272548" y="2854603"/>
                  </a:lnTo>
                  <a:lnTo>
                    <a:pt x="270179" y="2859924"/>
                  </a:lnTo>
                  <a:lnTo>
                    <a:pt x="270258" y="2861376"/>
                  </a:lnTo>
                  <a:lnTo>
                    <a:pt x="273168" y="2866004"/>
                  </a:lnTo>
                  <a:lnTo>
                    <a:pt x="273880" y="2863690"/>
                  </a:lnTo>
                  <a:lnTo>
                    <a:pt x="273339" y="2862020"/>
                  </a:lnTo>
                  <a:lnTo>
                    <a:pt x="272549" y="2860385"/>
                  </a:lnTo>
                  <a:lnTo>
                    <a:pt x="272506" y="2858185"/>
                  </a:lnTo>
                  <a:lnTo>
                    <a:pt x="273085" y="2856818"/>
                  </a:lnTo>
                  <a:lnTo>
                    <a:pt x="274473" y="2854848"/>
                  </a:lnTo>
                  <a:lnTo>
                    <a:pt x="274816" y="2853419"/>
                  </a:lnTo>
                  <a:lnTo>
                    <a:pt x="274544" y="2852452"/>
                  </a:lnTo>
                  <a:lnTo>
                    <a:pt x="273043" y="2850232"/>
                  </a:lnTo>
                  <a:lnTo>
                    <a:pt x="272424" y="2849661"/>
                  </a:lnTo>
                  <a:lnTo>
                    <a:pt x="272017" y="2848933"/>
                  </a:lnTo>
                  <a:lnTo>
                    <a:pt x="271338" y="2846116"/>
                  </a:lnTo>
                  <a:lnTo>
                    <a:pt x="271328" y="2845274"/>
                  </a:lnTo>
                  <a:lnTo>
                    <a:pt x="271239" y="2844907"/>
                  </a:lnTo>
                  <a:lnTo>
                    <a:pt x="271393" y="2841559"/>
                  </a:lnTo>
                  <a:lnTo>
                    <a:pt x="271244" y="2840820"/>
                  </a:lnTo>
                  <a:lnTo>
                    <a:pt x="271333" y="2837990"/>
                  </a:lnTo>
                  <a:lnTo>
                    <a:pt x="271060" y="2837185"/>
                  </a:lnTo>
                  <a:lnTo>
                    <a:pt x="270682" y="2836587"/>
                  </a:lnTo>
                  <a:lnTo>
                    <a:pt x="270577" y="2835510"/>
                  </a:lnTo>
                  <a:lnTo>
                    <a:pt x="270886" y="2834297"/>
                  </a:lnTo>
                  <a:lnTo>
                    <a:pt x="271765" y="2833271"/>
                  </a:lnTo>
                  <a:lnTo>
                    <a:pt x="270316" y="2833042"/>
                  </a:lnTo>
                  <a:lnTo>
                    <a:pt x="266628" y="2830587"/>
                  </a:lnTo>
                  <a:lnTo>
                    <a:pt x="260582" y="2828261"/>
                  </a:lnTo>
                  <a:lnTo>
                    <a:pt x="258643" y="2825142"/>
                  </a:lnTo>
                  <a:lnTo>
                    <a:pt x="257404" y="2823867"/>
                  </a:lnTo>
                  <a:lnTo>
                    <a:pt x="256187" y="2824683"/>
                  </a:lnTo>
                  <a:lnTo>
                    <a:pt x="255079" y="2826220"/>
                  </a:lnTo>
                  <a:lnTo>
                    <a:pt x="253725" y="2827104"/>
                  </a:lnTo>
                  <a:lnTo>
                    <a:pt x="252283" y="2827450"/>
                  </a:lnTo>
                  <a:lnTo>
                    <a:pt x="250907" y="2827377"/>
                  </a:lnTo>
                  <a:lnTo>
                    <a:pt x="250127" y="2827116"/>
                  </a:lnTo>
                  <a:lnTo>
                    <a:pt x="247936" y="2825807"/>
                  </a:lnTo>
                  <a:lnTo>
                    <a:pt x="247178" y="2825758"/>
                  </a:lnTo>
                  <a:lnTo>
                    <a:pt x="246524" y="2826126"/>
                  </a:lnTo>
                  <a:lnTo>
                    <a:pt x="245871" y="2826384"/>
                  </a:lnTo>
                  <a:lnTo>
                    <a:pt x="245120" y="2826006"/>
                  </a:lnTo>
                  <a:lnTo>
                    <a:pt x="244833" y="2825160"/>
                  </a:lnTo>
                  <a:lnTo>
                    <a:pt x="244920" y="2822996"/>
                  </a:lnTo>
                  <a:lnTo>
                    <a:pt x="244702" y="2822403"/>
                  </a:lnTo>
                  <a:lnTo>
                    <a:pt x="244078" y="2821915"/>
                  </a:lnTo>
                  <a:lnTo>
                    <a:pt x="243564" y="2821124"/>
                  </a:lnTo>
                  <a:lnTo>
                    <a:pt x="243356" y="2820097"/>
                  </a:lnTo>
                  <a:lnTo>
                    <a:pt x="243663" y="2818901"/>
                  </a:lnTo>
                  <a:lnTo>
                    <a:pt x="243827" y="2816556"/>
                  </a:lnTo>
                  <a:lnTo>
                    <a:pt x="242509" y="2814771"/>
                  </a:lnTo>
                  <a:lnTo>
                    <a:pt x="240920" y="2813532"/>
                  </a:lnTo>
                  <a:lnTo>
                    <a:pt x="240269" y="2812823"/>
                  </a:lnTo>
                  <a:lnTo>
                    <a:pt x="240763" y="2811292"/>
                  </a:lnTo>
                  <a:lnTo>
                    <a:pt x="240852" y="2809707"/>
                  </a:lnTo>
                  <a:lnTo>
                    <a:pt x="240413" y="2806599"/>
                  </a:lnTo>
                  <a:lnTo>
                    <a:pt x="238830" y="2806726"/>
                  </a:lnTo>
                  <a:lnTo>
                    <a:pt x="238545" y="2804939"/>
                  </a:lnTo>
                  <a:lnTo>
                    <a:pt x="238691" y="2802652"/>
                  </a:lnTo>
                  <a:lnTo>
                    <a:pt x="238375" y="2801277"/>
                  </a:lnTo>
                  <a:lnTo>
                    <a:pt x="238162" y="2800770"/>
                  </a:lnTo>
                  <a:lnTo>
                    <a:pt x="238085" y="2799765"/>
                  </a:lnTo>
                  <a:lnTo>
                    <a:pt x="238192" y="2798571"/>
                  </a:lnTo>
                  <a:lnTo>
                    <a:pt x="238516" y="2797503"/>
                  </a:lnTo>
                  <a:lnTo>
                    <a:pt x="239327" y="2796096"/>
                  </a:lnTo>
                  <a:lnTo>
                    <a:pt x="239914" y="2795487"/>
                  </a:lnTo>
                  <a:lnTo>
                    <a:pt x="241511" y="2794486"/>
                  </a:lnTo>
                  <a:lnTo>
                    <a:pt x="244396" y="2792065"/>
                  </a:lnTo>
                  <a:lnTo>
                    <a:pt x="245408" y="2790538"/>
                  </a:lnTo>
                  <a:lnTo>
                    <a:pt x="246088" y="2786093"/>
                  </a:lnTo>
                  <a:lnTo>
                    <a:pt x="247274" y="2784160"/>
                  </a:lnTo>
                  <a:lnTo>
                    <a:pt x="248907" y="2782880"/>
                  </a:lnTo>
                  <a:lnTo>
                    <a:pt x="250627" y="2782287"/>
                  </a:lnTo>
                  <a:lnTo>
                    <a:pt x="252187" y="2782551"/>
                  </a:lnTo>
                  <a:lnTo>
                    <a:pt x="253459" y="2783170"/>
                  </a:lnTo>
                  <a:lnTo>
                    <a:pt x="254661" y="2783111"/>
                  </a:lnTo>
                  <a:lnTo>
                    <a:pt x="256003" y="2781346"/>
                  </a:lnTo>
                  <a:lnTo>
                    <a:pt x="257411" y="2779859"/>
                  </a:lnTo>
                  <a:lnTo>
                    <a:pt x="258773" y="2780222"/>
                  </a:lnTo>
                  <a:lnTo>
                    <a:pt x="263291" y="2785170"/>
                  </a:lnTo>
                  <a:lnTo>
                    <a:pt x="267564" y="2788035"/>
                  </a:lnTo>
                  <a:lnTo>
                    <a:pt x="268115" y="2787753"/>
                  </a:lnTo>
                  <a:lnTo>
                    <a:pt x="268127" y="2786144"/>
                  </a:lnTo>
                  <a:lnTo>
                    <a:pt x="267592" y="2784854"/>
                  </a:lnTo>
                  <a:lnTo>
                    <a:pt x="266665" y="2784327"/>
                  </a:lnTo>
                  <a:lnTo>
                    <a:pt x="264580" y="2783881"/>
                  </a:lnTo>
                  <a:lnTo>
                    <a:pt x="263458" y="2782881"/>
                  </a:lnTo>
                  <a:lnTo>
                    <a:pt x="261682" y="2780073"/>
                  </a:lnTo>
                  <a:lnTo>
                    <a:pt x="260390" y="2778629"/>
                  </a:lnTo>
                  <a:lnTo>
                    <a:pt x="260118" y="2777824"/>
                  </a:lnTo>
                  <a:lnTo>
                    <a:pt x="259814" y="2777208"/>
                  </a:lnTo>
                  <a:lnTo>
                    <a:pt x="258931" y="2777206"/>
                  </a:lnTo>
                  <a:lnTo>
                    <a:pt x="258609" y="2776782"/>
                  </a:lnTo>
                  <a:lnTo>
                    <a:pt x="258423" y="2776138"/>
                  </a:lnTo>
                  <a:lnTo>
                    <a:pt x="258458" y="2775461"/>
                  </a:lnTo>
                  <a:lnTo>
                    <a:pt x="258812" y="2774768"/>
                  </a:lnTo>
                  <a:lnTo>
                    <a:pt x="259245" y="2774590"/>
                  </a:lnTo>
                  <a:lnTo>
                    <a:pt x="259657" y="2774618"/>
                  </a:lnTo>
                  <a:lnTo>
                    <a:pt x="259935" y="2774565"/>
                  </a:lnTo>
                  <a:lnTo>
                    <a:pt x="261264" y="2773167"/>
                  </a:lnTo>
                  <a:lnTo>
                    <a:pt x="265279" y="2770185"/>
                  </a:lnTo>
                  <a:lnTo>
                    <a:pt x="265820" y="2769616"/>
                  </a:lnTo>
                  <a:lnTo>
                    <a:pt x="266319" y="2768757"/>
                  </a:lnTo>
                  <a:lnTo>
                    <a:pt x="267159" y="2766962"/>
                  </a:lnTo>
                  <a:lnTo>
                    <a:pt x="267768" y="2766338"/>
                  </a:lnTo>
                  <a:lnTo>
                    <a:pt x="268669" y="2765931"/>
                  </a:lnTo>
                  <a:lnTo>
                    <a:pt x="270267" y="2765537"/>
                  </a:lnTo>
                  <a:lnTo>
                    <a:pt x="269027" y="2764640"/>
                  </a:lnTo>
                  <a:lnTo>
                    <a:pt x="266690" y="2764917"/>
                  </a:lnTo>
                  <a:lnTo>
                    <a:pt x="264112" y="2765917"/>
                  </a:lnTo>
                  <a:lnTo>
                    <a:pt x="262152" y="2767206"/>
                  </a:lnTo>
                  <a:lnTo>
                    <a:pt x="260018" y="2769203"/>
                  </a:lnTo>
                  <a:lnTo>
                    <a:pt x="257846" y="2770831"/>
                  </a:lnTo>
                  <a:lnTo>
                    <a:pt x="257587" y="2770870"/>
                  </a:lnTo>
                  <a:lnTo>
                    <a:pt x="256707" y="2771217"/>
                  </a:lnTo>
                  <a:lnTo>
                    <a:pt x="256402" y="2771755"/>
                  </a:lnTo>
                  <a:lnTo>
                    <a:pt x="255163" y="2771939"/>
                  </a:lnTo>
                  <a:lnTo>
                    <a:pt x="254747" y="2771656"/>
                  </a:lnTo>
                  <a:lnTo>
                    <a:pt x="254471" y="2770721"/>
                  </a:lnTo>
                  <a:lnTo>
                    <a:pt x="252737" y="2773239"/>
                  </a:lnTo>
                  <a:lnTo>
                    <a:pt x="250628" y="2773991"/>
                  </a:lnTo>
                  <a:lnTo>
                    <a:pt x="248579" y="2774351"/>
                  </a:lnTo>
                  <a:lnTo>
                    <a:pt x="245576" y="2777132"/>
                  </a:lnTo>
                  <a:lnTo>
                    <a:pt x="238892" y="2780225"/>
                  </a:lnTo>
                  <a:lnTo>
                    <a:pt x="240111" y="2778456"/>
                  </a:lnTo>
                  <a:lnTo>
                    <a:pt x="242807" y="2776007"/>
                  </a:lnTo>
                  <a:lnTo>
                    <a:pt x="243769" y="2774367"/>
                  </a:lnTo>
                  <a:lnTo>
                    <a:pt x="243914" y="2772839"/>
                  </a:lnTo>
                  <a:lnTo>
                    <a:pt x="242761" y="2773582"/>
                  </a:lnTo>
                  <a:lnTo>
                    <a:pt x="239767" y="2776456"/>
                  </a:lnTo>
                  <a:lnTo>
                    <a:pt x="241155" y="2773632"/>
                  </a:lnTo>
                  <a:lnTo>
                    <a:pt x="241936" y="2772355"/>
                  </a:lnTo>
                  <a:lnTo>
                    <a:pt x="242848" y="2771330"/>
                  </a:lnTo>
                  <a:lnTo>
                    <a:pt x="242655" y="2768072"/>
                  </a:lnTo>
                  <a:lnTo>
                    <a:pt x="242047" y="2766773"/>
                  </a:lnTo>
                  <a:lnTo>
                    <a:pt x="240646" y="2765896"/>
                  </a:lnTo>
                  <a:lnTo>
                    <a:pt x="240308" y="2766563"/>
                  </a:lnTo>
                  <a:lnTo>
                    <a:pt x="240817" y="2770017"/>
                  </a:lnTo>
                  <a:lnTo>
                    <a:pt x="239228" y="2774918"/>
                  </a:lnTo>
                  <a:lnTo>
                    <a:pt x="236666" y="2778874"/>
                  </a:lnTo>
                  <a:lnTo>
                    <a:pt x="234286" y="2779510"/>
                  </a:lnTo>
                  <a:lnTo>
                    <a:pt x="233887" y="2777772"/>
                  </a:lnTo>
                  <a:lnTo>
                    <a:pt x="234152" y="2773198"/>
                  </a:lnTo>
                  <a:lnTo>
                    <a:pt x="233167" y="2772892"/>
                  </a:lnTo>
                  <a:lnTo>
                    <a:pt x="232178" y="2774755"/>
                  </a:lnTo>
                  <a:lnTo>
                    <a:pt x="231880" y="2779777"/>
                  </a:lnTo>
                  <a:lnTo>
                    <a:pt x="230745" y="2780140"/>
                  </a:lnTo>
                  <a:lnTo>
                    <a:pt x="229498" y="2779814"/>
                  </a:lnTo>
                  <a:lnTo>
                    <a:pt x="227812" y="2779797"/>
                  </a:lnTo>
                  <a:lnTo>
                    <a:pt x="226048" y="2780055"/>
                  </a:lnTo>
                  <a:lnTo>
                    <a:pt x="224562" y="2780580"/>
                  </a:lnTo>
                  <a:lnTo>
                    <a:pt x="223790" y="2781295"/>
                  </a:lnTo>
                  <a:lnTo>
                    <a:pt x="222865" y="2782397"/>
                  </a:lnTo>
                  <a:lnTo>
                    <a:pt x="221932" y="2783319"/>
                  </a:lnTo>
                  <a:lnTo>
                    <a:pt x="221111" y="2783485"/>
                  </a:lnTo>
                  <a:lnTo>
                    <a:pt x="220452" y="2783319"/>
                  </a:lnTo>
                  <a:lnTo>
                    <a:pt x="219600" y="2783322"/>
                  </a:lnTo>
                  <a:lnTo>
                    <a:pt x="218711" y="2783497"/>
                  </a:lnTo>
                  <a:lnTo>
                    <a:pt x="215043" y="2785168"/>
                  </a:lnTo>
                  <a:lnTo>
                    <a:pt x="213789" y="2786218"/>
                  </a:lnTo>
                  <a:lnTo>
                    <a:pt x="212368" y="2788473"/>
                  </a:lnTo>
                  <a:lnTo>
                    <a:pt x="210384" y="2792746"/>
                  </a:lnTo>
                  <a:lnTo>
                    <a:pt x="209030" y="2794637"/>
                  </a:lnTo>
                  <a:lnTo>
                    <a:pt x="207637" y="2794850"/>
                  </a:lnTo>
                  <a:lnTo>
                    <a:pt x="207328" y="2795457"/>
                  </a:lnTo>
                  <a:lnTo>
                    <a:pt x="208250" y="2796511"/>
                  </a:lnTo>
                  <a:lnTo>
                    <a:pt x="207642" y="2798652"/>
                  </a:lnTo>
                  <a:lnTo>
                    <a:pt x="206323" y="2801017"/>
                  </a:lnTo>
                  <a:lnTo>
                    <a:pt x="205070" y="2802802"/>
                  </a:lnTo>
                  <a:lnTo>
                    <a:pt x="203818" y="2804135"/>
                  </a:lnTo>
                  <a:lnTo>
                    <a:pt x="202031" y="2805725"/>
                  </a:lnTo>
                  <a:lnTo>
                    <a:pt x="200312" y="2806995"/>
                  </a:lnTo>
                  <a:lnTo>
                    <a:pt x="199272" y="2807361"/>
                  </a:lnTo>
                  <a:lnTo>
                    <a:pt x="197269" y="2804834"/>
                  </a:lnTo>
                  <a:lnTo>
                    <a:pt x="191360" y="2779732"/>
                  </a:lnTo>
                  <a:lnTo>
                    <a:pt x="190350" y="2778560"/>
                  </a:lnTo>
                  <a:lnTo>
                    <a:pt x="189335" y="2772850"/>
                  </a:lnTo>
                  <a:lnTo>
                    <a:pt x="189274" y="2771529"/>
                  </a:lnTo>
                  <a:lnTo>
                    <a:pt x="189415" y="2770178"/>
                  </a:lnTo>
                  <a:lnTo>
                    <a:pt x="188816" y="2765894"/>
                  </a:lnTo>
                  <a:lnTo>
                    <a:pt x="188327" y="2764565"/>
                  </a:lnTo>
                  <a:lnTo>
                    <a:pt x="188671" y="2763902"/>
                  </a:lnTo>
                  <a:lnTo>
                    <a:pt x="189250" y="2764375"/>
                  </a:lnTo>
                  <a:lnTo>
                    <a:pt x="189662" y="2765032"/>
                  </a:lnTo>
                  <a:lnTo>
                    <a:pt x="190267" y="2766567"/>
                  </a:lnTo>
                  <a:lnTo>
                    <a:pt x="190629" y="2763929"/>
                  </a:lnTo>
                  <a:lnTo>
                    <a:pt x="190160" y="2762418"/>
                  </a:lnTo>
                  <a:lnTo>
                    <a:pt x="189303" y="2761230"/>
                  </a:lnTo>
                  <a:lnTo>
                    <a:pt x="188504" y="2759539"/>
                  </a:lnTo>
                  <a:lnTo>
                    <a:pt x="188448" y="2758536"/>
                  </a:lnTo>
                  <a:lnTo>
                    <a:pt x="188729" y="2755393"/>
                  </a:lnTo>
                  <a:lnTo>
                    <a:pt x="188325" y="2754949"/>
                  </a:lnTo>
                  <a:lnTo>
                    <a:pt x="186905" y="2754525"/>
                  </a:lnTo>
                  <a:lnTo>
                    <a:pt x="186356" y="2754072"/>
                  </a:lnTo>
                  <a:lnTo>
                    <a:pt x="186193" y="2753400"/>
                  </a:lnTo>
                  <a:lnTo>
                    <a:pt x="185851" y="2750300"/>
                  </a:lnTo>
                  <a:lnTo>
                    <a:pt x="184792" y="2747890"/>
                  </a:lnTo>
                  <a:lnTo>
                    <a:pt x="184589" y="2747027"/>
                  </a:lnTo>
                  <a:lnTo>
                    <a:pt x="184619" y="2745974"/>
                  </a:lnTo>
                  <a:lnTo>
                    <a:pt x="184886" y="2743854"/>
                  </a:lnTo>
                  <a:lnTo>
                    <a:pt x="184757" y="2742838"/>
                  </a:lnTo>
                  <a:lnTo>
                    <a:pt x="184382" y="2742114"/>
                  </a:lnTo>
                  <a:lnTo>
                    <a:pt x="182770" y="2740012"/>
                  </a:lnTo>
                  <a:lnTo>
                    <a:pt x="184729" y="2739309"/>
                  </a:lnTo>
                  <a:lnTo>
                    <a:pt x="185747" y="2738619"/>
                  </a:lnTo>
                  <a:lnTo>
                    <a:pt x="186624" y="2737474"/>
                  </a:lnTo>
                  <a:lnTo>
                    <a:pt x="186307" y="2737011"/>
                  </a:lnTo>
                  <a:lnTo>
                    <a:pt x="183374" y="2737459"/>
                  </a:lnTo>
                  <a:lnTo>
                    <a:pt x="182683" y="2736933"/>
                  </a:lnTo>
                  <a:lnTo>
                    <a:pt x="182566" y="2735821"/>
                  </a:lnTo>
                  <a:lnTo>
                    <a:pt x="181944" y="2733696"/>
                  </a:lnTo>
                  <a:lnTo>
                    <a:pt x="181768" y="2732596"/>
                  </a:lnTo>
                  <a:lnTo>
                    <a:pt x="181846" y="2728382"/>
                  </a:lnTo>
                  <a:lnTo>
                    <a:pt x="181570" y="2727348"/>
                  </a:lnTo>
                  <a:lnTo>
                    <a:pt x="183777" y="2725639"/>
                  </a:lnTo>
                  <a:lnTo>
                    <a:pt x="185670" y="2722425"/>
                  </a:lnTo>
                  <a:lnTo>
                    <a:pt x="189137" y="2714785"/>
                  </a:lnTo>
                  <a:lnTo>
                    <a:pt x="190483" y="2713106"/>
                  </a:lnTo>
                  <a:lnTo>
                    <a:pt x="194067" y="2710224"/>
                  </a:lnTo>
                  <a:lnTo>
                    <a:pt x="195277" y="2708816"/>
                  </a:lnTo>
                  <a:lnTo>
                    <a:pt x="195860" y="2709389"/>
                  </a:lnTo>
                  <a:lnTo>
                    <a:pt x="199429" y="2710530"/>
                  </a:lnTo>
                  <a:lnTo>
                    <a:pt x="200750" y="2710555"/>
                  </a:lnTo>
                  <a:lnTo>
                    <a:pt x="200975" y="2711620"/>
                  </a:lnTo>
                  <a:lnTo>
                    <a:pt x="200703" y="2712641"/>
                  </a:lnTo>
                  <a:lnTo>
                    <a:pt x="200307" y="2713613"/>
                  </a:lnTo>
                  <a:lnTo>
                    <a:pt x="200147" y="2714503"/>
                  </a:lnTo>
                  <a:lnTo>
                    <a:pt x="200366" y="2715340"/>
                  </a:lnTo>
                  <a:lnTo>
                    <a:pt x="201128" y="2716887"/>
                  </a:lnTo>
                  <a:lnTo>
                    <a:pt x="201387" y="2717767"/>
                  </a:lnTo>
                  <a:lnTo>
                    <a:pt x="201523" y="2721167"/>
                  </a:lnTo>
                  <a:lnTo>
                    <a:pt x="201249" y="2724602"/>
                  </a:lnTo>
                  <a:lnTo>
                    <a:pt x="201039" y="2725509"/>
                  </a:lnTo>
                  <a:lnTo>
                    <a:pt x="200799" y="2726216"/>
                  </a:lnTo>
                  <a:lnTo>
                    <a:pt x="200636" y="2726874"/>
                  </a:lnTo>
                  <a:lnTo>
                    <a:pt x="200657" y="2727620"/>
                  </a:lnTo>
                  <a:lnTo>
                    <a:pt x="200943" y="2728365"/>
                  </a:lnTo>
                  <a:lnTo>
                    <a:pt x="201365" y="2728713"/>
                  </a:lnTo>
                  <a:lnTo>
                    <a:pt x="201835" y="2728964"/>
                  </a:lnTo>
                  <a:lnTo>
                    <a:pt x="202255" y="2729442"/>
                  </a:lnTo>
                  <a:lnTo>
                    <a:pt x="202341" y="2729989"/>
                  </a:lnTo>
                  <a:lnTo>
                    <a:pt x="202217" y="2731454"/>
                  </a:lnTo>
                  <a:lnTo>
                    <a:pt x="202299" y="2732023"/>
                  </a:lnTo>
                  <a:lnTo>
                    <a:pt x="202614" y="2732280"/>
                  </a:lnTo>
                  <a:lnTo>
                    <a:pt x="203591" y="2732553"/>
                  </a:lnTo>
                  <a:lnTo>
                    <a:pt x="203824" y="2732872"/>
                  </a:lnTo>
                  <a:lnTo>
                    <a:pt x="203748" y="2733501"/>
                  </a:lnTo>
                  <a:lnTo>
                    <a:pt x="203295" y="2734665"/>
                  </a:lnTo>
                  <a:lnTo>
                    <a:pt x="203202" y="2735092"/>
                  </a:lnTo>
                  <a:lnTo>
                    <a:pt x="203112" y="2737205"/>
                  </a:lnTo>
                  <a:lnTo>
                    <a:pt x="203205" y="2738097"/>
                  </a:lnTo>
                  <a:lnTo>
                    <a:pt x="203700" y="2738870"/>
                  </a:lnTo>
                  <a:lnTo>
                    <a:pt x="204035" y="2736802"/>
                  </a:lnTo>
                  <a:lnTo>
                    <a:pt x="204589" y="2734570"/>
                  </a:lnTo>
                  <a:lnTo>
                    <a:pt x="204778" y="2732572"/>
                  </a:lnTo>
                  <a:lnTo>
                    <a:pt x="203364" y="2730182"/>
                  </a:lnTo>
                  <a:lnTo>
                    <a:pt x="202495" y="2726000"/>
                  </a:lnTo>
                  <a:lnTo>
                    <a:pt x="202358" y="2724364"/>
                  </a:lnTo>
                  <a:lnTo>
                    <a:pt x="202435" y="2723073"/>
                  </a:lnTo>
                  <a:lnTo>
                    <a:pt x="202821" y="2720688"/>
                  </a:lnTo>
                  <a:lnTo>
                    <a:pt x="202907" y="2719549"/>
                  </a:lnTo>
                  <a:lnTo>
                    <a:pt x="202294" y="2716724"/>
                  </a:lnTo>
                  <a:lnTo>
                    <a:pt x="202243" y="2716134"/>
                  </a:lnTo>
                  <a:lnTo>
                    <a:pt x="202628" y="2714381"/>
                  </a:lnTo>
                  <a:lnTo>
                    <a:pt x="202392" y="2712836"/>
                  </a:lnTo>
                  <a:lnTo>
                    <a:pt x="202439" y="2711317"/>
                  </a:lnTo>
                  <a:lnTo>
                    <a:pt x="203688" y="2709629"/>
                  </a:lnTo>
                  <a:lnTo>
                    <a:pt x="205279" y="2708821"/>
                  </a:lnTo>
                  <a:lnTo>
                    <a:pt x="207195" y="2708510"/>
                  </a:lnTo>
                  <a:lnTo>
                    <a:pt x="209037" y="2708611"/>
                  </a:lnTo>
                  <a:lnTo>
                    <a:pt x="210403" y="2709027"/>
                  </a:lnTo>
                  <a:lnTo>
                    <a:pt x="212087" y="2710078"/>
                  </a:lnTo>
                  <a:lnTo>
                    <a:pt x="212754" y="2710846"/>
                  </a:lnTo>
                  <a:lnTo>
                    <a:pt x="213526" y="2713008"/>
                  </a:lnTo>
                  <a:lnTo>
                    <a:pt x="214409" y="2713514"/>
                  </a:lnTo>
                  <a:lnTo>
                    <a:pt x="216182" y="2714036"/>
                  </a:lnTo>
                  <a:lnTo>
                    <a:pt x="219523" y="2719217"/>
                  </a:lnTo>
                  <a:lnTo>
                    <a:pt x="221056" y="2719719"/>
                  </a:lnTo>
                  <a:lnTo>
                    <a:pt x="223338" y="2719353"/>
                  </a:lnTo>
                  <a:lnTo>
                    <a:pt x="225228" y="2718424"/>
                  </a:lnTo>
                  <a:lnTo>
                    <a:pt x="225953" y="2718367"/>
                  </a:lnTo>
                  <a:lnTo>
                    <a:pt x="227577" y="2718551"/>
                  </a:lnTo>
                  <a:lnTo>
                    <a:pt x="229501" y="2718340"/>
                  </a:lnTo>
                  <a:lnTo>
                    <a:pt x="230406" y="2718443"/>
                  </a:lnTo>
                  <a:lnTo>
                    <a:pt x="231240" y="2718947"/>
                  </a:lnTo>
                  <a:lnTo>
                    <a:pt x="231146" y="2716849"/>
                  </a:lnTo>
                  <a:lnTo>
                    <a:pt x="229480" y="2716459"/>
                  </a:lnTo>
                  <a:lnTo>
                    <a:pt x="225777" y="2716790"/>
                  </a:lnTo>
                  <a:lnTo>
                    <a:pt x="225109" y="2716966"/>
                  </a:lnTo>
                  <a:lnTo>
                    <a:pt x="223364" y="2718401"/>
                  </a:lnTo>
                  <a:lnTo>
                    <a:pt x="222820" y="2718640"/>
                  </a:lnTo>
                  <a:lnTo>
                    <a:pt x="221199" y="2717560"/>
                  </a:lnTo>
                  <a:lnTo>
                    <a:pt x="215041" y="2709801"/>
                  </a:lnTo>
                  <a:lnTo>
                    <a:pt x="211929" y="2707365"/>
                  </a:lnTo>
                  <a:lnTo>
                    <a:pt x="208387" y="2706274"/>
                  </a:lnTo>
                  <a:lnTo>
                    <a:pt x="203386" y="2706512"/>
                  </a:lnTo>
                  <a:lnTo>
                    <a:pt x="201867" y="2706049"/>
                  </a:lnTo>
                  <a:lnTo>
                    <a:pt x="201092" y="2706154"/>
                  </a:lnTo>
                  <a:lnTo>
                    <a:pt x="199027" y="2707344"/>
                  </a:lnTo>
                  <a:lnTo>
                    <a:pt x="198206" y="2707414"/>
                  </a:lnTo>
                  <a:lnTo>
                    <a:pt x="195805" y="2705860"/>
                  </a:lnTo>
                  <a:lnTo>
                    <a:pt x="194967" y="2705593"/>
                  </a:lnTo>
                  <a:lnTo>
                    <a:pt x="194123" y="2705762"/>
                  </a:lnTo>
                  <a:lnTo>
                    <a:pt x="192725" y="2706619"/>
                  </a:lnTo>
                  <a:lnTo>
                    <a:pt x="191992" y="2706574"/>
                  </a:lnTo>
                  <a:lnTo>
                    <a:pt x="191364" y="2706026"/>
                  </a:lnTo>
                  <a:lnTo>
                    <a:pt x="190738" y="2705050"/>
                  </a:lnTo>
                  <a:lnTo>
                    <a:pt x="190389" y="2703871"/>
                  </a:lnTo>
                  <a:lnTo>
                    <a:pt x="190597" y="2702701"/>
                  </a:lnTo>
                  <a:lnTo>
                    <a:pt x="190269" y="2701095"/>
                  </a:lnTo>
                  <a:lnTo>
                    <a:pt x="185324" y="2696721"/>
                  </a:lnTo>
                  <a:lnTo>
                    <a:pt x="185433" y="2695944"/>
                  </a:lnTo>
                  <a:lnTo>
                    <a:pt x="186173" y="2694204"/>
                  </a:lnTo>
                  <a:lnTo>
                    <a:pt x="186176" y="2693770"/>
                  </a:lnTo>
                  <a:lnTo>
                    <a:pt x="185986" y="2693361"/>
                  </a:lnTo>
                  <a:lnTo>
                    <a:pt x="186808" y="2693192"/>
                  </a:lnTo>
                  <a:lnTo>
                    <a:pt x="190567" y="2693112"/>
                  </a:lnTo>
                  <a:lnTo>
                    <a:pt x="192725" y="2693964"/>
                  </a:lnTo>
                  <a:lnTo>
                    <a:pt x="192460" y="2692842"/>
                  </a:lnTo>
                  <a:lnTo>
                    <a:pt x="191641" y="2691254"/>
                  </a:lnTo>
                  <a:lnTo>
                    <a:pt x="191478" y="2690261"/>
                  </a:lnTo>
                  <a:lnTo>
                    <a:pt x="191874" y="2689324"/>
                  </a:lnTo>
                  <a:lnTo>
                    <a:pt x="192669" y="2687855"/>
                  </a:lnTo>
                  <a:lnTo>
                    <a:pt x="193263" y="2686396"/>
                  </a:lnTo>
                  <a:lnTo>
                    <a:pt x="193051" y="2685493"/>
                  </a:lnTo>
                  <a:lnTo>
                    <a:pt x="193225" y="2684440"/>
                  </a:lnTo>
                  <a:lnTo>
                    <a:pt x="196244" y="2680343"/>
                  </a:lnTo>
                  <a:lnTo>
                    <a:pt x="197069" y="2678395"/>
                  </a:lnTo>
                  <a:lnTo>
                    <a:pt x="195827" y="2679595"/>
                  </a:lnTo>
                  <a:lnTo>
                    <a:pt x="194564" y="2681147"/>
                  </a:lnTo>
                  <a:lnTo>
                    <a:pt x="193329" y="2682350"/>
                  </a:lnTo>
                  <a:lnTo>
                    <a:pt x="192175" y="2682493"/>
                  </a:lnTo>
                  <a:lnTo>
                    <a:pt x="190796" y="2682157"/>
                  </a:lnTo>
                  <a:lnTo>
                    <a:pt x="187848" y="2682305"/>
                  </a:lnTo>
                  <a:lnTo>
                    <a:pt x="186428" y="2681732"/>
                  </a:lnTo>
                  <a:lnTo>
                    <a:pt x="184214" y="2679046"/>
                  </a:lnTo>
                  <a:lnTo>
                    <a:pt x="183171" y="2678231"/>
                  </a:lnTo>
                  <a:lnTo>
                    <a:pt x="182591" y="2677434"/>
                  </a:lnTo>
                  <a:lnTo>
                    <a:pt x="182248" y="2675966"/>
                  </a:lnTo>
                  <a:lnTo>
                    <a:pt x="182551" y="2674252"/>
                  </a:lnTo>
                  <a:lnTo>
                    <a:pt x="183902" y="2672706"/>
                  </a:lnTo>
                  <a:lnTo>
                    <a:pt x="184095" y="2671370"/>
                  </a:lnTo>
                  <a:lnTo>
                    <a:pt x="184958" y="2669956"/>
                  </a:lnTo>
                  <a:lnTo>
                    <a:pt x="186102" y="2668738"/>
                  </a:lnTo>
                  <a:lnTo>
                    <a:pt x="187140" y="2667982"/>
                  </a:lnTo>
                  <a:lnTo>
                    <a:pt x="188721" y="2667756"/>
                  </a:lnTo>
                  <a:lnTo>
                    <a:pt x="191221" y="2669080"/>
                  </a:lnTo>
                  <a:lnTo>
                    <a:pt x="192713" y="2669048"/>
                  </a:lnTo>
                  <a:lnTo>
                    <a:pt x="191750" y="2665378"/>
                  </a:lnTo>
                  <a:lnTo>
                    <a:pt x="191784" y="2663332"/>
                  </a:lnTo>
                  <a:lnTo>
                    <a:pt x="192741" y="2660776"/>
                  </a:lnTo>
                  <a:lnTo>
                    <a:pt x="193959" y="2658677"/>
                  </a:lnTo>
                  <a:lnTo>
                    <a:pt x="194650" y="2657779"/>
                  </a:lnTo>
                  <a:lnTo>
                    <a:pt x="195403" y="2657132"/>
                  </a:lnTo>
                  <a:lnTo>
                    <a:pt x="196200" y="2657351"/>
                  </a:lnTo>
                  <a:lnTo>
                    <a:pt x="196961" y="2658277"/>
                  </a:lnTo>
                  <a:lnTo>
                    <a:pt x="197773" y="2658801"/>
                  </a:lnTo>
                  <a:lnTo>
                    <a:pt x="198737" y="2657782"/>
                  </a:lnTo>
                  <a:lnTo>
                    <a:pt x="198378" y="2656655"/>
                  </a:lnTo>
                  <a:lnTo>
                    <a:pt x="197901" y="2653968"/>
                  </a:lnTo>
                  <a:lnTo>
                    <a:pt x="197852" y="2651454"/>
                  </a:lnTo>
                  <a:lnTo>
                    <a:pt x="198775" y="2650842"/>
                  </a:lnTo>
                  <a:lnTo>
                    <a:pt x="200024" y="2651872"/>
                  </a:lnTo>
                  <a:lnTo>
                    <a:pt x="200913" y="2653282"/>
                  </a:lnTo>
                  <a:lnTo>
                    <a:pt x="201452" y="2654977"/>
                  </a:lnTo>
                  <a:lnTo>
                    <a:pt x="201661" y="2656875"/>
                  </a:lnTo>
                  <a:lnTo>
                    <a:pt x="201432" y="2660960"/>
                  </a:lnTo>
                  <a:lnTo>
                    <a:pt x="201760" y="2664368"/>
                  </a:lnTo>
                  <a:lnTo>
                    <a:pt x="201723" y="2665063"/>
                  </a:lnTo>
                  <a:lnTo>
                    <a:pt x="201439" y="2666602"/>
                  </a:lnTo>
                  <a:lnTo>
                    <a:pt x="204370" y="2691188"/>
                  </a:lnTo>
                  <a:lnTo>
                    <a:pt x="205040" y="2692902"/>
                  </a:lnTo>
                  <a:lnTo>
                    <a:pt x="206073" y="2694330"/>
                  </a:lnTo>
                  <a:lnTo>
                    <a:pt x="207465" y="2695408"/>
                  </a:lnTo>
                  <a:lnTo>
                    <a:pt x="208352" y="2695752"/>
                  </a:lnTo>
                  <a:lnTo>
                    <a:pt x="208792" y="2695590"/>
                  </a:lnTo>
                  <a:lnTo>
                    <a:pt x="208795" y="2695010"/>
                  </a:lnTo>
                  <a:lnTo>
                    <a:pt x="208362" y="2694124"/>
                  </a:lnTo>
                  <a:lnTo>
                    <a:pt x="207794" y="2693642"/>
                  </a:lnTo>
                  <a:lnTo>
                    <a:pt x="207054" y="2693298"/>
                  </a:lnTo>
                  <a:lnTo>
                    <a:pt x="206387" y="2692725"/>
                  </a:lnTo>
                  <a:lnTo>
                    <a:pt x="206041" y="2691611"/>
                  </a:lnTo>
                  <a:lnTo>
                    <a:pt x="205280" y="2686724"/>
                  </a:lnTo>
                  <a:lnTo>
                    <a:pt x="205403" y="2684903"/>
                  </a:lnTo>
                  <a:lnTo>
                    <a:pt x="206402" y="2683054"/>
                  </a:lnTo>
                  <a:lnTo>
                    <a:pt x="209352" y="2680249"/>
                  </a:lnTo>
                  <a:lnTo>
                    <a:pt x="209684" y="2678658"/>
                  </a:lnTo>
                  <a:lnTo>
                    <a:pt x="211048" y="2677172"/>
                  </a:lnTo>
                  <a:lnTo>
                    <a:pt x="211990" y="2676901"/>
                  </a:lnTo>
                  <a:lnTo>
                    <a:pt x="214085" y="2677711"/>
                  </a:lnTo>
                  <a:lnTo>
                    <a:pt x="215373" y="2677648"/>
                  </a:lnTo>
                  <a:lnTo>
                    <a:pt x="216673" y="2677101"/>
                  </a:lnTo>
                  <a:lnTo>
                    <a:pt x="217409" y="2676166"/>
                  </a:lnTo>
                  <a:lnTo>
                    <a:pt x="217018" y="2674915"/>
                  </a:lnTo>
                  <a:lnTo>
                    <a:pt x="216344" y="2675037"/>
                  </a:lnTo>
                  <a:lnTo>
                    <a:pt x="212185" y="2674926"/>
                  </a:lnTo>
                  <a:lnTo>
                    <a:pt x="210923" y="2675565"/>
                  </a:lnTo>
                  <a:lnTo>
                    <a:pt x="209940" y="2676594"/>
                  </a:lnTo>
                  <a:lnTo>
                    <a:pt x="209047" y="2678023"/>
                  </a:lnTo>
                  <a:lnTo>
                    <a:pt x="208072" y="2679856"/>
                  </a:lnTo>
                  <a:lnTo>
                    <a:pt x="206259" y="2681082"/>
                  </a:lnTo>
                  <a:lnTo>
                    <a:pt x="205086" y="2678448"/>
                  </a:lnTo>
                  <a:lnTo>
                    <a:pt x="204154" y="2672884"/>
                  </a:lnTo>
                  <a:lnTo>
                    <a:pt x="203613" y="2671166"/>
                  </a:lnTo>
                  <a:lnTo>
                    <a:pt x="203245" y="2661217"/>
                  </a:lnTo>
                  <a:lnTo>
                    <a:pt x="203620" y="2660912"/>
                  </a:lnTo>
                  <a:lnTo>
                    <a:pt x="204391" y="2660059"/>
                  </a:lnTo>
                  <a:lnTo>
                    <a:pt x="203203" y="2657055"/>
                  </a:lnTo>
                  <a:lnTo>
                    <a:pt x="202640" y="2653148"/>
                  </a:lnTo>
                  <a:lnTo>
                    <a:pt x="203607" y="2649655"/>
                  </a:lnTo>
                  <a:lnTo>
                    <a:pt x="207006" y="2647869"/>
                  </a:lnTo>
                  <a:lnTo>
                    <a:pt x="210482" y="2648088"/>
                  </a:lnTo>
                  <a:lnTo>
                    <a:pt x="213578" y="2649384"/>
                  </a:lnTo>
                  <a:lnTo>
                    <a:pt x="216125" y="2651660"/>
                  </a:lnTo>
                  <a:lnTo>
                    <a:pt x="218339" y="2655566"/>
                  </a:lnTo>
                  <a:lnTo>
                    <a:pt x="219455" y="2656917"/>
                  </a:lnTo>
                  <a:lnTo>
                    <a:pt x="219835" y="2657637"/>
                  </a:lnTo>
                  <a:lnTo>
                    <a:pt x="219907" y="2658342"/>
                  </a:lnTo>
                  <a:lnTo>
                    <a:pt x="219590" y="2661353"/>
                  </a:lnTo>
                  <a:lnTo>
                    <a:pt x="220008" y="2663387"/>
                  </a:lnTo>
                  <a:lnTo>
                    <a:pt x="221084" y="2665126"/>
                  </a:lnTo>
                  <a:lnTo>
                    <a:pt x="225371" y="2668869"/>
                  </a:lnTo>
                  <a:lnTo>
                    <a:pt x="226315" y="2669397"/>
                  </a:lnTo>
                  <a:lnTo>
                    <a:pt x="227152" y="2669539"/>
                  </a:lnTo>
                  <a:lnTo>
                    <a:pt x="228375" y="2669122"/>
                  </a:lnTo>
                  <a:lnTo>
                    <a:pt x="228520" y="2668682"/>
                  </a:lnTo>
                  <a:lnTo>
                    <a:pt x="228032" y="2668246"/>
                  </a:lnTo>
                  <a:lnTo>
                    <a:pt x="224163" y="2666007"/>
                  </a:lnTo>
                  <a:lnTo>
                    <a:pt x="222824" y="2664765"/>
                  </a:lnTo>
                  <a:lnTo>
                    <a:pt x="221832" y="2663043"/>
                  </a:lnTo>
                  <a:lnTo>
                    <a:pt x="221511" y="2660988"/>
                  </a:lnTo>
                  <a:lnTo>
                    <a:pt x="221330" y="2656036"/>
                  </a:lnTo>
                  <a:lnTo>
                    <a:pt x="220678" y="2654676"/>
                  </a:lnTo>
                  <a:lnTo>
                    <a:pt x="219907" y="2654073"/>
                  </a:lnTo>
                  <a:lnTo>
                    <a:pt x="219565" y="2653404"/>
                  </a:lnTo>
                  <a:lnTo>
                    <a:pt x="219104" y="2651651"/>
                  </a:lnTo>
                  <a:lnTo>
                    <a:pt x="218498" y="2650766"/>
                  </a:lnTo>
                  <a:lnTo>
                    <a:pt x="216865" y="2649592"/>
                  </a:lnTo>
                  <a:lnTo>
                    <a:pt x="216257" y="2648752"/>
                  </a:lnTo>
                  <a:lnTo>
                    <a:pt x="218064" y="2646264"/>
                  </a:lnTo>
                  <a:lnTo>
                    <a:pt x="218678" y="2645736"/>
                  </a:lnTo>
                  <a:lnTo>
                    <a:pt x="219847" y="2645195"/>
                  </a:lnTo>
                  <a:lnTo>
                    <a:pt x="220269" y="2644932"/>
                  </a:lnTo>
                  <a:lnTo>
                    <a:pt x="222070" y="2643372"/>
                  </a:lnTo>
                  <a:lnTo>
                    <a:pt x="222517" y="2642837"/>
                  </a:lnTo>
                  <a:lnTo>
                    <a:pt x="223252" y="2641508"/>
                  </a:lnTo>
                  <a:lnTo>
                    <a:pt x="223844" y="2640947"/>
                  </a:lnTo>
                  <a:lnTo>
                    <a:pt x="224323" y="2640808"/>
                  </a:lnTo>
                  <a:lnTo>
                    <a:pt x="225217" y="2641068"/>
                  </a:lnTo>
                  <a:lnTo>
                    <a:pt x="225651" y="2641109"/>
                  </a:lnTo>
                  <a:lnTo>
                    <a:pt x="227845" y="2640710"/>
                  </a:lnTo>
                  <a:lnTo>
                    <a:pt x="229107" y="2640206"/>
                  </a:lnTo>
                  <a:lnTo>
                    <a:pt x="230414" y="2639490"/>
                  </a:lnTo>
                  <a:lnTo>
                    <a:pt x="231721" y="2638585"/>
                  </a:lnTo>
                  <a:lnTo>
                    <a:pt x="232968" y="2637509"/>
                  </a:lnTo>
                  <a:lnTo>
                    <a:pt x="232223" y="2636629"/>
                  </a:lnTo>
                  <a:lnTo>
                    <a:pt x="231179" y="2636864"/>
                  </a:lnTo>
                  <a:lnTo>
                    <a:pt x="228621" y="2638417"/>
                  </a:lnTo>
                  <a:lnTo>
                    <a:pt x="227428" y="2638634"/>
                  </a:lnTo>
                  <a:lnTo>
                    <a:pt x="225150" y="2638222"/>
                  </a:lnTo>
                  <a:lnTo>
                    <a:pt x="223748" y="2638396"/>
                  </a:lnTo>
                  <a:lnTo>
                    <a:pt x="224884" y="2637427"/>
                  </a:lnTo>
                  <a:lnTo>
                    <a:pt x="226522" y="2636326"/>
                  </a:lnTo>
                  <a:lnTo>
                    <a:pt x="228082" y="2635484"/>
                  </a:lnTo>
                  <a:lnTo>
                    <a:pt x="230417" y="2635084"/>
                  </a:lnTo>
                  <a:lnTo>
                    <a:pt x="235374" y="2631150"/>
                  </a:lnTo>
                  <a:lnTo>
                    <a:pt x="236913" y="2630621"/>
                  </a:lnTo>
                  <a:lnTo>
                    <a:pt x="238642" y="2630547"/>
                  </a:lnTo>
                  <a:lnTo>
                    <a:pt x="240177" y="2631022"/>
                  </a:lnTo>
                  <a:lnTo>
                    <a:pt x="241099" y="2632178"/>
                  </a:lnTo>
                  <a:lnTo>
                    <a:pt x="241358" y="2634138"/>
                  </a:lnTo>
                  <a:lnTo>
                    <a:pt x="240587" y="2634879"/>
                  </a:lnTo>
                  <a:lnTo>
                    <a:pt x="239216" y="2635412"/>
                  </a:lnTo>
                  <a:lnTo>
                    <a:pt x="237684" y="2636733"/>
                  </a:lnTo>
                  <a:lnTo>
                    <a:pt x="238475" y="2637095"/>
                  </a:lnTo>
                  <a:lnTo>
                    <a:pt x="239233" y="2637010"/>
                  </a:lnTo>
                  <a:lnTo>
                    <a:pt x="239960" y="2636750"/>
                  </a:lnTo>
                  <a:lnTo>
                    <a:pt x="240642" y="2636606"/>
                  </a:lnTo>
                  <a:lnTo>
                    <a:pt x="241690" y="2635851"/>
                  </a:lnTo>
                  <a:lnTo>
                    <a:pt x="242084" y="2635704"/>
                  </a:lnTo>
                  <a:lnTo>
                    <a:pt x="242212" y="2635852"/>
                  </a:lnTo>
                  <a:lnTo>
                    <a:pt x="243790" y="2636661"/>
                  </a:lnTo>
                  <a:lnTo>
                    <a:pt x="245382" y="2636664"/>
                  </a:lnTo>
                  <a:lnTo>
                    <a:pt x="248939" y="2634668"/>
                  </a:lnTo>
                  <a:lnTo>
                    <a:pt x="250477" y="2634476"/>
                  </a:lnTo>
                  <a:lnTo>
                    <a:pt x="251110" y="2635120"/>
                  </a:lnTo>
                  <a:lnTo>
                    <a:pt x="251904" y="2637283"/>
                  </a:lnTo>
                  <a:lnTo>
                    <a:pt x="252470" y="2638082"/>
                  </a:lnTo>
                  <a:lnTo>
                    <a:pt x="253313" y="2638344"/>
                  </a:lnTo>
                  <a:lnTo>
                    <a:pt x="255222" y="2638193"/>
                  </a:lnTo>
                  <a:lnTo>
                    <a:pt x="255973" y="2638321"/>
                  </a:lnTo>
                  <a:lnTo>
                    <a:pt x="258714" y="2640451"/>
                  </a:lnTo>
                  <a:lnTo>
                    <a:pt x="260177" y="2640611"/>
                  </a:lnTo>
                  <a:lnTo>
                    <a:pt x="262057" y="2639133"/>
                  </a:lnTo>
                  <a:lnTo>
                    <a:pt x="258560" y="2639087"/>
                  </a:lnTo>
                  <a:lnTo>
                    <a:pt x="244134" y="2629132"/>
                  </a:lnTo>
                  <a:lnTo>
                    <a:pt x="242682" y="2628868"/>
                  </a:lnTo>
                  <a:lnTo>
                    <a:pt x="242136" y="2628505"/>
                  </a:lnTo>
                  <a:lnTo>
                    <a:pt x="241861" y="2627426"/>
                  </a:lnTo>
                  <a:lnTo>
                    <a:pt x="242274" y="2626488"/>
                  </a:lnTo>
                  <a:lnTo>
                    <a:pt x="243331" y="2625498"/>
                  </a:lnTo>
                  <a:lnTo>
                    <a:pt x="245478" y="2623817"/>
                  </a:lnTo>
                  <a:lnTo>
                    <a:pt x="248727" y="2620201"/>
                  </a:lnTo>
                  <a:lnTo>
                    <a:pt x="250445" y="2618989"/>
                  </a:lnTo>
                  <a:lnTo>
                    <a:pt x="252144" y="2619064"/>
                  </a:lnTo>
                  <a:lnTo>
                    <a:pt x="255196" y="2616832"/>
                  </a:lnTo>
                  <a:lnTo>
                    <a:pt x="256154" y="2616399"/>
                  </a:lnTo>
                  <a:lnTo>
                    <a:pt x="256955" y="2616157"/>
                  </a:lnTo>
                  <a:lnTo>
                    <a:pt x="257794" y="2615775"/>
                  </a:lnTo>
                  <a:lnTo>
                    <a:pt x="258848" y="2614951"/>
                  </a:lnTo>
                  <a:lnTo>
                    <a:pt x="259128" y="2614540"/>
                  </a:lnTo>
                  <a:lnTo>
                    <a:pt x="259593" y="2613438"/>
                  </a:lnTo>
                  <a:lnTo>
                    <a:pt x="259865" y="2613023"/>
                  </a:lnTo>
                  <a:lnTo>
                    <a:pt x="260704" y="2612451"/>
                  </a:lnTo>
                  <a:lnTo>
                    <a:pt x="261300" y="2612121"/>
                  </a:lnTo>
                  <a:lnTo>
                    <a:pt x="262973" y="2610397"/>
                  </a:lnTo>
                  <a:lnTo>
                    <a:pt x="263734" y="2609776"/>
                  </a:lnTo>
                  <a:lnTo>
                    <a:pt x="264546" y="2609220"/>
                  </a:lnTo>
                  <a:lnTo>
                    <a:pt x="265449" y="2608857"/>
                  </a:lnTo>
                  <a:lnTo>
                    <a:pt x="267075" y="2608734"/>
                  </a:lnTo>
                  <a:lnTo>
                    <a:pt x="268238" y="2608292"/>
                  </a:lnTo>
                  <a:lnTo>
                    <a:pt x="268855" y="2608477"/>
                  </a:lnTo>
                  <a:lnTo>
                    <a:pt x="269261" y="2608393"/>
                  </a:lnTo>
                  <a:lnTo>
                    <a:pt x="269734" y="2607953"/>
                  </a:lnTo>
                  <a:lnTo>
                    <a:pt x="270035" y="2607344"/>
                  </a:lnTo>
                  <a:lnTo>
                    <a:pt x="270311" y="2606693"/>
                  </a:lnTo>
                  <a:lnTo>
                    <a:pt x="270698" y="2606153"/>
                  </a:lnTo>
                  <a:lnTo>
                    <a:pt x="274118" y="2603337"/>
                  </a:lnTo>
                  <a:lnTo>
                    <a:pt x="275974" y="2602269"/>
                  </a:lnTo>
                  <a:lnTo>
                    <a:pt x="277350" y="2602158"/>
                  </a:lnTo>
                  <a:lnTo>
                    <a:pt x="278087" y="2601900"/>
                  </a:lnTo>
                  <a:lnTo>
                    <a:pt x="278757" y="2600804"/>
                  </a:lnTo>
                  <a:lnTo>
                    <a:pt x="279338" y="2599659"/>
                  </a:lnTo>
                  <a:lnTo>
                    <a:pt x="279809" y="2599248"/>
                  </a:lnTo>
                  <a:lnTo>
                    <a:pt x="280449" y="2599038"/>
                  </a:lnTo>
                  <a:lnTo>
                    <a:pt x="282411" y="2597407"/>
                  </a:lnTo>
                  <a:lnTo>
                    <a:pt x="283236" y="2596876"/>
                  </a:lnTo>
                  <a:lnTo>
                    <a:pt x="285064" y="2597213"/>
                  </a:lnTo>
                  <a:lnTo>
                    <a:pt x="288253" y="2600055"/>
                  </a:lnTo>
                  <a:lnTo>
                    <a:pt x="289871" y="2600126"/>
                  </a:lnTo>
                  <a:lnTo>
                    <a:pt x="292427" y="2599604"/>
                  </a:lnTo>
                  <a:lnTo>
                    <a:pt x="292960" y="2599623"/>
                  </a:lnTo>
                  <a:lnTo>
                    <a:pt x="293221" y="2599528"/>
                  </a:lnTo>
                  <a:lnTo>
                    <a:pt x="293504" y="2599110"/>
                  </a:lnTo>
                  <a:lnTo>
                    <a:pt x="294010" y="2598066"/>
                  </a:lnTo>
                  <a:lnTo>
                    <a:pt x="294080" y="2597575"/>
                  </a:lnTo>
                  <a:lnTo>
                    <a:pt x="293672" y="2597553"/>
                  </a:lnTo>
                  <a:lnTo>
                    <a:pt x="292764" y="2597805"/>
                  </a:lnTo>
                  <a:lnTo>
                    <a:pt x="291978" y="2597833"/>
                  </a:lnTo>
                  <a:lnTo>
                    <a:pt x="290005" y="2598377"/>
                  </a:lnTo>
                  <a:lnTo>
                    <a:pt x="289115" y="2598353"/>
                  </a:lnTo>
                  <a:lnTo>
                    <a:pt x="288285" y="2597868"/>
                  </a:lnTo>
                  <a:lnTo>
                    <a:pt x="286793" y="2596373"/>
                  </a:lnTo>
                  <a:lnTo>
                    <a:pt x="284528" y="2595020"/>
                  </a:lnTo>
                  <a:lnTo>
                    <a:pt x="283711" y="2594948"/>
                  </a:lnTo>
                  <a:lnTo>
                    <a:pt x="282837" y="2595334"/>
                  </a:lnTo>
                  <a:lnTo>
                    <a:pt x="279602" y="2597547"/>
                  </a:lnTo>
                  <a:lnTo>
                    <a:pt x="278870" y="2597869"/>
                  </a:lnTo>
                  <a:lnTo>
                    <a:pt x="278230" y="2596631"/>
                  </a:lnTo>
                  <a:lnTo>
                    <a:pt x="280328" y="2592224"/>
                  </a:lnTo>
                  <a:lnTo>
                    <a:pt x="279794" y="2589637"/>
                  </a:lnTo>
                  <a:lnTo>
                    <a:pt x="280144" y="2587566"/>
                  </a:lnTo>
                  <a:lnTo>
                    <a:pt x="283133" y="2577103"/>
                  </a:lnTo>
                  <a:lnTo>
                    <a:pt x="283615" y="2574091"/>
                  </a:lnTo>
                  <a:lnTo>
                    <a:pt x="282364" y="2574054"/>
                  </a:lnTo>
                  <a:lnTo>
                    <a:pt x="281933" y="2576039"/>
                  </a:lnTo>
                  <a:lnTo>
                    <a:pt x="281192" y="2577984"/>
                  </a:lnTo>
                  <a:lnTo>
                    <a:pt x="279110" y="2582084"/>
                  </a:lnTo>
                  <a:lnTo>
                    <a:pt x="278412" y="2586319"/>
                  </a:lnTo>
                  <a:lnTo>
                    <a:pt x="277776" y="2589026"/>
                  </a:lnTo>
                  <a:lnTo>
                    <a:pt x="277045" y="2590001"/>
                  </a:lnTo>
                  <a:lnTo>
                    <a:pt x="276272" y="2590145"/>
                  </a:lnTo>
                  <a:lnTo>
                    <a:pt x="275640" y="2591109"/>
                  </a:lnTo>
                  <a:lnTo>
                    <a:pt x="275156" y="2592253"/>
                  </a:lnTo>
                  <a:lnTo>
                    <a:pt x="274799" y="2592952"/>
                  </a:lnTo>
                  <a:lnTo>
                    <a:pt x="273915" y="2593529"/>
                  </a:lnTo>
                  <a:lnTo>
                    <a:pt x="272626" y="2593595"/>
                  </a:lnTo>
                  <a:lnTo>
                    <a:pt x="271846" y="2593950"/>
                  </a:lnTo>
                  <a:lnTo>
                    <a:pt x="270977" y="2594628"/>
                  </a:lnTo>
                  <a:lnTo>
                    <a:pt x="270234" y="2595351"/>
                  </a:lnTo>
                  <a:lnTo>
                    <a:pt x="269584" y="2596269"/>
                  </a:lnTo>
                  <a:lnTo>
                    <a:pt x="269015" y="2597508"/>
                  </a:lnTo>
                  <a:lnTo>
                    <a:pt x="268991" y="2598291"/>
                  </a:lnTo>
                  <a:lnTo>
                    <a:pt x="269473" y="2598448"/>
                  </a:lnTo>
                  <a:lnTo>
                    <a:pt x="270081" y="2597910"/>
                  </a:lnTo>
                  <a:lnTo>
                    <a:pt x="270447" y="2596599"/>
                  </a:lnTo>
                  <a:lnTo>
                    <a:pt x="271161" y="2596263"/>
                  </a:lnTo>
                  <a:lnTo>
                    <a:pt x="271831" y="2596101"/>
                  </a:lnTo>
                  <a:lnTo>
                    <a:pt x="272449" y="2596125"/>
                  </a:lnTo>
                  <a:lnTo>
                    <a:pt x="273021" y="2596322"/>
                  </a:lnTo>
                  <a:lnTo>
                    <a:pt x="271925" y="2597256"/>
                  </a:lnTo>
                  <a:lnTo>
                    <a:pt x="271487" y="2597501"/>
                  </a:lnTo>
                  <a:lnTo>
                    <a:pt x="270903" y="2597624"/>
                  </a:lnTo>
                  <a:lnTo>
                    <a:pt x="270724" y="2598555"/>
                  </a:lnTo>
                  <a:lnTo>
                    <a:pt x="270746" y="2599149"/>
                  </a:lnTo>
                  <a:lnTo>
                    <a:pt x="271023" y="2599539"/>
                  </a:lnTo>
                  <a:lnTo>
                    <a:pt x="271612" y="2599817"/>
                  </a:lnTo>
                  <a:lnTo>
                    <a:pt x="271012" y="2600635"/>
                  </a:lnTo>
                  <a:lnTo>
                    <a:pt x="270307" y="2601354"/>
                  </a:lnTo>
                  <a:lnTo>
                    <a:pt x="269597" y="2601789"/>
                  </a:lnTo>
                  <a:lnTo>
                    <a:pt x="268095" y="2601669"/>
                  </a:lnTo>
                  <a:lnTo>
                    <a:pt x="267483" y="2602246"/>
                  </a:lnTo>
                  <a:lnTo>
                    <a:pt x="266104" y="2604762"/>
                  </a:lnTo>
                  <a:lnTo>
                    <a:pt x="265947" y="2605399"/>
                  </a:lnTo>
                  <a:lnTo>
                    <a:pt x="265685" y="2606003"/>
                  </a:lnTo>
                  <a:lnTo>
                    <a:pt x="264850" y="2606787"/>
                  </a:lnTo>
                  <a:lnTo>
                    <a:pt x="261771" y="2608097"/>
                  </a:lnTo>
                  <a:lnTo>
                    <a:pt x="260526" y="2608400"/>
                  </a:lnTo>
                  <a:lnTo>
                    <a:pt x="259017" y="2609944"/>
                  </a:lnTo>
                  <a:lnTo>
                    <a:pt x="256262" y="2613502"/>
                  </a:lnTo>
                  <a:lnTo>
                    <a:pt x="254586" y="2615020"/>
                  </a:lnTo>
                  <a:lnTo>
                    <a:pt x="246468" y="2619223"/>
                  </a:lnTo>
                  <a:lnTo>
                    <a:pt x="243584" y="2621541"/>
                  </a:lnTo>
                  <a:lnTo>
                    <a:pt x="241031" y="2624040"/>
                  </a:lnTo>
                  <a:lnTo>
                    <a:pt x="238592" y="2626061"/>
                  </a:lnTo>
                  <a:lnTo>
                    <a:pt x="237862" y="2626462"/>
                  </a:lnTo>
                  <a:lnTo>
                    <a:pt x="236500" y="2626461"/>
                  </a:lnTo>
                  <a:lnTo>
                    <a:pt x="235306" y="2625691"/>
                  </a:lnTo>
                  <a:lnTo>
                    <a:pt x="234672" y="2624360"/>
                  </a:lnTo>
                  <a:lnTo>
                    <a:pt x="234999" y="2622704"/>
                  </a:lnTo>
                  <a:lnTo>
                    <a:pt x="235678" y="2620938"/>
                  </a:lnTo>
                  <a:lnTo>
                    <a:pt x="236489" y="2615311"/>
                  </a:lnTo>
                  <a:lnTo>
                    <a:pt x="239407" y="2613522"/>
                  </a:lnTo>
                  <a:lnTo>
                    <a:pt x="242284" y="2610671"/>
                  </a:lnTo>
                  <a:lnTo>
                    <a:pt x="242811" y="2610293"/>
                  </a:lnTo>
                  <a:lnTo>
                    <a:pt x="243436" y="2610114"/>
                  </a:lnTo>
                  <a:lnTo>
                    <a:pt x="245521" y="2608744"/>
                  </a:lnTo>
                  <a:lnTo>
                    <a:pt x="246067" y="2608234"/>
                  </a:lnTo>
                  <a:lnTo>
                    <a:pt x="246810" y="2607665"/>
                  </a:lnTo>
                  <a:lnTo>
                    <a:pt x="252050" y="2606052"/>
                  </a:lnTo>
                  <a:lnTo>
                    <a:pt x="257485" y="2603506"/>
                  </a:lnTo>
                  <a:lnTo>
                    <a:pt x="258955" y="2601863"/>
                  </a:lnTo>
                  <a:lnTo>
                    <a:pt x="259224" y="2599807"/>
                  </a:lnTo>
                  <a:lnTo>
                    <a:pt x="258765" y="2596047"/>
                  </a:lnTo>
                  <a:lnTo>
                    <a:pt x="259328" y="2594084"/>
                  </a:lnTo>
                  <a:lnTo>
                    <a:pt x="261415" y="2590012"/>
                  </a:lnTo>
                  <a:lnTo>
                    <a:pt x="261887" y="2588790"/>
                  </a:lnTo>
                  <a:lnTo>
                    <a:pt x="262029" y="2587873"/>
                  </a:lnTo>
                  <a:lnTo>
                    <a:pt x="262756" y="2585260"/>
                  </a:lnTo>
                  <a:lnTo>
                    <a:pt x="263736" y="2582902"/>
                  </a:lnTo>
                  <a:lnTo>
                    <a:pt x="263815" y="2581959"/>
                  </a:lnTo>
                  <a:lnTo>
                    <a:pt x="263682" y="2581061"/>
                  </a:lnTo>
                  <a:lnTo>
                    <a:pt x="263625" y="2579826"/>
                  </a:lnTo>
                  <a:lnTo>
                    <a:pt x="263900" y="2575852"/>
                  </a:lnTo>
                  <a:lnTo>
                    <a:pt x="264534" y="2572392"/>
                  </a:lnTo>
                  <a:lnTo>
                    <a:pt x="266009" y="2568874"/>
                  </a:lnTo>
                  <a:lnTo>
                    <a:pt x="268799" y="2564707"/>
                  </a:lnTo>
                  <a:lnTo>
                    <a:pt x="270825" y="2562443"/>
                  </a:lnTo>
                  <a:lnTo>
                    <a:pt x="271496" y="2561429"/>
                  </a:lnTo>
                  <a:lnTo>
                    <a:pt x="272074" y="2560000"/>
                  </a:lnTo>
                  <a:lnTo>
                    <a:pt x="271988" y="2559209"/>
                  </a:lnTo>
                  <a:lnTo>
                    <a:pt x="271592" y="2558545"/>
                  </a:lnTo>
                  <a:lnTo>
                    <a:pt x="271230" y="2557495"/>
                  </a:lnTo>
                  <a:lnTo>
                    <a:pt x="271341" y="2555750"/>
                  </a:lnTo>
                  <a:lnTo>
                    <a:pt x="272065" y="2553543"/>
                  </a:lnTo>
                  <a:lnTo>
                    <a:pt x="273347" y="2551380"/>
                  </a:lnTo>
                  <a:lnTo>
                    <a:pt x="275124" y="2549774"/>
                  </a:lnTo>
                  <a:lnTo>
                    <a:pt x="283034" y="2545581"/>
                  </a:lnTo>
                  <a:lnTo>
                    <a:pt x="288554" y="2541571"/>
                  </a:lnTo>
                  <a:lnTo>
                    <a:pt x="290588" y="2540782"/>
                  </a:lnTo>
                  <a:lnTo>
                    <a:pt x="290687" y="2539482"/>
                  </a:lnTo>
                  <a:lnTo>
                    <a:pt x="290225" y="2538781"/>
                  </a:lnTo>
                  <a:lnTo>
                    <a:pt x="289401" y="2538532"/>
                  </a:lnTo>
                  <a:lnTo>
                    <a:pt x="288405" y="2538616"/>
                  </a:lnTo>
                  <a:lnTo>
                    <a:pt x="286837" y="2540279"/>
                  </a:lnTo>
                  <a:lnTo>
                    <a:pt x="287548" y="2539311"/>
                  </a:lnTo>
                  <a:lnTo>
                    <a:pt x="289948" y="2535088"/>
                  </a:lnTo>
                  <a:lnTo>
                    <a:pt x="291732" y="2531193"/>
                  </a:lnTo>
                  <a:lnTo>
                    <a:pt x="292460" y="2528851"/>
                  </a:lnTo>
                  <a:lnTo>
                    <a:pt x="292896" y="2526402"/>
                  </a:lnTo>
                  <a:lnTo>
                    <a:pt x="293192" y="2521712"/>
                  </a:lnTo>
                  <a:lnTo>
                    <a:pt x="292889" y="2519354"/>
                  </a:lnTo>
                  <a:lnTo>
                    <a:pt x="291923" y="2518283"/>
                  </a:lnTo>
                  <a:lnTo>
                    <a:pt x="286130" y="2516972"/>
                  </a:lnTo>
                  <a:lnTo>
                    <a:pt x="284575" y="2515782"/>
                  </a:lnTo>
                  <a:lnTo>
                    <a:pt x="282540" y="2513540"/>
                  </a:lnTo>
                  <a:lnTo>
                    <a:pt x="277656" y="2508109"/>
                  </a:lnTo>
                  <a:lnTo>
                    <a:pt x="277319" y="2506930"/>
                  </a:lnTo>
                  <a:lnTo>
                    <a:pt x="277551" y="2505262"/>
                  </a:lnTo>
                  <a:lnTo>
                    <a:pt x="279461" y="2497933"/>
                  </a:lnTo>
                  <a:lnTo>
                    <a:pt x="279461" y="2496134"/>
                  </a:lnTo>
                  <a:lnTo>
                    <a:pt x="278641" y="2494709"/>
                  </a:lnTo>
                  <a:lnTo>
                    <a:pt x="273827" y="2490088"/>
                  </a:lnTo>
                  <a:lnTo>
                    <a:pt x="272337" y="2487344"/>
                  </a:lnTo>
                  <a:lnTo>
                    <a:pt x="270757" y="2475884"/>
                  </a:lnTo>
                  <a:lnTo>
                    <a:pt x="268104" y="2470885"/>
                  </a:lnTo>
                  <a:lnTo>
                    <a:pt x="259648" y="2464093"/>
                  </a:lnTo>
                  <a:lnTo>
                    <a:pt x="256415" y="2459575"/>
                  </a:lnTo>
                  <a:lnTo>
                    <a:pt x="252863" y="2451772"/>
                  </a:lnTo>
                  <a:lnTo>
                    <a:pt x="248873" y="2442948"/>
                  </a:lnTo>
                  <a:lnTo>
                    <a:pt x="244430" y="2433046"/>
                  </a:lnTo>
                  <a:lnTo>
                    <a:pt x="243484" y="2429281"/>
                  </a:lnTo>
                  <a:lnTo>
                    <a:pt x="242735" y="2427704"/>
                  </a:lnTo>
                  <a:lnTo>
                    <a:pt x="241479" y="2426827"/>
                  </a:lnTo>
                  <a:lnTo>
                    <a:pt x="235486" y="2424508"/>
                  </a:lnTo>
                  <a:lnTo>
                    <a:pt x="230158" y="2420969"/>
                  </a:lnTo>
                  <a:lnTo>
                    <a:pt x="229113" y="2419610"/>
                  </a:lnTo>
                  <a:lnTo>
                    <a:pt x="229326" y="2418454"/>
                  </a:lnTo>
                  <a:lnTo>
                    <a:pt x="231856" y="2414699"/>
                  </a:lnTo>
                  <a:lnTo>
                    <a:pt x="232757" y="2412661"/>
                  </a:lnTo>
                  <a:lnTo>
                    <a:pt x="233276" y="2410730"/>
                  </a:lnTo>
                  <a:lnTo>
                    <a:pt x="233662" y="2406963"/>
                  </a:lnTo>
                  <a:lnTo>
                    <a:pt x="233689" y="2405011"/>
                  </a:lnTo>
                  <a:lnTo>
                    <a:pt x="233866" y="2404066"/>
                  </a:lnTo>
                  <a:lnTo>
                    <a:pt x="234363" y="2402969"/>
                  </a:lnTo>
                  <a:lnTo>
                    <a:pt x="235247" y="2402069"/>
                  </a:lnTo>
                  <a:lnTo>
                    <a:pt x="236521" y="2401068"/>
                  </a:lnTo>
                  <a:lnTo>
                    <a:pt x="237549" y="2400057"/>
                  </a:lnTo>
                  <a:lnTo>
                    <a:pt x="237683" y="2399144"/>
                  </a:lnTo>
                  <a:lnTo>
                    <a:pt x="229296" y="2385666"/>
                  </a:lnTo>
                  <a:lnTo>
                    <a:pt x="242435" y="2371879"/>
                  </a:lnTo>
                  <a:lnTo>
                    <a:pt x="237070" y="2365787"/>
                  </a:lnTo>
                  <a:lnTo>
                    <a:pt x="229741" y="2357414"/>
                  </a:lnTo>
                  <a:lnTo>
                    <a:pt x="236785" y="2352925"/>
                  </a:lnTo>
                  <a:lnTo>
                    <a:pt x="241709" y="2349777"/>
                  </a:lnTo>
                  <a:lnTo>
                    <a:pt x="242647" y="2339595"/>
                  </a:lnTo>
                  <a:lnTo>
                    <a:pt x="243398" y="2331635"/>
                  </a:lnTo>
                  <a:lnTo>
                    <a:pt x="242939" y="2321637"/>
                  </a:lnTo>
                  <a:lnTo>
                    <a:pt x="242500" y="2311280"/>
                  </a:lnTo>
                  <a:lnTo>
                    <a:pt x="243200" y="2301347"/>
                  </a:lnTo>
                  <a:lnTo>
                    <a:pt x="243952" y="2290943"/>
                  </a:lnTo>
                  <a:lnTo>
                    <a:pt x="245149" y="2275076"/>
                  </a:lnTo>
                  <a:lnTo>
                    <a:pt x="246015" y="2264084"/>
                  </a:lnTo>
                  <a:lnTo>
                    <a:pt x="245780" y="2255961"/>
                  </a:lnTo>
                  <a:lnTo>
                    <a:pt x="245550" y="2247242"/>
                  </a:lnTo>
                  <a:lnTo>
                    <a:pt x="246027" y="2244266"/>
                  </a:lnTo>
                  <a:lnTo>
                    <a:pt x="248716" y="2234592"/>
                  </a:lnTo>
                  <a:lnTo>
                    <a:pt x="249105" y="2231362"/>
                  </a:lnTo>
                  <a:lnTo>
                    <a:pt x="248282" y="2222632"/>
                  </a:lnTo>
                  <a:lnTo>
                    <a:pt x="247265" y="2211462"/>
                  </a:lnTo>
                  <a:lnTo>
                    <a:pt x="247597" y="2206509"/>
                  </a:lnTo>
                  <a:lnTo>
                    <a:pt x="249261" y="2202153"/>
                  </a:lnTo>
                  <a:lnTo>
                    <a:pt x="252895" y="2200338"/>
                  </a:lnTo>
                  <a:lnTo>
                    <a:pt x="252867" y="2192701"/>
                  </a:lnTo>
                  <a:lnTo>
                    <a:pt x="251367" y="2186066"/>
                  </a:lnTo>
                  <a:lnTo>
                    <a:pt x="249961" y="2179816"/>
                  </a:lnTo>
                  <a:lnTo>
                    <a:pt x="249528" y="2172599"/>
                  </a:lnTo>
                  <a:lnTo>
                    <a:pt x="250431" y="2160858"/>
                  </a:lnTo>
                  <a:lnTo>
                    <a:pt x="250224" y="2157496"/>
                  </a:lnTo>
                  <a:lnTo>
                    <a:pt x="249376" y="2154595"/>
                  </a:lnTo>
                  <a:lnTo>
                    <a:pt x="246101" y="2147984"/>
                  </a:lnTo>
                  <a:lnTo>
                    <a:pt x="242448" y="2140538"/>
                  </a:lnTo>
                  <a:lnTo>
                    <a:pt x="239168" y="2133832"/>
                  </a:lnTo>
                  <a:lnTo>
                    <a:pt x="238341" y="2125228"/>
                  </a:lnTo>
                  <a:lnTo>
                    <a:pt x="238599" y="2123729"/>
                  </a:lnTo>
                  <a:lnTo>
                    <a:pt x="239378" y="2121914"/>
                  </a:lnTo>
                  <a:lnTo>
                    <a:pt x="240165" y="2120957"/>
                  </a:lnTo>
                  <a:lnTo>
                    <a:pt x="240725" y="2120824"/>
                  </a:lnTo>
                  <a:lnTo>
                    <a:pt x="241076" y="2120594"/>
                  </a:lnTo>
                  <a:lnTo>
                    <a:pt x="241238" y="2119337"/>
                  </a:lnTo>
                  <a:lnTo>
                    <a:pt x="240942" y="2118370"/>
                  </a:lnTo>
                  <a:lnTo>
                    <a:pt x="238702" y="2116074"/>
                  </a:lnTo>
                  <a:lnTo>
                    <a:pt x="241932" y="2112430"/>
                  </a:lnTo>
                  <a:lnTo>
                    <a:pt x="242924" y="2110709"/>
                  </a:lnTo>
                  <a:lnTo>
                    <a:pt x="243312" y="2108974"/>
                  </a:lnTo>
                  <a:lnTo>
                    <a:pt x="243575" y="2103079"/>
                  </a:lnTo>
                  <a:lnTo>
                    <a:pt x="243357" y="2100679"/>
                  </a:lnTo>
                  <a:lnTo>
                    <a:pt x="242367" y="2098978"/>
                  </a:lnTo>
                  <a:lnTo>
                    <a:pt x="240183" y="2097482"/>
                  </a:lnTo>
                  <a:lnTo>
                    <a:pt x="239323" y="2096139"/>
                  </a:lnTo>
                  <a:lnTo>
                    <a:pt x="238967" y="2093820"/>
                  </a:lnTo>
                  <a:lnTo>
                    <a:pt x="238866" y="2088885"/>
                  </a:lnTo>
                  <a:lnTo>
                    <a:pt x="239099" y="2087391"/>
                  </a:lnTo>
                  <a:lnTo>
                    <a:pt x="240314" y="2084332"/>
                  </a:lnTo>
                  <a:lnTo>
                    <a:pt x="240620" y="2082914"/>
                  </a:lnTo>
                  <a:lnTo>
                    <a:pt x="240292" y="2082050"/>
                  </a:lnTo>
                  <a:lnTo>
                    <a:pt x="238850" y="2080413"/>
                  </a:lnTo>
                  <a:lnTo>
                    <a:pt x="235226" y="2076235"/>
                  </a:lnTo>
                  <a:lnTo>
                    <a:pt x="231719" y="2072195"/>
                  </a:lnTo>
                  <a:lnTo>
                    <a:pt x="231177" y="2070452"/>
                  </a:lnTo>
                  <a:lnTo>
                    <a:pt x="231150" y="2068248"/>
                  </a:lnTo>
                  <a:lnTo>
                    <a:pt x="231822" y="2063549"/>
                  </a:lnTo>
                  <a:lnTo>
                    <a:pt x="232825" y="2062190"/>
                  </a:lnTo>
                  <a:lnTo>
                    <a:pt x="234199" y="2061050"/>
                  </a:lnTo>
                  <a:lnTo>
                    <a:pt x="235614" y="2060047"/>
                  </a:lnTo>
                  <a:lnTo>
                    <a:pt x="233172" y="2053461"/>
                  </a:lnTo>
                  <a:lnTo>
                    <a:pt x="235124" y="2052200"/>
                  </a:lnTo>
                  <a:lnTo>
                    <a:pt x="238390" y="2051333"/>
                  </a:lnTo>
                  <a:lnTo>
                    <a:pt x="239971" y="2050340"/>
                  </a:lnTo>
                  <a:lnTo>
                    <a:pt x="241105" y="2048981"/>
                  </a:lnTo>
                  <a:lnTo>
                    <a:pt x="244277" y="2044451"/>
                  </a:lnTo>
                  <a:lnTo>
                    <a:pt x="245129" y="2042912"/>
                  </a:lnTo>
                  <a:lnTo>
                    <a:pt x="245303" y="2041201"/>
                  </a:lnTo>
                  <a:lnTo>
                    <a:pt x="244832" y="2036426"/>
                  </a:lnTo>
                  <a:lnTo>
                    <a:pt x="244380" y="2035236"/>
                  </a:lnTo>
                  <a:lnTo>
                    <a:pt x="242684" y="2032724"/>
                  </a:lnTo>
                  <a:lnTo>
                    <a:pt x="242578" y="2029474"/>
                  </a:lnTo>
                  <a:lnTo>
                    <a:pt x="242935" y="2025961"/>
                  </a:lnTo>
                  <a:lnTo>
                    <a:pt x="242614" y="2022677"/>
                  </a:lnTo>
                  <a:lnTo>
                    <a:pt x="240743" y="2017005"/>
                  </a:lnTo>
                  <a:lnTo>
                    <a:pt x="239467" y="2013145"/>
                  </a:lnTo>
                  <a:lnTo>
                    <a:pt x="238959" y="2007926"/>
                  </a:lnTo>
                  <a:lnTo>
                    <a:pt x="238341" y="2007123"/>
                  </a:lnTo>
                  <a:lnTo>
                    <a:pt x="228503" y="2006329"/>
                  </a:lnTo>
                  <a:lnTo>
                    <a:pt x="216714" y="2005347"/>
                  </a:lnTo>
                  <a:lnTo>
                    <a:pt x="210938" y="2004853"/>
                  </a:lnTo>
                  <a:lnTo>
                    <a:pt x="205481" y="2002877"/>
                  </a:lnTo>
                  <a:lnTo>
                    <a:pt x="199205" y="2000594"/>
                  </a:lnTo>
                  <a:lnTo>
                    <a:pt x="193221" y="1998400"/>
                  </a:lnTo>
                  <a:lnTo>
                    <a:pt x="187321" y="1998139"/>
                  </a:lnTo>
                  <a:lnTo>
                    <a:pt x="188562" y="2001274"/>
                  </a:lnTo>
                  <a:lnTo>
                    <a:pt x="189170" y="2004360"/>
                  </a:lnTo>
                  <a:lnTo>
                    <a:pt x="188057" y="2007337"/>
                  </a:lnTo>
                  <a:lnTo>
                    <a:pt x="184119" y="2010173"/>
                  </a:lnTo>
                  <a:lnTo>
                    <a:pt x="180413" y="2011232"/>
                  </a:lnTo>
                  <a:lnTo>
                    <a:pt x="177728" y="2010601"/>
                  </a:lnTo>
                  <a:lnTo>
                    <a:pt x="175698" y="2008786"/>
                  </a:lnTo>
                  <a:lnTo>
                    <a:pt x="173976" y="2006280"/>
                  </a:lnTo>
                  <a:lnTo>
                    <a:pt x="169205" y="2013305"/>
                  </a:lnTo>
                  <a:lnTo>
                    <a:pt x="163226" y="2022108"/>
                  </a:lnTo>
                  <a:lnTo>
                    <a:pt x="160580" y="2024318"/>
                  </a:lnTo>
                  <a:lnTo>
                    <a:pt x="160297" y="2024611"/>
                  </a:lnTo>
                  <a:lnTo>
                    <a:pt x="151415" y="2029294"/>
                  </a:lnTo>
                  <a:lnTo>
                    <a:pt x="148319" y="2029497"/>
                  </a:lnTo>
                  <a:lnTo>
                    <a:pt x="145478" y="2027913"/>
                  </a:lnTo>
                  <a:lnTo>
                    <a:pt x="140772" y="2023642"/>
                  </a:lnTo>
                  <a:lnTo>
                    <a:pt x="137722" y="2022661"/>
                  </a:lnTo>
                  <a:lnTo>
                    <a:pt x="130845" y="2022710"/>
                  </a:lnTo>
                  <a:lnTo>
                    <a:pt x="123770" y="2022694"/>
                  </a:lnTo>
                  <a:lnTo>
                    <a:pt x="122725" y="2022712"/>
                  </a:lnTo>
                  <a:lnTo>
                    <a:pt x="115247" y="2022750"/>
                  </a:lnTo>
                  <a:lnTo>
                    <a:pt x="107809" y="2022746"/>
                  </a:lnTo>
                  <a:lnTo>
                    <a:pt x="103288" y="2023744"/>
                  </a:lnTo>
                  <a:lnTo>
                    <a:pt x="96454" y="2025228"/>
                  </a:lnTo>
                  <a:lnTo>
                    <a:pt x="94548" y="2024993"/>
                  </a:lnTo>
                  <a:lnTo>
                    <a:pt x="93107" y="2023798"/>
                  </a:lnTo>
                  <a:lnTo>
                    <a:pt x="93064" y="2021735"/>
                  </a:lnTo>
                  <a:lnTo>
                    <a:pt x="94698" y="2019513"/>
                  </a:lnTo>
                  <a:lnTo>
                    <a:pt x="99034" y="2015614"/>
                  </a:lnTo>
                  <a:lnTo>
                    <a:pt x="102498" y="2007160"/>
                  </a:lnTo>
                  <a:lnTo>
                    <a:pt x="105183" y="2000632"/>
                  </a:lnTo>
                  <a:lnTo>
                    <a:pt x="108302" y="1993072"/>
                  </a:lnTo>
                  <a:lnTo>
                    <a:pt x="108954" y="1990992"/>
                  </a:lnTo>
                  <a:lnTo>
                    <a:pt x="109086" y="1989161"/>
                  </a:lnTo>
                  <a:lnTo>
                    <a:pt x="107465" y="1977429"/>
                  </a:lnTo>
                  <a:lnTo>
                    <a:pt x="105826" y="1965288"/>
                  </a:lnTo>
                  <a:lnTo>
                    <a:pt x="104190" y="1952769"/>
                  </a:lnTo>
                  <a:lnTo>
                    <a:pt x="102649" y="1940676"/>
                  </a:lnTo>
                  <a:lnTo>
                    <a:pt x="101245" y="1929198"/>
                  </a:lnTo>
                  <a:lnTo>
                    <a:pt x="100053" y="1919234"/>
                  </a:lnTo>
                  <a:lnTo>
                    <a:pt x="99031" y="1910460"/>
                  </a:lnTo>
                  <a:lnTo>
                    <a:pt x="99356" y="1906505"/>
                  </a:lnTo>
                  <a:lnTo>
                    <a:pt x="100029" y="1904040"/>
                  </a:lnTo>
                  <a:lnTo>
                    <a:pt x="103725" y="1895566"/>
                  </a:lnTo>
                  <a:lnTo>
                    <a:pt x="103953" y="1894792"/>
                  </a:lnTo>
                  <a:lnTo>
                    <a:pt x="103933" y="1894115"/>
                  </a:lnTo>
                  <a:lnTo>
                    <a:pt x="103283" y="1891558"/>
                  </a:lnTo>
                  <a:lnTo>
                    <a:pt x="100619" y="1886072"/>
                  </a:lnTo>
                  <a:lnTo>
                    <a:pt x="96339" y="1877206"/>
                  </a:lnTo>
                  <a:lnTo>
                    <a:pt x="95467" y="1874051"/>
                  </a:lnTo>
                  <a:lnTo>
                    <a:pt x="95441" y="1873308"/>
                  </a:lnTo>
                  <a:lnTo>
                    <a:pt x="95295" y="1868807"/>
                  </a:lnTo>
                  <a:lnTo>
                    <a:pt x="95110" y="1862772"/>
                  </a:lnTo>
                  <a:lnTo>
                    <a:pt x="96834" y="1860376"/>
                  </a:lnTo>
                  <a:lnTo>
                    <a:pt x="102290" y="1856114"/>
                  </a:lnTo>
                  <a:lnTo>
                    <a:pt x="108153" y="1851525"/>
                  </a:lnTo>
                  <a:lnTo>
                    <a:pt x="114674" y="1846418"/>
                  </a:lnTo>
                  <a:lnTo>
                    <a:pt x="116330" y="1844605"/>
                  </a:lnTo>
                  <a:lnTo>
                    <a:pt x="117130" y="1842576"/>
                  </a:lnTo>
                  <a:lnTo>
                    <a:pt x="116569" y="1841353"/>
                  </a:lnTo>
                  <a:lnTo>
                    <a:pt x="109576" y="1836378"/>
                  </a:lnTo>
                  <a:lnTo>
                    <a:pt x="102982" y="1831653"/>
                  </a:lnTo>
                  <a:lnTo>
                    <a:pt x="98469" y="1828411"/>
                  </a:lnTo>
                  <a:lnTo>
                    <a:pt x="93683" y="1824960"/>
                  </a:lnTo>
                  <a:lnTo>
                    <a:pt x="91049" y="1823879"/>
                  </a:lnTo>
                  <a:lnTo>
                    <a:pt x="87832" y="1823810"/>
                  </a:lnTo>
                  <a:lnTo>
                    <a:pt x="80227" y="1825126"/>
                  </a:lnTo>
                  <a:lnTo>
                    <a:pt x="73182" y="1826329"/>
                  </a:lnTo>
                  <a:lnTo>
                    <a:pt x="69752" y="1826317"/>
                  </a:lnTo>
                  <a:lnTo>
                    <a:pt x="67682" y="1824781"/>
                  </a:lnTo>
                  <a:lnTo>
                    <a:pt x="63977" y="1816112"/>
                  </a:lnTo>
                  <a:lnTo>
                    <a:pt x="60241" y="1807324"/>
                  </a:lnTo>
                  <a:lnTo>
                    <a:pt x="57876" y="1801729"/>
                  </a:lnTo>
                  <a:lnTo>
                    <a:pt x="56985" y="1800812"/>
                  </a:lnTo>
                  <a:lnTo>
                    <a:pt x="56005" y="1800765"/>
                  </a:lnTo>
                  <a:lnTo>
                    <a:pt x="54626" y="1801438"/>
                  </a:lnTo>
                  <a:lnTo>
                    <a:pt x="50602" y="1803858"/>
                  </a:lnTo>
                  <a:lnTo>
                    <a:pt x="49257" y="1804529"/>
                  </a:lnTo>
                  <a:lnTo>
                    <a:pt x="48274" y="1804478"/>
                  </a:lnTo>
                  <a:lnTo>
                    <a:pt x="44531" y="1798244"/>
                  </a:lnTo>
                  <a:lnTo>
                    <a:pt x="41361" y="1792926"/>
                  </a:lnTo>
                  <a:lnTo>
                    <a:pt x="37244" y="1785995"/>
                  </a:lnTo>
                  <a:lnTo>
                    <a:pt x="35187" y="1782530"/>
                  </a:lnTo>
                  <a:lnTo>
                    <a:pt x="35146" y="1781261"/>
                  </a:lnTo>
                  <a:lnTo>
                    <a:pt x="36037" y="1779607"/>
                  </a:lnTo>
                  <a:lnTo>
                    <a:pt x="46050" y="1767024"/>
                  </a:lnTo>
                  <a:lnTo>
                    <a:pt x="56071" y="1754445"/>
                  </a:lnTo>
                  <a:lnTo>
                    <a:pt x="66096" y="1741878"/>
                  </a:lnTo>
                  <a:lnTo>
                    <a:pt x="76134" y="1729310"/>
                  </a:lnTo>
                  <a:lnTo>
                    <a:pt x="86178" y="1716752"/>
                  </a:lnTo>
                  <a:lnTo>
                    <a:pt x="96237" y="1704190"/>
                  </a:lnTo>
                  <a:lnTo>
                    <a:pt x="106298" y="1691642"/>
                  </a:lnTo>
                  <a:lnTo>
                    <a:pt x="116368" y="1679100"/>
                  </a:lnTo>
                  <a:lnTo>
                    <a:pt x="126447" y="1666563"/>
                  </a:lnTo>
                  <a:lnTo>
                    <a:pt x="136535" y="1654029"/>
                  </a:lnTo>
                  <a:lnTo>
                    <a:pt x="146631" y="1641503"/>
                  </a:lnTo>
                  <a:lnTo>
                    <a:pt x="156737" y="1628984"/>
                  </a:lnTo>
                  <a:lnTo>
                    <a:pt x="166858" y="1616462"/>
                  </a:lnTo>
                  <a:lnTo>
                    <a:pt x="176980" y="1603952"/>
                  </a:lnTo>
                  <a:lnTo>
                    <a:pt x="187112" y="1591446"/>
                  </a:lnTo>
                  <a:lnTo>
                    <a:pt x="197255" y="1578941"/>
                  </a:lnTo>
                  <a:lnTo>
                    <a:pt x="207401" y="1566450"/>
                  </a:lnTo>
                  <a:lnTo>
                    <a:pt x="217558" y="1553961"/>
                  </a:lnTo>
                  <a:lnTo>
                    <a:pt x="227723" y="1541477"/>
                  </a:lnTo>
                  <a:lnTo>
                    <a:pt x="237899" y="1529000"/>
                  </a:lnTo>
                  <a:lnTo>
                    <a:pt x="248086" y="1516524"/>
                  </a:lnTo>
                  <a:lnTo>
                    <a:pt x="258277" y="1504057"/>
                  </a:lnTo>
                  <a:lnTo>
                    <a:pt x="268480" y="1491592"/>
                  </a:lnTo>
                  <a:lnTo>
                    <a:pt x="278680" y="1479145"/>
                  </a:lnTo>
                  <a:lnTo>
                    <a:pt x="288893" y="1466700"/>
                  </a:lnTo>
                  <a:lnTo>
                    <a:pt x="299117" y="1454256"/>
                  </a:lnTo>
                  <a:lnTo>
                    <a:pt x="309353" y="1441814"/>
                  </a:lnTo>
                  <a:lnTo>
                    <a:pt x="319596" y="1429383"/>
                  </a:lnTo>
                  <a:lnTo>
                    <a:pt x="329846" y="1416957"/>
                  </a:lnTo>
                  <a:lnTo>
                    <a:pt x="340108" y="1404532"/>
                  </a:lnTo>
                  <a:lnTo>
                    <a:pt x="350370" y="1392122"/>
                  </a:lnTo>
                  <a:lnTo>
                    <a:pt x="360644" y="1379713"/>
                  </a:lnTo>
                  <a:lnTo>
                    <a:pt x="370926" y="1367310"/>
                  </a:lnTo>
                  <a:lnTo>
                    <a:pt x="381215" y="1354913"/>
                  </a:lnTo>
                  <a:lnTo>
                    <a:pt x="391516" y="1342520"/>
                  </a:lnTo>
                  <a:lnTo>
                    <a:pt x="401826" y="1330135"/>
                  </a:lnTo>
                  <a:lnTo>
                    <a:pt x="412142" y="1317756"/>
                  </a:lnTo>
                  <a:lnTo>
                    <a:pt x="422464" y="1305383"/>
                  </a:lnTo>
                  <a:lnTo>
                    <a:pt x="432796" y="1293016"/>
                  </a:lnTo>
                  <a:lnTo>
                    <a:pt x="443132" y="1280658"/>
                  </a:lnTo>
                  <a:lnTo>
                    <a:pt x="453478" y="1268305"/>
                  </a:lnTo>
                  <a:lnTo>
                    <a:pt x="463831" y="1255959"/>
                  </a:lnTo>
                  <a:lnTo>
                    <a:pt x="474195" y="1243614"/>
                  </a:lnTo>
                  <a:lnTo>
                    <a:pt x="484571" y="1231273"/>
                  </a:lnTo>
                  <a:lnTo>
                    <a:pt x="494949" y="1218949"/>
                  </a:lnTo>
                  <a:lnTo>
                    <a:pt x="505335" y="1206625"/>
                  </a:lnTo>
                  <a:lnTo>
                    <a:pt x="515732" y="1194306"/>
                  </a:lnTo>
                  <a:lnTo>
                    <a:pt x="526132" y="1181996"/>
                  </a:lnTo>
                  <a:lnTo>
                    <a:pt x="536545" y="1169688"/>
                  </a:lnTo>
                  <a:lnTo>
                    <a:pt x="546965" y="1157387"/>
                  </a:lnTo>
                  <a:lnTo>
                    <a:pt x="557388" y="1145099"/>
                  </a:lnTo>
                  <a:lnTo>
                    <a:pt x="567827" y="1132809"/>
                  </a:lnTo>
                  <a:lnTo>
                    <a:pt x="578271" y="1120530"/>
                  </a:lnTo>
                  <a:lnTo>
                    <a:pt x="588721" y="1108256"/>
                  </a:lnTo>
                  <a:lnTo>
                    <a:pt x="599178" y="1095989"/>
                  </a:lnTo>
                  <a:lnTo>
                    <a:pt x="609640" y="1083732"/>
                  </a:lnTo>
                  <a:lnTo>
                    <a:pt x="620113" y="1071478"/>
                  </a:lnTo>
                  <a:lnTo>
                    <a:pt x="630594" y="1059230"/>
                  </a:lnTo>
                  <a:lnTo>
                    <a:pt x="641083" y="1046988"/>
                  </a:lnTo>
                  <a:lnTo>
                    <a:pt x="651580" y="1034754"/>
                  </a:lnTo>
                  <a:lnTo>
                    <a:pt x="662086" y="1022526"/>
                  </a:lnTo>
                  <a:lnTo>
                    <a:pt x="672597" y="1010305"/>
                  </a:lnTo>
                  <a:lnTo>
                    <a:pt x="683116" y="998089"/>
                  </a:lnTo>
                  <a:close/>
                  <a:moveTo>
                    <a:pt x="2020400" y="906821"/>
                  </a:moveTo>
                  <a:lnTo>
                    <a:pt x="2027902" y="907388"/>
                  </a:lnTo>
                  <a:lnTo>
                    <a:pt x="2029256" y="909612"/>
                  </a:lnTo>
                  <a:lnTo>
                    <a:pt x="2032010" y="910676"/>
                  </a:lnTo>
                  <a:lnTo>
                    <a:pt x="2032467" y="911461"/>
                  </a:lnTo>
                  <a:lnTo>
                    <a:pt x="2033632" y="914592"/>
                  </a:lnTo>
                  <a:lnTo>
                    <a:pt x="2035530" y="915788"/>
                  </a:lnTo>
                  <a:lnTo>
                    <a:pt x="2035815" y="917072"/>
                  </a:lnTo>
                  <a:lnTo>
                    <a:pt x="2035403" y="919015"/>
                  </a:lnTo>
                  <a:lnTo>
                    <a:pt x="2036610" y="924505"/>
                  </a:lnTo>
                  <a:lnTo>
                    <a:pt x="2035947" y="929742"/>
                  </a:lnTo>
                  <a:lnTo>
                    <a:pt x="2036521" y="930942"/>
                  </a:lnTo>
                  <a:lnTo>
                    <a:pt x="2037900" y="932276"/>
                  </a:lnTo>
                  <a:lnTo>
                    <a:pt x="2037886" y="932514"/>
                  </a:lnTo>
                  <a:lnTo>
                    <a:pt x="2037753" y="933432"/>
                  </a:lnTo>
                  <a:lnTo>
                    <a:pt x="2037738" y="933674"/>
                  </a:lnTo>
                  <a:lnTo>
                    <a:pt x="2037886" y="933881"/>
                  </a:lnTo>
                  <a:lnTo>
                    <a:pt x="2038469" y="934353"/>
                  </a:lnTo>
                  <a:lnTo>
                    <a:pt x="2039327" y="936445"/>
                  </a:lnTo>
                  <a:lnTo>
                    <a:pt x="2039659" y="936924"/>
                  </a:lnTo>
                  <a:lnTo>
                    <a:pt x="2038879" y="939206"/>
                  </a:lnTo>
                  <a:lnTo>
                    <a:pt x="2037569" y="941217"/>
                  </a:lnTo>
                  <a:lnTo>
                    <a:pt x="2033629" y="945703"/>
                  </a:lnTo>
                  <a:lnTo>
                    <a:pt x="2030359" y="948198"/>
                  </a:lnTo>
                  <a:lnTo>
                    <a:pt x="2021672" y="950164"/>
                  </a:lnTo>
                  <a:lnTo>
                    <a:pt x="2019572" y="951926"/>
                  </a:lnTo>
                  <a:lnTo>
                    <a:pt x="2018786" y="951873"/>
                  </a:lnTo>
                  <a:lnTo>
                    <a:pt x="2016665" y="950093"/>
                  </a:lnTo>
                  <a:lnTo>
                    <a:pt x="2013046" y="949364"/>
                  </a:lnTo>
                  <a:lnTo>
                    <a:pt x="2011721" y="948157"/>
                  </a:lnTo>
                  <a:lnTo>
                    <a:pt x="2009694" y="947379"/>
                  </a:lnTo>
                  <a:lnTo>
                    <a:pt x="2006895" y="944888"/>
                  </a:lnTo>
                  <a:lnTo>
                    <a:pt x="2004989" y="941468"/>
                  </a:lnTo>
                  <a:lnTo>
                    <a:pt x="2002073" y="938249"/>
                  </a:lnTo>
                  <a:lnTo>
                    <a:pt x="2001680" y="936337"/>
                  </a:lnTo>
                  <a:lnTo>
                    <a:pt x="2002500" y="934551"/>
                  </a:lnTo>
                  <a:lnTo>
                    <a:pt x="2003790" y="933253"/>
                  </a:lnTo>
                  <a:lnTo>
                    <a:pt x="2005494" y="932320"/>
                  </a:lnTo>
                  <a:lnTo>
                    <a:pt x="2006080" y="931006"/>
                  </a:lnTo>
                  <a:lnTo>
                    <a:pt x="2007128" y="927803"/>
                  </a:lnTo>
                  <a:lnTo>
                    <a:pt x="2007365" y="927459"/>
                  </a:lnTo>
                  <a:lnTo>
                    <a:pt x="2007910" y="927101"/>
                  </a:lnTo>
                  <a:lnTo>
                    <a:pt x="2008047" y="926829"/>
                  </a:lnTo>
                  <a:lnTo>
                    <a:pt x="2008194" y="925816"/>
                  </a:lnTo>
                  <a:lnTo>
                    <a:pt x="2008304" y="925376"/>
                  </a:lnTo>
                  <a:lnTo>
                    <a:pt x="2008460" y="925058"/>
                  </a:lnTo>
                  <a:lnTo>
                    <a:pt x="2008891" y="924659"/>
                  </a:lnTo>
                  <a:lnTo>
                    <a:pt x="2009755" y="924198"/>
                  </a:lnTo>
                  <a:lnTo>
                    <a:pt x="2010196" y="923711"/>
                  </a:lnTo>
                  <a:lnTo>
                    <a:pt x="2009638" y="923716"/>
                  </a:lnTo>
                  <a:lnTo>
                    <a:pt x="2009053" y="923353"/>
                  </a:lnTo>
                  <a:lnTo>
                    <a:pt x="2008520" y="922747"/>
                  </a:lnTo>
                  <a:lnTo>
                    <a:pt x="2008118" y="922024"/>
                  </a:lnTo>
                  <a:lnTo>
                    <a:pt x="2008227" y="921218"/>
                  </a:lnTo>
                  <a:lnTo>
                    <a:pt x="2008802" y="921034"/>
                  </a:lnTo>
                  <a:lnTo>
                    <a:pt x="2009522" y="920422"/>
                  </a:lnTo>
                  <a:lnTo>
                    <a:pt x="2010021" y="919524"/>
                  </a:lnTo>
                  <a:lnTo>
                    <a:pt x="2009940" y="918455"/>
                  </a:lnTo>
                  <a:lnTo>
                    <a:pt x="2010780" y="916497"/>
                  </a:lnTo>
                  <a:lnTo>
                    <a:pt x="2011664" y="915203"/>
                  </a:lnTo>
                  <a:lnTo>
                    <a:pt x="2018001" y="908457"/>
                  </a:lnTo>
                  <a:close/>
                  <a:moveTo>
                    <a:pt x="2281553" y="895703"/>
                  </a:moveTo>
                  <a:lnTo>
                    <a:pt x="2288512" y="897671"/>
                  </a:lnTo>
                  <a:lnTo>
                    <a:pt x="2295490" y="899613"/>
                  </a:lnTo>
                  <a:lnTo>
                    <a:pt x="2305486" y="913306"/>
                  </a:lnTo>
                  <a:lnTo>
                    <a:pt x="2306491" y="915725"/>
                  </a:lnTo>
                  <a:lnTo>
                    <a:pt x="2307429" y="917008"/>
                  </a:lnTo>
                  <a:lnTo>
                    <a:pt x="2310269" y="919328"/>
                  </a:lnTo>
                  <a:lnTo>
                    <a:pt x="2313337" y="923770"/>
                  </a:lnTo>
                  <a:lnTo>
                    <a:pt x="2316047" y="924663"/>
                  </a:lnTo>
                  <a:lnTo>
                    <a:pt x="2316443" y="924961"/>
                  </a:lnTo>
                  <a:lnTo>
                    <a:pt x="2316701" y="925734"/>
                  </a:lnTo>
                  <a:lnTo>
                    <a:pt x="2317152" y="927898"/>
                  </a:lnTo>
                  <a:lnTo>
                    <a:pt x="2317396" y="928623"/>
                  </a:lnTo>
                  <a:lnTo>
                    <a:pt x="2316606" y="929753"/>
                  </a:lnTo>
                  <a:lnTo>
                    <a:pt x="2315452" y="930288"/>
                  </a:lnTo>
                  <a:lnTo>
                    <a:pt x="2313282" y="930300"/>
                  </a:lnTo>
                  <a:lnTo>
                    <a:pt x="2313320" y="931040"/>
                  </a:lnTo>
                  <a:lnTo>
                    <a:pt x="2317024" y="931376"/>
                  </a:lnTo>
                  <a:lnTo>
                    <a:pt x="2321919" y="934887"/>
                  </a:lnTo>
                  <a:lnTo>
                    <a:pt x="2322032" y="935822"/>
                  </a:lnTo>
                  <a:lnTo>
                    <a:pt x="2321808" y="937689"/>
                  </a:lnTo>
                  <a:lnTo>
                    <a:pt x="2321490" y="938943"/>
                  </a:lnTo>
                  <a:lnTo>
                    <a:pt x="2320034" y="941824"/>
                  </a:lnTo>
                  <a:lnTo>
                    <a:pt x="2320739" y="943524"/>
                  </a:lnTo>
                  <a:lnTo>
                    <a:pt x="2323024" y="947291"/>
                  </a:lnTo>
                  <a:lnTo>
                    <a:pt x="2323765" y="949223"/>
                  </a:lnTo>
                  <a:lnTo>
                    <a:pt x="2323724" y="950878"/>
                  </a:lnTo>
                  <a:lnTo>
                    <a:pt x="2323229" y="952317"/>
                  </a:lnTo>
                  <a:lnTo>
                    <a:pt x="2322606" y="953618"/>
                  </a:lnTo>
                  <a:lnTo>
                    <a:pt x="2322810" y="954134"/>
                  </a:lnTo>
                  <a:lnTo>
                    <a:pt x="2323311" y="955875"/>
                  </a:lnTo>
                  <a:lnTo>
                    <a:pt x="2322765" y="956098"/>
                  </a:lnTo>
                  <a:lnTo>
                    <a:pt x="2321731" y="957190"/>
                  </a:lnTo>
                  <a:lnTo>
                    <a:pt x="2320139" y="958071"/>
                  </a:lnTo>
                  <a:lnTo>
                    <a:pt x="2319651" y="958794"/>
                  </a:lnTo>
                  <a:lnTo>
                    <a:pt x="2319250" y="959786"/>
                  </a:lnTo>
                  <a:lnTo>
                    <a:pt x="2319856" y="960361"/>
                  </a:lnTo>
                  <a:lnTo>
                    <a:pt x="2321742" y="958917"/>
                  </a:lnTo>
                  <a:lnTo>
                    <a:pt x="2322273" y="959119"/>
                  </a:lnTo>
                  <a:lnTo>
                    <a:pt x="2322662" y="959735"/>
                  </a:lnTo>
                  <a:lnTo>
                    <a:pt x="2323451" y="961859"/>
                  </a:lnTo>
                  <a:lnTo>
                    <a:pt x="2325045" y="965141"/>
                  </a:lnTo>
                  <a:lnTo>
                    <a:pt x="2325678" y="967321"/>
                  </a:lnTo>
                  <a:lnTo>
                    <a:pt x="2325651" y="969837"/>
                  </a:lnTo>
                  <a:lnTo>
                    <a:pt x="2326328" y="972620"/>
                  </a:lnTo>
                  <a:lnTo>
                    <a:pt x="2326603" y="974126"/>
                  </a:lnTo>
                  <a:lnTo>
                    <a:pt x="2326788" y="975773"/>
                  </a:lnTo>
                  <a:lnTo>
                    <a:pt x="2326811" y="977363"/>
                  </a:lnTo>
                  <a:lnTo>
                    <a:pt x="2326710" y="980020"/>
                  </a:lnTo>
                  <a:lnTo>
                    <a:pt x="2326873" y="981023"/>
                  </a:lnTo>
                  <a:lnTo>
                    <a:pt x="2326507" y="986700"/>
                  </a:lnTo>
                  <a:lnTo>
                    <a:pt x="2326548" y="988802"/>
                  </a:lnTo>
                  <a:lnTo>
                    <a:pt x="2326212" y="990915"/>
                  </a:lnTo>
                  <a:lnTo>
                    <a:pt x="2325198" y="991685"/>
                  </a:lnTo>
                  <a:lnTo>
                    <a:pt x="2323135" y="991607"/>
                  </a:lnTo>
                  <a:lnTo>
                    <a:pt x="2324962" y="991963"/>
                  </a:lnTo>
                  <a:lnTo>
                    <a:pt x="2325922" y="992619"/>
                  </a:lnTo>
                  <a:lnTo>
                    <a:pt x="2326451" y="994403"/>
                  </a:lnTo>
                  <a:lnTo>
                    <a:pt x="2326269" y="995933"/>
                  </a:lnTo>
                  <a:lnTo>
                    <a:pt x="2325701" y="997524"/>
                  </a:lnTo>
                  <a:lnTo>
                    <a:pt x="2324546" y="999626"/>
                  </a:lnTo>
                  <a:lnTo>
                    <a:pt x="2322483" y="1001514"/>
                  </a:lnTo>
                  <a:lnTo>
                    <a:pt x="2314011" y="1002903"/>
                  </a:lnTo>
                  <a:lnTo>
                    <a:pt x="2305528" y="1004252"/>
                  </a:lnTo>
                  <a:lnTo>
                    <a:pt x="2304428" y="1003600"/>
                  </a:lnTo>
                  <a:lnTo>
                    <a:pt x="2303327" y="1002346"/>
                  </a:lnTo>
                  <a:lnTo>
                    <a:pt x="2302785" y="1002036"/>
                  </a:lnTo>
                  <a:lnTo>
                    <a:pt x="2298847" y="1004085"/>
                  </a:lnTo>
                  <a:lnTo>
                    <a:pt x="2298125" y="1005322"/>
                  </a:lnTo>
                  <a:lnTo>
                    <a:pt x="2290180" y="1005308"/>
                  </a:lnTo>
                  <a:lnTo>
                    <a:pt x="2288675" y="1003101"/>
                  </a:lnTo>
                  <a:lnTo>
                    <a:pt x="2288107" y="1000734"/>
                  </a:lnTo>
                  <a:lnTo>
                    <a:pt x="2286953" y="999623"/>
                  </a:lnTo>
                  <a:lnTo>
                    <a:pt x="2285721" y="999723"/>
                  </a:lnTo>
                  <a:lnTo>
                    <a:pt x="2284350" y="1002021"/>
                  </a:lnTo>
                  <a:lnTo>
                    <a:pt x="2283628" y="1001804"/>
                  </a:lnTo>
                  <a:lnTo>
                    <a:pt x="2282147" y="1000668"/>
                  </a:lnTo>
                  <a:lnTo>
                    <a:pt x="2280741" y="1000576"/>
                  </a:lnTo>
                  <a:lnTo>
                    <a:pt x="2280059" y="1000158"/>
                  </a:lnTo>
                  <a:lnTo>
                    <a:pt x="2279405" y="999262"/>
                  </a:lnTo>
                  <a:lnTo>
                    <a:pt x="2279619" y="998011"/>
                  </a:lnTo>
                  <a:lnTo>
                    <a:pt x="2280117" y="996209"/>
                  </a:lnTo>
                  <a:lnTo>
                    <a:pt x="2280281" y="994797"/>
                  </a:lnTo>
                  <a:lnTo>
                    <a:pt x="2272811" y="986956"/>
                  </a:lnTo>
                  <a:lnTo>
                    <a:pt x="2272367" y="986781"/>
                  </a:lnTo>
                  <a:lnTo>
                    <a:pt x="2271946" y="987095"/>
                  </a:lnTo>
                  <a:lnTo>
                    <a:pt x="2271652" y="987791"/>
                  </a:lnTo>
                  <a:lnTo>
                    <a:pt x="2271432" y="988564"/>
                  </a:lnTo>
                  <a:lnTo>
                    <a:pt x="2271227" y="989098"/>
                  </a:lnTo>
                  <a:lnTo>
                    <a:pt x="2270591" y="989854"/>
                  </a:lnTo>
                  <a:lnTo>
                    <a:pt x="2269777" y="990460"/>
                  </a:lnTo>
                  <a:lnTo>
                    <a:pt x="2268952" y="990576"/>
                  </a:lnTo>
                  <a:lnTo>
                    <a:pt x="2268294" y="989839"/>
                  </a:lnTo>
                  <a:lnTo>
                    <a:pt x="2270601" y="987630"/>
                  </a:lnTo>
                  <a:lnTo>
                    <a:pt x="2270582" y="986822"/>
                  </a:lnTo>
                  <a:lnTo>
                    <a:pt x="2269127" y="986766"/>
                  </a:lnTo>
                  <a:lnTo>
                    <a:pt x="2268357" y="987189"/>
                  </a:lnTo>
                  <a:lnTo>
                    <a:pt x="2267867" y="988365"/>
                  </a:lnTo>
                  <a:lnTo>
                    <a:pt x="2267844" y="989690"/>
                  </a:lnTo>
                  <a:lnTo>
                    <a:pt x="2268077" y="991115"/>
                  </a:lnTo>
                  <a:lnTo>
                    <a:pt x="2268754" y="993599"/>
                  </a:lnTo>
                  <a:lnTo>
                    <a:pt x="2267036" y="993798"/>
                  </a:lnTo>
                  <a:lnTo>
                    <a:pt x="2266187" y="992991"/>
                  </a:lnTo>
                  <a:lnTo>
                    <a:pt x="2265950" y="990629"/>
                  </a:lnTo>
                  <a:lnTo>
                    <a:pt x="2267459" y="987698"/>
                  </a:lnTo>
                  <a:lnTo>
                    <a:pt x="2267136" y="986606"/>
                  </a:lnTo>
                  <a:lnTo>
                    <a:pt x="2266768" y="986154"/>
                  </a:lnTo>
                  <a:lnTo>
                    <a:pt x="2263394" y="986375"/>
                  </a:lnTo>
                  <a:lnTo>
                    <a:pt x="2262115" y="985724"/>
                  </a:lnTo>
                  <a:lnTo>
                    <a:pt x="2261056" y="983377"/>
                  </a:lnTo>
                  <a:lnTo>
                    <a:pt x="2261252" y="983373"/>
                  </a:lnTo>
                  <a:lnTo>
                    <a:pt x="2260840" y="982745"/>
                  </a:lnTo>
                  <a:lnTo>
                    <a:pt x="2260409" y="983062"/>
                  </a:lnTo>
                  <a:lnTo>
                    <a:pt x="2260161" y="983891"/>
                  </a:lnTo>
                  <a:lnTo>
                    <a:pt x="2260298" y="984811"/>
                  </a:lnTo>
                  <a:lnTo>
                    <a:pt x="2260312" y="985553"/>
                  </a:lnTo>
                  <a:lnTo>
                    <a:pt x="2255750" y="985073"/>
                  </a:lnTo>
                  <a:lnTo>
                    <a:pt x="2254958" y="984157"/>
                  </a:lnTo>
                  <a:lnTo>
                    <a:pt x="2255432" y="984203"/>
                  </a:lnTo>
                  <a:lnTo>
                    <a:pt x="2255908" y="983985"/>
                  </a:lnTo>
                  <a:lnTo>
                    <a:pt x="2256296" y="983290"/>
                  </a:lnTo>
                  <a:lnTo>
                    <a:pt x="2256491" y="981906"/>
                  </a:lnTo>
                  <a:lnTo>
                    <a:pt x="2255164" y="981904"/>
                  </a:lnTo>
                  <a:lnTo>
                    <a:pt x="2253833" y="981048"/>
                  </a:lnTo>
                  <a:lnTo>
                    <a:pt x="2252595" y="979525"/>
                  </a:lnTo>
                  <a:lnTo>
                    <a:pt x="2251541" y="977530"/>
                  </a:lnTo>
                  <a:lnTo>
                    <a:pt x="2251753" y="977527"/>
                  </a:lnTo>
                  <a:lnTo>
                    <a:pt x="2249995" y="976467"/>
                  </a:lnTo>
                  <a:lnTo>
                    <a:pt x="2249229" y="975196"/>
                  </a:lnTo>
                  <a:lnTo>
                    <a:pt x="2248741" y="973118"/>
                  </a:lnTo>
                  <a:lnTo>
                    <a:pt x="2249407" y="972206"/>
                  </a:lnTo>
                  <a:lnTo>
                    <a:pt x="2251676" y="971601"/>
                  </a:lnTo>
                  <a:lnTo>
                    <a:pt x="2251494" y="970130"/>
                  </a:lnTo>
                  <a:lnTo>
                    <a:pt x="2251299" y="969418"/>
                  </a:lnTo>
                  <a:lnTo>
                    <a:pt x="2251039" y="969209"/>
                  </a:lnTo>
                  <a:lnTo>
                    <a:pt x="2250656" y="969267"/>
                  </a:lnTo>
                  <a:lnTo>
                    <a:pt x="2250382" y="969517"/>
                  </a:lnTo>
                  <a:lnTo>
                    <a:pt x="2249818" y="970512"/>
                  </a:lnTo>
                  <a:lnTo>
                    <a:pt x="2249508" y="970824"/>
                  </a:lnTo>
                  <a:lnTo>
                    <a:pt x="2248536" y="970835"/>
                  </a:lnTo>
                  <a:lnTo>
                    <a:pt x="2248941" y="968955"/>
                  </a:lnTo>
                  <a:lnTo>
                    <a:pt x="2249580" y="967161"/>
                  </a:lnTo>
                  <a:lnTo>
                    <a:pt x="2250311" y="965723"/>
                  </a:lnTo>
                  <a:lnTo>
                    <a:pt x="2250990" y="964881"/>
                  </a:lnTo>
                  <a:lnTo>
                    <a:pt x="2250684" y="963697"/>
                  </a:lnTo>
                  <a:lnTo>
                    <a:pt x="2249929" y="963596"/>
                  </a:lnTo>
                  <a:lnTo>
                    <a:pt x="2248252" y="964237"/>
                  </a:lnTo>
                  <a:lnTo>
                    <a:pt x="2248415" y="965400"/>
                  </a:lnTo>
                  <a:lnTo>
                    <a:pt x="2248147" y="966665"/>
                  </a:lnTo>
                  <a:lnTo>
                    <a:pt x="2248293" y="967876"/>
                  </a:lnTo>
                  <a:lnTo>
                    <a:pt x="2247020" y="970223"/>
                  </a:lnTo>
                  <a:lnTo>
                    <a:pt x="2246964" y="970851"/>
                  </a:lnTo>
                  <a:lnTo>
                    <a:pt x="2246795" y="971492"/>
                  </a:lnTo>
                  <a:lnTo>
                    <a:pt x="2246810" y="972154"/>
                  </a:lnTo>
                  <a:lnTo>
                    <a:pt x="2246858" y="972908"/>
                  </a:lnTo>
                  <a:lnTo>
                    <a:pt x="2246781" y="973818"/>
                  </a:lnTo>
                  <a:lnTo>
                    <a:pt x="2246466" y="974968"/>
                  </a:lnTo>
                  <a:lnTo>
                    <a:pt x="2246072" y="975603"/>
                  </a:lnTo>
                  <a:lnTo>
                    <a:pt x="2245066" y="976115"/>
                  </a:lnTo>
                  <a:lnTo>
                    <a:pt x="2242727" y="976094"/>
                  </a:lnTo>
                  <a:lnTo>
                    <a:pt x="2241605" y="975166"/>
                  </a:lnTo>
                  <a:lnTo>
                    <a:pt x="2241128" y="973184"/>
                  </a:lnTo>
                  <a:lnTo>
                    <a:pt x="2241517" y="972184"/>
                  </a:lnTo>
                  <a:lnTo>
                    <a:pt x="2241671" y="970767"/>
                  </a:lnTo>
                  <a:lnTo>
                    <a:pt x="2241587" y="969245"/>
                  </a:lnTo>
                  <a:lnTo>
                    <a:pt x="2241268" y="967937"/>
                  </a:lnTo>
                  <a:lnTo>
                    <a:pt x="2242473" y="968780"/>
                  </a:lnTo>
                  <a:lnTo>
                    <a:pt x="2243148" y="968687"/>
                  </a:lnTo>
                  <a:lnTo>
                    <a:pt x="2243435" y="967581"/>
                  </a:lnTo>
                  <a:lnTo>
                    <a:pt x="2243189" y="965880"/>
                  </a:lnTo>
                  <a:lnTo>
                    <a:pt x="2242618" y="965390"/>
                  </a:lnTo>
                  <a:lnTo>
                    <a:pt x="2237782" y="965732"/>
                  </a:lnTo>
                  <a:lnTo>
                    <a:pt x="2237128" y="966305"/>
                  </a:lnTo>
                  <a:lnTo>
                    <a:pt x="2236480" y="967379"/>
                  </a:lnTo>
                  <a:lnTo>
                    <a:pt x="2235803" y="968017"/>
                  </a:lnTo>
                  <a:lnTo>
                    <a:pt x="2235053" y="967292"/>
                  </a:lnTo>
                  <a:lnTo>
                    <a:pt x="2235342" y="966232"/>
                  </a:lnTo>
                  <a:lnTo>
                    <a:pt x="2235544" y="964987"/>
                  </a:lnTo>
                  <a:lnTo>
                    <a:pt x="2235814" y="962851"/>
                  </a:lnTo>
                  <a:lnTo>
                    <a:pt x="2235498" y="960920"/>
                  </a:lnTo>
                  <a:lnTo>
                    <a:pt x="2235354" y="959340"/>
                  </a:lnTo>
                  <a:lnTo>
                    <a:pt x="2235534" y="958184"/>
                  </a:lnTo>
                  <a:lnTo>
                    <a:pt x="2236180" y="957533"/>
                  </a:lnTo>
                  <a:lnTo>
                    <a:pt x="2236059" y="956448"/>
                  </a:lnTo>
                  <a:lnTo>
                    <a:pt x="2235981" y="956051"/>
                  </a:lnTo>
                  <a:lnTo>
                    <a:pt x="2237439" y="952997"/>
                  </a:lnTo>
                  <a:lnTo>
                    <a:pt x="2238020" y="951239"/>
                  </a:lnTo>
                  <a:lnTo>
                    <a:pt x="2238899" y="947912"/>
                  </a:lnTo>
                  <a:lnTo>
                    <a:pt x="2238927" y="947149"/>
                  </a:lnTo>
                  <a:lnTo>
                    <a:pt x="2239026" y="946813"/>
                  </a:lnTo>
                  <a:lnTo>
                    <a:pt x="2239044" y="946045"/>
                  </a:lnTo>
                  <a:lnTo>
                    <a:pt x="2239098" y="945278"/>
                  </a:lnTo>
                  <a:lnTo>
                    <a:pt x="2239298" y="944933"/>
                  </a:lnTo>
                  <a:lnTo>
                    <a:pt x="2239977" y="945114"/>
                  </a:lnTo>
                  <a:lnTo>
                    <a:pt x="2240573" y="945666"/>
                  </a:lnTo>
                  <a:lnTo>
                    <a:pt x="2241391" y="946825"/>
                  </a:lnTo>
                  <a:lnTo>
                    <a:pt x="2241689" y="946559"/>
                  </a:lnTo>
                  <a:lnTo>
                    <a:pt x="2241891" y="944916"/>
                  </a:lnTo>
                  <a:lnTo>
                    <a:pt x="2241631" y="944719"/>
                  </a:lnTo>
                  <a:lnTo>
                    <a:pt x="2241379" y="944399"/>
                  </a:lnTo>
                  <a:lnTo>
                    <a:pt x="2241140" y="943968"/>
                  </a:lnTo>
                  <a:lnTo>
                    <a:pt x="2240924" y="943441"/>
                  </a:lnTo>
                  <a:lnTo>
                    <a:pt x="2242305" y="941975"/>
                  </a:lnTo>
                  <a:lnTo>
                    <a:pt x="2248492" y="939679"/>
                  </a:lnTo>
                  <a:lnTo>
                    <a:pt x="2250006" y="940592"/>
                  </a:lnTo>
                  <a:lnTo>
                    <a:pt x="2252567" y="938889"/>
                  </a:lnTo>
                  <a:lnTo>
                    <a:pt x="2251952" y="938107"/>
                  </a:lnTo>
                  <a:lnTo>
                    <a:pt x="2251370" y="938198"/>
                  </a:lnTo>
                  <a:lnTo>
                    <a:pt x="2250181" y="938919"/>
                  </a:lnTo>
                  <a:lnTo>
                    <a:pt x="2249707" y="938641"/>
                  </a:lnTo>
                  <a:lnTo>
                    <a:pt x="2249540" y="937973"/>
                  </a:lnTo>
                  <a:lnTo>
                    <a:pt x="2249653" y="937156"/>
                  </a:lnTo>
                  <a:lnTo>
                    <a:pt x="2250012" y="936450"/>
                  </a:lnTo>
                  <a:lnTo>
                    <a:pt x="2251203" y="935685"/>
                  </a:lnTo>
                  <a:lnTo>
                    <a:pt x="2253667" y="935460"/>
                  </a:lnTo>
                  <a:lnTo>
                    <a:pt x="2254805" y="934416"/>
                  </a:lnTo>
                  <a:lnTo>
                    <a:pt x="2253949" y="933373"/>
                  </a:lnTo>
                  <a:lnTo>
                    <a:pt x="2247357" y="935173"/>
                  </a:lnTo>
                  <a:lnTo>
                    <a:pt x="2247723" y="933762"/>
                  </a:lnTo>
                  <a:lnTo>
                    <a:pt x="2247606" y="933592"/>
                  </a:lnTo>
                  <a:lnTo>
                    <a:pt x="2247333" y="932959"/>
                  </a:lnTo>
                  <a:lnTo>
                    <a:pt x="2248396" y="932816"/>
                  </a:lnTo>
                  <a:lnTo>
                    <a:pt x="2251315" y="930700"/>
                  </a:lnTo>
                  <a:lnTo>
                    <a:pt x="2253053" y="925441"/>
                  </a:lnTo>
                  <a:lnTo>
                    <a:pt x="2254175" y="923966"/>
                  </a:lnTo>
                  <a:lnTo>
                    <a:pt x="2255058" y="926203"/>
                  </a:lnTo>
                  <a:lnTo>
                    <a:pt x="2254720" y="926450"/>
                  </a:lnTo>
                  <a:lnTo>
                    <a:pt x="2253755" y="927704"/>
                  </a:lnTo>
                  <a:lnTo>
                    <a:pt x="2253766" y="928435"/>
                  </a:lnTo>
                  <a:lnTo>
                    <a:pt x="2257466" y="926034"/>
                  </a:lnTo>
                  <a:lnTo>
                    <a:pt x="2258079" y="924678"/>
                  </a:lnTo>
                  <a:lnTo>
                    <a:pt x="2250876" y="922369"/>
                  </a:lnTo>
                  <a:lnTo>
                    <a:pt x="2250264" y="922615"/>
                  </a:lnTo>
                  <a:lnTo>
                    <a:pt x="2249876" y="922487"/>
                  </a:lnTo>
                  <a:lnTo>
                    <a:pt x="2249695" y="922573"/>
                  </a:lnTo>
                  <a:lnTo>
                    <a:pt x="2249688" y="922815"/>
                  </a:lnTo>
                  <a:lnTo>
                    <a:pt x="2249718" y="923812"/>
                  </a:lnTo>
                  <a:lnTo>
                    <a:pt x="2249713" y="924054"/>
                  </a:lnTo>
                  <a:lnTo>
                    <a:pt x="2248389" y="925234"/>
                  </a:lnTo>
                  <a:lnTo>
                    <a:pt x="2247693" y="925334"/>
                  </a:lnTo>
                  <a:lnTo>
                    <a:pt x="2247056" y="924824"/>
                  </a:lnTo>
                  <a:lnTo>
                    <a:pt x="2247645" y="922053"/>
                  </a:lnTo>
                  <a:lnTo>
                    <a:pt x="2248772" y="920797"/>
                  </a:lnTo>
                  <a:lnTo>
                    <a:pt x="2251004" y="920268"/>
                  </a:lnTo>
                  <a:lnTo>
                    <a:pt x="2251444" y="920941"/>
                  </a:lnTo>
                  <a:lnTo>
                    <a:pt x="2251659" y="920948"/>
                  </a:lnTo>
                  <a:lnTo>
                    <a:pt x="2251737" y="919924"/>
                  </a:lnTo>
                  <a:lnTo>
                    <a:pt x="2251896" y="919052"/>
                  </a:lnTo>
                  <a:lnTo>
                    <a:pt x="2252287" y="918726"/>
                  </a:lnTo>
                  <a:lnTo>
                    <a:pt x="2254519" y="919118"/>
                  </a:lnTo>
                  <a:lnTo>
                    <a:pt x="2255215" y="919761"/>
                  </a:lnTo>
                  <a:lnTo>
                    <a:pt x="2255732" y="921010"/>
                  </a:lnTo>
                  <a:lnTo>
                    <a:pt x="2255697" y="922307"/>
                  </a:lnTo>
                  <a:lnTo>
                    <a:pt x="2256330" y="922770"/>
                  </a:lnTo>
                  <a:lnTo>
                    <a:pt x="2258076" y="923170"/>
                  </a:lnTo>
                  <a:lnTo>
                    <a:pt x="2258392" y="923032"/>
                  </a:lnTo>
                  <a:lnTo>
                    <a:pt x="2258984" y="922440"/>
                  </a:lnTo>
                  <a:lnTo>
                    <a:pt x="2260117" y="922420"/>
                  </a:lnTo>
                  <a:lnTo>
                    <a:pt x="2260800" y="921270"/>
                  </a:lnTo>
                  <a:lnTo>
                    <a:pt x="2260550" y="920335"/>
                  </a:lnTo>
                  <a:lnTo>
                    <a:pt x="2259827" y="919699"/>
                  </a:lnTo>
                  <a:lnTo>
                    <a:pt x="2258239" y="919369"/>
                  </a:lnTo>
                  <a:lnTo>
                    <a:pt x="2257422" y="918866"/>
                  </a:lnTo>
                  <a:lnTo>
                    <a:pt x="2256726" y="917735"/>
                  </a:lnTo>
                  <a:lnTo>
                    <a:pt x="2256213" y="915759"/>
                  </a:lnTo>
                  <a:lnTo>
                    <a:pt x="2257541" y="911838"/>
                  </a:lnTo>
                  <a:lnTo>
                    <a:pt x="2262956" y="906555"/>
                  </a:lnTo>
                  <a:lnTo>
                    <a:pt x="2264845" y="905899"/>
                  </a:lnTo>
                  <a:lnTo>
                    <a:pt x="2266768" y="903909"/>
                  </a:lnTo>
                  <a:lnTo>
                    <a:pt x="2267259" y="903938"/>
                  </a:lnTo>
                  <a:lnTo>
                    <a:pt x="2267835" y="904362"/>
                  </a:lnTo>
                  <a:lnTo>
                    <a:pt x="2268522" y="905630"/>
                  </a:lnTo>
                  <a:lnTo>
                    <a:pt x="2268889" y="905768"/>
                  </a:lnTo>
                  <a:lnTo>
                    <a:pt x="2269263" y="904740"/>
                  </a:lnTo>
                  <a:lnTo>
                    <a:pt x="2269570" y="902885"/>
                  </a:lnTo>
                  <a:lnTo>
                    <a:pt x="2269719" y="902242"/>
                  </a:lnTo>
                  <a:lnTo>
                    <a:pt x="2270038" y="901427"/>
                  </a:lnTo>
                  <a:lnTo>
                    <a:pt x="2270451" y="900712"/>
                  </a:lnTo>
                  <a:lnTo>
                    <a:pt x="2270831" y="900416"/>
                  </a:lnTo>
                  <a:lnTo>
                    <a:pt x="2271182" y="900429"/>
                  </a:lnTo>
                  <a:lnTo>
                    <a:pt x="2272637" y="901460"/>
                  </a:lnTo>
                  <a:lnTo>
                    <a:pt x="2273748" y="901759"/>
                  </a:lnTo>
                  <a:lnTo>
                    <a:pt x="2274860" y="901482"/>
                  </a:lnTo>
                  <a:lnTo>
                    <a:pt x="2275984" y="900535"/>
                  </a:lnTo>
                  <a:lnTo>
                    <a:pt x="2276324" y="899908"/>
                  </a:lnTo>
                  <a:lnTo>
                    <a:pt x="2276869" y="898490"/>
                  </a:lnTo>
                  <a:lnTo>
                    <a:pt x="2277237" y="898211"/>
                  </a:lnTo>
                  <a:lnTo>
                    <a:pt x="2279387" y="898150"/>
                  </a:lnTo>
                  <a:lnTo>
                    <a:pt x="2279759" y="897914"/>
                  </a:lnTo>
                  <a:lnTo>
                    <a:pt x="2280936" y="896092"/>
                  </a:lnTo>
                  <a:close/>
                  <a:moveTo>
                    <a:pt x="2241370" y="894801"/>
                  </a:moveTo>
                  <a:lnTo>
                    <a:pt x="2243778" y="895828"/>
                  </a:lnTo>
                  <a:lnTo>
                    <a:pt x="2248067" y="900209"/>
                  </a:lnTo>
                  <a:lnTo>
                    <a:pt x="2249673" y="899684"/>
                  </a:lnTo>
                  <a:lnTo>
                    <a:pt x="2250415" y="899891"/>
                  </a:lnTo>
                  <a:lnTo>
                    <a:pt x="2250922" y="901032"/>
                  </a:lnTo>
                  <a:lnTo>
                    <a:pt x="2250912" y="900225"/>
                  </a:lnTo>
                  <a:lnTo>
                    <a:pt x="2251724" y="901568"/>
                  </a:lnTo>
                  <a:lnTo>
                    <a:pt x="2253437" y="903300"/>
                  </a:lnTo>
                  <a:lnTo>
                    <a:pt x="2254174" y="905424"/>
                  </a:lnTo>
                  <a:lnTo>
                    <a:pt x="2253481" y="906942"/>
                  </a:lnTo>
                  <a:lnTo>
                    <a:pt x="2253145" y="907468"/>
                  </a:lnTo>
                  <a:lnTo>
                    <a:pt x="2250935" y="908453"/>
                  </a:lnTo>
                  <a:lnTo>
                    <a:pt x="2250467" y="909107"/>
                  </a:lnTo>
                  <a:lnTo>
                    <a:pt x="2250868" y="909909"/>
                  </a:lnTo>
                  <a:lnTo>
                    <a:pt x="2250462" y="911039"/>
                  </a:lnTo>
                  <a:lnTo>
                    <a:pt x="2249921" y="911773"/>
                  </a:lnTo>
                  <a:lnTo>
                    <a:pt x="2248828" y="912699"/>
                  </a:lnTo>
                  <a:lnTo>
                    <a:pt x="2248413" y="913352"/>
                  </a:lnTo>
                  <a:lnTo>
                    <a:pt x="2247727" y="915119"/>
                  </a:lnTo>
                  <a:lnTo>
                    <a:pt x="2247337" y="915873"/>
                  </a:lnTo>
                  <a:lnTo>
                    <a:pt x="2246202" y="916652"/>
                  </a:lnTo>
                  <a:lnTo>
                    <a:pt x="2245365" y="915786"/>
                  </a:lnTo>
                  <a:lnTo>
                    <a:pt x="2244610" y="914170"/>
                  </a:lnTo>
                  <a:lnTo>
                    <a:pt x="2243715" y="912748"/>
                  </a:lnTo>
                  <a:lnTo>
                    <a:pt x="2241666" y="911163"/>
                  </a:lnTo>
                  <a:lnTo>
                    <a:pt x="2240562" y="909728"/>
                  </a:lnTo>
                  <a:lnTo>
                    <a:pt x="2240117" y="907787"/>
                  </a:lnTo>
                  <a:lnTo>
                    <a:pt x="2240354" y="906568"/>
                  </a:lnTo>
                  <a:lnTo>
                    <a:pt x="2240830" y="906036"/>
                  </a:lnTo>
                  <a:lnTo>
                    <a:pt x="2241344" y="905715"/>
                  </a:lnTo>
                  <a:lnTo>
                    <a:pt x="2241697" y="905157"/>
                  </a:lnTo>
                  <a:lnTo>
                    <a:pt x="2241724" y="903900"/>
                  </a:lnTo>
                  <a:lnTo>
                    <a:pt x="2241213" y="903387"/>
                  </a:lnTo>
                  <a:lnTo>
                    <a:pt x="2240088" y="903346"/>
                  </a:lnTo>
                  <a:lnTo>
                    <a:pt x="2240225" y="904369"/>
                  </a:lnTo>
                  <a:lnTo>
                    <a:pt x="2240301" y="904756"/>
                  </a:lnTo>
                  <a:lnTo>
                    <a:pt x="2238509" y="905754"/>
                  </a:lnTo>
                  <a:lnTo>
                    <a:pt x="2237625" y="906715"/>
                  </a:lnTo>
                  <a:lnTo>
                    <a:pt x="2236920" y="908544"/>
                  </a:lnTo>
                  <a:lnTo>
                    <a:pt x="2236625" y="910358"/>
                  </a:lnTo>
                  <a:lnTo>
                    <a:pt x="2236717" y="911627"/>
                  </a:lnTo>
                  <a:lnTo>
                    <a:pt x="2237512" y="914464"/>
                  </a:lnTo>
                  <a:lnTo>
                    <a:pt x="2237661" y="914789"/>
                  </a:lnTo>
                  <a:lnTo>
                    <a:pt x="2237928" y="915551"/>
                  </a:lnTo>
                  <a:lnTo>
                    <a:pt x="2238012" y="916322"/>
                  </a:lnTo>
                  <a:lnTo>
                    <a:pt x="2237231" y="916983"/>
                  </a:lnTo>
                  <a:lnTo>
                    <a:pt x="2236420" y="918429"/>
                  </a:lnTo>
                  <a:lnTo>
                    <a:pt x="2236026" y="918916"/>
                  </a:lnTo>
                  <a:lnTo>
                    <a:pt x="2233250" y="919056"/>
                  </a:lnTo>
                  <a:lnTo>
                    <a:pt x="2232430" y="920398"/>
                  </a:lnTo>
                  <a:lnTo>
                    <a:pt x="2232923" y="921624"/>
                  </a:lnTo>
                  <a:lnTo>
                    <a:pt x="2233518" y="922077"/>
                  </a:lnTo>
                  <a:lnTo>
                    <a:pt x="2234142" y="922260"/>
                  </a:lnTo>
                  <a:lnTo>
                    <a:pt x="2234718" y="922682"/>
                  </a:lnTo>
                  <a:lnTo>
                    <a:pt x="2233787" y="924250"/>
                  </a:lnTo>
                  <a:lnTo>
                    <a:pt x="2230341" y="925653"/>
                  </a:lnTo>
                  <a:lnTo>
                    <a:pt x="2228603" y="927506"/>
                  </a:lnTo>
                  <a:lnTo>
                    <a:pt x="2227801" y="927637"/>
                  </a:lnTo>
                  <a:lnTo>
                    <a:pt x="2227898" y="925653"/>
                  </a:lnTo>
                  <a:lnTo>
                    <a:pt x="2227109" y="924994"/>
                  </a:lnTo>
                  <a:lnTo>
                    <a:pt x="2225398" y="924670"/>
                  </a:lnTo>
                  <a:lnTo>
                    <a:pt x="2224651" y="923358"/>
                  </a:lnTo>
                  <a:lnTo>
                    <a:pt x="2224922" y="923372"/>
                  </a:lnTo>
                  <a:lnTo>
                    <a:pt x="2225213" y="923227"/>
                  </a:lnTo>
                  <a:lnTo>
                    <a:pt x="2225490" y="922893"/>
                  </a:lnTo>
                  <a:lnTo>
                    <a:pt x="2225711" y="922315"/>
                  </a:lnTo>
                  <a:lnTo>
                    <a:pt x="2225743" y="921455"/>
                  </a:lnTo>
                  <a:lnTo>
                    <a:pt x="2225460" y="920925"/>
                  </a:lnTo>
                  <a:lnTo>
                    <a:pt x="2224865" y="920395"/>
                  </a:lnTo>
                  <a:lnTo>
                    <a:pt x="2224158" y="917985"/>
                  </a:lnTo>
                  <a:lnTo>
                    <a:pt x="2223794" y="917014"/>
                  </a:lnTo>
                  <a:lnTo>
                    <a:pt x="2223355" y="916685"/>
                  </a:lnTo>
                  <a:lnTo>
                    <a:pt x="2223357" y="915954"/>
                  </a:lnTo>
                  <a:lnTo>
                    <a:pt x="2223921" y="915232"/>
                  </a:lnTo>
                  <a:lnTo>
                    <a:pt x="2223756" y="914200"/>
                  </a:lnTo>
                  <a:lnTo>
                    <a:pt x="2222807" y="912251"/>
                  </a:lnTo>
                  <a:lnTo>
                    <a:pt x="2232402" y="904787"/>
                  </a:lnTo>
                  <a:lnTo>
                    <a:pt x="2233379" y="906267"/>
                  </a:lnTo>
                  <a:lnTo>
                    <a:pt x="2237177" y="903361"/>
                  </a:lnTo>
                  <a:lnTo>
                    <a:pt x="2239759" y="902634"/>
                  </a:lnTo>
                  <a:lnTo>
                    <a:pt x="2240282" y="901872"/>
                  </a:lnTo>
                  <a:lnTo>
                    <a:pt x="2240314" y="900920"/>
                  </a:lnTo>
                  <a:lnTo>
                    <a:pt x="2240057" y="898619"/>
                  </a:lnTo>
                  <a:lnTo>
                    <a:pt x="2240049" y="897429"/>
                  </a:lnTo>
                  <a:close/>
                  <a:moveTo>
                    <a:pt x="2290071" y="857117"/>
                  </a:moveTo>
                  <a:lnTo>
                    <a:pt x="2290541" y="857488"/>
                  </a:lnTo>
                  <a:lnTo>
                    <a:pt x="2291405" y="859194"/>
                  </a:lnTo>
                  <a:lnTo>
                    <a:pt x="2292197" y="860523"/>
                  </a:lnTo>
                  <a:lnTo>
                    <a:pt x="2292423" y="861944"/>
                  </a:lnTo>
                  <a:lnTo>
                    <a:pt x="2292434" y="863637"/>
                  </a:lnTo>
                  <a:lnTo>
                    <a:pt x="2292578" y="865815"/>
                  </a:lnTo>
                  <a:lnTo>
                    <a:pt x="2293446" y="868813"/>
                  </a:lnTo>
                  <a:lnTo>
                    <a:pt x="2293479" y="869130"/>
                  </a:lnTo>
                  <a:lnTo>
                    <a:pt x="2293517" y="870557"/>
                  </a:lnTo>
                  <a:lnTo>
                    <a:pt x="2293619" y="870779"/>
                  </a:lnTo>
                  <a:lnTo>
                    <a:pt x="2294296" y="871666"/>
                  </a:lnTo>
                  <a:lnTo>
                    <a:pt x="2296546" y="876250"/>
                  </a:lnTo>
                  <a:lnTo>
                    <a:pt x="2297140" y="878216"/>
                  </a:lnTo>
                  <a:lnTo>
                    <a:pt x="2297410" y="880941"/>
                  </a:lnTo>
                  <a:lnTo>
                    <a:pt x="2296870" y="882194"/>
                  </a:lnTo>
                  <a:lnTo>
                    <a:pt x="2287730" y="884469"/>
                  </a:lnTo>
                  <a:lnTo>
                    <a:pt x="2285349" y="882918"/>
                  </a:lnTo>
                  <a:lnTo>
                    <a:pt x="2283932" y="880670"/>
                  </a:lnTo>
                  <a:lnTo>
                    <a:pt x="2283023" y="877686"/>
                  </a:lnTo>
                  <a:lnTo>
                    <a:pt x="2282594" y="873889"/>
                  </a:lnTo>
                  <a:lnTo>
                    <a:pt x="2282616" y="869191"/>
                  </a:lnTo>
                  <a:lnTo>
                    <a:pt x="2281939" y="868692"/>
                  </a:lnTo>
                  <a:lnTo>
                    <a:pt x="2281203" y="867660"/>
                  </a:lnTo>
                  <a:lnTo>
                    <a:pt x="2280580" y="866105"/>
                  </a:lnTo>
                  <a:lnTo>
                    <a:pt x="2280236" y="864012"/>
                  </a:lnTo>
                  <a:lnTo>
                    <a:pt x="2281730" y="862259"/>
                  </a:lnTo>
                  <a:lnTo>
                    <a:pt x="2286716" y="860773"/>
                  </a:lnTo>
                  <a:lnTo>
                    <a:pt x="2289906" y="858076"/>
                  </a:lnTo>
                  <a:close/>
                  <a:moveTo>
                    <a:pt x="1432038" y="856382"/>
                  </a:moveTo>
                  <a:lnTo>
                    <a:pt x="1434108" y="856996"/>
                  </a:lnTo>
                  <a:lnTo>
                    <a:pt x="1442391" y="858332"/>
                  </a:lnTo>
                  <a:lnTo>
                    <a:pt x="1447610" y="859591"/>
                  </a:lnTo>
                  <a:lnTo>
                    <a:pt x="1450195" y="861634"/>
                  </a:lnTo>
                  <a:lnTo>
                    <a:pt x="1450991" y="861251"/>
                  </a:lnTo>
                  <a:lnTo>
                    <a:pt x="1451707" y="859655"/>
                  </a:lnTo>
                  <a:lnTo>
                    <a:pt x="1452440" y="859345"/>
                  </a:lnTo>
                  <a:lnTo>
                    <a:pt x="1462272" y="862946"/>
                  </a:lnTo>
                  <a:lnTo>
                    <a:pt x="1464185" y="862147"/>
                  </a:lnTo>
                  <a:lnTo>
                    <a:pt x="1469684" y="864605"/>
                  </a:lnTo>
                  <a:lnTo>
                    <a:pt x="1475385" y="864437"/>
                  </a:lnTo>
                  <a:lnTo>
                    <a:pt x="1483970" y="867938"/>
                  </a:lnTo>
                  <a:lnTo>
                    <a:pt x="1494149" y="871162"/>
                  </a:lnTo>
                  <a:lnTo>
                    <a:pt x="1500875" y="872281"/>
                  </a:lnTo>
                  <a:lnTo>
                    <a:pt x="1509205" y="873699"/>
                  </a:lnTo>
                  <a:lnTo>
                    <a:pt x="1520128" y="872827"/>
                  </a:lnTo>
                  <a:lnTo>
                    <a:pt x="1526175" y="873872"/>
                  </a:lnTo>
                  <a:lnTo>
                    <a:pt x="1529109" y="878127"/>
                  </a:lnTo>
                  <a:lnTo>
                    <a:pt x="1533305" y="879568"/>
                  </a:lnTo>
                  <a:lnTo>
                    <a:pt x="1533736" y="880044"/>
                  </a:lnTo>
                  <a:lnTo>
                    <a:pt x="1534208" y="882353"/>
                  </a:lnTo>
                  <a:lnTo>
                    <a:pt x="1536216" y="883462"/>
                  </a:lnTo>
                  <a:lnTo>
                    <a:pt x="1537773" y="888765"/>
                  </a:lnTo>
                  <a:lnTo>
                    <a:pt x="1537671" y="891027"/>
                  </a:lnTo>
                  <a:lnTo>
                    <a:pt x="1537485" y="891675"/>
                  </a:lnTo>
                  <a:lnTo>
                    <a:pt x="1536685" y="893844"/>
                  </a:lnTo>
                  <a:lnTo>
                    <a:pt x="1536833" y="894144"/>
                  </a:lnTo>
                  <a:lnTo>
                    <a:pt x="1537846" y="894316"/>
                  </a:lnTo>
                  <a:lnTo>
                    <a:pt x="1545365" y="905853"/>
                  </a:lnTo>
                  <a:lnTo>
                    <a:pt x="1553009" y="917362"/>
                  </a:lnTo>
                  <a:lnTo>
                    <a:pt x="1557488" y="920125"/>
                  </a:lnTo>
                  <a:lnTo>
                    <a:pt x="1558290" y="921275"/>
                  </a:lnTo>
                  <a:lnTo>
                    <a:pt x="1559449" y="924842"/>
                  </a:lnTo>
                  <a:lnTo>
                    <a:pt x="1567678" y="927712"/>
                  </a:lnTo>
                  <a:lnTo>
                    <a:pt x="1568672" y="929002"/>
                  </a:lnTo>
                  <a:lnTo>
                    <a:pt x="1567408" y="929334"/>
                  </a:lnTo>
                  <a:lnTo>
                    <a:pt x="1565623" y="927799"/>
                  </a:lnTo>
                  <a:lnTo>
                    <a:pt x="1564437" y="928105"/>
                  </a:lnTo>
                  <a:lnTo>
                    <a:pt x="1563638" y="931280"/>
                  </a:lnTo>
                  <a:lnTo>
                    <a:pt x="1561397" y="933870"/>
                  </a:lnTo>
                  <a:lnTo>
                    <a:pt x="1555197" y="938668"/>
                  </a:lnTo>
                  <a:lnTo>
                    <a:pt x="1554349" y="939854"/>
                  </a:lnTo>
                  <a:lnTo>
                    <a:pt x="1553391" y="941898"/>
                  </a:lnTo>
                  <a:lnTo>
                    <a:pt x="1553088" y="943576"/>
                  </a:lnTo>
                  <a:lnTo>
                    <a:pt x="1553339" y="945101"/>
                  </a:lnTo>
                  <a:lnTo>
                    <a:pt x="1553858" y="946219"/>
                  </a:lnTo>
                  <a:lnTo>
                    <a:pt x="1554567" y="946748"/>
                  </a:lnTo>
                  <a:lnTo>
                    <a:pt x="1555293" y="945471"/>
                  </a:lnTo>
                  <a:lnTo>
                    <a:pt x="1555497" y="944307"/>
                  </a:lnTo>
                  <a:lnTo>
                    <a:pt x="1555542" y="943197"/>
                  </a:lnTo>
                  <a:lnTo>
                    <a:pt x="1555787" y="942064"/>
                  </a:lnTo>
                  <a:lnTo>
                    <a:pt x="1556893" y="940138"/>
                  </a:lnTo>
                  <a:lnTo>
                    <a:pt x="1558091" y="939114"/>
                  </a:lnTo>
                  <a:lnTo>
                    <a:pt x="1561900" y="937728"/>
                  </a:lnTo>
                  <a:lnTo>
                    <a:pt x="1563919" y="936045"/>
                  </a:lnTo>
                  <a:lnTo>
                    <a:pt x="1566063" y="933683"/>
                  </a:lnTo>
                  <a:lnTo>
                    <a:pt x="1568285" y="930846"/>
                  </a:lnTo>
                  <a:lnTo>
                    <a:pt x="1569534" y="929914"/>
                  </a:lnTo>
                  <a:lnTo>
                    <a:pt x="1570542" y="930306"/>
                  </a:lnTo>
                  <a:lnTo>
                    <a:pt x="1572116" y="931901"/>
                  </a:lnTo>
                  <a:lnTo>
                    <a:pt x="1576312" y="932336"/>
                  </a:lnTo>
                  <a:lnTo>
                    <a:pt x="1578167" y="935153"/>
                  </a:lnTo>
                  <a:lnTo>
                    <a:pt x="1578430" y="936089"/>
                  </a:lnTo>
                  <a:lnTo>
                    <a:pt x="1578205" y="938080"/>
                  </a:lnTo>
                  <a:lnTo>
                    <a:pt x="1577684" y="940184"/>
                  </a:lnTo>
                  <a:lnTo>
                    <a:pt x="1577124" y="941401"/>
                  </a:lnTo>
                  <a:lnTo>
                    <a:pt x="1575250" y="943418"/>
                  </a:lnTo>
                  <a:lnTo>
                    <a:pt x="1576212" y="944203"/>
                  </a:lnTo>
                  <a:lnTo>
                    <a:pt x="1576520" y="944914"/>
                  </a:lnTo>
                  <a:lnTo>
                    <a:pt x="1576350" y="946205"/>
                  </a:lnTo>
                  <a:lnTo>
                    <a:pt x="1575567" y="947984"/>
                  </a:lnTo>
                  <a:lnTo>
                    <a:pt x="1574745" y="948783"/>
                  </a:lnTo>
                  <a:lnTo>
                    <a:pt x="1573469" y="949108"/>
                  </a:lnTo>
                  <a:lnTo>
                    <a:pt x="1572689" y="949571"/>
                  </a:lnTo>
                  <a:lnTo>
                    <a:pt x="1572103" y="950291"/>
                  </a:lnTo>
                  <a:lnTo>
                    <a:pt x="1570691" y="952849"/>
                  </a:lnTo>
                  <a:lnTo>
                    <a:pt x="1570100" y="953770"/>
                  </a:lnTo>
                  <a:lnTo>
                    <a:pt x="1569512" y="954584"/>
                  </a:lnTo>
                  <a:lnTo>
                    <a:pt x="1568915" y="955499"/>
                  </a:lnTo>
                  <a:lnTo>
                    <a:pt x="1568294" y="956728"/>
                  </a:lnTo>
                  <a:lnTo>
                    <a:pt x="1569587" y="956849"/>
                  </a:lnTo>
                  <a:lnTo>
                    <a:pt x="1572732" y="955300"/>
                  </a:lnTo>
                  <a:lnTo>
                    <a:pt x="1573985" y="955737"/>
                  </a:lnTo>
                  <a:lnTo>
                    <a:pt x="1574398" y="957026"/>
                  </a:lnTo>
                  <a:lnTo>
                    <a:pt x="1574717" y="957357"/>
                  </a:lnTo>
                  <a:lnTo>
                    <a:pt x="1575449" y="957064"/>
                  </a:lnTo>
                  <a:lnTo>
                    <a:pt x="1575987" y="956629"/>
                  </a:lnTo>
                  <a:lnTo>
                    <a:pt x="1577323" y="955210"/>
                  </a:lnTo>
                  <a:lnTo>
                    <a:pt x="1578606" y="953454"/>
                  </a:lnTo>
                  <a:lnTo>
                    <a:pt x="1580418" y="951325"/>
                  </a:lnTo>
                  <a:lnTo>
                    <a:pt x="1581166" y="950763"/>
                  </a:lnTo>
                  <a:lnTo>
                    <a:pt x="1582476" y="950606"/>
                  </a:lnTo>
                  <a:lnTo>
                    <a:pt x="1583402" y="949612"/>
                  </a:lnTo>
                  <a:lnTo>
                    <a:pt x="1584694" y="947041"/>
                  </a:lnTo>
                  <a:lnTo>
                    <a:pt x="1584593" y="945609"/>
                  </a:lnTo>
                  <a:lnTo>
                    <a:pt x="1584018" y="944429"/>
                  </a:lnTo>
                  <a:lnTo>
                    <a:pt x="1583884" y="942639"/>
                  </a:lnTo>
                  <a:lnTo>
                    <a:pt x="1584063" y="941527"/>
                  </a:lnTo>
                  <a:lnTo>
                    <a:pt x="1584246" y="940937"/>
                  </a:lnTo>
                  <a:lnTo>
                    <a:pt x="1584617" y="940539"/>
                  </a:lnTo>
                  <a:lnTo>
                    <a:pt x="1585350" y="940009"/>
                  </a:lnTo>
                  <a:lnTo>
                    <a:pt x="1586153" y="939680"/>
                  </a:lnTo>
                  <a:lnTo>
                    <a:pt x="1587633" y="939646"/>
                  </a:lnTo>
                  <a:lnTo>
                    <a:pt x="1590291" y="938265"/>
                  </a:lnTo>
                  <a:lnTo>
                    <a:pt x="1593328" y="938634"/>
                  </a:lnTo>
                  <a:lnTo>
                    <a:pt x="1595840" y="937827"/>
                  </a:lnTo>
                  <a:lnTo>
                    <a:pt x="1598795" y="938304"/>
                  </a:lnTo>
                  <a:lnTo>
                    <a:pt x="1600678" y="937846"/>
                  </a:lnTo>
                  <a:lnTo>
                    <a:pt x="1610975" y="938749"/>
                  </a:lnTo>
                  <a:lnTo>
                    <a:pt x="1619137" y="944394"/>
                  </a:lnTo>
                  <a:lnTo>
                    <a:pt x="1627345" y="950001"/>
                  </a:lnTo>
                  <a:lnTo>
                    <a:pt x="1632435" y="960069"/>
                  </a:lnTo>
                  <a:lnTo>
                    <a:pt x="1637607" y="970124"/>
                  </a:lnTo>
                  <a:lnTo>
                    <a:pt x="1641147" y="981978"/>
                  </a:lnTo>
                  <a:lnTo>
                    <a:pt x="1644776" y="993829"/>
                  </a:lnTo>
                  <a:lnTo>
                    <a:pt x="1644906" y="995689"/>
                  </a:lnTo>
                  <a:lnTo>
                    <a:pt x="1645300" y="997717"/>
                  </a:lnTo>
                  <a:lnTo>
                    <a:pt x="1647437" y="999292"/>
                  </a:lnTo>
                  <a:lnTo>
                    <a:pt x="1648077" y="1003454"/>
                  </a:lnTo>
                  <a:lnTo>
                    <a:pt x="1651964" y="1011639"/>
                  </a:lnTo>
                  <a:lnTo>
                    <a:pt x="1652305" y="1015820"/>
                  </a:lnTo>
                  <a:lnTo>
                    <a:pt x="1656204" y="1022401"/>
                  </a:lnTo>
                  <a:lnTo>
                    <a:pt x="1658585" y="1023893"/>
                  </a:lnTo>
                  <a:lnTo>
                    <a:pt x="1659129" y="1024933"/>
                  </a:lnTo>
                  <a:lnTo>
                    <a:pt x="1659220" y="1025569"/>
                  </a:lnTo>
                  <a:lnTo>
                    <a:pt x="1659232" y="1028084"/>
                  </a:lnTo>
                  <a:lnTo>
                    <a:pt x="1659448" y="1028953"/>
                  </a:lnTo>
                  <a:lnTo>
                    <a:pt x="1660210" y="1030218"/>
                  </a:lnTo>
                  <a:lnTo>
                    <a:pt x="1660584" y="1032922"/>
                  </a:lnTo>
                  <a:lnTo>
                    <a:pt x="1662201" y="1037483"/>
                  </a:lnTo>
                  <a:lnTo>
                    <a:pt x="1662640" y="1040491"/>
                  </a:lnTo>
                  <a:lnTo>
                    <a:pt x="1662729" y="1042535"/>
                  </a:lnTo>
                  <a:lnTo>
                    <a:pt x="1662514" y="1044226"/>
                  </a:lnTo>
                  <a:lnTo>
                    <a:pt x="1661975" y="1046389"/>
                  </a:lnTo>
                  <a:lnTo>
                    <a:pt x="1661680" y="1047166"/>
                  </a:lnTo>
                  <a:lnTo>
                    <a:pt x="1661278" y="1047382"/>
                  </a:lnTo>
                  <a:lnTo>
                    <a:pt x="1660682" y="1047331"/>
                  </a:lnTo>
                  <a:lnTo>
                    <a:pt x="1658862" y="1047755"/>
                  </a:lnTo>
                  <a:lnTo>
                    <a:pt x="1658158" y="1048379"/>
                  </a:lnTo>
                  <a:lnTo>
                    <a:pt x="1656296" y="1050806"/>
                  </a:lnTo>
                  <a:lnTo>
                    <a:pt x="1655919" y="1051196"/>
                  </a:lnTo>
                  <a:lnTo>
                    <a:pt x="1653382" y="1050998"/>
                  </a:lnTo>
                  <a:lnTo>
                    <a:pt x="1652599" y="1051388"/>
                  </a:lnTo>
                  <a:lnTo>
                    <a:pt x="1651097" y="1052638"/>
                  </a:lnTo>
                  <a:lnTo>
                    <a:pt x="1644671" y="1055983"/>
                  </a:lnTo>
                  <a:lnTo>
                    <a:pt x="1636813" y="1057250"/>
                  </a:lnTo>
                  <a:lnTo>
                    <a:pt x="1628301" y="1059149"/>
                  </a:lnTo>
                  <a:lnTo>
                    <a:pt x="1620293" y="1059264"/>
                  </a:lnTo>
                  <a:lnTo>
                    <a:pt x="1618169" y="1061230"/>
                  </a:lnTo>
                  <a:lnTo>
                    <a:pt x="1610598" y="1062970"/>
                  </a:lnTo>
                  <a:lnTo>
                    <a:pt x="1608124" y="1064746"/>
                  </a:lnTo>
                  <a:lnTo>
                    <a:pt x="1607337" y="1065075"/>
                  </a:lnTo>
                  <a:lnTo>
                    <a:pt x="1605196" y="1065182"/>
                  </a:lnTo>
                  <a:lnTo>
                    <a:pt x="1602656" y="1067184"/>
                  </a:lnTo>
                  <a:lnTo>
                    <a:pt x="1599577" y="1068706"/>
                  </a:lnTo>
                  <a:lnTo>
                    <a:pt x="1593704" y="1069761"/>
                  </a:lnTo>
                  <a:lnTo>
                    <a:pt x="1591253" y="1071691"/>
                  </a:lnTo>
                  <a:lnTo>
                    <a:pt x="1590662" y="1071886"/>
                  </a:lnTo>
                  <a:lnTo>
                    <a:pt x="1585017" y="1071198"/>
                  </a:lnTo>
                  <a:lnTo>
                    <a:pt x="1573395" y="1075791"/>
                  </a:lnTo>
                  <a:lnTo>
                    <a:pt x="1570760" y="1075965"/>
                  </a:lnTo>
                  <a:lnTo>
                    <a:pt x="1565820" y="1079114"/>
                  </a:lnTo>
                  <a:lnTo>
                    <a:pt x="1561398" y="1080423"/>
                  </a:lnTo>
                  <a:lnTo>
                    <a:pt x="1559063" y="1081806"/>
                  </a:lnTo>
                  <a:lnTo>
                    <a:pt x="1552065" y="1082612"/>
                  </a:lnTo>
                  <a:lnTo>
                    <a:pt x="1544350" y="1085546"/>
                  </a:lnTo>
                  <a:lnTo>
                    <a:pt x="1542928" y="1086565"/>
                  </a:lnTo>
                  <a:lnTo>
                    <a:pt x="1541374" y="1088358"/>
                  </a:lnTo>
                  <a:lnTo>
                    <a:pt x="1539646" y="1089747"/>
                  </a:lnTo>
                  <a:lnTo>
                    <a:pt x="1537848" y="1089845"/>
                  </a:lnTo>
                  <a:lnTo>
                    <a:pt x="1533356" y="1088510"/>
                  </a:lnTo>
                  <a:lnTo>
                    <a:pt x="1531470" y="1088901"/>
                  </a:lnTo>
                  <a:lnTo>
                    <a:pt x="1525316" y="1092554"/>
                  </a:lnTo>
                  <a:lnTo>
                    <a:pt x="1516658" y="1095374"/>
                  </a:lnTo>
                  <a:lnTo>
                    <a:pt x="1515914" y="1095368"/>
                  </a:lnTo>
                  <a:lnTo>
                    <a:pt x="1515134" y="1095647"/>
                  </a:lnTo>
                  <a:lnTo>
                    <a:pt x="1514396" y="1096762"/>
                  </a:lnTo>
                  <a:lnTo>
                    <a:pt x="1513671" y="1098190"/>
                  </a:lnTo>
                  <a:lnTo>
                    <a:pt x="1512913" y="1099426"/>
                  </a:lnTo>
                  <a:lnTo>
                    <a:pt x="1512341" y="1100526"/>
                  </a:lnTo>
                  <a:lnTo>
                    <a:pt x="1511590" y="1103353"/>
                  </a:lnTo>
                  <a:lnTo>
                    <a:pt x="1510987" y="1104741"/>
                  </a:lnTo>
                  <a:lnTo>
                    <a:pt x="1510301" y="1105453"/>
                  </a:lnTo>
                  <a:lnTo>
                    <a:pt x="1508434" y="1106559"/>
                  </a:lnTo>
                  <a:lnTo>
                    <a:pt x="1507527" y="1107436"/>
                  </a:lnTo>
                  <a:lnTo>
                    <a:pt x="1506925" y="1109394"/>
                  </a:lnTo>
                  <a:lnTo>
                    <a:pt x="1505900" y="1110534"/>
                  </a:lnTo>
                  <a:lnTo>
                    <a:pt x="1504737" y="1111338"/>
                  </a:lnTo>
                  <a:lnTo>
                    <a:pt x="1503714" y="1112308"/>
                  </a:lnTo>
                  <a:lnTo>
                    <a:pt x="1502751" y="1113860"/>
                  </a:lnTo>
                  <a:lnTo>
                    <a:pt x="1501389" y="1116360"/>
                  </a:lnTo>
                  <a:lnTo>
                    <a:pt x="1500355" y="1118740"/>
                  </a:lnTo>
                  <a:lnTo>
                    <a:pt x="1500366" y="1119954"/>
                  </a:lnTo>
                  <a:lnTo>
                    <a:pt x="1500550" y="1120493"/>
                  </a:lnTo>
                  <a:lnTo>
                    <a:pt x="1499937" y="1121313"/>
                  </a:lnTo>
                  <a:lnTo>
                    <a:pt x="1499085" y="1122076"/>
                  </a:lnTo>
                  <a:lnTo>
                    <a:pt x="1498533" y="1122458"/>
                  </a:lnTo>
                  <a:lnTo>
                    <a:pt x="1496671" y="1123031"/>
                  </a:lnTo>
                  <a:lnTo>
                    <a:pt x="1494414" y="1124244"/>
                  </a:lnTo>
                  <a:lnTo>
                    <a:pt x="1486002" y="1126237"/>
                  </a:lnTo>
                  <a:lnTo>
                    <a:pt x="1480441" y="1129297"/>
                  </a:lnTo>
                  <a:lnTo>
                    <a:pt x="1479165" y="1129551"/>
                  </a:lnTo>
                  <a:lnTo>
                    <a:pt x="1478382" y="1129294"/>
                  </a:lnTo>
                  <a:lnTo>
                    <a:pt x="1476482" y="1127649"/>
                  </a:lnTo>
                  <a:lnTo>
                    <a:pt x="1475699" y="1127371"/>
                  </a:lnTo>
                  <a:lnTo>
                    <a:pt x="1473940" y="1127369"/>
                  </a:lnTo>
                  <a:lnTo>
                    <a:pt x="1468190" y="1123847"/>
                  </a:lnTo>
                  <a:lnTo>
                    <a:pt x="1467909" y="1122721"/>
                  </a:lnTo>
                  <a:lnTo>
                    <a:pt x="1470082" y="1122408"/>
                  </a:lnTo>
                  <a:lnTo>
                    <a:pt x="1470854" y="1121535"/>
                  </a:lnTo>
                  <a:lnTo>
                    <a:pt x="1470323" y="1120536"/>
                  </a:lnTo>
                  <a:lnTo>
                    <a:pt x="1469272" y="1119772"/>
                  </a:lnTo>
                  <a:lnTo>
                    <a:pt x="1467998" y="1119599"/>
                  </a:lnTo>
                  <a:lnTo>
                    <a:pt x="1466791" y="1120349"/>
                  </a:lnTo>
                  <a:lnTo>
                    <a:pt x="1465811" y="1122191"/>
                  </a:lnTo>
                  <a:lnTo>
                    <a:pt x="1465904" y="1123541"/>
                  </a:lnTo>
                  <a:lnTo>
                    <a:pt x="1466788" y="1125487"/>
                  </a:lnTo>
                  <a:lnTo>
                    <a:pt x="1466675" y="1126937"/>
                  </a:lnTo>
                  <a:lnTo>
                    <a:pt x="1466312" y="1128328"/>
                  </a:lnTo>
                  <a:lnTo>
                    <a:pt x="1465902" y="1129696"/>
                  </a:lnTo>
                  <a:lnTo>
                    <a:pt x="1465402" y="1132642"/>
                  </a:lnTo>
                  <a:lnTo>
                    <a:pt x="1464992" y="1133828"/>
                  </a:lnTo>
                  <a:lnTo>
                    <a:pt x="1464351" y="1134939"/>
                  </a:lnTo>
                  <a:lnTo>
                    <a:pt x="1463427" y="1136269"/>
                  </a:lnTo>
                  <a:lnTo>
                    <a:pt x="1461338" y="1138848"/>
                  </a:lnTo>
                  <a:lnTo>
                    <a:pt x="1455174" y="1144332"/>
                  </a:lnTo>
                  <a:lnTo>
                    <a:pt x="1453066" y="1145707"/>
                  </a:lnTo>
                  <a:lnTo>
                    <a:pt x="1451038" y="1146620"/>
                  </a:lnTo>
                  <a:lnTo>
                    <a:pt x="1448976" y="1148174"/>
                  </a:lnTo>
                  <a:lnTo>
                    <a:pt x="1446781" y="1151454"/>
                  </a:lnTo>
                  <a:lnTo>
                    <a:pt x="1447053" y="1154977"/>
                  </a:lnTo>
                  <a:lnTo>
                    <a:pt x="1447028" y="1157042"/>
                  </a:lnTo>
                  <a:lnTo>
                    <a:pt x="1446593" y="1157793"/>
                  </a:lnTo>
                  <a:lnTo>
                    <a:pt x="1445782" y="1158722"/>
                  </a:lnTo>
                  <a:lnTo>
                    <a:pt x="1444664" y="1161165"/>
                  </a:lnTo>
                  <a:lnTo>
                    <a:pt x="1443520" y="1163961"/>
                  </a:lnTo>
                  <a:lnTo>
                    <a:pt x="1442633" y="1165945"/>
                  </a:lnTo>
                  <a:lnTo>
                    <a:pt x="1441150" y="1168588"/>
                  </a:lnTo>
                  <a:lnTo>
                    <a:pt x="1440470" y="1170100"/>
                  </a:lnTo>
                  <a:lnTo>
                    <a:pt x="1440198" y="1171575"/>
                  </a:lnTo>
                  <a:lnTo>
                    <a:pt x="1439941" y="1174109"/>
                  </a:lnTo>
                  <a:lnTo>
                    <a:pt x="1439714" y="1175411"/>
                  </a:lnTo>
                  <a:lnTo>
                    <a:pt x="1439341" y="1176412"/>
                  </a:lnTo>
                  <a:lnTo>
                    <a:pt x="1438784" y="1177293"/>
                  </a:lnTo>
                  <a:lnTo>
                    <a:pt x="1437415" y="1178996"/>
                  </a:lnTo>
                  <a:lnTo>
                    <a:pt x="1435714" y="1181669"/>
                  </a:lnTo>
                  <a:lnTo>
                    <a:pt x="1428953" y="1189772"/>
                  </a:lnTo>
                  <a:lnTo>
                    <a:pt x="1422965" y="1193486"/>
                  </a:lnTo>
                  <a:lnTo>
                    <a:pt x="1418071" y="1193669"/>
                  </a:lnTo>
                  <a:lnTo>
                    <a:pt x="1408873" y="1195205"/>
                  </a:lnTo>
                  <a:lnTo>
                    <a:pt x="1401279" y="1194217"/>
                  </a:lnTo>
                  <a:lnTo>
                    <a:pt x="1392979" y="1194446"/>
                  </a:lnTo>
                  <a:lnTo>
                    <a:pt x="1387958" y="1189864"/>
                  </a:lnTo>
                  <a:lnTo>
                    <a:pt x="1390771" y="1188834"/>
                  </a:lnTo>
                  <a:lnTo>
                    <a:pt x="1391465" y="1187860"/>
                  </a:lnTo>
                  <a:lnTo>
                    <a:pt x="1391479" y="1185295"/>
                  </a:lnTo>
                  <a:lnTo>
                    <a:pt x="1390829" y="1183593"/>
                  </a:lnTo>
                  <a:lnTo>
                    <a:pt x="1389512" y="1182418"/>
                  </a:lnTo>
                  <a:lnTo>
                    <a:pt x="1387891" y="1181933"/>
                  </a:lnTo>
                  <a:lnTo>
                    <a:pt x="1386314" y="1182330"/>
                  </a:lnTo>
                  <a:lnTo>
                    <a:pt x="1380346" y="1185938"/>
                  </a:lnTo>
                  <a:lnTo>
                    <a:pt x="1375839" y="1189639"/>
                  </a:lnTo>
                  <a:lnTo>
                    <a:pt x="1373663" y="1190339"/>
                  </a:lnTo>
                  <a:lnTo>
                    <a:pt x="1368965" y="1194108"/>
                  </a:lnTo>
                  <a:lnTo>
                    <a:pt x="1365750" y="1196022"/>
                  </a:lnTo>
                  <a:lnTo>
                    <a:pt x="1364261" y="1196535"/>
                  </a:lnTo>
                  <a:lnTo>
                    <a:pt x="1361433" y="1196285"/>
                  </a:lnTo>
                  <a:lnTo>
                    <a:pt x="1357788" y="1197019"/>
                  </a:lnTo>
                  <a:lnTo>
                    <a:pt x="1354812" y="1196670"/>
                  </a:lnTo>
                  <a:lnTo>
                    <a:pt x="1345209" y="1198601"/>
                  </a:lnTo>
                  <a:lnTo>
                    <a:pt x="1342700" y="1200550"/>
                  </a:lnTo>
                  <a:lnTo>
                    <a:pt x="1341431" y="1201235"/>
                  </a:lnTo>
                  <a:lnTo>
                    <a:pt x="1339320" y="1203303"/>
                  </a:lnTo>
                  <a:lnTo>
                    <a:pt x="1337847" y="1204365"/>
                  </a:lnTo>
                  <a:lnTo>
                    <a:pt x="1335872" y="1204935"/>
                  </a:lnTo>
                  <a:lnTo>
                    <a:pt x="1325991" y="1200951"/>
                  </a:lnTo>
                  <a:lnTo>
                    <a:pt x="1324764" y="1199405"/>
                  </a:lnTo>
                  <a:lnTo>
                    <a:pt x="1323094" y="1194165"/>
                  </a:lnTo>
                  <a:lnTo>
                    <a:pt x="1322393" y="1187559"/>
                  </a:lnTo>
                  <a:lnTo>
                    <a:pt x="1322767" y="1179829"/>
                  </a:lnTo>
                  <a:lnTo>
                    <a:pt x="1325855" y="1163249"/>
                  </a:lnTo>
                  <a:lnTo>
                    <a:pt x="1326729" y="1155937"/>
                  </a:lnTo>
                  <a:lnTo>
                    <a:pt x="1326814" y="1152052"/>
                  </a:lnTo>
                  <a:lnTo>
                    <a:pt x="1326500" y="1148730"/>
                  </a:lnTo>
                  <a:lnTo>
                    <a:pt x="1326276" y="1147911"/>
                  </a:lnTo>
                  <a:lnTo>
                    <a:pt x="1324829" y="1145866"/>
                  </a:lnTo>
                  <a:lnTo>
                    <a:pt x="1324690" y="1145332"/>
                  </a:lnTo>
                  <a:lnTo>
                    <a:pt x="1324806" y="1144267"/>
                  </a:lnTo>
                  <a:lnTo>
                    <a:pt x="1325239" y="1142014"/>
                  </a:lnTo>
                  <a:lnTo>
                    <a:pt x="1325802" y="1132494"/>
                  </a:lnTo>
                  <a:lnTo>
                    <a:pt x="1324151" y="1126042"/>
                  </a:lnTo>
                  <a:lnTo>
                    <a:pt x="1317416" y="1116595"/>
                  </a:lnTo>
                  <a:lnTo>
                    <a:pt x="1310755" y="1107127"/>
                  </a:lnTo>
                  <a:lnTo>
                    <a:pt x="1306765" y="1099026"/>
                  </a:lnTo>
                  <a:lnTo>
                    <a:pt x="1305565" y="1094198"/>
                  </a:lnTo>
                  <a:lnTo>
                    <a:pt x="1300057" y="1085347"/>
                  </a:lnTo>
                  <a:lnTo>
                    <a:pt x="1300128" y="1083626"/>
                  </a:lnTo>
                  <a:lnTo>
                    <a:pt x="1307330" y="1086213"/>
                  </a:lnTo>
                  <a:lnTo>
                    <a:pt x="1307601" y="1086849"/>
                  </a:lnTo>
                  <a:lnTo>
                    <a:pt x="1307842" y="1088614"/>
                  </a:lnTo>
                  <a:lnTo>
                    <a:pt x="1308133" y="1089096"/>
                  </a:lnTo>
                  <a:lnTo>
                    <a:pt x="1308826" y="1089202"/>
                  </a:lnTo>
                  <a:lnTo>
                    <a:pt x="1309321" y="1088793"/>
                  </a:lnTo>
                  <a:lnTo>
                    <a:pt x="1309574" y="1087990"/>
                  </a:lnTo>
                  <a:lnTo>
                    <a:pt x="1309575" y="1086881"/>
                  </a:lnTo>
                  <a:lnTo>
                    <a:pt x="1308732" y="1084969"/>
                  </a:lnTo>
                  <a:lnTo>
                    <a:pt x="1300805" y="1080899"/>
                  </a:lnTo>
                  <a:lnTo>
                    <a:pt x="1291573" y="1077217"/>
                  </a:lnTo>
                  <a:lnTo>
                    <a:pt x="1283603" y="1076271"/>
                  </a:lnTo>
                  <a:lnTo>
                    <a:pt x="1281729" y="1073514"/>
                  </a:lnTo>
                  <a:lnTo>
                    <a:pt x="1284425" y="1073361"/>
                  </a:lnTo>
                  <a:lnTo>
                    <a:pt x="1285679" y="1072641"/>
                  </a:lnTo>
                  <a:lnTo>
                    <a:pt x="1287244" y="1071388"/>
                  </a:lnTo>
                  <a:lnTo>
                    <a:pt x="1288868" y="1069626"/>
                  </a:lnTo>
                  <a:lnTo>
                    <a:pt x="1290892" y="1066479"/>
                  </a:lnTo>
                  <a:lnTo>
                    <a:pt x="1291572" y="1065621"/>
                  </a:lnTo>
                  <a:lnTo>
                    <a:pt x="1292280" y="1064614"/>
                  </a:lnTo>
                  <a:lnTo>
                    <a:pt x="1292948" y="1063252"/>
                  </a:lnTo>
                  <a:lnTo>
                    <a:pt x="1293413" y="1061471"/>
                  </a:lnTo>
                  <a:lnTo>
                    <a:pt x="1293145" y="1060650"/>
                  </a:lnTo>
                  <a:lnTo>
                    <a:pt x="1291734" y="1060140"/>
                  </a:lnTo>
                  <a:lnTo>
                    <a:pt x="1294715" y="1057496"/>
                  </a:lnTo>
                  <a:lnTo>
                    <a:pt x="1297597" y="1056395"/>
                  </a:lnTo>
                  <a:lnTo>
                    <a:pt x="1299997" y="1056506"/>
                  </a:lnTo>
                  <a:lnTo>
                    <a:pt x="1301546" y="1057492"/>
                  </a:lnTo>
                  <a:lnTo>
                    <a:pt x="1301915" y="1056770"/>
                  </a:lnTo>
                  <a:lnTo>
                    <a:pt x="1300245" y="1055618"/>
                  </a:lnTo>
                  <a:lnTo>
                    <a:pt x="1299864" y="1054418"/>
                  </a:lnTo>
                  <a:lnTo>
                    <a:pt x="1300632" y="1052858"/>
                  </a:lnTo>
                  <a:lnTo>
                    <a:pt x="1300533" y="1052430"/>
                  </a:lnTo>
                  <a:lnTo>
                    <a:pt x="1300598" y="1051910"/>
                  </a:lnTo>
                  <a:lnTo>
                    <a:pt x="1301040" y="1050486"/>
                  </a:lnTo>
                  <a:lnTo>
                    <a:pt x="1301629" y="1049947"/>
                  </a:lnTo>
                  <a:lnTo>
                    <a:pt x="1302777" y="1048481"/>
                  </a:lnTo>
                  <a:lnTo>
                    <a:pt x="1303217" y="1048296"/>
                  </a:lnTo>
                  <a:lnTo>
                    <a:pt x="1305102" y="1050291"/>
                  </a:lnTo>
                  <a:lnTo>
                    <a:pt x="1306095" y="1050111"/>
                  </a:lnTo>
                  <a:lnTo>
                    <a:pt x="1308497" y="1048771"/>
                  </a:lnTo>
                  <a:lnTo>
                    <a:pt x="1308996" y="1048649"/>
                  </a:lnTo>
                  <a:lnTo>
                    <a:pt x="1309611" y="1048012"/>
                  </a:lnTo>
                  <a:lnTo>
                    <a:pt x="1310399" y="1046597"/>
                  </a:lnTo>
                  <a:lnTo>
                    <a:pt x="1310701" y="1045537"/>
                  </a:lnTo>
                  <a:lnTo>
                    <a:pt x="1309835" y="1046035"/>
                  </a:lnTo>
                  <a:lnTo>
                    <a:pt x="1308997" y="1046710"/>
                  </a:lnTo>
                  <a:lnTo>
                    <a:pt x="1308610" y="1046709"/>
                  </a:lnTo>
                  <a:lnTo>
                    <a:pt x="1308779" y="1046035"/>
                  </a:lnTo>
                  <a:lnTo>
                    <a:pt x="1309606" y="1044703"/>
                  </a:lnTo>
                  <a:lnTo>
                    <a:pt x="1310356" y="1043820"/>
                  </a:lnTo>
                  <a:lnTo>
                    <a:pt x="1311207" y="1043017"/>
                  </a:lnTo>
                  <a:lnTo>
                    <a:pt x="1312518" y="1041974"/>
                  </a:lnTo>
                  <a:lnTo>
                    <a:pt x="1313248" y="1041618"/>
                  </a:lnTo>
                  <a:lnTo>
                    <a:pt x="1314639" y="1041289"/>
                  </a:lnTo>
                  <a:lnTo>
                    <a:pt x="1315386" y="1040892"/>
                  </a:lnTo>
                  <a:lnTo>
                    <a:pt x="1315979" y="1040328"/>
                  </a:lnTo>
                  <a:lnTo>
                    <a:pt x="1318122" y="1037984"/>
                  </a:lnTo>
                  <a:lnTo>
                    <a:pt x="1317989" y="1037362"/>
                  </a:lnTo>
                  <a:lnTo>
                    <a:pt x="1317439" y="1036685"/>
                  </a:lnTo>
                  <a:lnTo>
                    <a:pt x="1317395" y="1035956"/>
                  </a:lnTo>
                  <a:lnTo>
                    <a:pt x="1318358" y="1035706"/>
                  </a:lnTo>
                  <a:lnTo>
                    <a:pt x="1320548" y="1036671"/>
                  </a:lnTo>
                  <a:lnTo>
                    <a:pt x="1320761" y="1034780"/>
                  </a:lnTo>
                  <a:lnTo>
                    <a:pt x="1321532" y="1033936"/>
                  </a:lnTo>
                  <a:lnTo>
                    <a:pt x="1323581" y="1033164"/>
                  </a:lnTo>
                  <a:lnTo>
                    <a:pt x="1324272" y="1031610"/>
                  </a:lnTo>
                  <a:lnTo>
                    <a:pt x="1325130" y="1030795"/>
                  </a:lnTo>
                  <a:lnTo>
                    <a:pt x="1326867" y="1030260"/>
                  </a:lnTo>
                  <a:lnTo>
                    <a:pt x="1328236" y="1030363"/>
                  </a:lnTo>
                  <a:lnTo>
                    <a:pt x="1330199" y="1029729"/>
                  </a:lnTo>
                  <a:lnTo>
                    <a:pt x="1335902" y="1026717"/>
                  </a:lnTo>
                  <a:lnTo>
                    <a:pt x="1336851" y="1026854"/>
                  </a:lnTo>
                  <a:lnTo>
                    <a:pt x="1338485" y="1027937"/>
                  </a:lnTo>
                  <a:lnTo>
                    <a:pt x="1339272" y="1027857"/>
                  </a:lnTo>
                  <a:lnTo>
                    <a:pt x="1339731" y="1025272"/>
                  </a:lnTo>
                  <a:lnTo>
                    <a:pt x="1340726" y="1023956"/>
                  </a:lnTo>
                  <a:lnTo>
                    <a:pt x="1338713" y="1022700"/>
                  </a:lnTo>
                  <a:lnTo>
                    <a:pt x="1338138" y="1021456"/>
                  </a:lnTo>
                  <a:lnTo>
                    <a:pt x="1338076" y="1019359"/>
                  </a:lnTo>
                  <a:lnTo>
                    <a:pt x="1338898" y="1019164"/>
                  </a:lnTo>
                  <a:lnTo>
                    <a:pt x="1339605" y="1019448"/>
                  </a:lnTo>
                  <a:lnTo>
                    <a:pt x="1340349" y="1019451"/>
                  </a:lnTo>
                  <a:lnTo>
                    <a:pt x="1341275" y="1018414"/>
                  </a:lnTo>
                  <a:lnTo>
                    <a:pt x="1341130" y="1018181"/>
                  </a:lnTo>
                  <a:lnTo>
                    <a:pt x="1340960" y="1017548"/>
                  </a:lnTo>
                  <a:lnTo>
                    <a:pt x="1340798" y="1017351"/>
                  </a:lnTo>
                  <a:lnTo>
                    <a:pt x="1341655" y="1016429"/>
                  </a:lnTo>
                  <a:lnTo>
                    <a:pt x="1342164" y="1016720"/>
                  </a:lnTo>
                  <a:lnTo>
                    <a:pt x="1342575" y="1017405"/>
                  </a:lnTo>
                  <a:lnTo>
                    <a:pt x="1343142" y="1017654"/>
                  </a:lnTo>
                  <a:lnTo>
                    <a:pt x="1343789" y="1017284"/>
                  </a:lnTo>
                  <a:lnTo>
                    <a:pt x="1344497" y="1016641"/>
                  </a:lnTo>
                  <a:lnTo>
                    <a:pt x="1346008" y="1014886"/>
                  </a:lnTo>
                  <a:lnTo>
                    <a:pt x="1345867" y="1014100"/>
                  </a:lnTo>
                  <a:lnTo>
                    <a:pt x="1343824" y="1013830"/>
                  </a:lnTo>
                  <a:lnTo>
                    <a:pt x="1344854" y="1012586"/>
                  </a:lnTo>
                  <a:lnTo>
                    <a:pt x="1346102" y="1011545"/>
                  </a:lnTo>
                  <a:lnTo>
                    <a:pt x="1347253" y="1010360"/>
                  </a:lnTo>
                  <a:lnTo>
                    <a:pt x="1347984" y="1008704"/>
                  </a:lnTo>
                  <a:lnTo>
                    <a:pt x="1348087" y="1007808"/>
                  </a:lnTo>
                  <a:lnTo>
                    <a:pt x="1348011" y="1006464"/>
                  </a:lnTo>
                  <a:lnTo>
                    <a:pt x="1348139" y="1005456"/>
                  </a:lnTo>
                  <a:lnTo>
                    <a:pt x="1348446" y="1004561"/>
                  </a:lnTo>
                  <a:lnTo>
                    <a:pt x="1349382" y="1002616"/>
                  </a:lnTo>
                  <a:lnTo>
                    <a:pt x="1349699" y="1001641"/>
                  </a:lnTo>
                  <a:lnTo>
                    <a:pt x="1349673" y="1000911"/>
                  </a:lnTo>
                  <a:lnTo>
                    <a:pt x="1348778" y="999530"/>
                  </a:lnTo>
                  <a:lnTo>
                    <a:pt x="1348753" y="997789"/>
                  </a:lnTo>
                  <a:lnTo>
                    <a:pt x="1348900" y="996760"/>
                  </a:lnTo>
                  <a:lnTo>
                    <a:pt x="1349239" y="996434"/>
                  </a:lnTo>
                  <a:lnTo>
                    <a:pt x="1349848" y="996214"/>
                  </a:lnTo>
                  <a:lnTo>
                    <a:pt x="1350678" y="995647"/>
                  </a:lnTo>
                  <a:lnTo>
                    <a:pt x="1351362" y="995434"/>
                  </a:lnTo>
                  <a:lnTo>
                    <a:pt x="1351726" y="997092"/>
                  </a:lnTo>
                  <a:lnTo>
                    <a:pt x="1352883" y="997894"/>
                  </a:lnTo>
                  <a:lnTo>
                    <a:pt x="1353010" y="998679"/>
                  </a:lnTo>
                  <a:lnTo>
                    <a:pt x="1353392" y="999715"/>
                  </a:lnTo>
                  <a:lnTo>
                    <a:pt x="1360300" y="998377"/>
                  </a:lnTo>
                  <a:lnTo>
                    <a:pt x="1361943" y="1000078"/>
                  </a:lnTo>
                  <a:lnTo>
                    <a:pt x="1366726" y="999891"/>
                  </a:lnTo>
                  <a:lnTo>
                    <a:pt x="1368894" y="999175"/>
                  </a:lnTo>
                  <a:lnTo>
                    <a:pt x="1370003" y="999405"/>
                  </a:lnTo>
                  <a:lnTo>
                    <a:pt x="1370802" y="998822"/>
                  </a:lnTo>
                  <a:lnTo>
                    <a:pt x="1371033" y="998118"/>
                  </a:lnTo>
                  <a:lnTo>
                    <a:pt x="1370477" y="995784"/>
                  </a:lnTo>
                  <a:lnTo>
                    <a:pt x="1370987" y="995316"/>
                  </a:lnTo>
                  <a:lnTo>
                    <a:pt x="1372140" y="994551"/>
                  </a:lnTo>
                  <a:lnTo>
                    <a:pt x="1372452" y="994235"/>
                  </a:lnTo>
                  <a:lnTo>
                    <a:pt x="1372577" y="993477"/>
                  </a:lnTo>
                  <a:lnTo>
                    <a:pt x="1372225" y="993073"/>
                  </a:lnTo>
                  <a:lnTo>
                    <a:pt x="1371340" y="992805"/>
                  </a:lnTo>
                  <a:lnTo>
                    <a:pt x="1370830" y="992223"/>
                  </a:lnTo>
                  <a:lnTo>
                    <a:pt x="1370399" y="991115"/>
                  </a:lnTo>
                  <a:lnTo>
                    <a:pt x="1370190" y="989687"/>
                  </a:lnTo>
                  <a:lnTo>
                    <a:pt x="1370336" y="988183"/>
                  </a:lnTo>
                  <a:lnTo>
                    <a:pt x="1371058" y="987702"/>
                  </a:lnTo>
                  <a:lnTo>
                    <a:pt x="1368319" y="986394"/>
                  </a:lnTo>
                  <a:lnTo>
                    <a:pt x="1368187" y="987704"/>
                  </a:lnTo>
                  <a:lnTo>
                    <a:pt x="1368213" y="988072"/>
                  </a:lnTo>
                  <a:lnTo>
                    <a:pt x="1367282" y="987963"/>
                  </a:lnTo>
                  <a:lnTo>
                    <a:pt x="1366895" y="986715"/>
                  </a:lnTo>
                  <a:lnTo>
                    <a:pt x="1366402" y="980888"/>
                  </a:lnTo>
                  <a:lnTo>
                    <a:pt x="1366569" y="979514"/>
                  </a:lnTo>
                  <a:lnTo>
                    <a:pt x="1367450" y="978139"/>
                  </a:lnTo>
                  <a:lnTo>
                    <a:pt x="1367998" y="977769"/>
                  </a:lnTo>
                  <a:lnTo>
                    <a:pt x="1369340" y="977100"/>
                  </a:lnTo>
                  <a:lnTo>
                    <a:pt x="1369726" y="976742"/>
                  </a:lnTo>
                  <a:lnTo>
                    <a:pt x="1370307" y="975780"/>
                  </a:lnTo>
                  <a:lnTo>
                    <a:pt x="1370945" y="974989"/>
                  </a:lnTo>
                  <a:lnTo>
                    <a:pt x="1371550" y="974420"/>
                  </a:lnTo>
                  <a:lnTo>
                    <a:pt x="1372038" y="974086"/>
                  </a:lnTo>
                  <a:lnTo>
                    <a:pt x="1376090" y="974490"/>
                  </a:lnTo>
                  <a:lnTo>
                    <a:pt x="1377476" y="973291"/>
                  </a:lnTo>
                  <a:lnTo>
                    <a:pt x="1377362" y="973079"/>
                  </a:lnTo>
                  <a:lnTo>
                    <a:pt x="1377253" y="972651"/>
                  </a:lnTo>
                  <a:lnTo>
                    <a:pt x="1377208" y="972136"/>
                  </a:lnTo>
                  <a:lnTo>
                    <a:pt x="1377314" y="971639"/>
                  </a:lnTo>
                  <a:lnTo>
                    <a:pt x="1377868" y="970585"/>
                  </a:lnTo>
                  <a:lnTo>
                    <a:pt x="1378204" y="970272"/>
                  </a:lnTo>
                  <a:lnTo>
                    <a:pt x="1378500" y="970206"/>
                  </a:lnTo>
                  <a:lnTo>
                    <a:pt x="1378928" y="969922"/>
                  </a:lnTo>
                  <a:lnTo>
                    <a:pt x="1382106" y="967168"/>
                  </a:lnTo>
                  <a:lnTo>
                    <a:pt x="1382742" y="966770"/>
                  </a:lnTo>
                  <a:lnTo>
                    <a:pt x="1383409" y="966250"/>
                  </a:lnTo>
                  <a:lnTo>
                    <a:pt x="1386662" y="962016"/>
                  </a:lnTo>
                  <a:lnTo>
                    <a:pt x="1390296" y="958288"/>
                  </a:lnTo>
                  <a:lnTo>
                    <a:pt x="1391312" y="957646"/>
                  </a:lnTo>
                  <a:lnTo>
                    <a:pt x="1393275" y="957285"/>
                  </a:lnTo>
                  <a:lnTo>
                    <a:pt x="1394194" y="956408"/>
                  </a:lnTo>
                  <a:lnTo>
                    <a:pt x="1394883" y="954872"/>
                  </a:lnTo>
                  <a:lnTo>
                    <a:pt x="1394800" y="952818"/>
                  </a:lnTo>
                  <a:lnTo>
                    <a:pt x="1395182" y="951476"/>
                  </a:lnTo>
                  <a:lnTo>
                    <a:pt x="1395939" y="950711"/>
                  </a:lnTo>
                  <a:lnTo>
                    <a:pt x="1397086" y="950145"/>
                  </a:lnTo>
                  <a:lnTo>
                    <a:pt x="1401048" y="949292"/>
                  </a:lnTo>
                  <a:lnTo>
                    <a:pt x="1401835" y="948718"/>
                  </a:lnTo>
                  <a:lnTo>
                    <a:pt x="1401655" y="947461"/>
                  </a:lnTo>
                  <a:lnTo>
                    <a:pt x="1402996" y="947286"/>
                  </a:lnTo>
                  <a:lnTo>
                    <a:pt x="1405698" y="948603"/>
                  </a:lnTo>
                  <a:lnTo>
                    <a:pt x="1407375" y="946851"/>
                  </a:lnTo>
                  <a:lnTo>
                    <a:pt x="1406992" y="946672"/>
                  </a:lnTo>
                  <a:lnTo>
                    <a:pt x="1408197" y="945495"/>
                  </a:lnTo>
                  <a:lnTo>
                    <a:pt x="1410294" y="945591"/>
                  </a:lnTo>
                  <a:lnTo>
                    <a:pt x="1411535" y="944597"/>
                  </a:lnTo>
                  <a:lnTo>
                    <a:pt x="1411747" y="944127"/>
                  </a:lnTo>
                  <a:lnTo>
                    <a:pt x="1412815" y="941480"/>
                  </a:lnTo>
                  <a:lnTo>
                    <a:pt x="1413306" y="940790"/>
                  </a:lnTo>
                  <a:lnTo>
                    <a:pt x="1414340" y="940196"/>
                  </a:lnTo>
                  <a:lnTo>
                    <a:pt x="1414911" y="939568"/>
                  </a:lnTo>
                  <a:lnTo>
                    <a:pt x="1414903" y="938789"/>
                  </a:lnTo>
                  <a:lnTo>
                    <a:pt x="1415017" y="937594"/>
                  </a:lnTo>
                  <a:lnTo>
                    <a:pt x="1415276" y="936256"/>
                  </a:lnTo>
                  <a:lnTo>
                    <a:pt x="1415727" y="935007"/>
                  </a:lnTo>
                  <a:lnTo>
                    <a:pt x="1416778" y="933390"/>
                  </a:lnTo>
                  <a:lnTo>
                    <a:pt x="1417702" y="932726"/>
                  </a:lnTo>
                  <a:lnTo>
                    <a:pt x="1419225" y="932590"/>
                  </a:lnTo>
                  <a:lnTo>
                    <a:pt x="1423220" y="931083"/>
                  </a:lnTo>
                  <a:lnTo>
                    <a:pt x="1424663" y="931697"/>
                  </a:lnTo>
                  <a:lnTo>
                    <a:pt x="1425526" y="931620"/>
                  </a:lnTo>
                  <a:lnTo>
                    <a:pt x="1426652" y="930199"/>
                  </a:lnTo>
                  <a:lnTo>
                    <a:pt x="1426687" y="928715"/>
                  </a:lnTo>
                  <a:lnTo>
                    <a:pt x="1427904" y="927546"/>
                  </a:lnTo>
                  <a:lnTo>
                    <a:pt x="1430456" y="926125"/>
                  </a:lnTo>
                  <a:lnTo>
                    <a:pt x="1430670" y="924376"/>
                  </a:lnTo>
                  <a:lnTo>
                    <a:pt x="1431415" y="920715"/>
                  </a:lnTo>
                  <a:lnTo>
                    <a:pt x="1431473" y="919187"/>
                  </a:lnTo>
                  <a:lnTo>
                    <a:pt x="1430924" y="917526"/>
                  </a:lnTo>
                  <a:lnTo>
                    <a:pt x="1424308" y="912963"/>
                  </a:lnTo>
                  <a:lnTo>
                    <a:pt x="1423869" y="911114"/>
                  </a:lnTo>
                  <a:lnTo>
                    <a:pt x="1423803" y="909323"/>
                  </a:lnTo>
                  <a:lnTo>
                    <a:pt x="1424019" y="908067"/>
                  </a:lnTo>
                  <a:lnTo>
                    <a:pt x="1424783" y="906852"/>
                  </a:lnTo>
                  <a:lnTo>
                    <a:pt x="1426349" y="905193"/>
                  </a:lnTo>
                  <a:lnTo>
                    <a:pt x="1426171" y="904784"/>
                  </a:lnTo>
                  <a:lnTo>
                    <a:pt x="1426015" y="903004"/>
                  </a:lnTo>
                  <a:lnTo>
                    <a:pt x="1426082" y="902323"/>
                  </a:lnTo>
                  <a:lnTo>
                    <a:pt x="1426446" y="900659"/>
                  </a:lnTo>
                  <a:lnTo>
                    <a:pt x="1426432" y="900273"/>
                  </a:lnTo>
                  <a:lnTo>
                    <a:pt x="1426187" y="899936"/>
                  </a:lnTo>
                  <a:lnTo>
                    <a:pt x="1425866" y="898707"/>
                  </a:lnTo>
                  <a:lnTo>
                    <a:pt x="1424996" y="897218"/>
                  </a:lnTo>
                  <a:lnTo>
                    <a:pt x="1425070" y="896732"/>
                  </a:lnTo>
                  <a:lnTo>
                    <a:pt x="1425738" y="896575"/>
                  </a:lnTo>
                  <a:lnTo>
                    <a:pt x="1426130" y="894859"/>
                  </a:lnTo>
                  <a:lnTo>
                    <a:pt x="1426330" y="892191"/>
                  </a:lnTo>
                  <a:lnTo>
                    <a:pt x="1426896" y="891410"/>
                  </a:lnTo>
                  <a:lnTo>
                    <a:pt x="1427023" y="889825"/>
                  </a:lnTo>
                  <a:lnTo>
                    <a:pt x="1426459" y="888119"/>
                  </a:lnTo>
                  <a:lnTo>
                    <a:pt x="1426371" y="886949"/>
                  </a:lnTo>
                  <a:lnTo>
                    <a:pt x="1427038" y="886522"/>
                  </a:lnTo>
                  <a:lnTo>
                    <a:pt x="1427369" y="885131"/>
                  </a:lnTo>
                  <a:lnTo>
                    <a:pt x="1427849" y="883515"/>
                  </a:lnTo>
                  <a:lnTo>
                    <a:pt x="1428336" y="883890"/>
                  </a:lnTo>
                  <a:lnTo>
                    <a:pt x="1428854" y="883717"/>
                  </a:lnTo>
                  <a:lnTo>
                    <a:pt x="1429418" y="882891"/>
                  </a:lnTo>
                  <a:lnTo>
                    <a:pt x="1430073" y="881270"/>
                  </a:lnTo>
                  <a:lnTo>
                    <a:pt x="1430405" y="879905"/>
                  </a:lnTo>
                  <a:lnTo>
                    <a:pt x="1430355" y="879117"/>
                  </a:lnTo>
                  <a:lnTo>
                    <a:pt x="1430200" y="878491"/>
                  </a:lnTo>
                  <a:lnTo>
                    <a:pt x="1430219" y="877613"/>
                  </a:lnTo>
                  <a:lnTo>
                    <a:pt x="1430558" y="876434"/>
                  </a:lnTo>
                  <a:lnTo>
                    <a:pt x="1431020" y="875318"/>
                  </a:lnTo>
                  <a:lnTo>
                    <a:pt x="1431418" y="874270"/>
                  </a:lnTo>
                  <a:lnTo>
                    <a:pt x="1431552" y="873294"/>
                  </a:lnTo>
                  <a:lnTo>
                    <a:pt x="1431594" y="872046"/>
                  </a:lnTo>
                  <a:lnTo>
                    <a:pt x="1431876" y="871579"/>
                  </a:lnTo>
                  <a:lnTo>
                    <a:pt x="1432334" y="871176"/>
                  </a:lnTo>
                  <a:lnTo>
                    <a:pt x="1432889" y="870129"/>
                  </a:lnTo>
                  <a:lnTo>
                    <a:pt x="1433527" y="867218"/>
                  </a:lnTo>
                  <a:lnTo>
                    <a:pt x="1432843" y="866201"/>
                  </a:lnTo>
                  <a:lnTo>
                    <a:pt x="1430405" y="865628"/>
                  </a:lnTo>
                  <a:lnTo>
                    <a:pt x="1430100" y="864296"/>
                  </a:lnTo>
                  <a:lnTo>
                    <a:pt x="1431351" y="863208"/>
                  </a:lnTo>
                  <a:lnTo>
                    <a:pt x="1434376" y="861734"/>
                  </a:lnTo>
                  <a:lnTo>
                    <a:pt x="1433727" y="860061"/>
                  </a:lnTo>
                  <a:lnTo>
                    <a:pt x="1430567" y="859591"/>
                  </a:lnTo>
                  <a:lnTo>
                    <a:pt x="1430496" y="857384"/>
                  </a:lnTo>
                  <a:close/>
                  <a:moveTo>
                    <a:pt x="2086015" y="852612"/>
                  </a:moveTo>
                  <a:lnTo>
                    <a:pt x="2089631" y="855141"/>
                  </a:lnTo>
                  <a:lnTo>
                    <a:pt x="2089047" y="856127"/>
                  </a:lnTo>
                  <a:lnTo>
                    <a:pt x="2089090" y="856556"/>
                  </a:lnTo>
                  <a:lnTo>
                    <a:pt x="2091346" y="857076"/>
                  </a:lnTo>
                  <a:lnTo>
                    <a:pt x="2091809" y="857553"/>
                  </a:lnTo>
                  <a:lnTo>
                    <a:pt x="2091672" y="857922"/>
                  </a:lnTo>
                  <a:lnTo>
                    <a:pt x="2091600" y="858305"/>
                  </a:lnTo>
                  <a:lnTo>
                    <a:pt x="2091550" y="858699"/>
                  </a:lnTo>
                  <a:lnTo>
                    <a:pt x="2091475" y="859078"/>
                  </a:lnTo>
                  <a:lnTo>
                    <a:pt x="2088480" y="861230"/>
                  </a:lnTo>
                  <a:lnTo>
                    <a:pt x="2080363" y="863244"/>
                  </a:lnTo>
                  <a:lnTo>
                    <a:pt x="2078749" y="865335"/>
                  </a:lnTo>
                  <a:lnTo>
                    <a:pt x="2078314" y="866477"/>
                  </a:lnTo>
                  <a:lnTo>
                    <a:pt x="2077336" y="870481"/>
                  </a:lnTo>
                  <a:lnTo>
                    <a:pt x="2076816" y="871908"/>
                  </a:lnTo>
                  <a:lnTo>
                    <a:pt x="2076324" y="872816"/>
                  </a:lnTo>
                  <a:lnTo>
                    <a:pt x="2073354" y="875421"/>
                  </a:lnTo>
                  <a:lnTo>
                    <a:pt x="2071609" y="875968"/>
                  </a:lnTo>
                  <a:lnTo>
                    <a:pt x="2070603" y="874544"/>
                  </a:lnTo>
                  <a:lnTo>
                    <a:pt x="2070009" y="874515"/>
                  </a:lnTo>
                  <a:lnTo>
                    <a:pt x="2069890" y="876475"/>
                  </a:lnTo>
                  <a:lnTo>
                    <a:pt x="2068812" y="876554"/>
                  </a:lnTo>
                  <a:lnTo>
                    <a:pt x="2068299" y="876337"/>
                  </a:lnTo>
                  <a:lnTo>
                    <a:pt x="2067922" y="875618"/>
                  </a:lnTo>
                  <a:lnTo>
                    <a:pt x="2068203" y="874829"/>
                  </a:lnTo>
                  <a:lnTo>
                    <a:pt x="2066070" y="875440"/>
                  </a:lnTo>
                  <a:lnTo>
                    <a:pt x="2066202" y="876121"/>
                  </a:lnTo>
                  <a:lnTo>
                    <a:pt x="2065327" y="877024"/>
                  </a:lnTo>
                  <a:lnTo>
                    <a:pt x="2053690" y="875851"/>
                  </a:lnTo>
                  <a:lnTo>
                    <a:pt x="2052284" y="874046"/>
                  </a:lnTo>
                  <a:lnTo>
                    <a:pt x="2055695" y="871536"/>
                  </a:lnTo>
                  <a:lnTo>
                    <a:pt x="2056450" y="870014"/>
                  </a:lnTo>
                  <a:lnTo>
                    <a:pt x="2054804" y="869843"/>
                  </a:lnTo>
                  <a:lnTo>
                    <a:pt x="2056590" y="867567"/>
                  </a:lnTo>
                  <a:lnTo>
                    <a:pt x="2058519" y="866958"/>
                  </a:lnTo>
                  <a:lnTo>
                    <a:pt x="2062064" y="867604"/>
                  </a:lnTo>
                  <a:lnTo>
                    <a:pt x="2061446" y="866784"/>
                  </a:lnTo>
                  <a:lnTo>
                    <a:pt x="2060546" y="866384"/>
                  </a:lnTo>
                  <a:lnTo>
                    <a:pt x="2059960" y="865580"/>
                  </a:lnTo>
                  <a:lnTo>
                    <a:pt x="2060282" y="863569"/>
                  </a:lnTo>
                  <a:lnTo>
                    <a:pt x="2061097" y="861856"/>
                  </a:lnTo>
                  <a:lnTo>
                    <a:pt x="2062077" y="860660"/>
                  </a:lnTo>
                  <a:lnTo>
                    <a:pt x="2063055" y="859889"/>
                  </a:lnTo>
                  <a:lnTo>
                    <a:pt x="2070781" y="857205"/>
                  </a:lnTo>
                  <a:lnTo>
                    <a:pt x="2078479" y="854484"/>
                  </a:lnTo>
                  <a:lnTo>
                    <a:pt x="2080703" y="854721"/>
                  </a:lnTo>
                  <a:close/>
                  <a:moveTo>
                    <a:pt x="2080950" y="841586"/>
                  </a:moveTo>
                  <a:lnTo>
                    <a:pt x="2083218" y="843382"/>
                  </a:lnTo>
                  <a:lnTo>
                    <a:pt x="2083749" y="844500"/>
                  </a:lnTo>
                  <a:lnTo>
                    <a:pt x="2083784" y="846818"/>
                  </a:lnTo>
                  <a:lnTo>
                    <a:pt x="2083349" y="849103"/>
                  </a:lnTo>
                  <a:lnTo>
                    <a:pt x="2082481" y="850076"/>
                  </a:lnTo>
                  <a:lnTo>
                    <a:pt x="2076564" y="851768"/>
                  </a:lnTo>
                  <a:lnTo>
                    <a:pt x="2066297" y="854553"/>
                  </a:lnTo>
                  <a:lnTo>
                    <a:pt x="2055990" y="857274"/>
                  </a:lnTo>
                  <a:lnTo>
                    <a:pt x="2045642" y="859932"/>
                  </a:lnTo>
                  <a:lnTo>
                    <a:pt x="2042902" y="858070"/>
                  </a:lnTo>
                  <a:lnTo>
                    <a:pt x="2040518" y="858307"/>
                  </a:lnTo>
                  <a:lnTo>
                    <a:pt x="2039908" y="857732"/>
                  </a:lnTo>
                  <a:lnTo>
                    <a:pt x="2039759" y="855105"/>
                  </a:lnTo>
                  <a:lnTo>
                    <a:pt x="2039570" y="854528"/>
                  </a:lnTo>
                  <a:lnTo>
                    <a:pt x="2039005" y="853860"/>
                  </a:lnTo>
                  <a:lnTo>
                    <a:pt x="2038797" y="853130"/>
                  </a:lnTo>
                  <a:lnTo>
                    <a:pt x="2042956" y="853199"/>
                  </a:lnTo>
                  <a:lnTo>
                    <a:pt x="2045872" y="850213"/>
                  </a:lnTo>
                  <a:lnTo>
                    <a:pt x="2051939" y="850435"/>
                  </a:lnTo>
                  <a:lnTo>
                    <a:pt x="2057156" y="846574"/>
                  </a:lnTo>
                  <a:lnTo>
                    <a:pt x="2059406" y="847046"/>
                  </a:lnTo>
                  <a:lnTo>
                    <a:pt x="2060124" y="846792"/>
                  </a:lnTo>
                  <a:lnTo>
                    <a:pt x="2062173" y="844426"/>
                  </a:lnTo>
                  <a:lnTo>
                    <a:pt x="2062905" y="844167"/>
                  </a:lnTo>
                  <a:lnTo>
                    <a:pt x="2065067" y="844716"/>
                  </a:lnTo>
                  <a:lnTo>
                    <a:pt x="2073018" y="843170"/>
                  </a:lnTo>
                  <a:close/>
                  <a:moveTo>
                    <a:pt x="2075961" y="816567"/>
                  </a:moveTo>
                  <a:lnTo>
                    <a:pt x="2077624" y="819038"/>
                  </a:lnTo>
                  <a:lnTo>
                    <a:pt x="2077679" y="821576"/>
                  </a:lnTo>
                  <a:lnTo>
                    <a:pt x="2077956" y="823023"/>
                  </a:lnTo>
                  <a:lnTo>
                    <a:pt x="2079865" y="826099"/>
                  </a:lnTo>
                  <a:lnTo>
                    <a:pt x="2079774" y="827358"/>
                  </a:lnTo>
                  <a:lnTo>
                    <a:pt x="2078231" y="831049"/>
                  </a:lnTo>
                  <a:lnTo>
                    <a:pt x="2079132" y="833213"/>
                  </a:lnTo>
                  <a:lnTo>
                    <a:pt x="2079372" y="834125"/>
                  </a:lnTo>
                  <a:lnTo>
                    <a:pt x="2076871" y="833894"/>
                  </a:lnTo>
                  <a:lnTo>
                    <a:pt x="2076934" y="834232"/>
                  </a:lnTo>
                  <a:lnTo>
                    <a:pt x="2077083" y="835401"/>
                  </a:lnTo>
                  <a:lnTo>
                    <a:pt x="2074953" y="838085"/>
                  </a:lnTo>
                  <a:lnTo>
                    <a:pt x="2070495" y="841620"/>
                  </a:lnTo>
                  <a:lnTo>
                    <a:pt x="2059441" y="844146"/>
                  </a:lnTo>
                  <a:lnTo>
                    <a:pt x="2059620" y="844165"/>
                  </a:lnTo>
                  <a:lnTo>
                    <a:pt x="2051965" y="844104"/>
                  </a:lnTo>
                  <a:lnTo>
                    <a:pt x="2044307" y="844008"/>
                  </a:lnTo>
                  <a:lnTo>
                    <a:pt x="2040901" y="842846"/>
                  </a:lnTo>
                  <a:lnTo>
                    <a:pt x="2042537" y="842135"/>
                  </a:lnTo>
                  <a:lnTo>
                    <a:pt x="2042947" y="841618"/>
                  </a:lnTo>
                  <a:lnTo>
                    <a:pt x="2038067" y="839620"/>
                  </a:lnTo>
                  <a:lnTo>
                    <a:pt x="2037448" y="840174"/>
                  </a:lnTo>
                  <a:lnTo>
                    <a:pt x="2037546" y="840998"/>
                  </a:lnTo>
                  <a:lnTo>
                    <a:pt x="2030255" y="837707"/>
                  </a:lnTo>
                  <a:lnTo>
                    <a:pt x="2029624" y="837070"/>
                  </a:lnTo>
                  <a:lnTo>
                    <a:pt x="2029309" y="836139"/>
                  </a:lnTo>
                  <a:lnTo>
                    <a:pt x="2028734" y="832083"/>
                  </a:lnTo>
                  <a:lnTo>
                    <a:pt x="2028290" y="830486"/>
                  </a:lnTo>
                  <a:lnTo>
                    <a:pt x="2028351" y="829756"/>
                  </a:lnTo>
                  <a:lnTo>
                    <a:pt x="2028860" y="828339"/>
                  </a:lnTo>
                  <a:lnTo>
                    <a:pt x="2029580" y="827201"/>
                  </a:lnTo>
                  <a:lnTo>
                    <a:pt x="2030385" y="826767"/>
                  </a:lnTo>
                  <a:lnTo>
                    <a:pt x="2031868" y="826840"/>
                  </a:lnTo>
                  <a:lnTo>
                    <a:pt x="2032393" y="826318"/>
                  </a:lnTo>
                  <a:lnTo>
                    <a:pt x="2033108" y="823792"/>
                  </a:lnTo>
                  <a:lnTo>
                    <a:pt x="2033584" y="823259"/>
                  </a:lnTo>
                  <a:lnTo>
                    <a:pt x="2036605" y="822199"/>
                  </a:lnTo>
                  <a:lnTo>
                    <a:pt x="2038422" y="823052"/>
                  </a:lnTo>
                  <a:lnTo>
                    <a:pt x="2038971" y="822850"/>
                  </a:lnTo>
                  <a:lnTo>
                    <a:pt x="2039787" y="822120"/>
                  </a:lnTo>
                  <a:lnTo>
                    <a:pt x="2044401" y="821063"/>
                  </a:lnTo>
                  <a:lnTo>
                    <a:pt x="2045985" y="819849"/>
                  </a:lnTo>
                  <a:lnTo>
                    <a:pt x="2047604" y="820204"/>
                  </a:lnTo>
                  <a:lnTo>
                    <a:pt x="2049897" y="819687"/>
                  </a:lnTo>
                  <a:lnTo>
                    <a:pt x="2052948" y="820390"/>
                  </a:lnTo>
                  <a:lnTo>
                    <a:pt x="2054780" y="819116"/>
                  </a:lnTo>
                  <a:lnTo>
                    <a:pt x="2055485" y="819404"/>
                  </a:lnTo>
                  <a:lnTo>
                    <a:pt x="2055861" y="819329"/>
                  </a:lnTo>
                  <a:lnTo>
                    <a:pt x="2056881" y="818729"/>
                  </a:lnTo>
                  <a:lnTo>
                    <a:pt x="2066430" y="817676"/>
                  </a:lnTo>
                  <a:close/>
                  <a:moveTo>
                    <a:pt x="2416278" y="795100"/>
                  </a:moveTo>
                  <a:lnTo>
                    <a:pt x="2416953" y="795953"/>
                  </a:lnTo>
                  <a:lnTo>
                    <a:pt x="2417035" y="795198"/>
                  </a:lnTo>
                  <a:lnTo>
                    <a:pt x="2417895" y="796508"/>
                  </a:lnTo>
                  <a:lnTo>
                    <a:pt x="2420453" y="798456"/>
                  </a:lnTo>
                  <a:lnTo>
                    <a:pt x="2419854" y="799313"/>
                  </a:lnTo>
                  <a:lnTo>
                    <a:pt x="2414941" y="799263"/>
                  </a:lnTo>
                  <a:lnTo>
                    <a:pt x="2414070" y="798525"/>
                  </a:lnTo>
                  <a:lnTo>
                    <a:pt x="2415428" y="795958"/>
                  </a:lnTo>
                  <a:close/>
                  <a:moveTo>
                    <a:pt x="2632858" y="786470"/>
                  </a:moveTo>
                  <a:lnTo>
                    <a:pt x="2634407" y="787297"/>
                  </a:lnTo>
                  <a:lnTo>
                    <a:pt x="2634180" y="788805"/>
                  </a:lnTo>
                  <a:lnTo>
                    <a:pt x="2633588" y="790156"/>
                  </a:lnTo>
                  <a:lnTo>
                    <a:pt x="2632251" y="791739"/>
                  </a:lnTo>
                  <a:lnTo>
                    <a:pt x="2631463" y="792039"/>
                  </a:lnTo>
                  <a:lnTo>
                    <a:pt x="2629359" y="791908"/>
                  </a:lnTo>
                  <a:lnTo>
                    <a:pt x="2628365" y="791118"/>
                  </a:lnTo>
                  <a:lnTo>
                    <a:pt x="2628505" y="790509"/>
                  </a:lnTo>
                  <a:lnTo>
                    <a:pt x="2630103" y="787811"/>
                  </a:lnTo>
                  <a:lnTo>
                    <a:pt x="2631373" y="786737"/>
                  </a:lnTo>
                  <a:close/>
                  <a:moveTo>
                    <a:pt x="2187875" y="783601"/>
                  </a:moveTo>
                  <a:lnTo>
                    <a:pt x="2188575" y="784108"/>
                  </a:lnTo>
                  <a:lnTo>
                    <a:pt x="2189030" y="785190"/>
                  </a:lnTo>
                  <a:lnTo>
                    <a:pt x="2189025" y="786221"/>
                  </a:lnTo>
                  <a:lnTo>
                    <a:pt x="2188385" y="787927"/>
                  </a:lnTo>
                  <a:lnTo>
                    <a:pt x="2188289" y="789243"/>
                  </a:lnTo>
                  <a:lnTo>
                    <a:pt x="2188561" y="789748"/>
                  </a:lnTo>
                  <a:lnTo>
                    <a:pt x="2190790" y="791856"/>
                  </a:lnTo>
                  <a:lnTo>
                    <a:pt x="2193429" y="792619"/>
                  </a:lnTo>
                  <a:lnTo>
                    <a:pt x="2194675" y="793664"/>
                  </a:lnTo>
                  <a:lnTo>
                    <a:pt x="2195349" y="793904"/>
                  </a:lnTo>
                  <a:lnTo>
                    <a:pt x="2192086" y="794571"/>
                  </a:lnTo>
                  <a:lnTo>
                    <a:pt x="2191688" y="794350"/>
                  </a:lnTo>
                  <a:lnTo>
                    <a:pt x="2190464" y="792985"/>
                  </a:lnTo>
                  <a:lnTo>
                    <a:pt x="2188899" y="792946"/>
                  </a:lnTo>
                  <a:lnTo>
                    <a:pt x="2189769" y="795731"/>
                  </a:lnTo>
                  <a:lnTo>
                    <a:pt x="2190932" y="796434"/>
                  </a:lnTo>
                  <a:lnTo>
                    <a:pt x="2192179" y="796401"/>
                  </a:lnTo>
                  <a:lnTo>
                    <a:pt x="2193303" y="796991"/>
                  </a:lnTo>
                  <a:lnTo>
                    <a:pt x="2194045" y="798224"/>
                  </a:lnTo>
                  <a:lnTo>
                    <a:pt x="2194357" y="798324"/>
                  </a:lnTo>
                  <a:lnTo>
                    <a:pt x="2194518" y="798076"/>
                  </a:lnTo>
                  <a:lnTo>
                    <a:pt x="2194635" y="797567"/>
                  </a:lnTo>
                  <a:lnTo>
                    <a:pt x="2194800" y="797078"/>
                  </a:lnTo>
                  <a:lnTo>
                    <a:pt x="2195101" y="796859"/>
                  </a:lnTo>
                  <a:lnTo>
                    <a:pt x="2195635" y="797342"/>
                  </a:lnTo>
                  <a:lnTo>
                    <a:pt x="2196589" y="799442"/>
                  </a:lnTo>
                  <a:lnTo>
                    <a:pt x="2197139" y="799920"/>
                  </a:lnTo>
                  <a:lnTo>
                    <a:pt x="2204005" y="801877"/>
                  </a:lnTo>
                  <a:lnTo>
                    <a:pt x="2207576" y="805207"/>
                  </a:lnTo>
                  <a:lnTo>
                    <a:pt x="2207131" y="806457"/>
                  </a:lnTo>
                  <a:lnTo>
                    <a:pt x="2206666" y="807415"/>
                  </a:lnTo>
                  <a:lnTo>
                    <a:pt x="2206896" y="808450"/>
                  </a:lnTo>
                  <a:lnTo>
                    <a:pt x="2207258" y="809657"/>
                  </a:lnTo>
                  <a:lnTo>
                    <a:pt x="2207501" y="810969"/>
                  </a:lnTo>
                  <a:lnTo>
                    <a:pt x="2207386" y="812329"/>
                  </a:lnTo>
                  <a:lnTo>
                    <a:pt x="2206910" y="813155"/>
                  </a:lnTo>
                  <a:lnTo>
                    <a:pt x="2206217" y="813982"/>
                  </a:lnTo>
                  <a:lnTo>
                    <a:pt x="2205677" y="814988"/>
                  </a:lnTo>
                  <a:lnTo>
                    <a:pt x="2205649" y="816336"/>
                  </a:lnTo>
                  <a:lnTo>
                    <a:pt x="2205551" y="816864"/>
                  </a:lnTo>
                  <a:lnTo>
                    <a:pt x="2205289" y="818763"/>
                  </a:lnTo>
                  <a:lnTo>
                    <a:pt x="2205226" y="819661"/>
                  </a:lnTo>
                  <a:lnTo>
                    <a:pt x="2205081" y="820585"/>
                  </a:lnTo>
                  <a:lnTo>
                    <a:pt x="2204393" y="822090"/>
                  </a:lnTo>
                  <a:lnTo>
                    <a:pt x="2204111" y="822905"/>
                  </a:lnTo>
                  <a:lnTo>
                    <a:pt x="2204544" y="823366"/>
                  </a:lnTo>
                  <a:lnTo>
                    <a:pt x="2205444" y="823882"/>
                  </a:lnTo>
                  <a:lnTo>
                    <a:pt x="2205876" y="824474"/>
                  </a:lnTo>
                  <a:lnTo>
                    <a:pt x="2205761" y="825050"/>
                  </a:lnTo>
                  <a:lnTo>
                    <a:pt x="2205608" y="826184"/>
                  </a:lnTo>
                  <a:lnTo>
                    <a:pt x="2205487" y="826760"/>
                  </a:lnTo>
                  <a:lnTo>
                    <a:pt x="2206097" y="828505"/>
                  </a:lnTo>
                  <a:lnTo>
                    <a:pt x="2210072" y="833462"/>
                  </a:lnTo>
                  <a:lnTo>
                    <a:pt x="2210742" y="835109"/>
                  </a:lnTo>
                  <a:lnTo>
                    <a:pt x="2211266" y="837253"/>
                  </a:lnTo>
                  <a:lnTo>
                    <a:pt x="2211084" y="837251"/>
                  </a:lnTo>
                  <a:lnTo>
                    <a:pt x="2211390" y="840868"/>
                  </a:lnTo>
                  <a:lnTo>
                    <a:pt x="2211345" y="842331"/>
                  </a:lnTo>
                  <a:lnTo>
                    <a:pt x="2210905" y="844234"/>
                  </a:lnTo>
                  <a:lnTo>
                    <a:pt x="2210563" y="845186"/>
                  </a:lnTo>
                  <a:lnTo>
                    <a:pt x="2209516" y="847149"/>
                  </a:lnTo>
                  <a:lnTo>
                    <a:pt x="2209137" y="848219"/>
                  </a:lnTo>
                  <a:lnTo>
                    <a:pt x="2208993" y="849232"/>
                  </a:lnTo>
                  <a:lnTo>
                    <a:pt x="2208886" y="852200"/>
                  </a:lnTo>
                  <a:lnTo>
                    <a:pt x="2208821" y="853117"/>
                  </a:lnTo>
                  <a:lnTo>
                    <a:pt x="2208678" y="854230"/>
                  </a:lnTo>
                  <a:lnTo>
                    <a:pt x="2208474" y="855017"/>
                  </a:lnTo>
                  <a:lnTo>
                    <a:pt x="2208232" y="855613"/>
                  </a:lnTo>
                  <a:lnTo>
                    <a:pt x="2208024" y="856364"/>
                  </a:lnTo>
                  <a:lnTo>
                    <a:pt x="2207818" y="858596"/>
                  </a:lnTo>
                  <a:lnTo>
                    <a:pt x="2207590" y="858964"/>
                  </a:lnTo>
                  <a:lnTo>
                    <a:pt x="2207314" y="859189"/>
                  </a:lnTo>
                  <a:lnTo>
                    <a:pt x="2207067" y="859790"/>
                  </a:lnTo>
                  <a:lnTo>
                    <a:pt x="2207049" y="860632"/>
                  </a:lnTo>
                  <a:lnTo>
                    <a:pt x="2207213" y="861431"/>
                  </a:lnTo>
                  <a:lnTo>
                    <a:pt x="2207314" y="862240"/>
                  </a:lnTo>
                  <a:lnTo>
                    <a:pt x="2207103" y="863083"/>
                  </a:lnTo>
                  <a:lnTo>
                    <a:pt x="2207255" y="864196"/>
                  </a:lnTo>
                  <a:lnTo>
                    <a:pt x="2207436" y="865239"/>
                  </a:lnTo>
                  <a:lnTo>
                    <a:pt x="2207884" y="867193"/>
                  </a:lnTo>
                  <a:lnTo>
                    <a:pt x="2209043" y="870576"/>
                  </a:lnTo>
                  <a:lnTo>
                    <a:pt x="2209148" y="872482"/>
                  </a:lnTo>
                  <a:lnTo>
                    <a:pt x="2208629" y="874106"/>
                  </a:lnTo>
                  <a:lnTo>
                    <a:pt x="2207092" y="876802"/>
                  </a:lnTo>
                  <a:lnTo>
                    <a:pt x="2206812" y="877654"/>
                  </a:lnTo>
                  <a:lnTo>
                    <a:pt x="2206658" y="878481"/>
                  </a:lnTo>
                  <a:lnTo>
                    <a:pt x="2206437" y="879249"/>
                  </a:lnTo>
                  <a:lnTo>
                    <a:pt x="2204519" y="881471"/>
                  </a:lnTo>
                  <a:lnTo>
                    <a:pt x="2202769" y="881907"/>
                  </a:lnTo>
                  <a:lnTo>
                    <a:pt x="2200144" y="883755"/>
                  </a:lnTo>
                  <a:lnTo>
                    <a:pt x="2199000" y="885283"/>
                  </a:lnTo>
                  <a:lnTo>
                    <a:pt x="2200120" y="886228"/>
                  </a:lnTo>
                  <a:lnTo>
                    <a:pt x="2206202" y="887553"/>
                  </a:lnTo>
                  <a:lnTo>
                    <a:pt x="2206653" y="888058"/>
                  </a:lnTo>
                  <a:lnTo>
                    <a:pt x="2207576" y="889551"/>
                  </a:lnTo>
                  <a:lnTo>
                    <a:pt x="2208031" y="889866"/>
                  </a:lnTo>
                  <a:lnTo>
                    <a:pt x="2212860" y="890590"/>
                  </a:lnTo>
                  <a:lnTo>
                    <a:pt x="2214125" y="892621"/>
                  </a:lnTo>
                  <a:lnTo>
                    <a:pt x="2214317" y="893227"/>
                  </a:lnTo>
                  <a:lnTo>
                    <a:pt x="2214239" y="894840"/>
                  </a:lnTo>
                  <a:lnTo>
                    <a:pt x="2214068" y="895381"/>
                  </a:lnTo>
                  <a:lnTo>
                    <a:pt x="2213828" y="895670"/>
                  </a:lnTo>
                  <a:lnTo>
                    <a:pt x="2213542" y="896580"/>
                  </a:lnTo>
                  <a:lnTo>
                    <a:pt x="2213282" y="898407"/>
                  </a:lnTo>
                  <a:lnTo>
                    <a:pt x="2213184" y="900228"/>
                  </a:lnTo>
                  <a:lnTo>
                    <a:pt x="2213094" y="904041"/>
                  </a:lnTo>
                  <a:lnTo>
                    <a:pt x="2213133" y="903905"/>
                  </a:lnTo>
                  <a:lnTo>
                    <a:pt x="2213186" y="904227"/>
                  </a:lnTo>
                  <a:lnTo>
                    <a:pt x="2213234" y="904726"/>
                  </a:lnTo>
                  <a:lnTo>
                    <a:pt x="2213253" y="905123"/>
                  </a:lnTo>
                  <a:lnTo>
                    <a:pt x="2213190" y="905718"/>
                  </a:lnTo>
                  <a:lnTo>
                    <a:pt x="2213061" y="906025"/>
                  </a:lnTo>
                  <a:lnTo>
                    <a:pt x="2212869" y="906257"/>
                  </a:lnTo>
                  <a:lnTo>
                    <a:pt x="2212677" y="908897"/>
                  </a:lnTo>
                  <a:lnTo>
                    <a:pt x="2212659" y="909959"/>
                  </a:lnTo>
                  <a:lnTo>
                    <a:pt x="2213044" y="915180"/>
                  </a:lnTo>
                  <a:lnTo>
                    <a:pt x="2213992" y="918435"/>
                  </a:lnTo>
                  <a:lnTo>
                    <a:pt x="2216512" y="922641"/>
                  </a:lnTo>
                  <a:lnTo>
                    <a:pt x="2215838" y="923487"/>
                  </a:lnTo>
                  <a:lnTo>
                    <a:pt x="2215102" y="923331"/>
                  </a:lnTo>
                  <a:lnTo>
                    <a:pt x="2211242" y="920265"/>
                  </a:lnTo>
                  <a:lnTo>
                    <a:pt x="2210682" y="918826"/>
                  </a:lnTo>
                  <a:lnTo>
                    <a:pt x="2210571" y="917969"/>
                  </a:lnTo>
                  <a:lnTo>
                    <a:pt x="2210548" y="917003"/>
                  </a:lnTo>
                  <a:lnTo>
                    <a:pt x="2210716" y="915862"/>
                  </a:lnTo>
                  <a:lnTo>
                    <a:pt x="2210554" y="914753"/>
                  </a:lnTo>
                  <a:lnTo>
                    <a:pt x="2210597" y="913894"/>
                  </a:lnTo>
                  <a:lnTo>
                    <a:pt x="2210803" y="913288"/>
                  </a:lnTo>
                  <a:lnTo>
                    <a:pt x="2211126" y="912907"/>
                  </a:lnTo>
                  <a:lnTo>
                    <a:pt x="2204527" y="904172"/>
                  </a:lnTo>
                  <a:lnTo>
                    <a:pt x="2203536" y="903923"/>
                  </a:lnTo>
                  <a:lnTo>
                    <a:pt x="2203785" y="906811"/>
                  </a:lnTo>
                  <a:lnTo>
                    <a:pt x="2202874" y="906846"/>
                  </a:lnTo>
                  <a:lnTo>
                    <a:pt x="2201631" y="906116"/>
                  </a:lnTo>
                  <a:lnTo>
                    <a:pt x="2200868" y="906774"/>
                  </a:lnTo>
                  <a:lnTo>
                    <a:pt x="2200985" y="907847"/>
                  </a:lnTo>
                  <a:lnTo>
                    <a:pt x="2202490" y="909429"/>
                  </a:lnTo>
                  <a:lnTo>
                    <a:pt x="2203115" y="911017"/>
                  </a:lnTo>
                  <a:lnTo>
                    <a:pt x="2203390" y="911974"/>
                  </a:lnTo>
                  <a:lnTo>
                    <a:pt x="2203659" y="913213"/>
                  </a:lnTo>
                  <a:lnTo>
                    <a:pt x="2203727" y="914652"/>
                  </a:lnTo>
                  <a:lnTo>
                    <a:pt x="2203427" y="915679"/>
                  </a:lnTo>
                  <a:lnTo>
                    <a:pt x="2202973" y="916294"/>
                  </a:lnTo>
                  <a:lnTo>
                    <a:pt x="2202574" y="916487"/>
                  </a:lnTo>
                  <a:lnTo>
                    <a:pt x="2201986" y="916292"/>
                  </a:lnTo>
                  <a:lnTo>
                    <a:pt x="2201623" y="915744"/>
                  </a:lnTo>
                  <a:lnTo>
                    <a:pt x="2201367" y="914836"/>
                  </a:lnTo>
                  <a:lnTo>
                    <a:pt x="2201109" y="913579"/>
                  </a:lnTo>
                  <a:lnTo>
                    <a:pt x="2201043" y="912996"/>
                  </a:lnTo>
                  <a:lnTo>
                    <a:pt x="2200996" y="911619"/>
                  </a:lnTo>
                  <a:lnTo>
                    <a:pt x="2200962" y="911212"/>
                  </a:lnTo>
                  <a:lnTo>
                    <a:pt x="2200659" y="910590"/>
                  </a:lnTo>
                  <a:lnTo>
                    <a:pt x="2198963" y="909784"/>
                  </a:lnTo>
                  <a:lnTo>
                    <a:pt x="2198384" y="910127"/>
                  </a:lnTo>
                  <a:lnTo>
                    <a:pt x="2198062" y="911065"/>
                  </a:lnTo>
                  <a:lnTo>
                    <a:pt x="2198305" y="912723"/>
                  </a:lnTo>
                  <a:lnTo>
                    <a:pt x="2196229" y="912733"/>
                  </a:lnTo>
                  <a:lnTo>
                    <a:pt x="2195643" y="913480"/>
                  </a:lnTo>
                  <a:lnTo>
                    <a:pt x="2196284" y="914128"/>
                  </a:lnTo>
                  <a:lnTo>
                    <a:pt x="2197644" y="914180"/>
                  </a:lnTo>
                  <a:lnTo>
                    <a:pt x="2198262" y="915003"/>
                  </a:lnTo>
                  <a:lnTo>
                    <a:pt x="2197495" y="915897"/>
                  </a:lnTo>
                  <a:lnTo>
                    <a:pt x="2195987" y="915948"/>
                  </a:lnTo>
                  <a:lnTo>
                    <a:pt x="2195206" y="916356"/>
                  </a:lnTo>
                  <a:lnTo>
                    <a:pt x="2196154" y="917371"/>
                  </a:lnTo>
                  <a:lnTo>
                    <a:pt x="2198313" y="916839"/>
                  </a:lnTo>
                  <a:lnTo>
                    <a:pt x="2202082" y="919135"/>
                  </a:lnTo>
                  <a:lnTo>
                    <a:pt x="2202897" y="920197"/>
                  </a:lnTo>
                  <a:lnTo>
                    <a:pt x="2202699" y="920300"/>
                  </a:lnTo>
                  <a:lnTo>
                    <a:pt x="2202572" y="920500"/>
                  </a:lnTo>
                  <a:lnTo>
                    <a:pt x="2202463" y="920746"/>
                  </a:lnTo>
                  <a:lnTo>
                    <a:pt x="2202318" y="920995"/>
                  </a:lnTo>
                  <a:lnTo>
                    <a:pt x="2202029" y="921242"/>
                  </a:lnTo>
                  <a:lnTo>
                    <a:pt x="2201832" y="921186"/>
                  </a:lnTo>
                  <a:lnTo>
                    <a:pt x="2201635" y="921037"/>
                  </a:lnTo>
                  <a:lnTo>
                    <a:pt x="2195667" y="921006"/>
                  </a:lnTo>
                  <a:lnTo>
                    <a:pt x="2194891" y="922345"/>
                  </a:lnTo>
                  <a:lnTo>
                    <a:pt x="2195850" y="923330"/>
                  </a:lnTo>
                  <a:lnTo>
                    <a:pt x="2199694" y="924918"/>
                  </a:lnTo>
                  <a:lnTo>
                    <a:pt x="2199879" y="925547"/>
                  </a:lnTo>
                  <a:lnTo>
                    <a:pt x="2199628" y="926275"/>
                  </a:lnTo>
                  <a:lnTo>
                    <a:pt x="2198982" y="926864"/>
                  </a:lnTo>
                  <a:lnTo>
                    <a:pt x="2196695" y="927563"/>
                  </a:lnTo>
                  <a:lnTo>
                    <a:pt x="2196760" y="927264"/>
                  </a:lnTo>
                  <a:lnTo>
                    <a:pt x="2196776" y="927150"/>
                  </a:lnTo>
                  <a:lnTo>
                    <a:pt x="2196803" y="927053"/>
                  </a:lnTo>
                  <a:lnTo>
                    <a:pt x="2196899" y="926826"/>
                  </a:lnTo>
                  <a:lnTo>
                    <a:pt x="2196914" y="926085"/>
                  </a:lnTo>
                  <a:lnTo>
                    <a:pt x="2196202" y="926354"/>
                  </a:lnTo>
                  <a:lnTo>
                    <a:pt x="2194896" y="927453"/>
                  </a:lnTo>
                  <a:lnTo>
                    <a:pt x="2194213" y="927515"/>
                  </a:lnTo>
                  <a:lnTo>
                    <a:pt x="2194829" y="925308"/>
                  </a:lnTo>
                  <a:lnTo>
                    <a:pt x="2193869" y="925434"/>
                  </a:lnTo>
                  <a:lnTo>
                    <a:pt x="2193132" y="926037"/>
                  </a:lnTo>
                  <a:lnTo>
                    <a:pt x="2192508" y="927382"/>
                  </a:lnTo>
                  <a:lnTo>
                    <a:pt x="2191889" y="929747"/>
                  </a:lnTo>
                  <a:lnTo>
                    <a:pt x="2192185" y="930252"/>
                  </a:lnTo>
                  <a:lnTo>
                    <a:pt x="2192505" y="930448"/>
                  </a:lnTo>
                  <a:lnTo>
                    <a:pt x="2193201" y="930459"/>
                  </a:lnTo>
                  <a:lnTo>
                    <a:pt x="2192646" y="929763"/>
                  </a:lnTo>
                  <a:lnTo>
                    <a:pt x="2193063" y="929031"/>
                  </a:lnTo>
                  <a:lnTo>
                    <a:pt x="2193531" y="928895"/>
                  </a:lnTo>
                  <a:lnTo>
                    <a:pt x="2193979" y="929371"/>
                  </a:lnTo>
                  <a:lnTo>
                    <a:pt x="2194339" y="930482"/>
                  </a:lnTo>
                  <a:lnTo>
                    <a:pt x="2193974" y="931273"/>
                  </a:lnTo>
                  <a:lnTo>
                    <a:pt x="2193580" y="931798"/>
                  </a:lnTo>
                  <a:lnTo>
                    <a:pt x="2193176" y="932024"/>
                  </a:lnTo>
                  <a:lnTo>
                    <a:pt x="2192772" y="931923"/>
                  </a:lnTo>
                  <a:lnTo>
                    <a:pt x="2193137" y="933695"/>
                  </a:lnTo>
                  <a:lnTo>
                    <a:pt x="2193907" y="934735"/>
                  </a:lnTo>
                  <a:lnTo>
                    <a:pt x="2194767" y="934942"/>
                  </a:lnTo>
                  <a:lnTo>
                    <a:pt x="2195401" y="934266"/>
                  </a:lnTo>
                  <a:lnTo>
                    <a:pt x="2195212" y="934262"/>
                  </a:lnTo>
                  <a:lnTo>
                    <a:pt x="2196057" y="931962"/>
                  </a:lnTo>
                  <a:lnTo>
                    <a:pt x="2197196" y="930025"/>
                  </a:lnTo>
                  <a:lnTo>
                    <a:pt x="2198408" y="929293"/>
                  </a:lnTo>
                  <a:lnTo>
                    <a:pt x="2199483" y="930578"/>
                  </a:lnTo>
                  <a:lnTo>
                    <a:pt x="2197730" y="932020"/>
                  </a:lnTo>
                  <a:lnTo>
                    <a:pt x="2197922" y="932765"/>
                  </a:lnTo>
                  <a:lnTo>
                    <a:pt x="2197463" y="933286"/>
                  </a:lnTo>
                  <a:lnTo>
                    <a:pt x="2196324" y="935762"/>
                  </a:lnTo>
                  <a:lnTo>
                    <a:pt x="2198160" y="937203"/>
                  </a:lnTo>
                  <a:lnTo>
                    <a:pt x="2198790" y="937218"/>
                  </a:lnTo>
                  <a:lnTo>
                    <a:pt x="2198803" y="936477"/>
                  </a:lnTo>
                  <a:lnTo>
                    <a:pt x="2198457" y="934971"/>
                  </a:lnTo>
                  <a:lnTo>
                    <a:pt x="2198702" y="933507"/>
                  </a:lnTo>
                  <a:lnTo>
                    <a:pt x="2199250" y="933000"/>
                  </a:lnTo>
                  <a:lnTo>
                    <a:pt x="2199813" y="934346"/>
                  </a:lnTo>
                  <a:lnTo>
                    <a:pt x="2199593" y="935008"/>
                  </a:lnTo>
                  <a:lnTo>
                    <a:pt x="2200463" y="937441"/>
                  </a:lnTo>
                  <a:lnTo>
                    <a:pt x="2202969" y="940383"/>
                  </a:lnTo>
                  <a:lnTo>
                    <a:pt x="2203671" y="943288"/>
                  </a:lnTo>
                  <a:lnTo>
                    <a:pt x="2202543" y="943059"/>
                  </a:lnTo>
                  <a:lnTo>
                    <a:pt x="2202033" y="943439"/>
                  </a:lnTo>
                  <a:lnTo>
                    <a:pt x="2201715" y="944741"/>
                  </a:lnTo>
                  <a:lnTo>
                    <a:pt x="2202712" y="945484"/>
                  </a:lnTo>
                  <a:lnTo>
                    <a:pt x="2204712" y="945350"/>
                  </a:lnTo>
                  <a:lnTo>
                    <a:pt x="2205749" y="946348"/>
                  </a:lnTo>
                  <a:lnTo>
                    <a:pt x="2205402" y="946268"/>
                  </a:lnTo>
                  <a:lnTo>
                    <a:pt x="2205221" y="946486"/>
                  </a:lnTo>
                  <a:lnTo>
                    <a:pt x="2204961" y="947753"/>
                  </a:lnTo>
                  <a:lnTo>
                    <a:pt x="2206916" y="949526"/>
                  </a:lnTo>
                  <a:lnTo>
                    <a:pt x="2207418" y="949259"/>
                  </a:lnTo>
                  <a:lnTo>
                    <a:pt x="2206870" y="948520"/>
                  </a:lnTo>
                  <a:lnTo>
                    <a:pt x="2206880" y="947779"/>
                  </a:lnTo>
                  <a:lnTo>
                    <a:pt x="2207289" y="947797"/>
                  </a:lnTo>
                  <a:lnTo>
                    <a:pt x="2207673" y="948177"/>
                  </a:lnTo>
                  <a:lnTo>
                    <a:pt x="2207986" y="948918"/>
                  </a:lnTo>
                  <a:lnTo>
                    <a:pt x="2208194" y="950010"/>
                  </a:lnTo>
                  <a:lnTo>
                    <a:pt x="2206055" y="952520"/>
                  </a:lnTo>
                  <a:lnTo>
                    <a:pt x="2203666" y="953903"/>
                  </a:lnTo>
                  <a:lnTo>
                    <a:pt x="2201263" y="953892"/>
                  </a:lnTo>
                  <a:lnTo>
                    <a:pt x="2195713" y="948756"/>
                  </a:lnTo>
                  <a:lnTo>
                    <a:pt x="2195142" y="946839"/>
                  </a:lnTo>
                  <a:lnTo>
                    <a:pt x="2195203" y="945804"/>
                  </a:lnTo>
                  <a:lnTo>
                    <a:pt x="2195601" y="944170"/>
                  </a:lnTo>
                  <a:lnTo>
                    <a:pt x="2195601" y="943151"/>
                  </a:lnTo>
                  <a:lnTo>
                    <a:pt x="2195214" y="942146"/>
                  </a:lnTo>
                  <a:lnTo>
                    <a:pt x="2194552" y="941684"/>
                  </a:lnTo>
                  <a:lnTo>
                    <a:pt x="2193340" y="941557"/>
                  </a:lnTo>
                  <a:lnTo>
                    <a:pt x="2193951" y="943515"/>
                  </a:lnTo>
                  <a:lnTo>
                    <a:pt x="2193579" y="944540"/>
                  </a:lnTo>
                  <a:lnTo>
                    <a:pt x="2191900" y="946107"/>
                  </a:lnTo>
                  <a:lnTo>
                    <a:pt x="2192094" y="946190"/>
                  </a:lnTo>
                  <a:lnTo>
                    <a:pt x="2192650" y="946789"/>
                  </a:lnTo>
                  <a:lnTo>
                    <a:pt x="2192105" y="947439"/>
                  </a:lnTo>
                  <a:lnTo>
                    <a:pt x="2191868" y="947523"/>
                  </a:lnTo>
                  <a:lnTo>
                    <a:pt x="2192379" y="949334"/>
                  </a:lnTo>
                  <a:lnTo>
                    <a:pt x="2193137" y="950713"/>
                  </a:lnTo>
                  <a:lnTo>
                    <a:pt x="2195189" y="952951"/>
                  </a:lnTo>
                  <a:lnTo>
                    <a:pt x="2196280" y="953365"/>
                  </a:lnTo>
                  <a:lnTo>
                    <a:pt x="2196738" y="953938"/>
                  </a:lnTo>
                  <a:lnTo>
                    <a:pt x="2196929" y="954652"/>
                  </a:lnTo>
                  <a:lnTo>
                    <a:pt x="2197095" y="956297"/>
                  </a:lnTo>
                  <a:lnTo>
                    <a:pt x="2197267" y="956913"/>
                  </a:lnTo>
                  <a:lnTo>
                    <a:pt x="2197472" y="958236"/>
                  </a:lnTo>
                  <a:lnTo>
                    <a:pt x="2197431" y="960393"/>
                  </a:lnTo>
                  <a:lnTo>
                    <a:pt x="2197225" y="962587"/>
                  </a:lnTo>
                  <a:lnTo>
                    <a:pt x="2196936" y="964038"/>
                  </a:lnTo>
                  <a:lnTo>
                    <a:pt x="2196459" y="964506"/>
                  </a:lnTo>
                  <a:lnTo>
                    <a:pt x="2194805" y="963194"/>
                  </a:lnTo>
                  <a:lnTo>
                    <a:pt x="2184612" y="965019"/>
                  </a:lnTo>
                  <a:lnTo>
                    <a:pt x="2174396" y="966785"/>
                  </a:lnTo>
                  <a:lnTo>
                    <a:pt x="2173329" y="965609"/>
                  </a:lnTo>
                  <a:lnTo>
                    <a:pt x="2174575" y="964164"/>
                  </a:lnTo>
                  <a:lnTo>
                    <a:pt x="2173854" y="963506"/>
                  </a:lnTo>
                  <a:lnTo>
                    <a:pt x="2172197" y="964279"/>
                  </a:lnTo>
                  <a:lnTo>
                    <a:pt x="2171482" y="963391"/>
                  </a:lnTo>
                  <a:lnTo>
                    <a:pt x="2171897" y="962600"/>
                  </a:lnTo>
                  <a:lnTo>
                    <a:pt x="2171762" y="962278"/>
                  </a:lnTo>
                  <a:lnTo>
                    <a:pt x="2171512" y="961418"/>
                  </a:lnTo>
                  <a:lnTo>
                    <a:pt x="2171367" y="961100"/>
                  </a:lnTo>
                  <a:lnTo>
                    <a:pt x="2171737" y="959969"/>
                  </a:lnTo>
                  <a:lnTo>
                    <a:pt x="2171910" y="959696"/>
                  </a:lnTo>
                  <a:lnTo>
                    <a:pt x="2172176" y="959582"/>
                  </a:lnTo>
                  <a:lnTo>
                    <a:pt x="2171553" y="958361"/>
                  </a:lnTo>
                  <a:lnTo>
                    <a:pt x="2170435" y="958125"/>
                  </a:lnTo>
                  <a:lnTo>
                    <a:pt x="2169263" y="958788"/>
                  </a:lnTo>
                  <a:lnTo>
                    <a:pt x="2168477" y="960261"/>
                  </a:lnTo>
                  <a:lnTo>
                    <a:pt x="2169124" y="962054"/>
                  </a:lnTo>
                  <a:lnTo>
                    <a:pt x="2169154" y="963463"/>
                  </a:lnTo>
                  <a:lnTo>
                    <a:pt x="2168682" y="964374"/>
                  </a:lnTo>
                  <a:lnTo>
                    <a:pt x="2156673" y="966066"/>
                  </a:lnTo>
                  <a:lnTo>
                    <a:pt x="2155832" y="964972"/>
                  </a:lnTo>
                  <a:lnTo>
                    <a:pt x="2156033" y="964728"/>
                  </a:lnTo>
                  <a:lnTo>
                    <a:pt x="2156671" y="963522"/>
                  </a:lnTo>
                  <a:lnTo>
                    <a:pt x="2156386" y="961713"/>
                  </a:lnTo>
                  <a:lnTo>
                    <a:pt x="2156827" y="959815"/>
                  </a:lnTo>
                  <a:lnTo>
                    <a:pt x="2159392" y="954442"/>
                  </a:lnTo>
                  <a:lnTo>
                    <a:pt x="2159872" y="953084"/>
                  </a:lnTo>
                  <a:lnTo>
                    <a:pt x="2159895" y="951729"/>
                  </a:lnTo>
                  <a:lnTo>
                    <a:pt x="2159264" y="950751"/>
                  </a:lnTo>
                  <a:lnTo>
                    <a:pt x="2158498" y="951793"/>
                  </a:lnTo>
                  <a:lnTo>
                    <a:pt x="2157105" y="955728"/>
                  </a:lnTo>
                  <a:lnTo>
                    <a:pt x="2156645" y="956628"/>
                  </a:lnTo>
                  <a:lnTo>
                    <a:pt x="2154966" y="958272"/>
                  </a:lnTo>
                  <a:lnTo>
                    <a:pt x="2153679" y="960907"/>
                  </a:lnTo>
                  <a:lnTo>
                    <a:pt x="2153284" y="961230"/>
                  </a:lnTo>
                  <a:lnTo>
                    <a:pt x="2153596" y="963076"/>
                  </a:lnTo>
                  <a:lnTo>
                    <a:pt x="2154861" y="964167"/>
                  </a:lnTo>
                  <a:lnTo>
                    <a:pt x="2155217" y="965754"/>
                  </a:lnTo>
                  <a:lnTo>
                    <a:pt x="2153730" y="965162"/>
                  </a:lnTo>
                  <a:lnTo>
                    <a:pt x="2153239" y="965459"/>
                  </a:lnTo>
                  <a:lnTo>
                    <a:pt x="2152255" y="966573"/>
                  </a:lnTo>
                  <a:lnTo>
                    <a:pt x="2148905" y="967163"/>
                  </a:lnTo>
                  <a:lnTo>
                    <a:pt x="2139286" y="964638"/>
                  </a:lnTo>
                  <a:lnTo>
                    <a:pt x="2129694" y="962060"/>
                  </a:lnTo>
                  <a:lnTo>
                    <a:pt x="2128660" y="961020"/>
                  </a:lnTo>
                  <a:lnTo>
                    <a:pt x="2128100" y="959159"/>
                  </a:lnTo>
                  <a:lnTo>
                    <a:pt x="2128067" y="957107"/>
                  </a:lnTo>
                  <a:lnTo>
                    <a:pt x="2128260" y="955451"/>
                  </a:lnTo>
                  <a:lnTo>
                    <a:pt x="2128532" y="953902"/>
                  </a:lnTo>
                  <a:lnTo>
                    <a:pt x="2128735" y="952151"/>
                  </a:lnTo>
                  <a:lnTo>
                    <a:pt x="2128763" y="950438"/>
                  </a:lnTo>
                  <a:lnTo>
                    <a:pt x="2128585" y="949446"/>
                  </a:lnTo>
                  <a:lnTo>
                    <a:pt x="2127668" y="947201"/>
                  </a:lnTo>
                  <a:lnTo>
                    <a:pt x="2128175" y="946563"/>
                  </a:lnTo>
                  <a:lnTo>
                    <a:pt x="2128418" y="946441"/>
                  </a:lnTo>
                  <a:lnTo>
                    <a:pt x="2128690" y="946517"/>
                  </a:lnTo>
                  <a:lnTo>
                    <a:pt x="2128734" y="945787"/>
                  </a:lnTo>
                  <a:lnTo>
                    <a:pt x="2127296" y="943742"/>
                  </a:lnTo>
                  <a:lnTo>
                    <a:pt x="2125625" y="943034"/>
                  </a:lnTo>
                  <a:lnTo>
                    <a:pt x="2125112" y="942287"/>
                  </a:lnTo>
                  <a:lnTo>
                    <a:pt x="2124785" y="941035"/>
                  </a:lnTo>
                  <a:lnTo>
                    <a:pt x="2126647" y="938745"/>
                  </a:lnTo>
                  <a:lnTo>
                    <a:pt x="2128698" y="938055"/>
                  </a:lnTo>
                  <a:lnTo>
                    <a:pt x="2139814" y="939229"/>
                  </a:lnTo>
                  <a:lnTo>
                    <a:pt x="2140718" y="938268"/>
                  </a:lnTo>
                  <a:lnTo>
                    <a:pt x="2140150" y="937329"/>
                  </a:lnTo>
                  <a:lnTo>
                    <a:pt x="2138672" y="937350"/>
                  </a:lnTo>
                  <a:lnTo>
                    <a:pt x="2137246" y="936445"/>
                  </a:lnTo>
                  <a:lnTo>
                    <a:pt x="2135651" y="936374"/>
                  </a:lnTo>
                  <a:lnTo>
                    <a:pt x="2133464" y="935235"/>
                  </a:lnTo>
                  <a:lnTo>
                    <a:pt x="2130595" y="935747"/>
                  </a:lnTo>
                  <a:lnTo>
                    <a:pt x="2129246" y="933875"/>
                  </a:lnTo>
                  <a:lnTo>
                    <a:pt x="2130421" y="933289"/>
                  </a:lnTo>
                  <a:lnTo>
                    <a:pt x="2131666" y="933187"/>
                  </a:lnTo>
                  <a:lnTo>
                    <a:pt x="2132871" y="932379"/>
                  </a:lnTo>
                  <a:lnTo>
                    <a:pt x="2133912" y="929692"/>
                  </a:lnTo>
                  <a:lnTo>
                    <a:pt x="2126676" y="931632"/>
                  </a:lnTo>
                  <a:lnTo>
                    <a:pt x="2125746" y="930976"/>
                  </a:lnTo>
                  <a:lnTo>
                    <a:pt x="2122177" y="926597"/>
                  </a:lnTo>
                  <a:lnTo>
                    <a:pt x="2120218" y="925582"/>
                  </a:lnTo>
                  <a:lnTo>
                    <a:pt x="2119363" y="924388"/>
                  </a:lnTo>
                  <a:lnTo>
                    <a:pt x="2119944" y="923620"/>
                  </a:lnTo>
                  <a:lnTo>
                    <a:pt x="2123242" y="921562"/>
                  </a:lnTo>
                  <a:lnTo>
                    <a:pt x="2123871" y="921689"/>
                  </a:lnTo>
                  <a:lnTo>
                    <a:pt x="2124421" y="922478"/>
                  </a:lnTo>
                  <a:lnTo>
                    <a:pt x="2123793" y="922479"/>
                  </a:lnTo>
                  <a:lnTo>
                    <a:pt x="2122310" y="923095"/>
                  </a:lnTo>
                  <a:lnTo>
                    <a:pt x="2121679" y="923791"/>
                  </a:lnTo>
                  <a:lnTo>
                    <a:pt x="2122460" y="924705"/>
                  </a:lnTo>
                  <a:lnTo>
                    <a:pt x="2123698" y="925293"/>
                  </a:lnTo>
                  <a:lnTo>
                    <a:pt x="2124791" y="924997"/>
                  </a:lnTo>
                  <a:lnTo>
                    <a:pt x="2125147" y="923260"/>
                  </a:lnTo>
                  <a:lnTo>
                    <a:pt x="2127284" y="923616"/>
                  </a:lnTo>
                  <a:lnTo>
                    <a:pt x="2128384" y="923292"/>
                  </a:lnTo>
                  <a:lnTo>
                    <a:pt x="2129395" y="922029"/>
                  </a:lnTo>
                  <a:lnTo>
                    <a:pt x="2128701" y="921260"/>
                  </a:lnTo>
                  <a:lnTo>
                    <a:pt x="2126985" y="920576"/>
                  </a:lnTo>
                  <a:lnTo>
                    <a:pt x="2126559" y="918894"/>
                  </a:lnTo>
                  <a:lnTo>
                    <a:pt x="2126937" y="918916"/>
                  </a:lnTo>
                  <a:lnTo>
                    <a:pt x="2125775" y="916978"/>
                  </a:lnTo>
                  <a:lnTo>
                    <a:pt x="2124412" y="916295"/>
                  </a:lnTo>
                  <a:lnTo>
                    <a:pt x="2121583" y="916364"/>
                  </a:lnTo>
                  <a:lnTo>
                    <a:pt x="2121636" y="915567"/>
                  </a:lnTo>
                  <a:lnTo>
                    <a:pt x="2131070" y="915071"/>
                  </a:lnTo>
                  <a:lnTo>
                    <a:pt x="2140495" y="914525"/>
                  </a:lnTo>
                  <a:lnTo>
                    <a:pt x="2141470" y="913042"/>
                  </a:lnTo>
                  <a:lnTo>
                    <a:pt x="2133221" y="911798"/>
                  </a:lnTo>
                  <a:lnTo>
                    <a:pt x="2135695" y="910742"/>
                  </a:lnTo>
                  <a:lnTo>
                    <a:pt x="2140686" y="912040"/>
                  </a:lnTo>
                  <a:lnTo>
                    <a:pt x="2143150" y="910102"/>
                  </a:lnTo>
                  <a:lnTo>
                    <a:pt x="2134247" y="907407"/>
                  </a:lnTo>
                  <a:lnTo>
                    <a:pt x="2134295" y="906601"/>
                  </a:lnTo>
                  <a:lnTo>
                    <a:pt x="2146809" y="905023"/>
                  </a:lnTo>
                  <a:lnTo>
                    <a:pt x="2146145" y="904205"/>
                  </a:lnTo>
                  <a:lnTo>
                    <a:pt x="2143896" y="904880"/>
                  </a:lnTo>
                  <a:lnTo>
                    <a:pt x="2141748" y="904043"/>
                  </a:lnTo>
                  <a:lnTo>
                    <a:pt x="2141035" y="904059"/>
                  </a:lnTo>
                  <a:lnTo>
                    <a:pt x="2141075" y="903324"/>
                  </a:lnTo>
                  <a:lnTo>
                    <a:pt x="2142470" y="903281"/>
                  </a:lnTo>
                  <a:lnTo>
                    <a:pt x="2147882" y="900641"/>
                  </a:lnTo>
                  <a:lnTo>
                    <a:pt x="2149216" y="900621"/>
                  </a:lnTo>
                  <a:lnTo>
                    <a:pt x="2150518" y="900041"/>
                  </a:lnTo>
                  <a:lnTo>
                    <a:pt x="2151667" y="897847"/>
                  </a:lnTo>
                  <a:lnTo>
                    <a:pt x="2146255" y="897592"/>
                  </a:lnTo>
                  <a:lnTo>
                    <a:pt x="2146294" y="896852"/>
                  </a:lnTo>
                  <a:lnTo>
                    <a:pt x="2146702" y="896682"/>
                  </a:lnTo>
                  <a:lnTo>
                    <a:pt x="2147851" y="895510"/>
                  </a:lnTo>
                  <a:lnTo>
                    <a:pt x="2147699" y="893834"/>
                  </a:lnTo>
                  <a:lnTo>
                    <a:pt x="2147592" y="893282"/>
                  </a:lnTo>
                  <a:lnTo>
                    <a:pt x="2159383" y="892289"/>
                  </a:lnTo>
                  <a:lnTo>
                    <a:pt x="2171155" y="891215"/>
                  </a:lnTo>
                  <a:lnTo>
                    <a:pt x="2172515" y="890440"/>
                  </a:lnTo>
                  <a:lnTo>
                    <a:pt x="2173012" y="889606"/>
                  </a:lnTo>
                  <a:lnTo>
                    <a:pt x="2172710" y="888506"/>
                  </a:lnTo>
                  <a:lnTo>
                    <a:pt x="2172064" y="887999"/>
                  </a:lnTo>
                  <a:lnTo>
                    <a:pt x="2162039" y="889594"/>
                  </a:lnTo>
                  <a:lnTo>
                    <a:pt x="2151991" y="891130"/>
                  </a:lnTo>
                  <a:lnTo>
                    <a:pt x="2152698" y="890191"/>
                  </a:lnTo>
                  <a:lnTo>
                    <a:pt x="2155059" y="889043"/>
                  </a:lnTo>
                  <a:lnTo>
                    <a:pt x="2145932" y="890342"/>
                  </a:lnTo>
                  <a:lnTo>
                    <a:pt x="2136789" y="891593"/>
                  </a:lnTo>
                  <a:lnTo>
                    <a:pt x="2135310" y="893151"/>
                  </a:lnTo>
                  <a:lnTo>
                    <a:pt x="2134588" y="893155"/>
                  </a:lnTo>
                  <a:lnTo>
                    <a:pt x="2133159" y="892527"/>
                  </a:lnTo>
                  <a:lnTo>
                    <a:pt x="2129675" y="893881"/>
                  </a:lnTo>
                  <a:lnTo>
                    <a:pt x="2127714" y="892877"/>
                  </a:lnTo>
                  <a:lnTo>
                    <a:pt x="2120678" y="894332"/>
                  </a:lnTo>
                  <a:lnTo>
                    <a:pt x="2113628" y="895757"/>
                  </a:lnTo>
                  <a:lnTo>
                    <a:pt x="2112452" y="896976"/>
                  </a:lnTo>
                  <a:lnTo>
                    <a:pt x="2112016" y="897185"/>
                  </a:lnTo>
                  <a:lnTo>
                    <a:pt x="2111055" y="897066"/>
                  </a:lnTo>
                  <a:lnTo>
                    <a:pt x="2108854" y="898388"/>
                  </a:lnTo>
                  <a:lnTo>
                    <a:pt x="2107247" y="897885"/>
                  </a:lnTo>
                  <a:lnTo>
                    <a:pt x="2105185" y="899183"/>
                  </a:lnTo>
                  <a:lnTo>
                    <a:pt x="2104421" y="898008"/>
                  </a:lnTo>
                  <a:lnTo>
                    <a:pt x="2105031" y="897381"/>
                  </a:lnTo>
                  <a:lnTo>
                    <a:pt x="2104197" y="896010"/>
                  </a:lnTo>
                  <a:lnTo>
                    <a:pt x="2103027" y="895836"/>
                  </a:lnTo>
                  <a:lnTo>
                    <a:pt x="2094397" y="898435"/>
                  </a:lnTo>
                  <a:lnTo>
                    <a:pt x="2085737" y="900992"/>
                  </a:lnTo>
                  <a:lnTo>
                    <a:pt x="2081866" y="899985"/>
                  </a:lnTo>
                  <a:lnTo>
                    <a:pt x="2076477" y="901000"/>
                  </a:lnTo>
                  <a:lnTo>
                    <a:pt x="2069666" y="904964"/>
                  </a:lnTo>
                  <a:lnTo>
                    <a:pt x="2068787" y="904226"/>
                  </a:lnTo>
                  <a:lnTo>
                    <a:pt x="2069053" y="901743"/>
                  </a:lnTo>
                  <a:lnTo>
                    <a:pt x="2068644" y="900668"/>
                  </a:lnTo>
                  <a:lnTo>
                    <a:pt x="2068049" y="900213"/>
                  </a:lnTo>
                  <a:lnTo>
                    <a:pt x="2066669" y="900096"/>
                  </a:lnTo>
                  <a:lnTo>
                    <a:pt x="2066271" y="899539"/>
                  </a:lnTo>
                  <a:lnTo>
                    <a:pt x="2066692" y="898392"/>
                  </a:lnTo>
                  <a:lnTo>
                    <a:pt x="2067884" y="896493"/>
                  </a:lnTo>
                  <a:lnTo>
                    <a:pt x="2067249" y="895192"/>
                  </a:lnTo>
                  <a:lnTo>
                    <a:pt x="2064947" y="893439"/>
                  </a:lnTo>
                  <a:lnTo>
                    <a:pt x="2064315" y="892238"/>
                  </a:lnTo>
                  <a:lnTo>
                    <a:pt x="2064200" y="891407"/>
                  </a:lnTo>
                  <a:lnTo>
                    <a:pt x="2064569" y="890681"/>
                  </a:lnTo>
                  <a:lnTo>
                    <a:pt x="2065401" y="889764"/>
                  </a:lnTo>
                  <a:lnTo>
                    <a:pt x="2066050" y="889454"/>
                  </a:lnTo>
                  <a:lnTo>
                    <a:pt x="2066542" y="889847"/>
                  </a:lnTo>
                  <a:lnTo>
                    <a:pt x="2067294" y="891168"/>
                  </a:lnTo>
                  <a:lnTo>
                    <a:pt x="2068146" y="891874"/>
                  </a:lnTo>
                  <a:lnTo>
                    <a:pt x="2070928" y="892255"/>
                  </a:lnTo>
                  <a:lnTo>
                    <a:pt x="2070720" y="891026"/>
                  </a:lnTo>
                  <a:lnTo>
                    <a:pt x="2069678" y="890601"/>
                  </a:lnTo>
                  <a:lnTo>
                    <a:pt x="2069271" y="889933"/>
                  </a:lnTo>
                  <a:lnTo>
                    <a:pt x="2069545" y="889414"/>
                  </a:lnTo>
                  <a:lnTo>
                    <a:pt x="2069824" y="888993"/>
                  </a:lnTo>
                  <a:lnTo>
                    <a:pt x="2070099" y="888682"/>
                  </a:lnTo>
                  <a:lnTo>
                    <a:pt x="2070368" y="888482"/>
                  </a:lnTo>
                  <a:lnTo>
                    <a:pt x="2070112" y="885423"/>
                  </a:lnTo>
                  <a:lnTo>
                    <a:pt x="2070601" y="885300"/>
                  </a:lnTo>
                  <a:lnTo>
                    <a:pt x="2071589" y="884382"/>
                  </a:lnTo>
                  <a:lnTo>
                    <a:pt x="2072084" y="884180"/>
                  </a:lnTo>
                  <a:lnTo>
                    <a:pt x="2073308" y="884506"/>
                  </a:lnTo>
                  <a:lnTo>
                    <a:pt x="2073955" y="884371"/>
                  </a:lnTo>
                  <a:lnTo>
                    <a:pt x="2074572" y="883604"/>
                  </a:lnTo>
                  <a:lnTo>
                    <a:pt x="2074320" y="882792"/>
                  </a:lnTo>
                  <a:lnTo>
                    <a:pt x="2074000" y="882293"/>
                  </a:lnTo>
                  <a:lnTo>
                    <a:pt x="2073629" y="882073"/>
                  </a:lnTo>
                  <a:lnTo>
                    <a:pt x="2073234" y="882063"/>
                  </a:lnTo>
                  <a:lnTo>
                    <a:pt x="2074013" y="880607"/>
                  </a:lnTo>
                  <a:lnTo>
                    <a:pt x="2075109" y="880309"/>
                  </a:lnTo>
                  <a:lnTo>
                    <a:pt x="2082499" y="881485"/>
                  </a:lnTo>
                  <a:lnTo>
                    <a:pt x="2086037" y="884666"/>
                  </a:lnTo>
                  <a:lnTo>
                    <a:pt x="2086865" y="884793"/>
                  </a:lnTo>
                  <a:lnTo>
                    <a:pt x="2088717" y="884165"/>
                  </a:lnTo>
                  <a:lnTo>
                    <a:pt x="2088782" y="883427"/>
                  </a:lnTo>
                  <a:lnTo>
                    <a:pt x="2088028" y="883510"/>
                  </a:lnTo>
                  <a:lnTo>
                    <a:pt x="2087226" y="883974"/>
                  </a:lnTo>
                  <a:lnTo>
                    <a:pt x="2086460" y="884099"/>
                  </a:lnTo>
                  <a:lnTo>
                    <a:pt x="2085815" y="883178"/>
                  </a:lnTo>
                  <a:lnTo>
                    <a:pt x="2086418" y="882525"/>
                  </a:lnTo>
                  <a:lnTo>
                    <a:pt x="2086642" y="882438"/>
                  </a:lnTo>
                  <a:lnTo>
                    <a:pt x="2086117" y="880375"/>
                  </a:lnTo>
                  <a:lnTo>
                    <a:pt x="2083738" y="880211"/>
                  </a:lnTo>
                  <a:lnTo>
                    <a:pt x="2083003" y="879218"/>
                  </a:lnTo>
                  <a:lnTo>
                    <a:pt x="2083481" y="877896"/>
                  </a:lnTo>
                  <a:lnTo>
                    <a:pt x="2087302" y="875062"/>
                  </a:lnTo>
                  <a:lnTo>
                    <a:pt x="2086674" y="873677"/>
                  </a:lnTo>
                  <a:lnTo>
                    <a:pt x="2080964" y="874896"/>
                  </a:lnTo>
                  <a:lnTo>
                    <a:pt x="2080466" y="874471"/>
                  </a:lnTo>
                  <a:lnTo>
                    <a:pt x="2080062" y="872894"/>
                  </a:lnTo>
                  <a:lnTo>
                    <a:pt x="2079938" y="871896"/>
                  </a:lnTo>
                  <a:lnTo>
                    <a:pt x="2080318" y="871027"/>
                  </a:lnTo>
                  <a:lnTo>
                    <a:pt x="2081016" y="869043"/>
                  </a:lnTo>
                  <a:lnTo>
                    <a:pt x="2081309" y="868604"/>
                  </a:lnTo>
                  <a:lnTo>
                    <a:pt x="2081837" y="868173"/>
                  </a:lnTo>
                  <a:lnTo>
                    <a:pt x="2082974" y="866188"/>
                  </a:lnTo>
                  <a:lnTo>
                    <a:pt x="2083529" y="865758"/>
                  </a:lnTo>
                  <a:lnTo>
                    <a:pt x="2095328" y="862830"/>
                  </a:lnTo>
                  <a:lnTo>
                    <a:pt x="2095717" y="863139"/>
                  </a:lnTo>
                  <a:lnTo>
                    <a:pt x="2095985" y="864006"/>
                  </a:lnTo>
                  <a:lnTo>
                    <a:pt x="2096410" y="866353"/>
                  </a:lnTo>
                  <a:lnTo>
                    <a:pt x="2096780" y="866860"/>
                  </a:lnTo>
                  <a:lnTo>
                    <a:pt x="2097122" y="867086"/>
                  </a:lnTo>
                  <a:lnTo>
                    <a:pt x="2098219" y="868526"/>
                  </a:lnTo>
                  <a:lnTo>
                    <a:pt x="2100049" y="869703"/>
                  </a:lnTo>
                  <a:lnTo>
                    <a:pt x="2101489" y="871707"/>
                  </a:lnTo>
                  <a:lnTo>
                    <a:pt x="2103616" y="873406"/>
                  </a:lnTo>
                  <a:lnTo>
                    <a:pt x="2104646" y="873474"/>
                  </a:lnTo>
                  <a:lnTo>
                    <a:pt x="2104516" y="873689"/>
                  </a:lnTo>
                  <a:lnTo>
                    <a:pt x="2104399" y="873968"/>
                  </a:lnTo>
                  <a:lnTo>
                    <a:pt x="2104282" y="874362"/>
                  </a:lnTo>
                  <a:lnTo>
                    <a:pt x="2104149" y="874913"/>
                  </a:lnTo>
                  <a:lnTo>
                    <a:pt x="2104204" y="875815"/>
                  </a:lnTo>
                  <a:lnTo>
                    <a:pt x="2104173" y="876472"/>
                  </a:lnTo>
                  <a:lnTo>
                    <a:pt x="2104032" y="877080"/>
                  </a:lnTo>
                  <a:lnTo>
                    <a:pt x="2103749" y="877855"/>
                  </a:lnTo>
                  <a:lnTo>
                    <a:pt x="2104447" y="878938"/>
                  </a:lnTo>
                  <a:lnTo>
                    <a:pt x="2105220" y="879698"/>
                  </a:lnTo>
                  <a:lnTo>
                    <a:pt x="2108879" y="881262"/>
                  </a:lnTo>
                  <a:lnTo>
                    <a:pt x="2109357" y="881071"/>
                  </a:lnTo>
                  <a:lnTo>
                    <a:pt x="2109688" y="880537"/>
                  </a:lnTo>
                  <a:lnTo>
                    <a:pt x="2109979" y="879838"/>
                  </a:lnTo>
                  <a:lnTo>
                    <a:pt x="2110337" y="879147"/>
                  </a:lnTo>
                  <a:lnTo>
                    <a:pt x="2112542" y="877400"/>
                  </a:lnTo>
                  <a:lnTo>
                    <a:pt x="2116981" y="876933"/>
                  </a:lnTo>
                  <a:lnTo>
                    <a:pt x="2119178" y="874488"/>
                  </a:lnTo>
                  <a:lnTo>
                    <a:pt x="2115454" y="875049"/>
                  </a:lnTo>
                  <a:lnTo>
                    <a:pt x="2115956" y="875750"/>
                  </a:lnTo>
                  <a:lnTo>
                    <a:pt x="2114927" y="876830"/>
                  </a:lnTo>
                  <a:lnTo>
                    <a:pt x="2112653" y="876727"/>
                  </a:lnTo>
                  <a:lnTo>
                    <a:pt x="2110405" y="877816"/>
                  </a:lnTo>
                  <a:lnTo>
                    <a:pt x="2106925" y="877421"/>
                  </a:lnTo>
                  <a:lnTo>
                    <a:pt x="2107194" y="876304"/>
                  </a:lnTo>
                  <a:lnTo>
                    <a:pt x="2107967" y="874048"/>
                  </a:lnTo>
                  <a:lnTo>
                    <a:pt x="2108082" y="873354"/>
                  </a:lnTo>
                  <a:lnTo>
                    <a:pt x="2107669" y="871264"/>
                  </a:lnTo>
                  <a:lnTo>
                    <a:pt x="2107174" y="869610"/>
                  </a:lnTo>
                  <a:lnTo>
                    <a:pt x="2106109" y="868382"/>
                  </a:lnTo>
                  <a:lnTo>
                    <a:pt x="2103589" y="868769"/>
                  </a:lnTo>
                  <a:lnTo>
                    <a:pt x="2102545" y="867307"/>
                  </a:lnTo>
                  <a:lnTo>
                    <a:pt x="2102839" y="865671"/>
                  </a:lnTo>
                  <a:lnTo>
                    <a:pt x="2102714" y="864326"/>
                  </a:lnTo>
                  <a:lnTo>
                    <a:pt x="2102373" y="863274"/>
                  </a:lnTo>
                  <a:lnTo>
                    <a:pt x="2102018" y="862478"/>
                  </a:lnTo>
                  <a:lnTo>
                    <a:pt x="2101984" y="861321"/>
                  </a:lnTo>
                  <a:lnTo>
                    <a:pt x="2102622" y="860215"/>
                  </a:lnTo>
                  <a:lnTo>
                    <a:pt x="2105006" y="857782"/>
                  </a:lnTo>
                  <a:lnTo>
                    <a:pt x="2106674" y="857057"/>
                  </a:lnTo>
                  <a:lnTo>
                    <a:pt x="2107480" y="856214"/>
                  </a:lnTo>
                  <a:lnTo>
                    <a:pt x="2108505" y="854012"/>
                  </a:lnTo>
                  <a:lnTo>
                    <a:pt x="2108855" y="853755"/>
                  </a:lnTo>
                  <a:lnTo>
                    <a:pt x="2109240" y="853611"/>
                  </a:lnTo>
                  <a:lnTo>
                    <a:pt x="2109639" y="853166"/>
                  </a:lnTo>
                  <a:lnTo>
                    <a:pt x="2110031" y="852448"/>
                  </a:lnTo>
                  <a:lnTo>
                    <a:pt x="2110391" y="851497"/>
                  </a:lnTo>
                  <a:lnTo>
                    <a:pt x="2109329" y="851359"/>
                  </a:lnTo>
                  <a:lnTo>
                    <a:pt x="2107336" y="853127"/>
                  </a:lnTo>
                  <a:lnTo>
                    <a:pt x="2099360" y="854034"/>
                  </a:lnTo>
                  <a:lnTo>
                    <a:pt x="2097623" y="852486"/>
                  </a:lnTo>
                  <a:lnTo>
                    <a:pt x="2096156" y="849723"/>
                  </a:lnTo>
                  <a:lnTo>
                    <a:pt x="2095119" y="845544"/>
                  </a:lnTo>
                  <a:lnTo>
                    <a:pt x="2094999" y="843084"/>
                  </a:lnTo>
                  <a:lnTo>
                    <a:pt x="2095329" y="841080"/>
                  </a:lnTo>
                  <a:lnTo>
                    <a:pt x="2095919" y="839483"/>
                  </a:lnTo>
                  <a:lnTo>
                    <a:pt x="2096568" y="838275"/>
                  </a:lnTo>
                  <a:lnTo>
                    <a:pt x="2097104" y="837588"/>
                  </a:lnTo>
                  <a:lnTo>
                    <a:pt x="2098217" y="836590"/>
                  </a:lnTo>
                  <a:lnTo>
                    <a:pt x="2098778" y="835785"/>
                  </a:lnTo>
                  <a:lnTo>
                    <a:pt x="2099833" y="833547"/>
                  </a:lnTo>
                  <a:lnTo>
                    <a:pt x="2100261" y="832936"/>
                  </a:lnTo>
                  <a:lnTo>
                    <a:pt x="2105685" y="830534"/>
                  </a:lnTo>
                  <a:lnTo>
                    <a:pt x="2110173" y="826205"/>
                  </a:lnTo>
                  <a:lnTo>
                    <a:pt x="2099411" y="829163"/>
                  </a:lnTo>
                  <a:lnTo>
                    <a:pt x="2098876" y="828895"/>
                  </a:lnTo>
                  <a:lnTo>
                    <a:pt x="2097865" y="827836"/>
                  </a:lnTo>
                  <a:lnTo>
                    <a:pt x="2091190" y="828249"/>
                  </a:lnTo>
                  <a:lnTo>
                    <a:pt x="2089681" y="826130"/>
                  </a:lnTo>
                  <a:lnTo>
                    <a:pt x="2090528" y="825180"/>
                  </a:lnTo>
                  <a:lnTo>
                    <a:pt x="2091572" y="824946"/>
                  </a:lnTo>
                  <a:lnTo>
                    <a:pt x="2092487" y="824244"/>
                  </a:lnTo>
                  <a:lnTo>
                    <a:pt x="2092935" y="821956"/>
                  </a:lnTo>
                  <a:lnTo>
                    <a:pt x="2092544" y="820427"/>
                  </a:lnTo>
                  <a:lnTo>
                    <a:pt x="2091537" y="819944"/>
                  </a:lnTo>
                  <a:lnTo>
                    <a:pt x="2089516" y="820107"/>
                  </a:lnTo>
                  <a:lnTo>
                    <a:pt x="2090237" y="819408"/>
                  </a:lnTo>
                  <a:lnTo>
                    <a:pt x="2092539" y="818339"/>
                  </a:lnTo>
                  <a:lnTo>
                    <a:pt x="2093494" y="817322"/>
                  </a:lnTo>
                  <a:lnTo>
                    <a:pt x="2093614" y="816603"/>
                  </a:lnTo>
                  <a:lnTo>
                    <a:pt x="2092541" y="814420"/>
                  </a:lnTo>
                  <a:lnTo>
                    <a:pt x="2093556" y="813732"/>
                  </a:lnTo>
                  <a:lnTo>
                    <a:pt x="2095528" y="813936"/>
                  </a:lnTo>
                  <a:lnTo>
                    <a:pt x="2096454" y="812526"/>
                  </a:lnTo>
                  <a:lnTo>
                    <a:pt x="2095879" y="811617"/>
                  </a:lnTo>
                  <a:lnTo>
                    <a:pt x="2094534" y="810758"/>
                  </a:lnTo>
                  <a:lnTo>
                    <a:pt x="2094058" y="809364"/>
                  </a:lnTo>
                  <a:lnTo>
                    <a:pt x="2094792" y="807679"/>
                  </a:lnTo>
                  <a:lnTo>
                    <a:pt x="2095648" y="807127"/>
                  </a:lnTo>
                  <a:lnTo>
                    <a:pt x="2096519" y="806987"/>
                  </a:lnTo>
                  <a:lnTo>
                    <a:pt x="2097297" y="806520"/>
                  </a:lnTo>
                  <a:lnTo>
                    <a:pt x="2100032" y="803546"/>
                  </a:lnTo>
                  <a:lnTo>
                    <a:pt x="2100974" y="803184"/>
                  </a:lnTo>
                  <a:lnTo>
                    <a:pt x="2111003" y="806248"/>
                  </a:lnTo>
                  <a:lnTo>
                    <a:pt x="2111338" y="806829"/>
                  </a:lnTo>
                  <a:lnTo>
                    <a:pt x="2111921" y="808264"/>
                  </a:lnTo>
                  <a:lnTo>
                    <a:pt x="2113169" y="808920"/>
                  </a:lnTo>
                  <a:lnTo>
                    <a:pt x="2113519" y="809374"/>
                  </a:lnTo>
                  <a:lnTo>
                    <a:pt x="2115541" y="813865"/>
                  </a:lnTo>
                  <a:lnTo>
                    <a:pt x="2118663" y="817183"/>
                  </a:lnTo>
                  <a:lnTo>
                    <a:pt x="2119309" y="818698"/>
                  </a:lnTo>
                  <a:lnTo>
                    <a:pt x="2118942" y="818973"/>
                  </a:lnTo>
                  <a:lnTo>
                    <a:pt x="2118599" y="819590"/>
                  </a:lnTo>
                  <a:lnTo>
                    <a:pt x="2118292" y="820497"/>
                  </a:lnTo>
                  <a:lnTo>
                    <a:pt x="2118029" y="821641"/>
                  </a:lnTo>
                  <a:lnTo>
                    <a:pt x="2118222" y="821654"/>
                  </a:lnTo>
                  <a:lnTo>
                    <a:pt x="2116942" y="825931"/>
                  </a:lnTo>
                  <a:lnTo>
                    <a:pt x="2116708" y="827558"/>
                  </a:lnTo>
                  <a:lnTo>
                    <a:pt x="2117356" y="828265"/>
                  </a:lnTo>
                  <a:lnTo>
                    <a:pt x="2121071" y="829302"/>
                  </a:lnTo>
                  <a:lnTo>
                    <a:pt x="2123901" y="831793"/>
                  </a:lnTo>
                  <a:lnTo>
                    <a:pt x="2126122" y="835159"/>
                  </a:lnTo>
                  <a:lnTo>
                    <a:pt x="2127014" y="835961"/>
                  </a:lnTo>
                  <a:lnTo>
                    <a:pt x="2127258" y="836881"/>
                  </a:lnTo>
                  <a:lnTo>
                    <a:pt x="2127450" y="837909"/>
                  </a:lnTo>
                  <a:lnTo>
                    <a:pt x="2127642" y="838637"/>
                  </a:lnTo>
                  <a:lnTo>
                    <a:pt x="2128543" y="839461"/>
                  </a:lnTo>
                  <a:lnTo>
                    <a:pt x="2128927" y="840133"/>
                  </a:lnTo>
                  <a:lnTo>
                    <a:pt x="2129069" y="841625"/>
                  </a:lnTo>
                  <a:lnTo>
                    <a:pt x="2126584" y="843278"/>
                  </a:lnTo>
                  <a:lnTo>
                    <a:pt x="2125819" y="844388"/>
                  </a:lnTo>
                  <a:lnTo>
                    <a:pt x="2134457" y="841945"/>
                  </a:lnTo>
                  <a:lnTo>
                    <a:pt x="2133383" y="844210"/>
                  </a:lnTo>
                  <a:lnTo>
                    <a:pt x="2128826" y="845377"/>
                  </a:lnTo>
                  <a:lnTo>
                    <a:pt x="2128779" y="846112"/>
                  </a:lnTo>
                  <a:lnTo>
                    <a:pt x="2135829" y="848253"/>
                  </a:lnTo>
                  <a:lnTo>
                    <a:pt x="2136839" y="850663"/>
                  </a:lnTo>
                  <a:lnTo>
                    <a:pt x="2137143" y="851664"/>
                  </a:lnTo>
                  <a:lnTo>
                    <a:pt x="2139295" y="856175"/>
                  </a:lnTo>
                  <a:lnTo>
                    <a:pt x="2139519" y="856823"/>
                  </a:lnTo>
                  <a:lnTo>
                    <a:pt x="2139835" y="858787"/>
                  </a:lnTo>
                  <a:lnTo>
                    <a:pt x="2140117" y="859571"/>
                  </a:lnTo>
                  <a:lnTo>
                    <a:pt x="2140704" y="860291"/>
                  </a:lnTo>
                  <a:lnTo>
                    <a:pt x="2142644" y="860975"/>
                  </a:lnTo>
                  <a:lnTo>
                    <a:pt x="2142217" y="862710"/>
                  </a:lnTo>
                  <a:lnTo>
                    <a:pt x="2141574" y="863316"/>
                  </a:lnTo>
                  <a:lnTo>
                    <a:pt x="2140866" y="863672"/>
                  </a:lnTo>
                  <a:lnTo>
                    <a:pt x="2140249" y="864624"/>
                  </a:lnTo>
                  <a:lnTo>
                    <a:pt x="2140840" y="865357"/>
                  </a:lnTo>
                  <a:lnTo>
                    <a:pt x="2141615" y="865513"/>
                  </a:lnTo>
                  <a:lnTo>
                    <a:pt x="2142428" y="865202"/>
                  </a:lnTo>
                  <a:lnTo>
                    <a:pt x="2143944" y="863876"/>
                  </a:lnTo>
                  <a:lnTo>
                    <a:pt x="2144378" y="863784"/>
                  </a:lnTo>
                  <a:lnTo>
                    <a:pt x="2144695" y="864113"/>
                  </a:lnTo>
                  <a:lnTo>
                    <a:pt x="2144800" y="864538"/>
                  </a:lnTo>
                  <a:lnTo>
                    <a:pt x="2144937" y="865304"/>
                  </a:lnTo>
                  <a:lnTo>
                    <a:pt x="2144988" y="866022"/>
                  </a:lnTo>
                  <a:lnTo>
                    <a:pt x="2144704" y="866630"/>
                  </a:lnTo>
                  <a:lnTo>
                    <a:pt x="2144691" y="867305"/>
                  </a:lnTo>
                  <a:lnTo>
                    <a:pt x="2144742" y="868058"/>
                  </a:lnTo>
                  <a:lnTo>
                    <a:pt x="2144807" y="868564"/>
                  </a:lnTo>
                  <a:lnTo>
                    <a:pt x="2145103" y="869338"/>
                  </a:lnTo>
                  <a:lnTo>
                    <a:pt x="2145483" y="869424"/>
                  </a:lnTo>
                  <a:lnTo>
                    <a:pt x="2146267" y="868637"/>
                  </a:lnTo>
                  <a:lnTo>
                    <a:pt x="2147848" y="865991"/>
                  </a:lnTo>
                  <a:lnTo>
                    <a:pt x="2151682" y="865194"/>
                  </a:lnTo>
                  <a:lnTo>
                    <a:pt x="2151971" y="864965"/>
                  </a:lnTo>
                  <a:lnTo>
                    <a:pt x="2152832" y="863213"/>
                  </a:lnTo>
                  <a:lnTo>
                    <a:pt x="2153230" y="862962"/>
                  </a:lnTo>
                  <a:lnTo>
                    <a:pt x="2154034" y="863065"/>
                  </a:lnTo>
                  <a:lnTo>
                    <a:pt x="2155058" y="862581"/>
                  </a:lnTo>
                  <a:lnTo>
                    <a:pt x="2155292" y="862185"/>
                  </a:lnTo>
                  <a:lnTo>
                    <a:pt x="2155418" y="861260"/>
                  </a:lnTo>
                  <a:lnTo>
                    <a:pt x="2155632" y="860356"/>
                  </a:lnTo>
                  <a:lnTo>
                    <a:pt x="2156036" y="860083"/>
                  </a:lnTo>
                  <a:lnTo>
                    <a:pt x="2156463" y="860220"/>
                  </a:lnTo>
                  <a:lnTo>
                    <a:pt x="2157313" y="861101"/>
                  </a:lnTo>
                  <a:lnTo>
                    <a:pt x="2158097" y="860900"/>
                  </a:lnTo>
                  <a:lnTo>
                    <a:pt x="2159521" y="859544"/>
                  </a:lnTo>
                  <a:lnTo>
                    <a:pt x="2158214" y="858288"/>
                  </a:lnTo>
                  <a:lnTo>
                    <a:pt x="2149346" y="861364"/>
                  </a:lnTo>
                  <a:lnTo>
                    <a:pt x="2148052" y="862797"/>
                  </a:lnTo>
                  <a:lnTo>
                    <a:pt x="2148055" y="861416"/>
                  </a:lnTo>
                  <a:lnTo>
                    <a:pt x="2147798" y="861249"/>
                  </a:lnTo>
                  <a:lnTo>
                    <a:pt x="2147440" y="861377"/>
                  </a:lnTo>
                  <a:lnTo>
                    <a:pt x="2147140" y="860872"/>
                  </a:lnTo>
                  <a:lnTo>
                    <a:pt x="2147129" y="859852"/>
                  </a:lnTo>
                  <a:lnTo>
                    <a:pt x="2147404" y="859080"/>
                  </a:lnTo>
                  <a:lnTo>
                    <a:pt x="2147782" y="858569"/>
                  </a:lnTo>
                  <a:lnTo>
                    <a:pt x="2148081" y="858354"/>
                  </a:lnTo>
                  <a:lnTo>
                    <a:pt x="2147636" y="857132"/>
                  </a:lnTo>
                  <a:lnTo>
                    <a:pt x="2147026" y="857000"/>
                  </a:lnTo>
                  <a:lnTo>
                    <a:pt x="2146362" y="857179"/>
                  </a:lnTo>
                  <a:lnTo>
                    <a:pt x="2145745" y="856883"/>
                  </a:lnTo>
                  <a:lnTo>
                    <a:pt x="2145623" y="856467"/>
                  </a:lnTo>
                  <a:lnTo>
                    <a:pt x="2145630" y="855928"/>
                  </a:lnTo>
                  <a:lnTo>
                    <a:pt x="2145619" y="855354"/>
                  </a:lnTo>
                  <a:lnTo>
                    <a:pt x="2145452" y="854825"/>
                  </a:lnTo>
                  <a:lnTo>
                    <a:pt x="2145098" y="854454"/>
                  </a:lnTo>
                  <a:lnTo>
                    <a:pt x="2143932" y="854381"/>
                  </a:lnTo>
                  <a:lnTo>
                    <a:pt x="2144306" y="853972"/>
                  </a:lnTo>
                  <a:lnTo>
                    <a:pt x="2144652" y="853416"/>
                  </a:lnTo>
                  <a:lnTo>
                    <a:pt x="2144948" y="852628"/>
                  </a:lnTo>
                  <a:lnTo>
                    <a:pt x="2145177" y="851479"/>
                  </a:lnTo>
                  <a:lnTo>
                    <a:pt x="2143452" y="851165"/>
                  </a:lnTo>
                  <a:lnTo>
                    <a:pt x="2142889" y="850041"/>
                  </a:lnTo>
                  <a:lnTo>
                    <a:pt x="2142480" y="847565"/>
                  </a:lnTo>
                  <a:lnTo>
                    <a:pt x="2142416" y="846331"/>
                  </a:lnTo>
                  <a:lnTo>
                    <a:pt x="2142415" y="845324"/>
                  </a:lnTo>
                  <a:lnTo>
                    <a:pt x="2142329" y="844472"/>
                  </a:lnTo>
                  <a:lnTo>
                    <a:pt x="2142012" y="843714"/>
                  </a:lnTo>
                  <a:lnTo>
                    <a:pt x="2140285" y="841860"/>
                  </a:lnTo>
                  <a:lnTo>
                    <a:pt x="2139779" y="840826"/>
                  </a:lnTo>
                  <a:lnTo>
                    <a:pt x="2142471" y="840971"/>
                  </a:lnTo>
                  <a:lnTo>
                    <a:pt x="2142437" y="839910"/>
                  </a:lnTo>
                  <a:lnTo>
                    <a:pt x="2142391" y="839483"/>
                  </a:lnTo>
                  <a:lnTo>
                    <a:pt x="2143533" y="838369"/>
                  </a:lnTo>
                  <a:lnTo>
                    <a:pt x="2144698" y="838584"/>
                  </a:lnTo>
                  <a:lnTo>
                    <a:pt x="2146855" y="840389"/>
                  </a:lnTo>
                  <a:lnTo>
                    <a:pt x="2150594" y="841155"/>
                  </a:lnTo>
                  <a:lnTo>
                    <a:pt x="2152825" y="842756"/>
                  </a:lnTo>
                  <a:lnTo>
                    <a:pt x="2153842" y="842865"/>
                  </a:lnTo>
                  <a:lnTo>
                    <a:pt x="2157245" y="840767"/>
                  </a:lnTo>
                  <a:lnTo>
                    <a:pt x="2159838" y="840270"/>
                  </a:lnTo>
                  <a:lnTo>
                    <a:pt x="2161016" y="838815"/>
                  </a:lnTo>
                  <a:lnTo>
                    <a:pt x="2153515" y="840974"/>
                  </a:lnTo>
                  <a:lnTo>
                    <a:pt x="2152853" y="840498"/>
                  </a:lnTo>
                  <a:lnTo>
                    <a:pt x="2151977" y="839023"/>
                  </a:lnTo>
                  <a:lnTo>
                    <a:pt x="2151567" y="838558"/>
                  </a:lnTo>
                  <a:lnTo>
                    <a:pt x="2148936" y="837292"/>
                  </a:lnTo>
                  <a:lnTo>
                    <a:pt x="2146715" y="834014"/>
                  </a:lnTo>
                  <a:lnTo>
                    <a:pt x="2146145" y="833685"/>
                  </a:lnTo>
                  <a:lnTo>
                    <a:pt x="2141490" y="835022"/>
                  </a:lnTo>
                  <a:lnTo>
                    <a:pt x="2133664" y="829873"/>
                  </a:lnTo>
                  <a:lnTo>
                    <a:pt x="2132932" y="828081"/>
                  </a:lnTo>
                  <a:lnTo>
                    <a:pt x="2133482" y="825919"/>
                  </a:lnTo>
                  <a:lnTo>
                    <a:pt x="2134889" y="824527"/>
                  </a:lnTo>
                  <a:lnTo>
                    <a:pt x="2144387" y="826189"/>
                  </a:lnTo>
                  <a:lnTo>
                    <a:pt x="2144427" y="825459"/>
                  </a:lnTo>
                  <a:lnTo>
                    <a:pt x="2144067" y="825418"/>
                  </a:lnTo>
                  <a:lnTo>
                    <a:pt x="2143046" y="824645"/>
                  </a:lnTo>
                  <a:lnTo>
                    <a:pt x="2143270" y="823845"/>
                  </a:lnTo>
                  <a:lnTo>
                    <a:pt x="2141474" y="823052"/>
                  </a:lnTo>
                  <a:lnTo>
                    <a:pt x="2141032" y="822242"/>
                  </a:lnTo>
                  <a:lnTo>
                    <a:pt x="2142030" y="821259"/>
                  </a:lnTo>
                  <a:lnTo>
                    <a:pt x="2142979" y="822259"/>
                  </a:lnTo>
                  <a:lnTo>
                    <a:pt x="2143905" y="823861"/>
                  </a:lnTo>
                  <a:lnTo>
                    <a:pt x="2144831" y="824739"/>
                  </a:lnTo>
                  <a:lnTo>
                    <a:pt x="2149097" y="826031"/>
                  </a:lnTo>
                  <a:lnTo>
                    <a:pt x="2150540" y="825026"/>
                  </a:lnTo>
                  <a:lnTo>
                    <a:pt x="2146631" y="823534"/>
                  </a:lnTo>
                  <a:lnTo>
                    <a:pt x="2146029" y="822506"/>
                  </a:lnTo>
                  <a:lnTo>
                    <a:pt x="2146629" y="822466"/>
                  </a:lnTo>
                  <a:lnTo>
                    <a:pt x="2147970" y="821779"/>
                  </a:lnTo>
                  <a:lnTo>
                    <a:pt x="2148577" y="821091"/>
                  </a:lnTo>
                  <a:lnTo>
                    <a:pt x="2147815" y="820210"/>
                  </a:lnTo>
                  <a:lnTo>
                    <a:pt x="2145943" y="820578"/>
                  </a:lnTo>
                  <a:lnTo>
                    <a:pt x="2145072" y="820241"/>
                  </a:lnTo>
                  <a:lnTo>
                    <a:pt x="2142260" y="816320"/>
                  </a:lnTo>
                  <a:lnTo>
                    <a:pt x="2142546" y="815669"/>
                  </a:lnTo>
                  <a:lnTo>
                    <a:pt x="2143456" y="814226"/>
                  </a:lnTo>
                  <a:lnTo>
                    <a:pt x="2142736" y="814373"/>
                  </a:lnTo>
                  <a:lnTo>
                    <a:pt x="2141223" y="815483"/>
                  </a:lnTo>
                  <a:lnTo>
                    <a:pt x="2140550" y="815551"/>
                  </a:lnTo>
                  <a:lnTo>
                    <a:pt x="2138771" y="813334"/>
                  </a:lnTo>
                  <a:lnTo>
                    <a:pt x="2129578" y="813653"/>
                  </a:lnTo>
                  <a:lnTo>
                    <a:pt x="2122905" y="802456"/>
                  </a:lnTo>
                  <a:lnTo>
                    <a:pt x="2122462" y="799574"/>
                  </a:lnTo>
                  <a:lnTo>
                    <a:pt x="2129210" y="797256"/>
                  </a:lnTo>
                  <a:lnTo>
                    <a:pt x="2130073" y="796361"/>
                  </a:lnTo>
                  <a:lnTo>
                    <a:pt x="2129840" y="796085"/>
                  </a:lnTo>
                  <a:lnTo>
                    <a:pt x="2129663" y="795633"/>
                  </a:lnTo>
                  <a:lnTo>
                    <a:pt x="2129551" y="794964"/>
                  </a:lnTo>
                  <a:lnTo>
                    <a:pt x="2129509" y="794100"/>
                  </a:lnTo>
                  <a:lnTo>
                    <a:pt x="2130018" y="793894"/>
                  </a:lnTo>
                  <a:lnTo>
                    <a:pt x="2131568" y="792004"/>
                  </a:lnTo>
                  <a:lnTo>
                    <a:pt x="2133502" y="791393"/>
                  </a:lnTo>
                  <a:lnTo>
                    <a:pt x="2137686" y="787218"/>
                  </a:lnTo>
                  <a:lnTo>
                    <a:pt x="2138713" y="787184"/>
                  </a:lnTo>
                  <a:lnTo>
                    <a:pt x="2140136" y="785677"/>
                  </a:lnTo>
                  <a:lnTo>
                    <a:pt x="2141762" y="785242"/>
                  </a:lnTo>
                  <a:lnTo>
                    <a:pt x="2152145" y="790078"/>
                  </a:lnTo>
                  <a:lnTo>
                    <a:pt x="2152690" y="789937"/>
                  </a:lnTo>
                  <a:lnTo>
                    <a:pt x="2154439" y="787701"/>
                  </a:lnTo>
                  <a:lnTo>
                    <a:pt x="2155088" y="787290"/>
                  </a:lnTo>
                  <a:lnTo>
                    <a:pt x="2157637" y="787355"/>
                  </a:lnTo>
                  <a:lnTo>
                    <a:pt x="2158886" y="788372"/>
                  </a:lnTo>
                  <a:lnTo>
                    <a:pt x="2159819" y="790468"/>
                  </a:lnTo>
                  <a:lnTo>
                    <a:pt x="2158997" y="791349"/>
                  </a:lnTo>
                  <a:lnTo>
                    <a:pt x="2157192" y="790650"/>
                  </a:lnTo>
                  <a:lnTo>
                    <a:pt x="2156291" y="791112"/>
                  </a:lnTo>
                  <a:lnTo>
                    <a:pt x="2160398" y="792521"/>
                  </a:lnTo>
                  <a:lnTo>
                    <a:pt x="2165907" y="802234"/>
                  </a:lnTo>
                  <a:lnTo>
                    <a:pt x="2166825" y="802663"/>
                  </a:lnTo>
                  <a:lnTo>
                    <a:pt x="2166855" y="801923"/>
                  </a:lnTo>
                  <a:lnTo>
                    <a:pt x="2166680" y="801916"/>
                  </a:lnTo>
                  <a:lnTo>
                    <a:pt x="2166714" y="801106"/>
                  </a:lnTo>
                  <a:lnTo>
                    <a:pt x="2168386" y="800845"/>
                  </a:lnTo>
                  <a:lnTo>
                    <a:pt x="2169216" y="801264"/>
                  </a:lnTo>
                  <a:lnTo>
                    <a:pt x="2169801" y="802776"/>
                  </a:lnTo>
                  <a:lnTo>
                    <a:pt x="2167593" y="804482"/>
                  </a:lnTo>
                  <a:lnTo>
                    <a:pt x="2166617" y="805992"/>
                  </a:lnTo>
                  <a:lnTo>
                    <a:pt x="2166943" y="808249"/>
                  </a:lnTo>
                  <a:lnTo>
                    <a:pt x="2168920" y="811847"/>
                  </a:lnTo>
                  <a:lnTo>
                    <a:pt x="2169941" y="812811"/>
                  </a:lnTo>
                  <a:lnTo>
                    <a:pt x="2171155" y="813177"/>
                  </a:lnTo>
                  <a:lnTo>
                    <a:pt x="2171180" y="812508"/>
                  </a:lnTo>
                  <a:lnTo>
                    <a:pt x="2170252" y="810534"/>
                  </a:lnTo>
                  <a:lnTo>
                    <a:pt x="2169781" y="809062"/>
                  </a:lnTo>
                  <a:lnTo>
                    <a:pt x="2169610" y="807610"/>
                  </a:lnTo>
                  <a:lnTo>
                    <a:pt x="2170060" y="806559"/>
                  </a:lnTo>
                  <a:lnTo>
                    <a:pt x="2171964" y="807660"/>
                  </a:lnTo>
                  <a:lnTo>
                    <a:pt x="2172627" y="807313"/>
                  </a:lnTo>
                  <a:lnTo>
                    <a:pt x="2172291" y="807301"/>
                  </a:lnTo>
                  <a:lnTo>
                    <a:pt x="2172319" y="806562"/>
                  </a:lnTo>
                  <a:lnTo>
                    <a:pt x="2172919" y="806041"/>
                  </a:lnTo>
                  <a:lnTo>
                    <a:pt x="2173779" y="805837"/>
                  </a:lnTo>
                  <a:lnTo>
                    <a:pt x="2174421" y="806410"/>
                  </a:lnTo>
                  <a:lnTo>
                    <a:pt x="2174369" y="808181"/>
                  </a:lnTo>
                  <a:lnTo>
                    <a:pt x="2174891" y="809481"/>
                  </a:lnTo>
                  <a:lnTo>
                    <a:pt x="2175565" y="809901"/>
                  </a:lnTo>
                  <a:lnTo>
                    <a:pt x="2176953" y="809748"/>
                  </a:lnTo>
                  <a:lnTo>
                    <a:pt x="2176981" y="808942"/>
                  </a:lnTo>
                  <a:lnTo>
                    <a:pt x="2176694" y="809012"/>
                  </a:lnTo>
                  <a:lnTo>
                    <a:pt x="2176426" y="808889"/>
                  </a:lnTo>
                  <a:lnTo>
                    <a:pt x="2175951" y="808234"/>
                  </a:lnTo>
                  <a:lnTo>
                    <a:pt x="2176898" y="806718"/>
                  </a:lnTo>
                  <a:lnTo>
                    <a:pt x="2176403" y="805212"/>
                  </a:lnTo>
                  <a:lnTo>
                    <a:pt x="2175739" y="803757"/>
                  </a:lnTo>
                  <a:lnTo>
                    <a:pt x="2175034" y="802645"/>
                  </a:lnTo>
                  <a:lnTo>
                    <a:pt x="2174411" y="802200"/>
                  </a:lnTo>
                  <a:lnTo>
                    <a:pt x="2174091" y="801797"/>
                  </a:lnTo>
                  <a:lnTo>
                    <a:pt x="2173909" y="800891"/>
                  </a:lnTo>
                  <a:lnTo>
                    <a:pt x="2173787" y="799913"/>
                  </a:lnTo>
                  <a:lnTo>
                    <a:pt x="2173643" y="799273"/>
                  </a:lnTo>
                  <a:lnTo>
                    <a:pt x="2173261" y="798925"/>
                  </a:lnTo>
                  <a:lnTo>
                    <a:pt x="2172445" y="798878"/>
                  </a:lnTo>
                  <a:lnTo>
                    <a:pt x="2172086" y="798420"/>
                  </a:lnTo>
                  <a:lnTo>
                    <a:pt x="2172468" y="797257"/>
                  </a:lnTo>
                  <a:lnTo>
                    <a:pt x="2172646" y="796086"/>
                  </a:lnTo>
                  <a:lnTo>
                    <a:pt x="2172588" y="794951"/>
                  </a:lnTo>
                  <a:lnTo>
                    <a:pt x="2172255" y="793983"/>
                  </a:lnTo>
                  <a:lnTo>
                    <a:pt x="2172526" y="794085"/>
                  </a:lnTo>
                  <a:lnTo>
                    <a:pt x="2172796" y="794002"/>
                  </a:lnTo>
                  <a:lnTo>
                    <a:pt x="2173063" y="793734"/>
                  </a:lnTo>
                  <a:lnTo>
                    <a:pt x="2173328" y="793280"/>
                  </a:lnTo>
                  <a:lnTo>
                    <a:pt x="2173249" y="792947"/>
                  </a:lnTo>
                  <a:lnTo>
                    <a:pt x="2173113" y="792149"/>
                  </a:lnTo>
                  <a:lnTo>
                    <a:pt x="2173035" y="791793"/>
                  </a:lnTo>
                  <a:lnTo>
                    <a:pt x="2174448" y="790252"/>
                  </a:lnTo>
                  <a:lnTo>
                    <a:pt x="2176278" y="789498"/>
                  </a:lnTo>
                  <a:lnTo>
                    <a:pt x="2178066" y="789751"/>
                  </a:lnTo>
                  <a:lnTo>
                    <a:pt x="2179351" y="791203"/>
                  </a:lnTo>
                  <a:lnTo>
                    <a:pt x="2179324" y="793352"/>
                  </a:lnTo>
                  <a:lnTo>
                    <a:pt x="2180013" y="794189"/>
                  </a:lnTo>
                  <a:lnTo>
                    <a:pt x="2180682" y="793351"/>
                  </a:lnTo>
                  <a:lnTo>
                    <a:pt x="2180591" y="790501"/>
                  </a:lnTo>
                  <a:lnTo>
                    <a:pt x="2183631" y="791230"/>
                  </a:lnTo>
                  <a:lnTo>
                    <a:pt x="2185310" y="790745"/>
                  </a:lnTo>
                  <a:lnTo>
                    <a:pt x="2186401" y="788448"/>
                  </a:lnTo>
                  <a:lnTo>
                    <a:pt x="2185794" y="787788"/>
                  </a:lnTo>
                  <a:lnTo>
                    <a:pt x="2185570" y="787746"/>
                  </a:lnTo>
                  <a:lnTo>
                    <a:pt x="2185888" y="787103"/>
                  </a:lnTo>
                  <a:lnTo>
                    <a:pt x="2186232" y="786888"/>
                  </a:lnTo>
                  <a:lnTo>
                    <a:pt x="2186965" y="786983"/>
                  </a:lnTo>
                  <a:lnTo>
                    <a:pt x="2186986" y="786247"/>
                  </a:lnTo>
                  <a:lnTo>
                    <a:pt x="2185056" y="785295"/>
                  </a:lnTo>
                  <a:lnTo>
                    <a:pt x="2182098" y="786845"/>
                  </a:lnTo>
                  <a:lnTo>
                    <a:pt x="2179608" y="786751"/>
                  </a:lnTo>
                  <a:lnTo>
                    <a:pt x="2178332" y="785882"/>
                  </a:lnTo>
                  <a:lnTo>
                    <a:pt x="2177696" y="783750"/>
                  </a:lnTo>
                  <a:close/>
                  <a:moveTo>
                    <a:pt x="2694622" y="777668"/>
                  </a:moveTo>
                  <a:lnTo>
                    <a:pt x="2695549" y="778736"/>
                  </a:lnTo>
                  <a:lnTo>
                    <a:pt x="2697454" y="779432"/>
                  </a:lnTo>
                  <a:lnTo>
                    <a:pt x="2698269" y="780911"/>
                  </a:lnTo>
                  <a:lnTo>
                    <a:pt x="2698438" y="782130"/>
                  </a:lnTo>
                  <a:lnTo>
                    <a:pt x="2698357" y="783451"/>
                  </a:lnTo>
                  <a:lnTo>
                    <a:pt x="2697953" y="785264"/>
                  </a:lnTo>
                  <a:lnTo>
                    <a:pt x="2692917" y="794333"/>
                  </a:lnTo>
                  <a:lnTo>
                    <a:pt x="2692690" y="795518"/>
                  </a:lnTo>
                  <a:lnTo>
                    <a:pt x="2692817" y="796891"/>
                  </a:lnTo>
                  <a:lnTo>
                    <a:pt x="2693632" y="798972"/>
                  </a:lnTo>
                  <a:lnTo>
                    <a:pt x="2694584" y="800114"/>
                  </a:lnTo>
                  <a:lnTo>
                    <a:pt x="2699340" y="803160"/>
                  </a:lnTo>
                  <a:lnTo>
                    <a:pt x="2701093" y="803351"/>
                  </a:lnTo>
                  <a:lnTo>
                    <a:pt x="2703809" y="805278"/>
                  </a:lnTo>
                  <a:lnTo>
                    <a:pt x="2703676" y="806784"/>
                  </a:lnTo>
                  <a:lnTo>
                    <a:pt x="2703081" y="807098"/>
                  </a:lnTo>
                  <a:lnTo>
                    <a:pt x="2701575" y="806779"/>
                  </a:lnTo>
                  <a:lnTo>
                    <a:pt x="2699767" y="808097"/>
                  </a:lnTo>
                  <a:lnTo>
                    <a:pt x="2698951" y="807547"/>
                  </a:lnTo>
                  <a:lnTo>
                    <a:pt x="2699128" y="806034"/>
                  </a:lnTo>
                  <a:lnTo>
                    <a:pt x="2699495" y="804927"/>
                  </a:lnTo>
                  <a:lnTo>
                    <a:pt x="2698743" y="804428"/>
                  </a:lnTo>
                  <a:lnTo>
                    <a:pt x="2697240" y="805585"/>
                  </a:lnTo>
                  <a:lnTo>
                    <a:pt x="2692766" y="806121"/>
                  </a:lnTo>
                  <a:lnTo>
                    <a:pt x="2691650" y="807077"/>
                  </a:lnTo>
                  <a:lnTo>
                    <a:pt x="2689792" y="810191"/>
                  </a:lnTo>
                  <a:lnTo>
                    <a:pt x="2690667" y="811280"/>
                  </a:lnTo>
                  <a:lnTo>
                    <a:pt x="2691346" y="811417"/>
                  </a:lnTo>
                  <a:lnTo>
                    <a:pt x="2691974" y="811278"/>
                  </a:lnTo>
                  <a:lnTo>
                    <a:pt x="2692701" y="811540"/>
                  </a:lnTo>
                  <a:lnTo>
                    <a:pt x="2691539" y="815549"/>
                  </a:lnTo>
                  <a:lnTo>
                    <a:pt x="2691235" y="815742"/>
                  </a:lnTo>
                  <a:lnTo>
                    <a:pt x="2690585" y="815297"/>
                  </a:lnTo>
                  <a:lnTo>
                    <a:pt x="2690501" y="815064"/>
                  </a:lnTo>
                  <a:lnTo>
                    <a:pt x="2690244" y="814120"/>
                  </a:lnTo>
                  <a:lnTo>
                    <a:pt x="2690158" y="813882"/>
                  </a:lnTo>
                  <a:lnTo>
                    <a:pt x="2689766" y="813562"/>
                  </a:lnTo>
                  <a:lnTo>
                    <a:pt x="2689445" y="813413"/>
                  </a:lnTo>
                  <a:lnTo>
                    <a:pt x="2686405" y="814175"/>
                  </a:lnTo>
                  <a:lnTo>
                    <a:pt x="2686368" y="813344"/>
                  </a:lnTo>
                  <a:lnTo>
                    <a:pt x="2686487" y="812897"/>
                  </a:lnTo>
                  <a:lnTo>
                    <a:pt x="2686557" y="812422"/>
                  </a:lnTo>
                  <a:lnTo>
                    <a:pt x="2686374" y="811517"/>
                  </a:lnTo>
                  <a:lnTo>
                    <a:pt x="2685888" y="810460"/>
                  </a:lnTo>
                  <a:lnTo>
                    <a:pt x="2685329" y="809937"/>
                  </a:lnTo>
                  <a:lnTo>
                    <a:pt x="2684376" y="809494"/>
                  </a:lnTo>
                  <a:lnTo>
                    <a:pt x="2683412" y="809522"/>
                  </a:lnTo>
                  <a:lnTo>
                    <a:pt x="2682673" y="810502"/>
                  </a:lnTo>
                  <a:lnTo>
                    <a:pt x="2681798" y="810840"/>
                  </a:lnTo>
                  <a:lnTo>
                    <a:pt x="2680424" y="808919"/>
                  </a:lnTo>
                  <a:lnTo>
                    <a:pt x="2681316" y="808701"/>
                  </a:lnTo>
                  <a:lnTo>
                    <a:pt x="2683165" y="806991"/>
                  </a:lnTo>
                  <a:lnTo>
                    <a:pt x="2683663" y="805696"/>
                  </a:lnTo>
                  <a:lnTo>
                    <a:pt x="2683727" y="804230"/>
                  </a:lnTo>
                  <a:lnTo>
                    <a:pt x="2683447" y="803326"/>
                  </a:lnTo>
                  <a:lnTo>
                    <a:pt x="2683052" y="802697"/>
                  </a:lnTo>
                  <a:lnTo>
                    <a:pt x="2682790" y="802082"/>
                  </a:lnTo>
                  <a:lnTo>
                    <a:pt x="2682718" y="800893"/>
                  </a:lnTo>
                  <a:lnTo>
                    <a:pt x="2682923" y="800128"/>
                  </a:lnTo>
                  <a:lnTo>
                    <a:pt x="2684364" y="798863"/>
                  </a:lnTo>
                  <a:lnTo>
                    <a:pt x="2685052" y="794500"/>
                  </a:lnTo>
                  <a:lnTo>
                    <a:pt x="2685379" y="793744"/>
                  </a:lnTo>
                  <a:lnTo>
                    <a:pt x="2687299" y="791910"/>
                  </a:lnTo>
                  <a:lnTo>
                    <a:pt x="2687789" y="790249"/>
                  </a:lnTo>
                  <a:lnTo>
                    <a:pt x="2688150" y="789676"/>
                  </a:lnTo>
                  <a:lnTo>
                    <a:pt x="2687725" y="788680"/>
                  </a:lnTo>
                  <a:lnTo>
                    <a:pt x="2687527" y="788309"/>
                  </a:lnTo>
                  <a:lnTo>
                    <a:pt x="2687651" y="786979"/>
                  </a:lnTo>
                  <a:lnTo>
                    <a:pt x="2689041" y="785333"/>
                  </a:lnTo>
                  <a:lnTo>
                    <a:pt x="2689593" y="783663"/>
                  </a:lnTo>
                  <a:lnTo>
                    <a:pt x="2689739" y="782653"/>
                  </a:lnTo>
                  <a:lnTo>
                    <a:pt x="2689742" y="781062"/>
                  </a:lnTo>
                  <a:lnTo>
                    <a:pt x="2690214" y="778768"/>
                  </a:lnTo>
                  <a:lnTo>
                    <a:pt x="2691518" y="777912"/>
                  </a:lnTo>
                  <a:lnTo>
                    <a:pt x="2694464" y="777714"/>
                  </a:lnTo>
                  <a:close/>
                  <a:moveTo>
                    <a:pt x="2038767" y="774674"/>
                  </a:moveTo>
                  <a:lnTo>
                    <a:pt x="2047111" y="774881"/>
                  </a:lnTo>
                  <a:lnTo>
                    <a:pt x="2048449" y="775993"/>
                  </a:lnTo>
                  <a:lnTo>
                    <a:pt x="2049229" y="778438"/>
                  </a:lnTo>
                  <a:lnTo>
                    <a:pt x="2048718" y="780349"/>
                  </a:lnTo>
                  <a:lnTo>
                    <a:pt x="2044905" y="785793"/>
                  </a:lnTo>
                  <a:lnTo>
                    <a:pt x="2045680" y="786535"/>
                  </a:lnTo>
                  <a:lnTo>
                    <a:pt x="2047884" y="785125"/>
                  </a:lnTo>
                  <a:lnTo>
                    <a:pt x="2049475" y="785249"/>
                  </a:lnTo>
                  <a:lnTo>
                    <a:pt x="2050642" y="781846"/>
                  </a:lnTo>
                  <a:lnTo>
                    <a:pt x="2051512" y="780591"/>
                  </a:lnTo>
                  <a:lnTo>
                    <a:pt x="2052255" y="780630"/>
                  </a:lnTo>
                  <a:lnTo>
                    <a:pt x="2052895" y="781447"/>
                  </a:lnTo>
                  <a:lnTo>
                    <a:pt x="2054661" y="785909"/>
                  </a:lnTo>
                  <a:lnTo>
                    <a:pt x="2055554" y="786778"/>
                  </a:lnTo>
                  <a:lnTo>
                    <a:pt x="2057592" y="787217"/>
                  </a:lnTo>
                  <a:lnTo>
                    <a:pt x="2056813" y="788573"/>
                  </a:lnTo>
                  <a:lnTo>
                    <a:pt x="2056492" y="789426"/>
                  </a:lnTo>
                  <a:lnTo>
                    <a:pt x="2056295" y="790858"/>
                  </a:lnTo>
                  <a:lnTo>
                    <a:pt x="2056526" y="791593"/>
                  </a:lnTo>
                  <a:lnTo>
                    <a:pt x="2061059" y="795367"/>
                  </a:lnTo>
                  <a:lnTo>
                    <a:pt x="2063201" y="795255"/>
                  </a:lnTo>
                  <a:lnTo>
                    <a:pt x="2064400" y="794386"/>
                  </a:lnTo>
                  <a:lnTo>
                    <a:pt x="2064696" y="794665"/>
                  </a:lnTo>
                  <a:lnTo>
                    <a:pt x="2064746" y="795166"/>
                  </a:lnTo>
                  <a:lnTo>
                    <a:pt x="2064714" y="795828"/>
                  </a:lnTo>
                  <a:lnTo>
                    <a:pt x="2064631" y="796298"/>
                  </a:lnTo>
                  <a:lnTo>
                    <a:pt x="2064529" y="796198"/>
                  </a:lnTo>
                  <a:lnTo>
                    <a:pt x="2064557" y="796715"/>
                  </a:lnTo>
                  <a:lnTo>
                    <a:pt x="2064499" y="797188"/>
                  </a:lnTo>
                  <a:lnTo>
                    <a:pt x="2064497" y="797693"/>
                  </a:lnTo>
                  <a:lnTo>
                    <a:pt x="2064694" y="798254"/>
                  </a:lnTo>
                  <a:lnTo>
                    <a:pt x="2065043" y="798591"/>
                  </a:lnTo>
                  <a:lnTo>
                    <a:pt x="2068788" y="799654"/>
                  </a:lnTo>
                  <a:lnTo>
                    <a:pt x="2069885" y="801340"/>
                  </a:lnTo>
                  <a:lnTo>
                    <a:pt x="2069847" y="804233"/>
                  </a:lnTo>
                  <a:lnTo>
                    <a:pt x="2069444" y="805052"/>
                  </a:lnTo>
                  <a:lnTo>
                    <a:pt x="2060390" y="813261"/>
                  </a:lnTo>
                  <a:lnTo>
                    <a:pt x="2053276" y="813306"/>
                  </a:lnTo>
                  <a:lnTo>
                    <a:pt x="2046159" y="813319"/>
                  </a:lnTo>
                  <a:lnTo>
                    <a:pt x="2044488" y="812104"/>
                  </a:lnTo>
                  <a:lnTo>
                    <a:pt x="2033436" y="810964"/>
                  </a:lnTo>
                  <a:lnTo>
                    <a:pt x="2032810" y="809751"/>
                  </a:lnTo>
                  <a:lnTo>
                    <a:pt x="2033391" y="808827"/>
                  </a:lnTo>
                  <a:lnTo>
                    <a:pt x="2034711" y="807557"/>
                  </a:lnTo>
                  <a:lnTo>
                    <a:pt x="2035199" y="806310"/>
                  </a:lnTo>
                  <a:lnTo>
                    <a:pt x="2034982" y="804952"/>
                  </a:lnTo>
                  <a:lnTo>
                    <a:pt x="2034842" y="804455"/>
                  </a:lnTo>
                  <a:lnTo>
                    <a:pt x="2034622" y="804011"/>
                  </a:lnTo>
                  <a:lnTo>
                    <a:pt x="2034055" y="803627"/>
                  </a:lnTo>
                  <a:lnTo>
                    <a:pt x="2032789" y="803686"/>
                  </a:lnTo>
                  <a:lnTo>
                    <a:pt x="2032264" y="802977"/>
                  </a:lnTo>
                  <a:lnTo>
                    <a:pt x="2033102" y="802156"/>
                  </a:lnTo>
                  <a:lnTo>
                    <a:pt x="2034100" y="800581"/>
                  </a:lnTo>
                  <a:lnTo>
                    <a:pt x="2034842" y="798313"/>
                  </a:lnTo>
                  <a:lnTo>
                    <a:pt x="2034912" y="795440"/>
                  </a:lnTo>
                  <a:lnTo>
                    <a:pt x="2034648" y="794262"/>
                  </a:lnTo>
                  <a:lnTo>
                    <a:pt x="2034179" y="792907"/>
                  </a:lnTo>
                  <a:lnTo>
                    <a:pt x="2033650" y="792025"/>
                  </a:lnTo>
                  <a:lnTo>
                    <a:pt x="2033207" y="792250"/>
                  </a:lnTo>
                  <a:lnTo>
                    <a:pt x="2032593" y="793237"/>
                  </a:lnTo>
                  <a:lnTo>
                    <a:pt x="2031866" y="793484"/>
                  </a:lnTo>
                  <a:lnTo>
                    <a:pt x="2031211" y="793145"/>
                  </a:lnTo>
                  <a:lnTo>
                    <a:pt x="2030808" y="792357"/>
                  </a:lnTo>
                  <a:lnTo>
                    <a:pt x="2031070" y="791582"/>
                  </a:lnTo>
                  <a:lnTo>
                    <a:pt x="2030909" y="791135"/>
                  </a:lnTo>
                  <a:lnTo>
                    <a:pt x="2030803" y="790566"/>
                  </a:lnTo>
                  <a:lnTo>
                    <a:pt x="2030669" y="789297"/>
                  </a:lnTo>
                  <a:lnTo>
                    <a:pt x="2030892" y="789325"/>
                  </a:lnTo>
                  <a:lnTo>
                    <a:pt x="2031091" y="789114"/>
                  </a:lnTo>
                  <a:lnTo>
                    <a:pt x="2031278" y="788840"/>
                  </a:lnTo>
                  <a:lnTo>
                    <a:pt x="2031459" y="788645"/>
                  </a:lnTo>
                  <a:lnTo>
                    <a:pt x="2031066" y="787236"/>
                  </a:lnTo>
                  <a:lnTo>
                    <a:pt x="2029776" y="786195"/>
                  </a:lnTo>
                  <a:lnTo>
                    <a:pt x="2029262" y="785321"/>
                  </a:lnTo>
                  <a:lnTo>
                    <a:pt x="2030337" y="782538"/>
                  </a:lnTo>
                  <a:lnTo>
                    <a:pt x="2029859" y="781655"/>
                  </a:lnTo>
                  <a:lnTo>
                    <a:pt x="2029692" y="781030"/>
                  </a:lnTo>
                  <a:lnTo>
                    <a:pt x="2029613" y="780211"/>
                  </a:lnTo>
                  <a:lnTo>
                    <a:pt x="2030351" y="780322"/>
                  </a:lnTo>
                  <a:close/>
                  <a:moveTo>
                    <a:pt x="2133443" y="772800"/>
                  </a:moveTo>
                  <a:lnTo>
                    <a:pt x="2142886" y="775563"/>
                  </a:lnTo>
                  <a:lnTo>
                    <a:pt x="2140565" y="778130"/>
                  </a:lnTo>
                  <a:lnTo>
                    <a:pt x="2129667" y="784681"/>
                  </a:lnTo>
                  <a:lnTo>
                    <a:pt x="2118673" y="791159"/>
                  </a:lnTo>
                  <a:lnTo>
                    <a:pt x="2113964" y="793051"/>
                  </a:lnTo>
                  <a:lnTo>
                    <a:pt x="2105320" y="789431"/>
                  </a:lnTo>
                  <a:lnTo>
                    <a:pt x="2105902" y="788659"/>
                  </a:lnTo>
                  <a:lnTo>
                    <a:pt x="2107696" y="788134"/>
                  </a:lnTo>
                  <a:lnTo>
                    <a:pt x="2109648" y="785464"/>
                  </a:lnTo>
                  <a:lnTo>
                    <a:pt x="2112219" y="784189"/>
                  </a:lnTo>
                  <a:lnTo>
                    <a:pt x="2117089" y="784012"/>
                  </a:lnTo>
                  <a:lnTo>
                    <a:pt x="2118446" y="783101"/>
                  </a:lnTo>
                  <a:lnTo>
                    <a:pt x="2120050" y="780152"/>
                  </a:lnTo>
                  <a:lnTo>
                    <a:pt x="2121264" y="779997"/>
                  </a:lnTo>
                  <a:lnTo>
                    <a:pt x="2122099" y="779502"/>
                  </a:lnTo>
                  <a:lnTo>
                    <a:pt x="2122304" y="779538"/>
                  </a:lnTo>
                  <a:lnTo>
                    <a:pt x="2122463" y="779310"/>
                  </a:lnTo>
                  <a:lnTo>
                    <a:pt x="2122582" y="778391"/>
                  </a:lnTo>
                  <a:lnTo>
                    <a:pt x="2122712" y="777632"/>
                  </a:lnTo>
                  <a:lnTo>
                    <a:pt x="2122940" y="777038"/>
                  </a:lnTo>
                  <a:lnTo>
                    <a:pt x="2123194" y="776591"/>
                  </a:lnTo>
                  <a:lnTo>
                    <a:pt x="2124615" y="774872"/>
                  </a:lnTo>
                  <a:close/>
                  <a:moveTo>
                    <a:pt x="2553006" y="769361"/>
                  </a:moveTo>
                  <a:lnTo>
                    <a:pt x="2553836" y="770082"/>
                  </a:lnTo>
                  <a:lnTo>
                    <a:pt x="2555329" y="770066"/>
                  </a:lnTo>
                  <a:lnTo>
                    <a:pt x="2556156" y="770706"/>
                  </a:lnTo>
                  <a:lnTo>
                    <a:pt x="2556823" y="771482"/>
                  </a:lnTo>
                  <a:lnTo>
                    <a:pt x="2558631" y="772867"/>
                  </a:lnTo>
                  <a:lnTo>
                    <a:pt x="2558351" y="776231"/>
                  </a:lnTo>
                  <a:lnTo>
                    <a:pt x="2558075" y="777804"/>
                  </a:lnTo>
                  <a:lnTo>
                    <a:pt x="2557684" y="778219"/>
                  </a:lnTo>
                  <a:lnTo>
                    <a:pt x="2555665" y="776772"/>
                  </a:lnTo>
                  <a:lnTo>
                    <a:pt x="2553775" y="776148"/>
                  </a:lnTo>
                  <a:lnTo>
                    <a:pt x="2553654" y="773536"/>
                  </a:lnTo>
                  <a:lnTo>
                    <a:pt x="2553553" y="772755"/>
                  </a:lnTo>
                  <a:lnTo>
                    <a:pt x="2553271" y="772047"/>
                  </a:lnTo>
                  <a:lnTo>
                    <a:pt x="2552369" y="770620"/>
                  </a:lnTo>
                  <a:lnTo>
                    <a:pt x="2551962" y="769576"/>
                  </a:lnTo>
                  <a:close/>
                  <a:moveTo>
                    <a:pt x="2400074" y="757483"/>
                  </a:moveTo>
                  <a:lnTo>
                    <a:pt x="2401308" y="758793"/>
                  </a:lnTo>
                  <a:lnTo>
                    <a:pt x="2403759" y="760201"/>
                  </a:lnTo>
                  <a:lnTo>
                    <a:pt x="2408341" y="766242"/>
                  </a:lnTo>
                  <a:lnTo>
                    <a:pt x="2409150" y="768425"/>
                  </a:lnTo>
                  <a:lnTo>
                    <a:pt x="2408884" y="769041"/>
                  </a:lnTo>
                  <a:lnTo>
                    <a:pt x="2408842" y="769715"/>
                  </a:lnTo>
                  <a:lnTo>
                    <a:pt x="2409021" y="770303"/>
                  </a:lnTo>
                  <a:lnTo>
                    <a:pt x="2409419" y="770634"/>
                  </a:lnTo>
                  <a:lnTo>
                    <a:pt x="2409190" y="772781"/>
                  </a:lnTo>
                  <a:lnTo>
                    <a:pt x="2408557" y="774228"/>
                  </a:lnTo>
                  <a:lnTo>
                    <a:pt x="2406446" y="775810"/>
                  </a:lnTo>
                  <a:lnTo>
                    <a:pt x="2406082" y="776964"/>
                  </a:lnTo>
                  <a:lnTo>
                    <a:pt x="2405940" y="778843"/>
                  </a:lnTo>
                  <a:lnTo>
                    <a:pt x="2406014" y="781442"/>
                  </a:lnTo>
                  <a:lnTo>
                    <a:pt x="2406247" y="783177"/>
                  </a:lnTo>
                  <a:lnTo>
                    <a:pt x="2406686" y="784994"/>
                  </a:lnTo>
                  <a:lnTo>
                    <a:pt x="2407789" y="788348"/>
                  </a:lnTo>
                  <a:lnTo>
                    <a:pt x="2408782" y="790077"/>
                  </a:lnTo>
                  <a:lnTo>
                    <a:pt x="2410966" y="791294"/>
                  </a:lnTo>
                  <a:lnTo>
                    <a:pt x="2412110" y="792730"/>
                  </a:lnTo>
                  <a:lnTo>
                    <a:pt x="2411183" y="793057"/>
                  </a:lnTo>
                  <a:lnTo>
                    <a:pt x="2409522" y="795277"/>
                  </a:lnTo>
                  <a:lnTo>
                    <a:pt x="2408529" y="795362"/>
                  </a:lnTo>
                  <a:lnTo>
                    <a:pt x="2406664" y="793059"/>
                  </a:lnTo>
                  <a:lnTo>
                    <a:pt x="2405762" y="792437"/>
                  </a:lnTo>
                  <a:lnTo>
                    <a:pt x="2405138" y="793512"/>
                  </a:lnTo>
                  <a:lnTo>
                    <a:pt x="2405686" y="795984"/>
                  </a:lnTo>
                  <a:lnTo>
                    <a:pt x="2404768" y="796697"/>
                  </a:lnTo>
                  <a:lnTo>
                    <a:pt x="2402432" y="796033"/>
                  </a:lnTo>
                  <a:lnTo>
                    <a:pt x="2399813" y="794143"/>
                  </a:lnTo>
                  <a:lnTo>
                    <a:pt x="2398407" y="792315"/>
                  </a:lnTo>
                  <a:lnTo>
                    <a:pt x="2396228" y="787058"/>
                  </a:lnTo>
                  <a:lnTo>
                    <a:pt x="2386951" y="772655"/>
                  </a:lnTo>
                  <a:lnTo>
                    <a:pt x="2386208" y="770910"/>
                  </a:lnTo>
                  <a:lnTo>
                    <a:pt x="2385884" y="768927"/>
                  </a:lnTo>
                  <a:lnTo>
                    <a:pt x="2386192" y="766435"/>
                  </a:lnTo>
                  <a:lnTo>
                    <a:pt x="2387035" y="764317"/>
                  </a:lnTo>
                  <a:lnTo>
                    <a:pt x="2391631" y="760405"/>
                  </a:lnTo>
                  <a:lnTo>
                    <a:pt x="2394759" y="758730"/>
                  </a:lnTo>
                  <a:close/>
                  <a:moveTo>
                    <a:pt x="1691248" y="753852"/>
                  </a:moveTo>
                  <a:lnTo>
                    <a:pt x="1691689" y="755187"/>
                  </a:lnTo>
                  <a:lnTo>
                    <a:pt x="1692701" y="755529"/>
                  </a:lnTo>
                  <a:lnTo>
                    <a:pt x="1693537" y="756553"/>
                  </a:lnTo>
                  <a:lnTo>
                    <a:pt x="1694736" y="759388"/>
                  </a:lnTo>
                  <a:lnTo>
                    <a:pt x="1694010" y="759879"/>
                  </a:lnTo>
                  <a:lnTo>
                    <a:pt x="1693429" y="760765"/>
                  </a:lnTo>
                  <a:lnTo>
                    <a:pt x="1692190" y="763229"/>
                  </a:lnTo>
                  <a:lnTo>
                    <a:pt x="1691207" y="764713"/>
                  </a:lnTo>
                  <a:lnTo>
                    <a:pt x="1690384" y="765586"/>
                  </a:lnTo>
                  <a:lnTo>
                    <a:pt x="1688787" y="766774"/>
                  </a:lnTo>
                  <a:lnTo>
                    <a:pt x="1688302" y="768452"/>
                  </a:lnTo>
                  <a:lnTo>
                    <a:pt x="1687604" y="769589"/>
                  </a:lnTo>
                  <a:lnTo>
                    <a:pt x="1686845" y="770324"/>
                  </a:lnTo>
                  <a:lnTo>
                    <a:pt x="1686180" y="770812"/>
                  </a:lnTo>
                  <a:lnTo>
                    <a:pt x="1685427" y="771563"/>
                  </a:lnTo>
                  <a:lnTo>
                    <a:pt x="1683831" y="773598"/>
                  </a:lnTo>
                  <a:lnTo>
                    <a:pt x="1683130" y="774325"/>
                  </a:lnTo>
                  <a:lnTo>
                    <a:pt x="1680598" y="775231"/>
                  </a:lnTo>
                  <a:lnTo>
                    <a:pt x="1679497" y="776207"/>
                  </a:lnTo>
                  <a:lnTo>
                    <a:pt x="1677190" y="778845"/>
                  </a:lnTo>
                  <a:lnTo>
                    <a:pt x="1676577" y="779907"/>
                  </a:lnTo>
                  <a:lnTo>
                    <a:pt x="1676759" y="780130"/>
                  </a:lnTo>
                  <a:lnTo>
                    <a:pt x="1676743" y="780426"/>
                  </a:lnTo>
                  <a:lnTo>
                    <a:pt x="1676653" y="780849"/>
                  </a:lnTo>
                  <a:lnTo>
                    <a:pt x="1676593" y="781490"/>
                  </a:lnTo>
                  <a:lnTo>
                    <a:pt x="1675882" y="782012"/>
                  </a:lnTo>
                  <a:lnTo>
                    <a:pt x="1674605" y="782385"/>
                  </a:lnTo>
                  <a:lnTo>
                    <a:pt x="1673890" y="782909"/>
                  </a:lnTo>
                  <a:lnTo>
                    <a:pt x="1673821" y="783674"/>
                  </a:lnTo>
                  <a:lnTo>
                    <a:pt x="1673121" y="784583"/>
                  </a:lnTo>
                  <a:lnTo>
                    <a:pt x="1672006" y="785290"/>
                  </a:lnTo>
                  <a:lnTo>
                    <a:pt x="1671406" y="785971"/>
                  </a:lnTo>
                  <a:lnTo>
                    <a:pt x="1670673" y="787188"/>
                  </a:lnTo>
                  <a:lnTo>
                    <a:pt x="1670479" y="787782"/>
                  </a:lnTo>
                  <a:lnTo>
                    <a:pt x="1670415" y="788366"/>
                  </a:lnTo>
                  <a:lnTo>
                    <a:pt x="1670086" y="789519"/>
                  </a:lnTo>
                  <a:lnTo>
                    <a:pt x="1669951" y="790190"/>
                  </a:lnTo>
                  <a:lnTo>
                    <a:pt x="1669839" y="790898"/>
                  </a:lnTo>
                  <a:lnTo>
                    <a:pt x="1669569" y="791395"/>
                  </a:lnTo>
                  <a:lnTo>
                    <a:pt x="1668437" y="791517"/>
                  </a:lnTo>
                  <a:lnTo>
                    <a:pt x="1667846" y="791985"/>
                  </a:lnTo>
                  <a:lnTo>
                    <a:pt x="1666778" y="793089"/>
                  </a:lnTo>
                  <a:lnTo>
                    <a:pt x="1656491" y="800479"/>
                  </a:lnTo>
                  <a:lnTo>
                    <a:pt x="1657548" y="801728"/>
                  </a:lnTo>
                  <a:lnTo>
                    <a:pt x="1657688" y="802559"/>
                  </a:lnTo>
                  <a:lnTo>
                    <a:pt x="1656176" y="802711"/>
                  </a:lnTo>
                  <a:lnTo>
                    <a:pt x="1643347" y="808727"/>
                  </a:lnTo>
                  <a:lnTo>
                    <a:pt x="1642099" y="808403"/>
                  </a:lnTo>
                  <a:lnTo>
                    <a:pt x="1641112" y="807386"/>
                  </a:lnTo>
                  <a:lnTo>
                    <a:pt x="1639765" y="804271"/>
                  </a:lnTo>
                  <a:lnTo>
                    <a:pt x="1636114" y="802626"/>
                  </a:lnTo>
                  <a:lnTo>
                    <a:pt x="1636878" y="801504"/>
                  </a:lnTo>
                  <a:lnTo>
                    <a:pt x="1637467" y="801353"/>
                  </a:lnTo>
                  <a:lnTo>
                    <a:pt x="1638015" y="801481"/>
                  </a:lnTo>
                  <a:lnTo>
                    <a:pt x="1638657" y="801183"/>
                  </a:lnTo>
                  <a:lnTo>
                    <a:pt x="1637406" y="799699"/>
                  </a:lnTo>
                  <a:lnTo>
                    <a:pt x="1636648" y="799532"/>
                  </a:lnTo>
                  <a:lnTo>
                    <a:pt x="1635589" y="799849"/>
                  </a:lnTo>
                  <a:lnTo>
                    <a:pt x="1635228" y="799719"/>
                  </a:lnTo>
                  <a:lnTo>
                    <a:pt x="1634500" y="797981"/>
                  </a:lnTo>
                  <a:lnTo>
                    <a:pt x="1633815" y="797172"/>
                  </a:lnTo>
                  <a:lnTo>
                    <a:pt x="1630795" y="797037"/>
                  </a:lnTo>
                  <a:lnTo>
                    <a:pt x="1626934" y="791244"/>
                  </a:lnTo>
                  <a:lnTo>
                    <a:pt x="1627138" y="790752"/>
                  </a:lnTo>
                  <a:lnTo>
                    <a:pt x="1627302" y="790434"/>
                  </a:lnTo>
                  <a:lnTo>
                    <a:pt x="1627701" y="789869"/>
                  </a:lnTo>
                  <a:lnTo>
                    <a:pt x="1627512" y="789798"/>
                  </a:lnTo>
                  <a:lnTo>
                    <a:pt x="1631274" y="785991"/>
                  </a:lnTo>
                  <a:lnTo>
                    <a:pt x="1641974" y="779430"/>
                  </a:lnTo>
                  <a:lnTo>
                    <a:pt x="1643891" y="778994"/>
                  </a:lnTo>
                  <a:lnTo>
                    <a:pt x="1644741" y="778288"/>
                  </a:lnTo>
                  <a:lnTo>
                    <a:pt x="1647346" y="775338"/>
                  </a:lnTo>
                  <a:lnTo>
                    <a:pt x="1650589" y="772893"/>
                  </a:lnTo>
                  <a:lnTo>
                    <a:pt x="1652060" y="772259"/>
                  </a:lnTo>
                  <a:lnTo>
                    <a:pt x="1653214" y="772385"/>
                  </a:lnTo>
                  <a:lnTo>
                    <a:pt x="1654635" y="769904"/>
                  </a:lnTo>
                  <a:lnTo>
                    <a:pt x="1657072" y="767677"/>
                  </a:lnTo>
                  <a:lnTo>
                    <a:pt x="1659524" y="766114"/>
                  </a:lnTo>
                  <a:lnTo>
                    <a:pt x="1669013" y="763738"/>
                  </a:lnTo>
                  <a:lnTo>
                    <a:pt x="1671608" y="765091"/>
                  </a:lnTo>
                  <a:lnTo>
                    <a:pt x="1672619" y="765029"/>
                  </a:lnTo>
                  <a:lnTo>
                    <a:pt x="1673374" y="764554"/>
                  </a:lnTo>
                  <a:lnTo>
                    <a:pt x="1674073" y="763698"/>
                  </a:lnTo>
                  <a:lnTo>
                    <a:pt x="1675778" y="760990"/>
                  </a:lnTo>
                  <a:lnTo>
                    <a:pt x="1677219" y="759358"/>
                  </a:lnTo>
                  <a:lnTo>
                    <a:pt x="1678189" y="759241"/>
                  </a:lnTo>
                  <a:lnTo>
                    <a:pt x="1679019" y="759601"/>
                  </a:lnTo>
                  <a:lnTo>
                    <a:pt x="1683418" y="757817"/>
                  </a:lnTo>
                  <a:lnTo>
                    <a:pt x="1683487" y="757414"/>
                  </a:lnTo>
                  <a:lnTo>
                    <a:pt x="1683752" y="756352"/>
                  </a:lnTo>
                  <a:lnTo>
                    <a:pt x="1687270" y="754107"/>
                  </a:lnTo>
                  <a:close/>
                  <a:moveTo>
                    <a:pt x="1602122" y="742156"/>
                  </a:moveTo>
                  <a:lnTo>
                    <a:pt x="1603370" y="742201"/>
                  </a:lnTo>
                  <a:lnTo>
                    <a:pt x="1604099" y="743054"/>
                  </a:lnTo>
                  <a:lnTo>
                    <a:pt x="1603621" y="745154"/>
                  </a:lnTo>
                  <a:lnTo>
                    <a:pt x="1603217" y="745751"/>
                  </a:lnTo>
                  <a:lnTo>
                    <a:pt x="1602806" y="746600"/>
                  </a:lnTo>
                  <a:lnTo>
                    <a:pt x="1602446" y="747565"/>
                  </a:lnTo>
                  <a:lnTo>
                    <a:pt x="1602153" y="748576"/>
                  </a:lnTo>
                  <a:lnTo>
                    <a:pt x="1601592" y="749392"/>
                  </a:lnTo>
                  <a:lnTo>
                    <a:pt x="1599482" y="752812"/>
                  </a:lnTo>
                  <a:lnTo>
                    <a:pt x="1598828" y="754016"/>
                  </a:lnTo>
                  <a:lnTo>
                    <a:pt x="1597907" y="755366"/>
                  </a:lnTo>
                  <a:lnTo>
                    <a:pt x="1593952" y="759340"/>
                  </a:lnTo>
                  <a:lnTo>
                    <a:pt x="1591254" y="761012"/>
                  </a:lnTo>
                  <a:lnTo>
                    <a:pt x="1590192" y="761205"/>
                  </a:lnTo>
                  <a:lnTo>
                    <a:pt x="1588283" y="760467"/>
                  </a:lnTo>
                  <a:lnTo>
                    <a:pt x="1586610" y="758345"/>
                  </a:lnTo>
                  <a:lnTo>
                    <a:pt x="1586318" y="756556"/>
                  </a:lnTo>
                  <a:lnTo>
                    <a:pt x="1588091" y="755244"/>
                  </a:lnTo>
                  <a:lnTo>
                    <a:pt x="1592544" y="754110"/>
                  </a:lnTo>
                  <a:lnTo>
                    <a:pt x="1593745" y="753457"/>
                  </a:lnTo>
                  <a:lnTo>
                    <a:pt x="1594140" y="753403"/>
                  </a:lnTo>
                  <a:lnTo>
                    <a:pt x="1594634" y="753548"/>
                  </a:lnTo>
                  <a:lnTo>
                    <a:pt x="1595172" y="753471"/>
                  </a:lnTo>
                  <a:lnTo>
                    <a:pt x="1595784" y="752965"/>
                  </a:lnTo>
                  <a:lnTo>
                    <a:pt x="1596244" y="752117"/>
                  </a:lnTo>
                  <a:lnTo>
                    <a:pt x="1596329" y="751020"/>
                  </a:lnTo>
                  <a:lnTo>
                    <a:pt x="1596847" y="750523"/>
                  </a:lnTo>
                  <a:lnTo>
                    <a:pt x="1598397" y="748572"/>
                  </a:lnTo>
                  <a:lnTo>
                    <a:pt x="1598499" y="747612"/>
                  </a:lnTo>
                  <a:lnTo>
                    <a:pt x="1598357" y="745415"/>
                  </a:lnTo>
                  <a:lnTo>
                    <a:pt x="1598934" y="744260"/>
                  </a:lnTo>
                  <a:lnTo>
                    <a:pt x="1599703" y="743396"/>
                  </a:lnTo>
                  <a:lnTo>
                    <a:pt x="1601024" y="742484"/>
                  </a:lnTo>
                  <a:close/>
                  <a:moveTo>
                    <a:pt x="2255102" y="741225"/>
                  </a:moveTo>
                  <a:lnTo>
                    <a:pt x="2257675" y="742713"/>
                  </a:lnTo>
                  <a:lnTo>
                    <a:pt x="2263675" y="742710"/>
                  </a:lnTo>
                  <a:lnTo>
                    <a:pt x="2264233" y="743134"/>
                  </a:lnTo>
                  <a:lnTo>
                    <a:pt x="2265382" y="744574"/>
                  </a:lnTo>
                  <a:lnTo>
                    <a:pt x="2266518" y="745212"/>
                  </a:lnTo>
                  <a:lnTo>
                    <a:pt x="2268368" y="747774"/>
                  </a:lnTo>
                  <a:lnTo>
                    <a:pt x="2269563" y="748783"/>
                  </a:lnTo>
                  <a:lnTo>
                    <a:pt x="2274254" y="749420"/>
                  </a:lnTo>
                  <a:lnTo>
                    <a:pt x="2275491" y="750926"/>
                  </a:lnTo>
                  <a:lnTo>
                    <a:pt x="2276108" y="751318"/>
                  </a:lnTo>
                  <a:lnTo>
                    <a:pt x="2286600" y="751808"/>
                  </a:lnTo>
                  <a:lnTo>
                    <a:pt x="2286863" y="752371"/>
                  </a:lnTo>
                  <a:lnTo>
                    <a:pt x="2286977" y="753045"/>
                  </a:lnTo>
                  <a:lnTo>
                    <a:pt x="2286950" y="753650"/>
                  </a:lnTo>
                  <a:lnTo>
                    <a:pt x="2286900" y="754168"/>
                  </a:lnTo>
                  <a:lnTo>
                    <a:pt x="2286953" y="754651"/>
                  </a:lnTo>
                  <a:lnTo>
                    <a:pt x="2287255" y="755490"/>
                  </a:lnTo>
                  <a:lnTo>
                    <a:pt x="2287671" y="756422"/>
                  </a:lnTo>
                  <a:lnTo>
                    <a:pt x="2288118" y="757176"/>
                  </a:lnTo>
                  <a:lnTo>
                    <a:pt x="2288508" y="757478"/>
                  </a:lnTo>
                  <a:lnTo>
                    <a:pt x="2291800" y="756967"/>
                  </a:lnTo>
                  <a:lnTo>
                    <a:pt x="2292887" y="758051"/>
                  </a:lnTo>
                  <a:lnTo>
                    <a:pt x="2293060" y="758520"/>
                  </a:lnTo>
                  <a:lnTo>
                    <a:pt x="2293150" y="759054"/>
                  </a:lnTo>
                  <a:lnTo>
                    <a:pt x="2293264" y="759592"/>
                  </a:lnTo>
                  <a:lnTo>
                    <a:pt x="2293519" y="760061"/>
                  </a:lnTo>
                  <a:lnTo>
                    <a:pt x="2293770" y="760254"/>
                  </a:lnTo>
                  <a:lnTo>
                    <a:pt x="2296784" y="760435"/>
                  </a:lnTo>
                  <a:lnTo>
                    <a:pt x="2298578" y="758479"/>
                  </a:lnTo>
                  <a:lnTo>
                    <a:pt x="2299275" y="756213"/>
                  </a:lnTo>
                  <a:lnTo>
                    <a:pt x="2299743" y="755447"/>
                  </a:lnTo>
                  <a:lnTo>
                    <a:pt x="2300256" y="755001"/>
                  </a:lnTo>
                  <a:lnTo>
                    <a:pt x="2301365" y="754677"/>
                  </a:lnTo>
                  <a:lnTo>
                    <a:pt x="2303872" y="756366"/>
                  </a:lnTo>
                  <a:lnTo>
                    <a:pt x="2306877" y="756369"/>
                  </a:lnTo>
                  <a:lnTo>
                    <a:pt x="2307678" y="757017"/>
                  </a:lnTo>
                  <a:lnTo>
                    <a:pt x="2308415" y="758338"/>
                  </a:lnTo>
                  <a:lnTo>
                    <a:pt x="2309175" y="760698"/>
                  </a:lnTo>
                  <a:lnTo>
                    <a:pt x="2310106" y="762701"/>
                  </a:lnTo>
                  <a:lnTo>
                    <a:pt x="2312142" y="763812"/>
                  </a:lnTo>
                  <a:lnTo>
                    <a:pt x="2313362" y="766261"/>
                  </a:lnTo>
                  <a:lnTo>
                    <a:pt x="2314210" y="766458"/>
                  </a:lnTo>
                  <a:lnTo>
                    <a:pt x="2314563" y="766703"/>
                  </a:lnTo>
                  <a:lnTo>
                    <a:pt x="2314803" y="767246"/>
                  </a:lnTo>
                  <a:lnTo>
                    <a:pt x="2315234" y="768608"/>
                  </a:lnTo>
                  <a:lnTo>
                    <a:pt x="2315392" y="768877"/>
                  </a:lnTo>
                  <a:lnTo>
                    <a:pt x="2316754" y="769463"/>
                  </a:lnTo>
                  <a:lnTo>
                    <a:pt x="2318111" y="771015"/>
                  </a:lnTo>
                  <a:lnTo>
                    <a:pt x="2317813" y="771773"/>
                  </a:lnTo>
                  <a:lnTo>
                    <a:pt x="2317854" y="772446"/>
                  </a:lnTo>
                  <a:lnTo>
                    <a:pt x="2318610" y="773965"/>
                  </a:lnTo>
                  <a:lnTo>
                    <a:pt x="2318989" y="774424"/>
                  </a:lnTo>
                  <a:lnTo>
                    <a:pt x="2319431" y="774576"/>
                  </a:lnTo>
                  <a:lnTo>
                    <a:pt x="2320311" y="773793"/>
                  </a:lnTo>
                  <a:lnTo>
                    <a:pt x="2320520" y="773833"/>
                  </a:lnTo>
                  <a:lnTo>
                    <a:pt x="2320900" y="775233"/>
                  </a:lnTo>
                  <a:lnTo>
                    <a:pt x="2321188" y="777391"/>
                  </a:lnTo>
                  <a:lnTo>
                    <a:pt x="2321517" y="781586"/>
                  </a:lnTo>
                  <a:lnTo>
                    <a:pt x="2321324" y="783124"/>
                  </a:lnTo>
                  <a:lnTo>
                    <a:pt x="2319717" y="787615"/>
                  </a:lnTo>
                  <a:lnTo>
                    <a:pt x="2319726" y="788171"/>
                  </a:lnTo>
                  <a:lnTo>
                    <a:pt x="2319849" y="790101"/>
                  </a:lnTo>
                  <a:lnTo>
                    <a:pt x="2319828" y="790905"/>
                  </a:lnTo>
                  <a:lnTo>
                    <a:pt x="2319472" y="791918"/>
                  </a:lnTo>
                  <a:lnTo>
                    <a:pt x="2318998" y="792765"/>
                  </a:lnTo>
                  <a:lnTo>
                    <a:pt x="2318785" y="793806"/>
                  </a:lnTo>
                  <a:lnTo>
                    <a:pt x="2319224" y="795387"/>
                  </a:lnTo>
                  <a:lnTo>
                    <a:pt x="2318363" y="797332"/>
                  </a:lnTo>
                  <a:lnTo>
                    <a:pt x="2316280" y="799838"/>
                  </a:lnTo>
                  <a:lnTo>
                    <a:pt x="2315351" y="801592"/>
                  </a:lnTo>
                  <a:lnTo>
                    <a:pt x="2315059" y="802701"/>
                  </a:lnTo>
                  <a:lnTo>
                    <a:pt x="2314909" y="803089"/>
                  </a:lnTo>
                  <a:lnTo>
                    <a:pt x="2314510" y="803652"/>
                  </a:lnTo>
                  <a:lnTo>
                    <a:pt x="2311308" y="806470"/>
                  </a:lnTo>
                  <a:lnTo>
                    <a:pt x="2310752" y="807751"/>
                  </a:lnTo>
                  <a:lnTo>
                    <a:pt x="2312050" y="810862"/>
                  </a:lnTo>
                  <a:lnTo>
                    <a:pt x="2313504" y="813028"/>
                  </a:lnTo>
                  <a:lnTo>
                    <a:pt x="2314911" y="813431"/>
                  </a:lnTo>
                  <a:lnTo>
                    <a:pt x="2316077" y="811242"/>
                  </a:lnTo>
                  <a:lnTo>
                    <a:pt x="2314306" y="811310"/>
                  </a:lnTo>
                  <a:lnTo>
                    <a:pt x="2313383" y="810935"/>
                  </a:lnTo>
                  <a:lnTo>
                    <a:pt x="2312786" y="809196"/>
                  </a:lnTo>
                  <a:lnTo>
                    <a:pt x="2314577" y="806548"/>
                  </a:lnTo>
                  <a:lnTo>
                    <a:pt x="2317683" y="805017"/>
                  </a:lnTo>
                  <a:lnTo>
                    <a:pt x="2318150" y="804462"/>
                  </a:lnTo>
                  <a:lnTo>
                    <a:pt x="2318386" y="803800"/>
                  </a:lnTo>
                  <a:lnTo>
                    <a:pt x="2318796" y="802070"/>
                  </a:lnTo>
                  <a:lnTo>
                    <a:pt x="2319055" y="801389"/>
                  </a:lnTo>
                  <a:lnTo>
                    <a:pt x="2320378" y="799558"/>
                  </a:lnTo>
                  <a:lnTo>
                    <a:pt x="2320808" y="798696"/>
                  </a:lnTo>
                  <a:lnTo>
                    <a:pt x="2320972" y="797843"/>
                  </a:lnTo>
                  <a:lnTo>
                    <a:pt x="2321149" y="795701"/>
                  </a:lnTo>
                  <a:lnTo>
                    <a:pt x="2321298" y="795269"/>
                  </a:lnTo>
                  <a:lnTo>
                    <a:pt x="2322118" y="794838"/>
                  </a:lnTo>
                  <a:lnTo>
                    <a:pt x="2322868" y="793788"/>
                  </a:lnTo>
                  <a:lnTo>
                    <a:pt x="2324186" y="790652"/>
                  </a:lnTo>
                  <a:lnTo>
                    <a:pt x="2324017" y="790278"/>
                  </a:lnTo>
                  <a:lnTo>
                    <a:pt x="2323510" y="788477"/>
                  </a:lnTo>
                  <a:lnTo>
                    <a:pt x="2324336" y="787214"/>
                  </a:lnTo>
                  <a:lnTo>
                    <a:pt x="2327591" y="786752"/>
                  </a:lnTo>
                  <a:lnTo>
                    <a:pt x="2328478" y="787566"/>
                  </a:lnTo>
                  <a:lnTo>
                    <a:pt x="2331170" y="788006"/>
                  </a:lnTo>
                  <a:lnTo>
                    <a:pt x="2333581" y="789801"/>
                  </a:lnTo>
                  <a:lnTo>
                    <a:pt x="2334374" y="790014"/>
                  </a:lnTo>
                  <a:lnTo>
                    <a:pt x="2338469" y="786894"/>
                  </a:lnTo>
                  <a:lnTo>
                    <a:pt x="2340058" y="787412"/>
                  </a:lnTo>
                  <a:lnTo>
                    <a:pt x="2341795" y="788898"/>
                  </a:lnTo>
                  <a:lnTo>
                    <a:pt x="2342586" y="789116"/>
                  </a:lnTo>
                  <a:lnTo>
                    <a:pt x="2343450" y="788718"/>
                  </a:lnTo>
                  <a:lnTo>
                    <a:pt x="2345779" y="786279"/>
                  </a:lnTo>
                  <a:lnTo>
                    <a:pt x="2347859" y="786549"/>
                  </a:lnTo>
                  <a:lnTo>
                    <a:pt x="2351144" y="782152"/>
                  </a:lnTo>
                  <a:lnTo>
                    <a:pt x="2351272" y="781400"/>
                  </a:lnTo>
                  <a:lnTo>
                    <a:pt x="2358253" y="779249"/>
                  </a:lnTo>
                  <a:lnTo>
                    <a:pt x="2365215" y="777068"/>
                  </a:lnTo>
                  <a:lnTo>
                    <a:pt x="2373044" y="778808"/>
                  </a:lnTo>
                  <a:lnTo>
                    <a:pt x="2374365" y="779891"/>
                  </a:lnTo>
                  <a:lnTo>
                    <a:pt x="2376446" y="780004"/>
                  </a:lnTo>
                  <a:lnTo>
                    <a:pt x="2378859" y="781314"/>
                  </a:lnTo>
                  <a:lnTo>
                    <a:pt x="2380165" y="782837"/>
                  </a:lnTo>
                  <a:lnTo>
                    <a:pt x="2381249" y="785155"/>
                  </a:lnTo>
                  <a:lnTo>
                    <a:pt x="2382374" y="787052"/>
                  </a:lnTo>
                  <a:lnTo>
                    <a:pt x="2388596" y="788992"/>
                  </a:lnTo>
                  <a:lnTo>
                    <a:pt x="2389742" y="790348"/>
                  </a:lnTo>
                  <a:lnTo>
                    <a:pt x="2390911" y="792782"/>
                  </a:lnTo>
                  <a:lnTo>
                    <a:pt x="2390796" y="793519"/>
                  </a:lnTo>
                  <a:lnTo>
                    <a:pt x="2390651" y="794168"/>
                  </a:lnTo>
                  <a:lnTo>
                    <a:pt x="2390480" y="794690"/>
                  </a:lnTo>
                  <a:lnTo>
                    <a:pt x="2390295" y="795076"/>
                  </a:lnTo>
                  <a:lnTo>
                    <a:pt x="2390739" y="796232"/>
                  </a:lnTo>
                  <a:lnTo>
                    <a:pt x="2391184" y="796665"/>
                  </a:lnTo>
                  <a:lnTo>
                    <a:pt x="2392101" y="797117"/>
                  </a:lnTo>
                  <a:lnTo>
                    <a:pt x="2391711" y="799097"/>
                  </a:lnTo>
                  <a:lnTo>
                    <a:pt x="2387731" y="800753"/>
                  </a:lnTo>
                  <a:lnTo>
                    <a:pt x="2380458" y="798258"/>
                  </a:lnTo>
                  <a:lnTo>
                    <a:pt x="2379766" y="797278"/>
                  </a:lnTo>
                  <a:lnTo>
                    <a:pt x="2378851" y="795501"/>
                  </a:lnTo>
                  <a:lnTo>
                    <a:pt x="2378065" y="794791"/>
                  </a:lnTo>
                  <a:lnTo>
                    <a:pt x="2377759" y="797032"/>
                  </a:lnTo>
                  <a:lnTo>
                    <a:pt x="2377890" y="797170"/>
                  </a:lnTo>
                  <a:lnTo>
                    <a:pt x="2378203" y="797796"/>
                  </a:lnTo>
                  <a:lnTo>
                    <a:pt x="2376719" y="799208"/>
                  </a:lnTo>
                  <a:lnTo>
                    <a:pt x="2374888" y="799375"/>
                  </a:lnTo>
                  <a:lnTo>
                    <a:pt x="2369297" y="795927"/>
                  </a:lnTo>
                  <a:lnTo>
                    <a:pt x="2363880" y="797515"/>
                  </a:lnTo>
                  <a:lnTo>
                    <a:pt x="2363946" y="798252"/>
                  </a:lnTo>
                  <a:lnTo>
                    <a:pt x="2365217" y="798578"/>
                  </a:lnTo>
                  <a:lnTo>
                    <a:pt x="2366523" y="799511"/>
                  </a:lnTo>
                  <a:lnTo>
                    <a:pt x="2367046" y="800120"/>
                  </a:lnTo>
                  <a:lnTo>
                    <a:pt x="2368056" y="801781"/>
                  </a:lnTo>
                  <a:lnTo>
                    <a:pt x="2368555" y="802308"/>
                  </a:lnTo>
                  <a:lnTo>
                    <a:pt x="2379165" y="802164"/>
                  </a:lnTo>
                  <a:lnTo>
                    <a:pt x="2380060" y="803369"/>
                  </a:lnTo>
                  <a:lnTo>
                    <a:pt x="2380273" y="803548"/>
                  </a:lnTo>
                  <a:lnTo>
                    <a:pt x="2384090" y="803544"/>
                  </a:lnTo>
                  <a:lnTo>
                    <a:pt x="2386200" y="804818"/>
                  </a:lnTo>
                  <a:lnTo>
                    <a:pt x="2388503" y="804982"/>
                  </a:lnTo>
                  <a:lnTo>
                    <a:pt x="2390423" y="807582"/>
                  </a:lnTo>
                  <a:lnTo>
                    <a:pt x="2390889" y="807349"/>
                  </a:lnTo>
                  <a:lnTo>
                    <a:pt x="2391971" y="805756"/>
                  </a:lnTo>
                  <a:lnTo>
                    <a:pt x="2393525" y="805120"/>
                  </a:lnTo>
                  <a:lnTo>
                    <a:pt x="2403823" y="808061"/>
                  </a:lnTo>
                  <a:lnTo>
                    <a:pt x="2414166" y="810936"/>
                  </a:lnTo>
                  <a:lnTo>
                    <a:pt x="2424553" y="813746"/>
                  </a:lnTo>
                  <a:lnTo>
                    <a:pt x="2424723" y="813903"/>
                  </a:lnTo>
                  <a:lnTo>
                    <a:pt x="2424914" y="814795"/>
                  </a:lnTo>
                  <a:lnTo>
                    <a:pt x="2425094" y="815173"/>
                  </a:lnTo>
                  <a:lnTo>
                    <a:pt x="2427091" y="817200"/>
                  </a:lnTo>
                  <a:lnTo>
                    <a:pt x="2427946" y="819046"/>
                  </a:lnTo>
                  <a:lnTo>
                    <a:pt x="2427891" y="821540"/>
                  </a:lnTo>
                  <a:lnTo>
                    <a:pt x="2427621" y="821853"/>
                  </a:lnTo>
                  <a:lnTo>
                    <a:pt x="2426794" y="821585"/>
                  </a:lnTo>
                  <a:lnTo>
                    <a:pt x="2426474" y="821713"/>
                  </a:lnTo>
                  <a:lnTo>
                    <a:pt x="2426325" y="822184"/>
                  </a:lnTo>
                  <a:lnTo>
                    <a:pt x="2426160" y="823483"/>
                  </a:lnTo>
                  <a:lnTo>
                    <a:pt x="2426047" y="823994"/>
                  </a:lnTo>
                  <a:lnTo>
                    <a:pt x="2425589" y="824947"/>
                  </a:lnTo>
                  <a:lnTo>
                    <a:pt x="2424001" y="826477"/>
                  </a:lnTo>
                  <a:lnTo>
                    <a:pt x="2414685" y="827808"/>
                  </a:lnTo>
                  <a:lnTo>
                    <a:pt x="2405360" y="829085"/>
                  </a:lnTo>
                  <a:lnTo>
                    <a:pt x="2396025" y="830310"/>
                  </a:lnTo>
                  <a:lnTo>
                    <a:pt x="2396973" y="831831"/>
                  </a:lnTo>
                  <a:lnTo>
                    <a:pt x="2405720" y="832300"/>
                  </a:lnTo>
                  <a:lnTo>
                    <a:pt x="2407117" y="833680"/>
                  </a:lnTo>
                  <a:lnTo>
                    <a:pt x="2406138" y="834992"/>
                  </a:lnTo>
                  <a:lnTo>
                    <a:pt x="2404814" y="834823"/>
                  </a:lnTo>
                  <a:lnTo>
                    <a:pt x="2402171" y="833397"/>
                  </a:lnTo>
                  <a:lnTo>
                    <a:pt x="2389765" y="831681"/>
                  </a:lnTo>
                  <a:lnTo>
                    <a:pt x="2377396" y="829872"/>
                  </a:lnTo>
                  <a:lnTo>
                    <a:pt x="2375141" y="827109"/>
                  </a:lnTo>
                  <a:lnTo>
                    <a:pt x="2364943" y="823462"/>
                  </a:lnTo>
                  <a:lnTo>
                    <a:pt x="2365775" y="824574"/>
                  </a:lnTo>
                  <a:lnTo>
                    <a:pt x="2367288" y="824818"/>
                  </a:lnTo>
                  <a:lnTo>
                    <a:pt x="2368073" y="824897"/>
                  </a:lnTo>
                  <a:lnTo>
                    <a:pt x="2368970" y="825852"/>
                  </a:lnTo>
                  <a:lnTo>
                    <a:pt x="2374330" y="828668"/>
                  </a:lnTo>
                  <a:lnTo>
                    <a:pt x="2374851" y="829728"/>
                  </a:lnTo>
                  <a:lnTo>
                    <a:pt x="2374655" y="831092"/>
                  </a:lnTo>
                  <a:lnTo>
                    <a:pt x="2372579" y="832526"/>
                  </a:lnTo>
                  <a:lnTo>
                    <a:pt x="2372630" y="833288"/>
                  </a:lnTo>
                  <a:lnTo>
                    <a:pt x="2371354" y="834863"/>
                  </a:lnTo>
                  <a:lnTo>
                    <a:pt x="2371427" y="835666"/>
                  </a:lnTo>
                  <a:lnTo>
                    <a:pt x="2372562" y="836099"/>
                  </a:lnTo>
                  <a:lnTo>
                    <a:pt x="2375600" y="833747"/>
                  </a:lnTo>
                  <a:lnTo>
                    <a:pt x="2387847" y="836038"/>
                  </a:lnTo>
                  <a:lnTo>
                    <a:pt x="2389182" y="836826"/>
                  </a:lnTo>
                  <a:lnTo>
                    <a:pt x="2390516" y="836775"/>
                  </a:lnTo>
                  <a:lnTo>
                    <a:pt x="2391197" y="837550"/>
                  </a:lnTo>
                  <a:lnTo>
                    <a:pt x="2390844" y="838112"/>
                  </a:lnTo>
                  <a:lnTo>
                    <a:pt x="2390004" y="838088"/>
                  </a:lnTo>
                  <a:lnTo>
                    <a:pt x="2389647" y="838455"/>
                  </a:lnTo>
                  <a:lnTo>
                    <a:pt x="2389515" y="839062"/>
                  </a:lnTo>
                  <a:lnTo>
                    <a:pt x="2389514" y="839704"/>
                  </a:lnTo>
                  <a:lnTo>
                    <a:pt x="2389550" y="840285"/>
                  </a:lnTo>
                  <a:lnTo>
                    <a:pt x="2389515" y="840691"/>
                  </a:lnTo>
                  <a:lnTo>
                    <a:pt x="2388874" y="841826"/>
                  </a:lnTo>
                  <a:lnTo>
                    <a:pt x="2388102" y="842299"/>
                  </a:lnTo>
                  <a:lnTo>
                    <a:pt x="2386426" y="842406"/>
                  </a:lnTo>
                  <a:lnTo>
                    <a:pt x="2386507" y="843213"/>
                  </a:lnTo>
                  <a:lnTo>
                    <a:pt x="2390514" y="844068"/>
                  </a:lnTo>
                  <a:lnTo>
                    <a:pt x="2391313" y="843086"/>
                  </a:lnTo>
                  <a:lnTo>
                    <a:pt x="2391878" y="841542"/>
                  </a:lnTo>
                  <a:lnTo>
                    <a:pt x="2392761" y="840399"/>
                  </a:lnTo>
                  <a:lnTo>
                    <a:pt x="2394470" y="839396"/>
                  </a:lnTo>
                  <a:lnTo>
                    <a:pt x="2404357" y="841417"/>
                  </a:lnTo>
                  <a:lnTo>
                    <a:pt x="2403568" y="844259"/>
                  </a:lnTo>
                  <a:lnTo>
                    <a:pt x="2402077" y="845577"/>
                  </a:lnTo>
                  <a:lnTo>
                    <a:pt x="2391336" y="846510"/>
                  </a:lnTo>
                  <a:lnTo>
                    <a:pt x="2380589" y="847374"/>
                  </a:lnTo>
                  <a:lnTo>
                    <a:pt x="2379233" y="849016"/>
                  </a:lnTo>
                  <a:lnTo>
                    <a:pt x="2380658" y="849772"/>
                  </a:lnTo>
                  <a:lnTo>
                    <a:pt x="2383780" y="848567"/>
                  </a:lnTo>
                  <a:lnTo>
                    <a:pt x="2385159" y="850029"/>
                  </a:lnTo>
                  <a:lnTo>
                    <a:pt x="2384456" y="851095"/>
                  </a:lnTo>
                  <a:lnTo>
                    <a:pt x="2382641" y="850958"/>
                  </a:lnTo>
                  <a:lnTo>
                    <a:pt x="2381888" y="851820"/>
                  </a:lnTo>
                  <a:lnTo>
                    <a:pt x="2382540" y="852588"/>
                  </a:lnTo>
                  <a:lnTo>
                    <a:pt x="2383953" y="853666"/>
                  </a:lnTo>
                  <a:lnTo>
                    <a:pt x="2384588" y="853793"/>
                  </a:lnTo>
                  <a:lnTo>
                    <a:pt x="2385177" y="854332"/>
                  </a:lnTo>
                  <a:lnTo>
                    <a:pt x="2385625" y="855596"/>
                  </a:lnTo>
                  <a:lnTo>
                    <a:pt x="2385730" y="856884"/>
                  </a:lnTo>
                  <a:lnTo>
                    <a:pt x="2385288" y="857514"/>
                  </a:lnTo>
                  <a:lnTo>
                    <a:pt x="2384089" y="857816"/>
                  </a:lnTo>
                  <a:lnTo>
                    <a:pt x="2381763" y="859820"/>
                  </a:lnTo>
                  <a:lnTo>
                    <a:pt x="2380811" y="861646"/>
                  </a:lnTo>
                  <a:lnTo>
                    <a:pt x="2381116" y="862708"/>
                  </a:lnTo>
                  <a:lnTo>
                    <a:pt x="2381605" y="863969"/>
                  </a:lnTo>
                  <a:lnTo>
                    <a:pt x="2381886" y="865189"/>
                  </a:lnTo>
                  <a:lnTo>
                    <a:pt x="2381856" y="867879"/>
                  </a:lnTo>
                  <a:lnTo>
                    <a:pt x="2382015" y="868843"/>
                  </a:lnTo>
                  <a:lnTo>
                    <a:pt x="2382478" y="867499"/>
                  </a:lnTo>
                  <a:lnTo>
                    <a:pt x="2382543" y="868171"/>
                  </a:lnTo>
                  <a:lnTo>
                    <a:pt x="2383000" y="867306"/>
                  </a:lnTo>
                  <a:lnTo>
                    <a:pt x="2383219" y="864482"/>
                  </a:lnTo>
                  <a:lnTo>
                    <a:pt x="2383572" y="863622"/>
                  </a:lnTo>
                  <a:lnTo>
                    <a:pt x="2383193" y="862496"/>
                  </a:lnTo>
                  <a:lnTo>
                    <a:pt x="2383063" y="862181"/>
                  </a:lnTo>
                  <a:lnTo>
                    <a:pt x="2383629" y="861282"/>
                  </a:lnTo>
                  <a:lnTo>
                    <a:pt x="2386348" y="858943"/>
                  </a:lnTo>
                  <a:lnTo>
                    <a:pt x="2388100" y="855362"/>
                  </a:lnTo>
                  <a:lnTo>
                    <a:pt x="2388436" y="854160"/>
                  </a:lnTo>
                  <a:lnTo>
                    <a:pt x="2388866" y="851368"/>
                  </a:lnTo>
                  <a:lnTo>
                    <a:pt x="2389081" y="850470"/>
                  </a:lnTo>
                  <a:lnTo>
                    <a:pt x="2389739" y="850017"/>
                  </a:lnTo>
                  <a:lnTo>
                    <a:pt x="2390766" y="850290"/>
                  </a:lnTo>
                  <a:lnTo>
                    <a:pt x="2391820" y="851122"/>
                  </a:lnTo>
                  <a:lnTo>
                    <a:pt x="2392559" y="852356"/>
                  </a:lnTo>
                  <a:lnTo>
                    <a:pt x="2391684" y="852424"/>
                  </a:lnTo>
                  <a:lnTo>
                    <a:pt x="2391323" y="852849"/>
                  </a:lnTo>
                  <a:lnTo>
                    <a:pt x="2391077" y="853919"/>
                  </a:lnTo>
                  <a:lnTo>
                    <a:pt x="2392128" y="854760"/>
                  </a:lnTo>
                  <a:lnTo>
                    <a:pt x="2393126" y="854303"/>
                  </a:lnTo>
                  <a:lnTo>
                    <a:pt x="2395729" y="851213"/>
                  </a:lnTo>
                  <a:lnTo>
                    <a:pt x="2396829" y="850965"/>
                  </a:lnTo>
                  <a:lnTo>
                    <a:pt x="2397985" y="851362"/>
                  </a:lnTo>
                  <a:lnTo>
                    <a:pt x="2399155" y="852369"/>
                  </a:lnTo>
                  <a:lnTo>
                    <a:pt x="2398568" y="853572"/>
                  </a:lnTo>
                  <a:lnTo>
                    <a:pt x="2397752" y="854586"/>
                  </a:lnTo>
                  <a:lnTo>
                    <a:pt x="2397120" y="856046"/>
                  </a:lnTo>
                  <a:lnTo>
                    <a:pt x="2397078" y="858604"/>
                  </a:lnTo>
                  <a:lnTo>
                    <a:pt x="2397615" y="860522"/>
                  </a:lnTo>
                  <a:lnTo>
                    <a:pt x="2398244" y="859660"/>
                  </a:lnTo>
                  <a:lnTo>
                    <a:pt x="2399390" y="856326"/>
                  </a:lnTo>
                  <a:lnTo>
                    <a:pt x="2401276" y="854722"/>
                  </a:lnTo>
                  <a:lnTo>
                    <a:pt x="2401530" y="854027"/>
                  </a:lnTo>
                  <a:lnTo>
                    <a:pt x="2401604" y="852383"/>
                  </a:lnTo>
                  <a:lnTo>
                    <a:pt x="2402138" y="851831"/>
                  </a:lnTo>
                  <a:lnTo>
                    <a:pt x="2404038" y="852155"/>
                  </a:lnTo>
                  <a:lnTo>
                    <a:pt x="2404546" y="852838"/>
                  </a:lnTo>
                  <a:lnTo>
                    <a:pt x="2405655" y="854739"/>
                  </a:lnTo>
                  <a:lnTo>
                    <a:pt x="2406224" y="855241"/>
                  </a:lnTo>
                  <a:lnTo>
                    <a:pt x="2407912" y="855243"/>
                  </a:lnTo>
                  <a:lnTo>
                    <a:pt x="2407790" y="853344"/>
                  </a:lnTo>
                  <a:lnTo>
                    <a:pt x="2408272" y="850614"/>
                  </a:lnTo>
                  <a:lnTo>
                    <a:pt x="2408155" y="849198"/>
                  </a:lnTo>
                  <a:lnTo>
                    <a:pt x="2408735" y="847170"/>
                  </a:lnTo>
                  <a:lnTo>
                    <a:pt x="2409739" y="846267"/>
                  </a:lnTo>
                  <a:lnTo>
                    <a:pt x="2410906" y="846352"/>
                  </a:lnTo>
                  <a:lnTo>
                    <a:pt x="2411968" y="847292"/>
                  </a:lnTo>
                  <a:lnTo>
                    <a:pt x="2411590" y="848070"/>
                  </a:lnTo>
                  <a:lnTo>
                    <a:pt x="2411401" y="849351"/>
                  </a:lnTo>
                  <a:lnTo>
                    <a:pt x="2411512" y="850536"/>
                  </a:lnTo>
                  <a:lnTo>
                    <a:pt x="2412035" y="851002"/>
                  </a:lnTo>
                  <a:lnTo>
                    <a:pt x="2414577" y="851200"/>
                  </a:lnTo>
                  <a:lnTo>
                    <a:pt x="2415158" y="851810"/>
                  </a:lnTo>
                  <a:lnTo>
                    <a:pt x="2415610" y="853161"/>
                  </a:lnTo>
                  <a:lnTo>
                    <a:pt x="2415970" y="854080"/>
                  </a:lnTo>
                  <a:lnTo>
                    <a:pt x="2416391" y="854791"/>
                  </a:lnTo>
                  <a:lnTo>
                    <a:pt x="2417026" y="855532"/>
                  </a:lnTo>
                  <a:lnTo>
                    <a:pt x="2419647" y="857672"/>
                  </a:lnTo>
                  <a:lnTo>
                    <a:pt x="2419343" y="860117"/>
                  </a:lnTo>
                  <a:lnTo>
                    <a:pt x="2418228" y="864336"/>
                  </a:lnTo>
                  <a:lnTo>
                    <a:pt x="2418143" y="866778"/>
                  </a:lnTo>
                  <a:lnTo>
                    <a:pt x="2418370" y="867055"/>
                  </a:lnTo>
                  <a:lnTo>
                    <a:pt x="2419055" y="868233"/>
                  </a:lnTo>
                  <a:lnTo>
                    <a:pt x="2418935" y="868540"/>
                  </a:lnTo>
                  <a:lnTo>
                    <a:pt x="2418676" y="869692"/>
                  </a:lnTo>
                  <a:lnTo>
                    <a:pt x="2419059" y="870021"/>
                  </a:lnTo>
                  <a:lnTo>
                    <a:pt x="2419532" y="870097"/>
                  </a:lnTo>
                  <a:lnTo>
                    <a:pt x="2419988" y="869917"/>
                  </a:lnTo>
                  <a:lnTo>
                    <a:pt x="2420319" y="869506"/>
                  </a:lnTo>
                  <a:lnTo>
                    <a:pt x="2420507" y="868810"/>
                  </a:lnTo>
                  <a:lnTo>
                    <a:pt x="2420887" y="866467"/>
                  </a:lnTo>
                  <a:lnTo>
                    <a:pt x="2421213" y="866199"/>
                  </a:lnTo>
                  <a:lnTo>
                    <a:pt x="2422332" y="864276"/>
                  </a:lnTo>
                  <a:lnTo>
                    <a:pt x="2422807" y="864022"/>
                  </a:lnTo>
                  <a:lnTo>
                    <a:pt x="2423376" y="864102"/>
                  </a:lnTo>
                  <a:lnTo>
                    <a:pt x="2423819" y="863798"/>
                  </a:lnTo>
                  <a:lnTo>
                    <a:pt x="2423907" y="862389"/>
                  </a:lnTo>
                  <a:lnTo>
                    <a:pt x="2422088" y="862599"/>
                  </a:lnTo>
                  <a:lnTo>
                    <a:pt x="2422217" y="862105"/>
                  </a:lnTo>
                  <a:lnTo>
                    <a:pt x="2422381" y="861855"/>
                  </a:lnTo>
                  <a:lnTo>
                    <a:pt x="2422579" y="861761"/>
                  </a:lnTo>
                  <a:lnTo>
                    <a:pt x="2422804" y="861771"/>
                  </a:lnTo>
                  <a:lnTo>
                    <a:pt x="2424833" y="861868"/>
                  </a:lnTo>
                  <a:lnTo>
                    <a:pt x="2426934" y="862847"/>
                  </a:lnTo>
                  <a:lnTo>
                    <a:pt x="2430771" y="866868"/>
                  </a:lnTo>
                  <a:lnTo>
                    <a:pt x="2434154" y="867636"/>
                  </a:lnTo>
                  <a:lnTo>
                    <a:pt x="2435046" y="868922"/>
                  </a:lnTo>
                  <a:lnTo>
                    <a:pt x="2435528" y="870863"/>
                  </a:lnTo>
                  <a:lnTo>
                    <a:pt x="2435593" y="872456"/>
                  </a:lnTo>
                  <a:lnTo>
                    <a:pt x="2435220" y="875208"/>
                  </a:lnTo>
                  <a:lnTo>
                    <a:pt x="2435080" y="876856"/>
                  </a:lnTo>
                  <a:lnTo>
                    <a:pt x="2434977" y="882015"/>
                  </a:lnTo>
                  <a:lnTo>
                    <a:pt x="2434759" y="884727"/>
                  </a:lnTo>
                  <a:lnTo>
                    <a:pt x="2434775" y="885089"/>
                  </a:lnTo>
                  <a:lnTo>
                    <a:pt x="2434382" y="885527"/>
                  </a:lnTo>
                  <a:lnTo>
                    <a:pt x="2433446" y="885196"/>
                  </a:lnTo>
                  <a:lnTo>
                    <a:pt x="2431073" y="887550"/>
                  </a:lnTo>
                  <a:lnTo>
                    <a:pt x="2424405" y="887778"/>
                  </a:lnTo>
                  <a:lnTo>
                    <a:pt x="2424152" y="889618"/>
                  </a:lnTo>
                  <a:lnTo>
                    <a:pt x="2423467" y="891149"/>
                  </a:lnTo>
                  <a:lnTo>
                    <a:pt x="2422594" y="892181"/>
                  </a:lnTo>
                  <a:lnTo>
                    <a:pt x="2421798" y="892568"/>
                  </a:lnTo>
                  <a:lnTo>
                    <a:pt x="2423302" y="893295"/>
                  </a:lnTo>
                  <a:lnTo>
                    <a:pt x="2426101" y="890700"/>
                  </a:lnTo>
                  <a:lnTo>
                    <a:pt x="2427820" y="892624"/>
                  </a:lnTo>
                  <a:lnTo>
                    <a:pt x="2426960" y="893892"/>
                  </a:lnTo>
                  <a:lnTo>
                    <a:pt x="2424487" y="893488"/>
                  </a:lnTo>
                  <a:lnTo>
                    <a:pt x="2423547" y="894608"/>
                  </a:lnTo>
                  <a:lnTo>
                    <a:pt x="2424585" y="895698"/>
                  </a:lnTo>
                  <a:lnTo>
                    <a:pt x="2428184" y="894816"/>
                  </a:lnTo>
                  <a:lnTo>
                    <a:pt x="2428980" y="894137"/>
                  </a:lnTo>
                  <a:lnTo>
                    <a:pt x="2430304" y="891369"/>
                  </a:lnTo>
                  <a:lnTo>
                    <a:pt x="2431161" y="890677"/>
                  </a:lnTo>
                  <a:lnTo>
                    <a:pt x="2436783" y="890286"/>
                  </a:lnTo>
                  <a:lnTo>
                    <a:pt x="2437471" y="891122"/>
                  </a:lnTo>
                  <a:lnTo>
                    <a:pt x="2438105" y="892676"/>
                  </a:lnTo>
                  <a:lnTo>
                    <a:pt x="2439334" y="896411"/>
                  </a:lnTo>
                  <a:lnTo>
                    <a:pt x="2439599" y="896956"/>
                  </a:lnTo>
                  <a:lnTo>
                    <a:pt x="2440387" y="897410"/>
                  </a:lnTo>
                  <a:lnTo>
                    <a:pt x="2440602" y="898220"/>
                  </a:lnTo>
                  <a:lnTo>
                    <a:pt x="2440756" y="899295"/>
                  </a:lnTo>
                  <a:lnTo>
                    <a:pt x="2441029" y="900399"/>
                  </a:lnTo>
                  <a:lnTo>
                    <a:pt x="2441831" y="901150"/>
                  </a:lnTo>
                  <a:lnTo>
                    <a:pt x="2444236" y="901780"/>
                  </a:lnTo>
                  <a:lnTo>
                    <a:pt x="2444691" y="902180"/>
                  </a:lnTo>
                  <a:lnTo>
                    <a:pt x="2444756" y="904254"/>
                  </a:lnTo>
                  <a:lnTo>
                    <a:pt x="2445421" y="905429"/>
                  </a:lnTo>
                  <a:lnTo>
                    <a:pt x="2446273" y="905954"/>
                  </a:lnTo>
                  <a:lnTo>
                    <a:pt x="2446914" y="906037"/>
                  </a:lnTo>
                  <a:lnTo>
                    <a:pt x="2451011" y="904709"/>
                  </a:lnTo>
                  <a:lnTo>
                    <a:pt x="2450801" y="903605"/>
                  </a:lnTo>
                  <a:lnTo>
                    <a:pt x="2450907" y="901118"/>
                  </a:lnTo>
                  <a:lnTo>
                    <a:pt x="2450660" y="899925"/>
                  </a:lnTo>
                  <a:lnTo>
                    <a:pt x="2448975" y="895190"/>
                  </a:lnTo>
                  <a:lnTo>
                    <a:pt x="2447947" y="892742"/>
                  </a:lnTo>
                  <a:lnTo>
                    <a:pt x="2444804" y="886767"/>
                  </a:lnTo>
                  <a:lnTo>
                    <a:pt x="2447168" y="884380"/>
                  </a:lnTo>
                  <a:lnTo>
                    <a:pt x="2448154" y="882321"/>
                  </a:lnTo>
                  <a:lnTo>
                    <a:pt x="2447687" y="878867"/>
                  </a:lnTo>
                  <a:lnTo>
                    <a:pt x="2448480" y="877874"/>
                  </a:lnTo>
                  <a:lnTo>
                    <a:pt x="2449547" y="878096"/>
                  </a:lnTo>
                  <a:lnTo>
                    <a:pt x="2451747" y="879886"/>
                  </a:lnTo>
                  <a:lnTo>
                    <a:pt x="2452727" y="880336"/>
                  </a:lnTo>
                  <a:lnTo>
                    <a:pt x="2456117" y="885294"/>
                  </a:lnTo>
                  <a:lnTo>
                    <a:pt x="2460941" y="889938"/>
                  </a:lnTo>
                  <a:lnTo>
                    <a:pt x="2464129" y="891221"/>
                  </a:lnTo>
                  <a:lnTo>
                    <a:pt x="2464887" y="892387"/>
                  </a:lnTo>
                  <a:lnTo>
                    <a:pt x="2465158" y="893993"/>
                  </a:lnTo>
                  <a:lnTo>
                    <a:pt x="2464934" y="894586"/>
                  </a:lnTo>
                  <a:lnTo>
                    <a:pt x="2464096" y="894741"/>
                  </a:lnTo>
                  <a:lnTo>
                    <a:pt x="2463060" y="896220"/>
                  </a:lnTo>
                  <a:lnTo>
                    <a:pt x="2462636" y="896438"/>
                  </a:lnTo>
                  <a:lnTo>
                    <a:pt x="2462742" y="897172"/>
                  </a:lnTo>
                  <a:lnTo>
                    <a:pt x="2464552" y="898452"/>
                  </a:lnTo>
                  <a:lnTo>
                    <a:pt x="2465132" y="899147"/>
                  </a:lnTo>
                  <a:lnTo>
                    <a:pt x="2465016" y="898353"/>
                  </a:lnTo>
                  <a:lnTo>
                    <a:pt x="2465519" y="898822"/>
                  </a:lnTo>
                  <a:lnTo>
                    <a:pt x="2465740" y="898364"/>
                  </a:lnTo>
                  <a:lnTo>
                    <a:pt x="2465868" y="897491"/>
                  </a:lnTo>
                  <a:lnTo>
                    <a:pt x="2466087" y="896712"/>
                  </a:lnTo>
                  <a:lnTo>
                    <a:pt x="2470480" y="891604"/>
                  </a:lnTo>
                  <a:lnTo>
                    <a:pt x="2470295" y="891631"/>
                  </a:lnTo>
                  <a:lnTo>
                    <a:pt x="2470446" y="890994"/>
                  </a:lnTo>
                  <a:lnTo>
                    <a:pt x="2470677" y="890404"/>
                  </a:lnTo>
                  <a:lnTo>
                    <a:pt x="2470988" y="890008"/>
                  </a:lnTo>
                  <a:lnTo>
                    <a:pt x="2471378" y="889912"/>
                  </a:lnTo>
                  <a:lnTo>
                    <a:pt x="2471175" y="889941"/>
                  </a:lnTo>
                  <a:lnTo>
                    <a:pt x="2476329" y="885561"/>
                  </a:lnTo>
                  <a:lnTo>
                    <a:pt x="2478734" y="886548"/>
                  </a:lnTo>
                  <a:lnTo>
                    <a:pt x="2479934" y="887857"/>
                  </a:lnTo>
                  <a:lnTo>
                    <a:pt x="2480356" y="889803"/>
                  </a:lnTo>
                  <a:lnTo>
                    <a:pt x="2480922" y="891071"/>
                  </a:lnTo>
                  <a:lnTo>
                    <a:pt x="2483798" y="893679"/>
                  </a:lnTo>
                  <a:lnTo>
                    <a:pt x="2484726" y="894027"/>
                  </a:lnTo>
                  <a:lnTo>
                    <a:pt x="2484573" y="895947"/>
                  </a:lnTo>
                  <a:lnTo>
                    <a:pt x="2483915" y="897201"/>
                  </a:lnTo>
                  <a:lnTo>
                    <a:pt x="2483059" y="897894"/>
                  </a:lnTo>
                  <a:lnTo>
                    <a:pt x="2482311" y="898121"/>
                  </a:lnTo>
                  <a:lnTo>
                    <a:pt x="2482425" y="898854"/>
                  </a:lnTo>
                  <a:lnTo>
                    <a:pt x="2484866" y="898612"/>
                  </a:lnTo>
                  <a:lnTo>
                    <a:pt x="2486128" y="897807"/>
                  </a:lnTo>
                  <a:lnTo>
                    <a:pt x="2486789" y="896024"/>
                  </a:lnTo>
                  <a:lnTo>
                    <a:pt x="2486540" y="892830"/>
                  </a:lnTo>
                  <a:lnTo>
                    <a:pt x="2485487" y="891212"/>
                  </a:lnTo>
                  <a:lnTo>
                    <a:pt x="2484258" y="890129"/>
                  </a:lnTo>
                  <a:lnTo>
                    <a:pt x="2483481" y="888562"/>
                  </a:lnTo>
                  <a:lnTo>
                    <a:pt x="2483239" y="886693"/>
                  </a:lnTo>
                  <a:lnTo>
                    <a:pt x="2483340" y="886089"/>
                  </a:lnTo>
                  <a:lnTo>
                    <a:pt x="2484380" y="885763"/>
                  </a:lnTo>
                  <a:lnTo>
                    <a:pt x="2484698" y="885251"/>
                  </a:lnTo>
                  <a:lnTo>
                    <a:pt x="2485296" y="883696"/>
                  </a:lnTo>
                  <a:lnTo>
                    <a:pt x="2485599" y="883338"/>
                  </a:lnTo>
                  <a:lnTo>
                    <a:pt x="2485639" y="882858"/>
                  </a:lnTo>
                  <a:lnTo>
                    <a:pt x="2485679" y="881830"/>
                  </a:lnTo>
                  <a:lnTo>
                    <a:pt x="2485810" y="880779"/>
                  </a:lnTo>
                  <a:lnTo>
                    <a:pt x="2486135" y="880261"/>
                  </a:lnTo>
                  <a:lnTo>
                    <a:pt x="2488702" y="879088"/>
                  </a:lnTo>
                  <a:lnTo>
                    <a:pt x="2493354" y="881468"/>
                  </a:lnTo>
                  <a:lnTo>
                    <a:pt x="2493835" y="882130"/>
                  </a:lnTo>
                  <a:lnTo>
                    <a:pt x="2494150" y="882952"/>
                  </a:lnTo>
                  <a:lnTo>
                    <a:pt x="2494450" y="883906"/>
                  </a:lnTo>
                  <a:lnTo>
                    <a:pt x="2494878" y="884974"/>
                  </a:lnTo>
                  <a:lnTo>
                    <a:pt x="2495512" y="885920"/>
                  </a:lnTo>
                  <a:lnTo>
                    <a:pt x="2504516" y="892745"/>
                  </a:lnTo>
                  <a:lnTo>
                    <a:pt x="2509859" y="891699"/>
                  </a:lnTo>
                  <a:lnTo>
                    <a:pt x="2511747" y="892408"/>
                  </a:lnTo>
                  <a:lnTo>
                    <a:pt x="2515749" y="895810"/>
                  </a:lnTo>
                  <a:lnTo>
                    <a:pt x="2516591" y="895776"/>
                  </a:lnTo>
                  <a:lnTo>
                    <a:pt x="2516126" y="897623"/>
                  </a:lnTo>
                  <a:lnTo>
                    <a:pt x="2515583" y="898712"/>
                  </a:lnTo>
                  <a:lnTo>
                    <a:pt x="2510840" y="903495"/>
                  </a:lnTo>
                  <a:lnTo>
                    <a:pt x="2516614" y="901723"/>
                  </a:lnTo>
                  <a:lnTo>
                    <a:pt x="2521462" y="896603"/>
                  </a:lnTo>
                  <a:lnTo>
                    <a:pt x="2526866" y="894917"/>
                  </a:lnTo>
                  <a:lnTo>
                    <a:pt x="2531941" y="895545"/>
                  </a:lnTo>
                  <a:lnTo>
                    <a:pt x="2540054" y="894680"/>
                  </a:lnTo>
                  <a:lnTo>
                    <a:pt x="2539913" y="893952"/>
                  </a:lnTo>
                  <a:lnTo>
                    <a:pt x="2539263" y="893531"/>
                  </a:lnTo>
                  <a:lnTo>
                    <a:pt x="2539069" y="893634"/>
                  </a:lnTo>
                  <a:lnTo>
                    <a:pt x="2539000" y="894117"/>
                  </a:lnTo>
                  <a:lnTo>
                    <a:pt x="2538110" y="893197"/>
                  </a:lnTo>
                  <a:lnTo>
                    <a:pt x="2532163" y="893084"/>
                  </a:lnTo>
                  <a:lnTo>
                    <a:pt x="2530861" y="892278"/>
                  </a:lnTo>
                  <a:lnTo>
                    <a:pt x="2528279" y="889702"/>
                  </a:lnTo>
                  <a:lnTo>
                    <a:pt x="2522432" y="888774"/>
                  </a:lnTo>
                  <a:lnTo>
                    <a:pt x="2521945" y="888284"/>
                  </a:lnTo>
                  <a:lnTo>
                    <a:pt x="2521280" y="887350"/>
                  </a:lnTo>
                  <a:lnTo>
                    <a:pt x="2520867" y="886418"/>
                  </a:lnTo>
                  <a:lnTo>
                    <a:pt x="2521135" y="885919"/>
                  </a:lnTo>
                  <a:lnTo>
                    <a:pt x="2522201" y="885265"/>
                  </a:lnTo>
                  <a:lnTo>
                    <a:pt x="2524156" y="882865"/>
                  </a:lnTo>
                  <a:lnTo>
                    <a:pt x="2531650" y="879179"/>
                  </a:lnTo>
                  <a:lnTo>
                    <a:pt x="2534190" y="874334"/>
                  </a:lnTo>
                  <a:lnTo>
                    <a:pt x="2535794" y="873544"/>
                  </a:lnTo>
                  <a:lnTo>
                    <a:pt x="2535266" y="875786"/>
                  </a:lnTo>
                  <a:lnTo>
                    <a:pt x="2535336" y="876859"/>
                  </a:lnTo>
                  <a:lnTo>
                    <a:pt x="2536020" y="877193"/>
                  </a:lnTo>
                  <a:lnTo>
                    <a:pt x="2538502" y="877512"/>
                  </a:lnTo>
                  <a:lnTo>
                    <a:pt x="2540179" y="875839"/>
                  </a:lnTo>
                  <a:lnTo>
                    <a:pt x="2544742" y="876411"/>
                  </a:lnTo>
                  <a:lnTo>
                    <a:pt x="2544585" y="875614"/>
                  </a:lnTo>
                  <a:lnTo>
                    <a:pt x="2542511" y="875255"/>
                  </a:lnTo>
                  <a:lnTo>
                    <a:pt x="2541889" y="875433"/>
                  </a:lnTo>
                  <a:lnTo>
                    <a:pt x="2541917" y="874942"/>
                  </a:lnTo>
                  <a:lnTo>
                    <a:pt x="2541868" y="874759"/>
                  </a:lnTo>
                  <a:lnTo>
                    <a:pt x="2542150" y="873956"/>
                  </a:lnTo>
                  <a:lnTo>
                    <a:pt x="2542403" y="873756"/>
                  </a:lnTo>
                  <a:lnTo>
                    <a:pt x="2542690" y="873712"/>
                  </a:lnTo>
                  <a:lnTo>
                    <a:pt x="2542315" y="873224"/>
                  </a:lnTo>
                  <a:lnTo>
                    <a:pt x="2542177" y="873125"/>
                  </a:lnTo>
                  <a:lnTo>
                    <a:pt x="2542034" y="872396"/>
                  </a:lnTo>
                  <a:lnTo>
                    <a:pt x="2544247" y="871984"/>
                  </a:lnTo>
                  <a:lnTo>
                    <a:pt x="2544538" y="871592"/>
                  </a:lnTo>
                  <a:lnTo>
                    <a:pt x="2544541" y="870787"/>
                  </a:lnTo>
                  <a:lnTo>
                    <a:pt x="2544480" y="869810"/>
                  </a:lnTo>
                  <a:lnTo>
                    <a:pt x="2544583" y="868901"/>
                  </a:lnTo>
                  <a:lnTo>
                    <a:pt x="2544985" y="868435"/>
                  </a:lnTo>
                  <a:lnTo>
                    <a:pt x="2546778" y="868487"/>
                  </a:lnTo>
                  <a:lnTo>
                    <a:pt x="2547310" y="868144"/>
                  </a:lnTo>
                  <a:lnTo>
                    <a:pt x="2548182" y="866913"/>
                  </a:lnTo>
                  <a:lnTo>
                    <a:pt x="2548675" y="866549"/>
                  </a:lnTo>
                  <a:lnTo>
                    <a:pt x="2548529" y="865822"/>
                  </a:lnTo>
                  <a:lnTo>
                    <a:pt x="2548043" y="865478"/>
                  </a:lnTo>
                  <a:lnTo>
                    <a:pt x="2547602" y="865364"/>
                  </a:lnTo>
                  <a:lnTo>
                    <a:pt x="2554060" y="864079"/>
                  </a:lnTo>
                  <a:lnTo>
                    <a:pt x="2560806" y="866295"/>
                  </a:lnTo>
                  <a:lnTo>
                    <a:pt x="2562555" y="864668"/>
                  </a:lnTo>
                  <a:lnTo>
                    <a:pt x="2561373" y="864048"/>
                  </a:lnTo>
                  <a:lnTo>
                    <a:pt x="2559221" y="864401"/>
                  </a:lnTo>
                  <a:lnTo>
                    <a:pt x="2558049" y="863979"/>
                  </a:lnTo>
                  <a:lnTo>
                    <a:pt x="2558299" y="862836"/>
                  </a:lnTo>
                  <a:lnTo>
                    <a:pt x="2558030" y="861728"/>
                  </a:lnTo>
                  <a:lnTo>
                    <a:pt x="2556964" y="859659"/>
                  </a:lnTo>
                  <a:lnTo>
                    <a:pt x="2566425" y="855312"/>
                  </a:lnTo>
                  <a:lnTo>
                    <a:pt x="2567586" y="850677"/>
                  </a:lnTo>
                  <a:lnTo>
                    <a:pt x="2568244" y="849451"/>
                  </a:lnTo>
                  <a:lnTo>
                    <a:pt x="2572222" y="847596"/>
                  </a:lnTo>
                  <a:lnTo>
                    <a:pt x="2573764" y="843846"/>
                  </a:lnTo>
                  <a:lnTo>
                    <a:pt x="2573896" y="842555"/>
                  </a:lnTo>
                  <a:lnTo>
                    <a:pt x="2571997" y="842210"/>
                  </a:lnTo>
                  <a:lnTo>
                    <a:pt x="2571393" y="841492"/>
                  </a:lnTo>
                  <a:lnTo>
                    <a:pt x="2575970" y="842120"/>
                  </a:lnTo>
                  <a:lnTo>
                    <a:pt x="2578390" y="840268"/>
                  </a:lnTo>
                  <a:lnTo>
                    <a:pt x="2579493" y="840617"/>
                  </a:lnTo>
                  <a:lnTo>
                    <a:pt x="2579269" y="841188"/>
                  </a:lnTo>
                  <a:lnTo>
                    <a:pt x="2578381" y="842438"/>
                  </a:lnTo>
                  <a:lnTo>
                    <a:pt x="2580637" y="843652"/>
                  </a:lnTo>
                  <a:lnTo>
                    <a:pt x="2584728" y="842017"/>
                  </a:lnTo>
                  <a:lnTo>
                    <a:pt x="2588126" y="846041"/>
                  </a:lnTo>
                  <a:lnTo>
                    <a:pt x="2589223" y="846603"/>
                  </a:lnTo>
                  <a:lnTo>
                    <a:pt x="2592737" y="846332"/>
                  </a:lnTo>
                  <a:lnTo>
                    <a:pt x="2594284" y="844788"/>
                  </a:lnTo>
                  <a:lnTo>
                    <a:pt x="2594971" y="844676"/>
                  </a:lnTo>
                  <a:lnTo>
                    <a:pt x="2596716" y="845905"/>
                  </a:lnTo>
                  <a:lnTo>
                    <a:pt x="2597515" y="845700"/>
                  </a:lnTo>
                  <a:lnTo>
                    <a:pt x="2607671" y="834444"/>
                  </a:lnTo>
                  <a:lnTo>
                    <a:pt x="2609845" y="833868"/>
                  </a:lnTo>
                  <a:lnTo>
                    <a:pt x="2610575" y="832845"/>
                  </a:lnTo>
                  <a:lnTo>
                    <a:pt x="2612822" y="832194"/>
                  </a:lnTo>
                  <a:lnTo>
                    <a:pt x="2614742" y="830245"/>
                  </a:lnTo>
                  <a:lnTo>
                    <a:pt x="2625902" y="829976"/>
                  </a:lnTo>
                  <a:lnTo>
                    <a:pt x="2637075" y="829630"/>
                  </a:lnTo>
                  <a:lnTo>
                    <a:pt x="2648260" y="829209"/>
                  </a:lnTo>
                  <a:lnTo>
                    <a:pt x="2648726" y="829733"/>
                  </a:lnTo>
                  <a:lnTo>
                    <a:pt x="2649276" y="831098"/>
                  </a:lnTo>
                  <a:lnTo>
                    <a:pt x="2649109" y="831634"/>
                  </a:lnTo>
                  <a:lnTo>
                    <a:pt x="2648981" y="833214"/>
                  </a:lnTo>
                  <a:lnTo>
                    <a:pt x="2648797" y="833590"/>
                  </a:lnTo>
                  <a:lnTo>
                    <a:pt x="2648448" y="833916"/>
                  </a:lnTo>
                  <a:lnTo>
                    <a:pt x="2648160" y="834561"/>
                  </a:lnTo>
                  <a:lnTo>
                    <a:pt x="2647285" y="838918"/>
                  </a:lnTo>
                  <a:lnTo>
                    <a:pt x="2646992" y="842472"/>
                  </a:lnTo>
                  <a:lnTo>
                    <a:pt x="2648164" y="843266"/>
                  </a:lnTo>
                  <a:lnTo>
                    <a:pt x="2650069" y="842374"/>
                  </a:lnTo>
                  <a:lnTo>
                    <a:pt x="2651149" y="842600"/>
                  </a:lnTo>
                  <a:lnTo>
                    <a:pt x="2652431" y="843303"/>
                  </a:lnTo>
                  <a:lnTo>
                    <a:pt x="2654896" y="843528"/>
                  </a:lnTo>
                  <a:lnTo>
                    <a:pt x="2661257" y="840454"/>
                  </a:lnTo>
                  <a:lnTo>
                    <a:pt x="2667598" y="837355"/>
                  </a:lnTo>
                  <a:lnTo>
                    <a:pt x="2668775" y="837641"/>
                  </a:lnTo>
                  <a:lnTo>
                    <a:pt x="2668961" y="837857"/>
                  </a:lnTo>
                  <a:lnTo>
                    <a:pt x="2669451" y="838586"/>
                  </a:lnTo>
                  <a:lnTo>
                    <a:pt x="2669712" y="838850"/>
                  </a:lnTo>
                  <a:lnTo>
                    <a:pt x="2670593" y="839384"/>
                  </a:lnTo>
                  <a:lnTo>
                    <a:pt x="2672674" y="838659"/>
                  </a:lnTo>
                  <a:lnTo>
                    <a:pt x="2676268" y="839854"/>
                  </a:lnTo>
                  <a:lnTo>
                    <a:pt x="2677957" y="841311"/>
                  </a:lnTo>
                  <a:lnTo>
                    <a:pt x="2679886" y="841600"/>
                  </a:lnTo>
                  <a:lnTo>
                    <a:pt x="2680999" y="842231"/>
                  </a:lnTo>
                  <a:lnTo>
                    <a:pt x="2682033" y="843966"/>
                  </a:lnTo>
                  <a:lnTo>
                    <a:pt x="2681821" y="844199"/>
                  </a:lnTo>
                  <a:lnTo>
                    <a:pt x="2681723" y="844675"/>
                  </a:lnTo>
                  <a:lnTo>
                    <a:pt x="2681754" y="845382"/>
                  </a:lnTo>
                  <a:lnTo>
                    <a:pt x="2681919" y="846309"/>
                  </a:lnTo>
                  <a:lnTo>
                    <a:pt x="2682942" y="846497"/>
                  </a:lnTo>
                  <a:lnTo>
                    <a:pt x="2684726" y="845290"/>
                  </a:lnTo>
                  <a:lnTo>
                    <a:pt x="2685774" y="846088"/>
                  </a:lnTo>
                  <a:lnTo>
                    <a:pt x="2685062" y="848088"/>
                  </a:lnTo>
                  <a:lnTo>
                    <a:pt x="2677152" y="854907"/>
                  </a:lnTo>
                  <a:lnTo>
                    <a:pt x="2676779" y="857010"/>
                  </a:lnTo>
                  <a:lnTo>
                    <a:pt x="2686329" y="854146"/>
                  </a:lnTo>
                  <a:lnTo>
                    <a:pt x="2695859" y="851227"/>
                  </a:lnTo>
                  <a:lnTo>
                    <a:pt x="2697647" y="851919"/>
                  </a:lnTo>
                  <a:lnTo>
                    <a:pt x="2698436" y="852569"/>
                  </a:lnTo>
                  <a:lnTo>
                    <a:pt x="2696856" y="852777"/>
                  </a:lnTo>
                  <a:lnTo>
                    <a:pt x="2696209" y="853363"/>
                  </a:lnTo>
                  <a:lnTo>
                    <a:pt x="2695970" y="854818"/>
                  </a:lnTo>
                  <a:lnTo>
                    <a:pt x="2698319" y="857168"/>
                  </a:lnTo>
                  <a:lnTo>
                    <a:pt x="2699376" y="857905"/>
                  </a:lnTo>
                  <a:lnTo>
                    <a:pt x="2700500" y="858167"/>
                  </a:lnTo>
                  <a:lnTo>
                    <a:pt x="2701584" y="857984"/>
                  </a:lnTo>
                  <a:lnTo>
                    <a:pt x="2702222" y="858230"/>
                  </a:lnTo>
                  <a:lnTo>
                    <a:pt x="2702773" y="859137"/>
                  </a:lnTo>
                  <a:lnTo>
                    <a:pt x="2703166" y="860654"/>
                  </a:lnTo>
                  <a:lnTo>
                    <a:pt x="2703068" y="861372"/>
                  </a:lnTo>
                  <a:lnTo>
                    <a:pt x="2702760" y="861763"/>
                  </a:lnTo>
                  <a:lnTo>
                    <a:pt x="2702521" y="862296"/>
                  </a:lnTo>
                  <a:lnTo>
                    <a:pt x="2702702" y="862400"/>
                  </a:lnTo>
                  <a:lnTo>
                    <a:pt x="2703105" y="862737"/>
                  </a:lnTo>
                  <a:lnTo>
                    <a:pt x="2703291" y="862840"/>
                  </a:lnTo>
                  <a:lnTo>
                    <a:pt x="2703397" y="865198"/>
                  </a:lnTo>
                  <a:lnTo>
                    <a:pt x="2701858" y="866603"/>
                  </a:lnTo>
                  <a:lnTo>
                    <a:pt x="2701935" y="868284"/>
                  </a:lnTo>
                  <a:lnTo>
                    <a:pt x="2702999" y="869537"/>
                  </a:lnTo>
                  <a:lnTo>
                    <a:pt x="2707034" y="868724"/>
                  </a:lnTo>
                  <a:lnTo>
                    <a:pt x="2707172" y="870006"/>
                  </a:lnTo>
                  <a:lnTo>
                    <a:pt x="2707226" y="870317"/>
                  </a:lnTo>
                  <a:lnTo>
                    <a:pt x="2706445" y="871993"/>
                  </a:lnTo>
                  <a:lnTo>
                    <a:pt x="2706294" y="872874"/>
                  </a:lnTo>
                  <a:lnTo>
                    <a:pt x="2706873" y="875305"/>
                  </a:lnTo>
                  <a:lnTo>
                    <a:pt x="2705460" y="879255"/>
                  </a:lnTo>
                  <a:lnTo>
                    <a:pt x="2705396" y="881260"/>
                  </a:lnTo>
                  <a:lnTo>
                    <a:pt x="2702394" y="883233"/>
                  </a:lnTo>
                  <a:lnTo>
                    <a:pt x="2700882" y="882911"/>
                  </a:lnTo>
                  <a:lnTo>
                    <a:pt x="2700506" y="882978"/>
                  </a:lnTo>
                  <a:lnTo>
                    <a:pt x="2700237" y="883242"/>
                  </a:lnTo>
                  <a:lnTo>
                    <a:pt x="2700084" y="883546"/>
                  </a:lnTo>
                  <a:lnTo>
                    <a:pt x="2700107" y="883963"/>
                  </a:lnTo>
                  <a:lnTo>
                    <a:pt x="2700357" y="884573"/>
                  </a:lnTo>
                  <a:lnTo>
                    <a:pt x="2700245" y="885551"/>
                  </a:lnTo>
                  <a:lnTo>
                    <a:pt x="2699908" y="886030"/>
                  </a:lnTo>
                  <a:lnTo>
                    <a:pt x="2698929" y="886503"/>
                  </a:lnTo>
                  <a:lnTo>
                    <a:pt x="2698507" y="886978"/>
                  </a:lnTo>
                  <a:lnTo>
                    <a:pt x="2698305" y="887640"/>
                  </a:lnTo>
                  <a:lnTo>
                    <a:pt x="2698262" y="888557"/>
                  </a:lnTo>
                  <a:lnTo>
                    <a:pt x="2698283" y="889763"/>
                  </a:lnTo>
                  <a:lnTo>
                    <a:pt x="2698448" y="890861"/>
                  </a:lnTo>
                  <a:lnTo>
                    <a:pt x="2698697" y="891774"/>
                  </a:lnTo>
                  <a:lnTo>
                    <a:pt x="2698739" y="892461"/>
                  </a:lnTo>
                  <a:lnTo>
                    <a:pt x="2691104" y="898440"/>
                  </a:lnTo>
                  <a:lnTo>
                    <a:pt x="2690689" y="900665"/>
                  </a:lnTo>
                  <a:lnTo>
                    <a:pt x="2690235" y="901264"/>
                  </a:lnTo>
                  <a:lnTo>
                    <a:pt x="2687545" y="901986"/>
                  </a:lnTo>
                  <a:lnTo>
                    <a:pt x="2690861" y="903992"/>
                  </a:lnTo>
                  <a:lnTo>
                    <a:pt x="2692004" y="905018"/>
                  </a:lnTo>
                  <a:lnTo>
                    <a:pt x="2693177" y="905664"/>
                  </a:lnTo>
                  <a:lnTo>
                    <a:pt x="2695237" y="905065"/>
                  </a:lnTo>
                  <a:lnTo>
                    <a:pt x="2696460" y="905737"/>
                  </a:lnTo>
                  <a:lnTo>
                    <a:pt x="2694479" y="907197"/>
                  </a:lnTo>
                  <a:lnTo>
                    <a:pt x="2694233" y="908226"/>
                  </a:lnTo>
                  <a:lnTo>
                    <a:pt x="2694636" y="909479"/>
                  </a:lnTo>
                  <a:lnTo>
                    <a:pt x="2695423" y="909600"/>
                  </a:lnTo>
                  <a:lnTo>
                    <a:pt x="2696718" y="908745"/>
                  </a:lnTo>
                  <a:lnTo>
                    <a:pt x="2697951" y="906987"/>
                  </a:lnTo>
                  <a:lnTo>
                    <a:pt x="2698730" y="906426"/>
                  </a:lnTo>
                  <a:lnTo>
                    <a:pt x="2699579" y="906772"/>
                  </a:lnTo>
                  <a:lnTo>
                    <a:pt x="2700401" y="907410"/>
                  </a:lnTo>
                  <a:lnTo>
                    <a:pt x="2700739" y="906995"/>
                  </a:lnTo>
                  <a:lnTo>
                    <a:pt x="2700797" y="905924"/>
                  </a:lnTo>
                  <a:lnTo>
                    <a:pt x="2700770" y="904559"/>
                  </a:lnTo>
                  <a:lnTo>
                    <a:pt x="2700584" y="904610"/>
                  </a:lnTo>
                  <a:lnTo>
                    <a:pt x="2705851" y="897829"/>
                  </a:lnTo>
                  <a:lnTo>
                    <a:pt x="2706820" y="897540"/>
                  </a:lnTo>
                  <a:lnTo>
                    <a:pt x="2710019" y="898197"/>
                  </a:lnTo>
                  <a:lnTo>
                    <a:pt x="2711330" y="897634"/>
                  </a:lnTo>
                  <a:lnTo>
                    <a:pt x="2714371" y="899217"/>
                  </a:lnTo>
                  <a:lnTo>
                    <a:pt x="2713595" y="899414"/>
                  </a:lnTo>
                  <a:lnTo>
                    <a:pt x="2713298" y="899783"/>
                  </a:lnTo>
                  <a:lnTo>
                    <a:pt x="2713100" y="900419"/>
                  </a:lnTo>
                  <a:lnTo>
                    <a:pt x="2714135" y="901810"/>
                  </a:lnTo>
                  <a:lnTo>
                    <a:pt x="2716149" y="903558"/>
                  </a:lnTo>
                  <a:lnTo>
                    <a:pt x="2718533" y="906623"/>
                  </a:lnTo>
                  <a:lnTo>
                    <a:pt x="2722024" y="907850"/>
                  </a:lnTo>
                  <a:lnTo>
                    <a:pt x="2721981" y="909879"/>
                  </a:lnTo>
                  <a:lnTo>
                    <a:pt x="2721206" y="911151"/>
                  </a:lnTo>
                  <a:lnTo>
                    <a:pt x="2710906" y="918681"/>
                  </a:lnTo>
                  <a:lnTo>
                    <a:pt x="2709819" y="921019"/>
                  </a:lnTo>
                  <a:lnTo>
                    <a:pt x="2708986" y="921631"/>
                  </a:lnTo>
                  <a:lnTo>
                    <a:pt x="2707813" y="921550"/>
                  </a:lnTo>
                  <a:lnTo>
                    <a:pt x="2700751" y="918758"/>
                  </a:lnTo>
                  <a:lnTo>
                    <a:pt x="2700385" y="918418"/>
                  </a:lnTo>
                  <a:lnTo>
                    <a:pt x="2700136" y="917935"/>
                  </a:lnTo>
                  <a:lnTo>
                    <a:pt x="2699940" y="917176"/>
                  </a:lnTo>
                  <a:lnTo>
                    <a:pt x="2699769" y="915512"/>
                  </a:lnTo>
                  <a:lnTo>
                    <a:pt x="2699674" y="913894"/>
                  </a:lnTo>
                  <a:lnTo>
                    <a:pt x="2699253" y="912312"/>
                  </a:lnTo>
                  <a:lnTo>
                    <a:pt x="2698097" y="910746"/>
                  </a:lnTo>
                  <a:lnTo>
                    <a:pt x="2697166" y="910265"/>
                  </a:lnTo>
                  <a:lnTo>
                    <a:pt x="2697188" y="911263"/>
                  </a:lnTo>
                  <a:lnTo>
                    <a:pt x="2697830" y="913112"/>
                  </a:lnTo>
                  <a:lnTo>
                    <a:pt x="2698763" y="915184"/>
                  </a:lnTo>
                  <a:lnTo>
                    <a:pt x="2697976" y="917434"/>
                  </a:lnTo>
                  <a:lnTo>
                    <a:pt x="2697280" y="917453"/>
                  </a:lnTo>
                  <a:lnTo>
                    <a:pt x="2696115" y="915902"/>
                  </a:lnTo>
                  <a:lnTo>
                    <a:pt x="2696302" y="915851"/>
                  </a:lnTo>
                  <a:lnTo>
                    <a:pt x="2695342" y="913800"/>
                  </a:lnTo>
                  <a:lnTo>
                    <a:pt x="2694612" y="912048"/>
                  </a:lnTo>
                  <a:lnTo>
                    <a:pt x="2694024" y="911326"/>
                  </a:lnTo>
                  <a:lnTo>
                    <a:pt x="2692464" y="914821"/>
                  </a:lnTo>
                  <a:lnTo>
                    <a:pt x="2692525" y="916207"/>
                  </a:lnTo>
                  <a:lnTo>
                    <a:pt x="2693684" y="918027"/>
                  </a:lnTo>
                  <a:lnTo>
                    <a:pt x="2694974" y="919101"/>
                  </a:lnTo>
                  <a:lnTo>
                    <a:pt x="2703276" y="921658"/>
                  </a:lnTo>
                  <a:lnTo>
                    <a:pt x="2703482" y="922373"/>
                  </a:lnTo>
                  <a:lnTo>
                    <a:pt x="2703295" y="922469"/>
                  </a:lnTo>
                  <a:lnTo>
                    <a:pt x="2703212" y="922675"/>
                  </a:lnTo>
                  <a:lnTo>
                    <a:pt x="2703087" y="923252"/>
                  </a:lnTo>
                  <a:lnTo>
                    <a:pt x="2703386" y="923693"/>
                  </a:lnTo>
                  <a:lnTo>
                    <a:pt x="2704002" y="924791"/>
                  </a:lnTo>
                  <a:lnTo>
                    <a:pt x="2704302" y="925223"/>
                  </a:lnTo>
                  <a:lnTo>
                    <a:pt x="2703664" y="926595"/>
                  </a:lnTo>
                  <a:lnTo>
                    <a:pt x="2701679" y="928020"/>
                  </a:lnTo>
                  <a:lnTo>
                    <a:pt x="2701336" y="929952"/>
                  </a:lnTo>
                  <a:lnTo>
                    <a:pt x="2704672" y="931964"/>
                  </a:lnTo>
                  <a:lnTo>
                    <a:pt x="2705802" y="933359"/>
                  </a:lnTo>
                  <a:lnTo>
                    <a:pt x="2705469" y="934744"/>
                  </a:lnTo>
                  <a:lnTo>
                    <a:pt x="2704753" y="935273"/>
                  </a:lnTo>
                  <a:lnTo>
                    <a:pt x="2704299" y="936070"/>
                  </a:lnTo>
                  <a:lnTo>
                    <a:pt x="2704746" y="938261"/>
                  </a:lnTo>
                  <a:lnTo>
                    <a:pt x="2705791" y="939262"/>
                  </a:lnTo>
                  <a:lnTo>
                    <a:pt x="2706107" y="939433"/>
                  </a:lnTo>
                  <a:lnTo>
                    <a:pt x="2706071" y="939966"/>
                  </a:lnTo>
                  <a:lnTo>
                    <a:pt x="2706149" y="941734"/>
                  </a:lnTo>
                  <a:lnTo>
                    <a:pt x="2707462" y="942029"/>
                  </a:lnTo>
                  <a:lnTo>
                    <a:pt x="2707701" y="943442"/>
                  </a:lnTo>
                  <a:lnTo>
                    <a:pt x="2707225" y="945140"/>
                  </a:lnTo>
                  <a:lnTo>
                    <a:pt x="2706396" y="946278"/>
                  </a:lnTo>
                  <a:lnTo>
                    <a:pt x="2707222" y="947664"/>
                  </a:lnTo>
                  <a:lnTo>
                    <a:pt x="2706175" y="949030"/>
                  </a:lnTo>
                  <a:lnTo>
                    <a:pt x="2701462" y="949215"/>
                  </a:lnTo>
                  <a:lnTo>
                    <a:pt x="2700806" y="949542"/>
                  </a:lnTo>
                  <a:lnTo>
                    <a:pt x="2700289" y="950096"/>
                  </a:lnTo>
                  <a:lnTo>
                    <a:pt x="2699448" y="951842"/>
                  </a:lnTo>
                  <a:lnTo>
                    <a:pt x="2698817" y="952614"/>
                  </a:lnTo>
                  <a:lnTo>
                    <a:pt x="2690521" y="953931"/>
                  </a:lnTo>
                  <a:lnTo>
                    <a:pt x="2682224" y="955208"/>
                  </a:lnTo>
                  <a:lnTo>
                    <a:pt x="2676924" y="958472"/>
                  </a:lnTo>
                  <a:lnTo>
                    <a:pt x="2674593" y="963073"/>
                  </a:lnTo>
                  <a:lnTo>
                    <a:pt x="2672775" y="964449"/>
                  </a:lnTo>
                  <a:lnTo>
                    <a:pt x="2671769" y="966540"/>
                  </a:lnTo>
                  <a:lnTo>
                    <a:pt x="2670059" y="967018"/>
                  </a:lnTo>
                  <a:lnTo>
                    <a:pt x="2667699" y="971482"/>
                  </a:lnTo>
                  <a:lnTo>
                    <a:pt x="2666479" y="972655"/>
                  </a:lnTo>
                  <a:lnTo>
                    <a:pt x="2664621" y="972288"/>
                  </a:lnTo>
                  <a:lnTo>
                    <a:pt x="2663607" y="972762"/>
                  </a:lnTo>
                  <a:lnTo>
                    <a:pt x="2660807" y="971973"/>
                  </a:lnTo>
                  <a:lnTo>
                    <a:pt x="2658023" y="972605"/>
                  </a:lnTo>
                  <a:lnTo>
                    <a:pt x="2653773" y="971025"/>
                  </a:lnTo>
                  <a:lnTo>
                    <a:pt x="2652649" y="970200"/>
                  </a:lnTo>
                  <a:lnTo>
                    <a:pt x="2646873" y="970635"/>
                  </a:lnTo>
                  <a:lnTo>
                    <a:pt x="2646812" y="970382"/>
                  </a:lnTo>
                  <a:lnTo>
                    <a:pt x="2647233" y="969774"/>
                  </a:lnTo>
                  <a:lnTo>
                    <a:pt x="2647423" y="968803"/>
                  </a:lnTo>
                  <a:lnTo>
                    <a:pt x="2647241" y="967410"/>
                  </a:lnTo>
                  <a:lnTo>
                    <a:pt x="2646429" y="965582"/>
                  </a:lnTo>
                  <a:lnTo>
                    <a:pt x="2645468" y="964894"/>
                  </a:lnTo>
                  <a:lnTo>
                    <a:pt x="2644668" y="965230"/>
                  </a:lnTo>
                  <a:lnTo>
                    <a:pt x="2644350" y="966490"/>
                  </a:lnTo>
                  <a:lnTo>
                    <a:pt x="2644496" y="966633"/>
                  </a:lnTo>
                  <a:lnTo>
                    <a:pt x="2644931" y="967186"/>
                  </a:lnTo>
                  <a:lnTo>
                    <a:pt x="2644907" y="967827"/>
                  </a:lnTo>
                  <a:lnTo>
                    <a:pt x="2644827" y="968318"/>
                  </a:lnTo>
                  <a:lnTo>
                    <a:pt x="2644699" y="968834"/>
                  </a:lnTo>
                  <a:lnTo>
                    <a:pt x="2642612" y="971961"/>
                  </a:lnTo>
                  <a:lnTo>
                    <a:pt x="2641775" y="972485"/>
                  </a:lnTo>
                  <a:lnTo>
                    <a:pt x="2640644" y="972346"/>
                  </a:lnTo>
                  <a:lnTo>
                    <a:pt x="2639383" y="971695"/>
                  </a:lnTo>
                  <a:lnTo>
                    <a:pt x="2638744" y="971583"/>
                  </a:lnTo>
                  <a:lnTo>
                    <a:pt x="2637703" y="972348"/>
                  </a:lnTo>
                  <a:lnTo>
                    <a:pt x="2631851" y="970380"/>
                  </a:lnTo>
                  <a:lnTo>
                    <a:pt x="2630668" y="969263"/>
                  </a:lnTo>
                  <a:lnTo>
                    <a:pt x="2625002" y="962221"/>
                  </a:lnTo>
                  <a:lnTo>
                    <a:pt x="2623324" y="959155"/>
                  </a:lnTo>
                  <a:lnTo>
                    <a:pt x="2622002" y="955167"/>
                  </a:lnTo>
                  <a:lnTo>
                    <a:pt x="2621793" y="953799"/>
                  </a:lnTo>
                  <a:lnTo>
                    <a:pt x="2621626" y="951948"/>
                  </a:lnTo>
                  <a:lnTo>
                    <a:pt x="2621579" y="950300"/>
                  </a:lnTo>
                  <a:lnTo>
                    <a:pt x="2621723" y="949561"/>
                  </a:lnTo>
                  <a:lnTo>
                    <a:pt x="2622598" y="948764"/>
                  </a:lnTo>
                  <a:lnTo>
                    <a:pt x="2622923" y="947360"/>
                  </a:lnTo>
                  <a:lnTo>
                    <a:pt x="2622525" y="946116"/>
                  </a:lnTo>
                  <a:lnTo>
                    <a:pt x="2621244" y="945794"/>
                  </a:lnTo>
                  <a:lnTo>
                    <a:pt x="2620788" y="943412"/>
                  </a:lnTo>
                  <a:lnTo>
                    <a:pt x="2619916" y="942243"/>
                  </a:lnTo>
                  <a:lnTo>
                    <a:pt x="2618991" y="942000"/>
                  </a:lnTo>
                  <a:lnTo>
                    <a:pt x="2617477" y="943204"/>
                  </a:lnTo>
                  <a:lnTo>
                    <a:pt x="2611951" y="940848"/>
                  </a:lnTo>
                  <a:lnTo>
                    <a:pt x="2609361" y="937990"/>
                  </a:lnTo>
                  <a:lnTo>
                    <a:pt x="2606955" y="936022"/>
                  </a:lnTo>
                  <a:lnTo>
                    <a:pt x="2605438" y="937444"/>
                  </a:lnTo>
                  <a:lnTo>
                    <a:pt x="2605393" y="938267"/>
                  </a:lnTo>
                  <a:lnTo>
                    <a:pt x="2605594" y="938857"/>
                  </a:lnTo>
                  <a:lnTo>
                    <a:pt x="2605908" y="939377"/>
                  </a:lnTo>
                  <a:lnTo>
                    <a:pt x="2607620" y="943111"/>
                  </a:lnTo>
                  <a:lnTo>
                    <a:pt x="2608580" y="944506"/>
                  </a:lnTo>
                  <a:lnTo>
                    <a:pt x="2609764" y="945685"/>
                  </a:lnTo>
                  <a:lnTo>
                    <a:pt x="2611848" y="947166"/>
                  </a:lnTo>
                  <a:lnTo>
                    <a:pt x="2613613" y="947691"/>
                  </a:lnTo>
                  <a:lnTo>
                    <a:pt x="2614514" y="948568"/>
                  </a:lnTo>
                  <a:lnTo>
                    <a:pt x="2615271" y="950602"/>
                  </a:lnTo>
                  <a:lnTo>
                    <a:pt x="2615381" y="952239"/>
                  </a:lnTo>
                  <a:lnTo>
                    <a:pt x="2614740" y="957177"/>
                  </a:lnTo>
                  <a:lnTo>
                    <a:pt x="2615114" y="957846"/>
                  </a:lnTo>
                  <a:lnTo>
                    <a:pt x="2615085" y="959319"/>
                  </a:lnTo>
                  <a:lnTo>
                    <a:pt x="2614394" y="960623"/>
                  </a:lnTo>
                  <a:lnTo>
                    <a:pt x="2614188" y="961849"/>
                  </a:lnTo>
                  <a:lnTo>
                    <a:pt x="2614562" y="962528"/>
                  </a:lnTo>
                  <a:lnTo>
                    <a:pt x="2614620" y="965230"/>
                  </a:lnTo>
                  <a:lnTo>
                    <a:pt x="2614923" y="967377"/>
                  </a:lnTo>
                  <a:lnTo>
                    <a:pt x="2615125" y="969261"/>
                  </a:lnTo>
                  <a:lnTo>
                    <a:pt x="2614885" y="971186"/>
                  </a:lnTo>
                  <a:lnTo>
                    <a:pt x="2614445" y="972027"/>
                  </a:lnTo>
                  <a:lnTo>
                    <a:pt x="2613290" y="972990"/>
                  </a:lnTo>
                  <a:lnTo>
                    <a:pt x="2612518" y="974842"/>
                  </a:lnTo>
                  <a:lnTo>
                    <a:pt x="2612043" y="975382"/>
                  </a:lnTo>
                  <a:lnTo>
                    <a:pt x="2611454" y="975507"/>
                  </a:lnTo>
                  <a:lnTo>
                    <a:pt x="2609969" y="974838"/>
                  </a:lnTo>
                  <a:lnTo>
                    <a:pt x="2600003" y="978174"/>
                  </a:lnTo>
                  <a:lnTo>
                    <a:pt x="2597653" y="981447"/>
                  </a:lnTo>
                  <a:lnTo>
                    <a:pt x="2594705" y="983324"/>
                  </a:lnTo>
                  <a:lnTo>
                    <a:pt x="2587617" y="984042"/>
                  </a:lnTo>
                  <a:lnTo>
                    <a:pt x="2584612" y="985737"/>
                  </a:lnTo>
                  <a:lnTo>
                    <a:pt x="2583755" y="985233"/>
                  </a:lnTo>
                  <a:lnTo>
                    <a:pt x="2583013" y="984419"/>
                  </a:lnTo>
                  <a:lnTo>
                    <a:pt x="2582330" y="983877"/>
                  </a:lnTo>
                  <a:lnTo>
                    <a:pt x="2581683" y="983679"/>
                  </a:lnTo>
                  <a:lnTo>
                    <a:pt x="2580422" y="984294"/>
                  </a:lnTo>
                  <a:lnTo>
                    <a:pt x="2577943" y="986828"/>
                  </a:lnTo>
                  <a:lnTo>
                    <a:pt x="2575734" y="986415"/>
                  </a:lnTo>
                  <a:lnTo>
                    <a:pt x="2575474" y="986029"/>
                  </a:lnTo>
                  <a:lnTo>
                    <a:pt x="2575048" y="985098"/>
                  </a:lnTo>
                  <a:lnTo>
                    <a:pt x="2574628" y="984057"/>
                  </a:lnTo>
                  <a:lnTo>
                    <a:pt x="2573920" y="981978"/>
                  </a:lnTo>
                  <a:lnTo>
                    <a:pt x="2573361" y="981437"/>
                  </a:lnTo>
                  <a:lnTo>
                    <a:pt x="2572801" y="981062"/>
                  </a:lnTo>
                  <a:lnTo>
                    <a:pt x="2572322" y="980204"/>
                  </a:lnTo>
                  <a:lnTo>
                    <a:pt x="2572102" y="979152"/>
                  </a:lnTo>
                  <a:lnTo>
                    <a:pt x="2572045" y="977246"/>
                  </a:lnTo>
                  <a:lnTo>
                    <a:pt x="2571914" y="976163"/>
                  </a:lnTo>
                  <a:lnTo>
                    <a:pt x="2571623" y="975049"/>
                  </a:lnTo>
                  <a:lnTo>
                    <a:pt x="2570533" y="972309"/>
                  </a:lnTo>
                  <a:lnTo>
                    <a:pt x="2571164" y="970636"/>
                  </a:lnTo>
                  <a:lnTo>
                    <a:pt x="2570902" y="968674"/>
                  </a:lnTo>
                  <a:lnTo>
                    <a:pt x="2570062" y="967080"/>
                  </a:lnTo>
                  <a:lnTo>
                    <a:pt x="2568967" y="966501"/>
                  </a:lnTo>
                  <a:lnTo>
                    <a:pt x="2569608" y="968759"/>
                  </a:lnTo>
                  <a:lnTo>
                    <a:pt x="2569335" y="970246"/>
                  </a:lnTo>
                  <a:lnTo>
                    <a:pt x="2568722" y="971600"/>
                  </a:lnTo>
                  <a:lnTo>
                    <a:pt x="2568333" y="973415"/>
                  </a:lnTo>
                  <a:lnTo>
                    <a:pt x="2569177" y="974596"/>
                  </a:lnTo>
                  <a:lnTo>
                    <a:pt x="2569585" y="975661"/>
                  </a:lnTo>
                  <a:lnTo>
                    <a:pt x="2569756" y="977060"/>
                  </a:lnTo>
                  <a:lnTo>
                    <a:pt x="2569894" y="979220"/>
                  </a:lnTo>
                  <a:lnTo>
                    <a:pt x="2570187" y="979579"/>
                  </a:lnTo>
                  <a:lnTo>
                    <a:pt x="2570397" y="979971"/>
                  </a:lnTo>
                  <a:lnTo>
                    <a:pt x="2570899" y="981298"/>
                  </a:lnTo>
                  <a:lnTo>
                    <a:pt x="2570821" y="981461"/>
                  </a:lnTo>
                  <a:lnTo>
                    <a:pt x="2570657" y="982032"/>
                  </a:lnTo>
                  <a:lnTo>
                    <a:pt x="2570918" y="982536"/>
                  </a:lnTo>
                  <a:lnTo>
                    <a:pt x="2571443" y="983746"/>
                  </a:lnTo>
                  <a:lnTo>
                    <a:pt x="2571708" y="984236"/>
                  </a:lnTo>
                  <a:lnTo>
                    <a:pt x="2571220" y="987190"/>
                  </a:lnTo>
                  <a:lnTo>
                    <a:pt x="2569951" y="988991"/>
                  </a:lnTo>
                  <a:lnTo>
                    <a:pt x="2568378" y="989938"/>
                  </a:lnTo>
                  <a:lnTo>
                    <a:pt x="2564060" y="990422"/>
                  </a:lnTo>
                  <a:lnTo>
                    <a:pt x="2563154" y="989533"/>
                  </a:lnTo>
                  <a:lnTo>
                    <a:pt x="2562620" y="988341"/>
                  </a:lnTo>
                  <a:lnTo>
                    <a:pt x="2562503" y="987500"/>
                  </a:lnTo>
                  <a:lnTo>
                    <a:pt x="2562458" y="986600"/>
                  </a:lnTo>
                  <a:lnTo>
                    <a:pt x="2562129" y="985204"/>
                  </a:lnTo>
                  <a:lnTo>
                    <a:pt x="2561480" y="983787"/>
                  </a:lnTo>
                  <a:lnTo>
                    <a:pt x="2560076" y="982112"/>
                  </a:lnTo>
                  <a:lnTo>
                    <a:pt x="2559484" y="981160"/>
                  </a:lnTo>
                  <a:lnTo>
                    <a:pt x="2556693" y="973349"/>
                  </a:lnTo>
                  <a:lnTo>
                    <a:pt x="2556159" y="972183"/>
                  </a:lnTo>
                  <a:lnTo>
                    <a:pt x="2555558" y="971255"/>
                  </a:lnTo>
                  <a:lnTo>
                    <a:pt x="2554946" y="970810"/>
                  </a:lnTo>
                  <a:lnTo>
                    <a:pt x="2554315" y="970771"/>
                  </a:lnTo>
                  <a:lnTo>
                    <a:pt x="2554078" y="971376"/>
                  </a:lnTo>
                  <a:lnTo>
                    <a:pt x="2554660" y="972860"/>
                  </a:lnTo>
                  <a:lnTo>
                    <a:pt x="2554539" y="973044"/>
                  </a:lnTo>
                  <a:lnTo>
                    <a:pt x="2554355" y="973559"/>
                  </a:lnTo>
                  <a:lnTo>
                    <a:pt x="2554243" y="973758"/>
                  </a:lnTo>
                  <a:lnTo>
                    <a:pt x="2554905" y="974249"/>
                  </a:lnTo>
                  <a:lnTo>
                    <a:pt x="2555299" y="975409"/>
                  </a:lnTo>
                  <a:lnTo>
                    <a:pt x="2555598" y="976976"/>
                  </a:lnTo>
                  <a:lnTo>
                    <a:pt x="2555981" y="978712"/>
                  </a:lnTo>
                  <a:lnTo>
                    <a:pt x="2556447" y="980195"/>
                  </a:lnTo>
                  <a:lnTo>
                    <a:pt x="2558494" y="985048"/>
                  </a:lnTo>
                  <a:lnTo>
                    <a:pt x="2558745" y="985946"/>
                  </a:lnTo>
                  <a:lnTo>
                    <a:pt x="2558712" y="986842"/>
                  </a:lnTo>
                  <a:lnTo>
                    <a:pt x="2557972" y="989362"/>
                  </a:lnTo>
                  <a:lnTo>
                    <a:pt x="2557449" y="990364"/>
                  </a:lnTo>
                  <a:lnTo>
                    <a:pt x="2556212" y="991631"/>
                  </a:lnTo>
                  <a:lnTo>
                    <a:pt x="2548842" y="993698"/>
                  </a:lnTo>
                  <a:lnTo>
                    <a:pt x="2541460" y="995736"/>
                  </a:lnTo>
                  <a:lnTo>
                    <a:pt x="2541644" y="989855"/>
                  </a:lnTo>
                  <a:lnTo>
                    <a:pt x="2541471" y="988513"/>
                  </a:lnTo>
                  <a:lnTo>
                    <a:pt x="2540500" y="986985"/>
                  </a:lnTo>
                  <a:lnTo>
                    <a:pt x="2538688" y="985547"/>
                  </a:lnTo>
                  <a:lnTo>
                    <a:pt x="2537767" y="984261"/>
                  </a:lnTo>
                  <a:lnTo>
                    <a:pt x="2538206" y="983598"/>
                  </a:lnTo>
                  <a:lnTo>
                    <a:pt x="2538234" y="982675"/>
                  </a:lnTo>
                  <a:lnTo>
                    <a:pt x="2537892" y="981792"/>
                  </a:lnTo>
                  <a:lnTo>
                    <a:pt x="2537228" y="981268"/>
                  </a:lnTo>
                  <a:lnTo>
                    <a:pt x="2536639" y="981494"/>
                  </a:lnTo>
                  <a:lnTo>
                    <a:pt x="2536106" y="982374"/>
                  </a:lnTo>
                  <a:lnTo>
                    <a:pt x="2535948" y="983782"/>
                  </a:lnTo>
                  <a:lnTo>
                    <a:pt x="2536469" y="985567"/>
                  </a:lnTo>
                  <a:lnTo>
                    <a:pt x="2537234" y="988660"/>
                  </a:lnTo>
                  <a:lnTo>
                    <a:pt x="2536958" y="991653"/>
                  </a:lnTo>
                  <a:lnTo>
                    <a:pt x="2536234" y="994017"/>
                  </a:lnTo>
                  <a:lnTo>
                    <a:pt x="2535659" y="995216"/>
                  </a:lnTo>
                  <a:lnTo>
                    <a:pt x="2534021" y="996652"/>
                  </a:lnTo>
                  <a:lnTo>
                    <a:pt x="2532220" y="996698"/>
                  </a:lnTo>
                  <a:lnTo>
                    <a:pt x="2524965" y="992639"/>
                  </a:lnTo>
                  <a:lnTo>
                    <a:pt x="2523158" y="990619"/>
                  </a:lnTo>
                  <a:lnTo>
                    <a:pt x="2522448" y="988240"/>
                  </a:lnTo>
                  <a:lnTo>
                    <a:pt x="2521851" y="988332"/>
                  </a:lnTo>
                  <a:lnTo>
                    <a:pt x="2521302" y="987740"/>
                  </a:lnTo>
                  <a:lnTo>
                    <a:pt x="2520968" y="986519"/>
                  </a:lnTo>
                  <a:lnTo>
                    <a:pt x="2521021" y="984711"/>
                  </a:lnTo>
                  <a:lnTo>
                    <a:pt x="2520581" y="984352"/>
                  </a:lnTo>
                  <a:lnTo>
                    <a:pt x="2520150" y="984149"/>
                  </a:lnTo>
                  <a:lnTo>
                    <a:pt x="2519734" y="984099"/>
                  </a:lnTo>
                  <a:lnTo>
                    <a:pt x="2519347" y="984233"/>
                  </a:lnTo>
                  <a:lnTo>
                    <a:pt x="2519470" y="984961"/>
                  </a:lnTo>
                  <a:lnTo>
                    <a:pt x="2520094" y="986700"/>
                  </a:lnTo>
                  <a:lnTo>
                    <a:pt x="2520380" y="989483"/>
                  </a:lnTo>
                  <a:lnTo>
                    <a:pt x="2520725" y="992023"/>
                  </a:lnTo>
                  <a:lnTo>
                    <a:pt x="2521536" y="993033"/>
                  </a:lnTo>
                  <a:lnTo>
                    <a:pt x="2522967" y="993935"/>
                  </a:lnTo>
                  <a:lnTo>
                    <a:pt x="2526252" y="998179"/>
                  </a:lnTo>
                  <a:lnTo>
                    <a:pt x="2527724" y="998717"/>
                  </a:lnTo>
                  <a:lnTo>
                    <a:pt x="2527851" y="999449"/>
                  </a:lnTo>
                  <a:lnTo>
                    <a:pt x="2519074" y="1001617"/>
                  </a:lnTo>
                  <a:lnTo>
                    <a:pt x="2518278" y="1001399"/>
                  </a:lnTo>
                  <a:lnTo>
                    <a:pt x="2515835" y="998448"/>
                  </a:lnTo>
                  <a:lnTo>
                    <a:pt x="2515633" y="997893"/>
                  </a:lnTo>
                  <a:lnTo>
                    <a:pt x="2515450" y="997157"/>
                  </a:lnTo>
                  <a:lnTo>
                    <a:pt x="2515211" y="996792"/>
                  </a:lnTo>
                  <a:lnTo>
                    <a:pt x="2514850" y="997399"/>
                  </a:lnTo>
                  <a:lnTo>
                    <a:pt x="2514690" y="998153"/>
                  </a:lnTo>
                  <a:lnTo>
                    <a:pt x="2514720" y="998846"/>
                  </a:lnTo>
                  <a:lnTo>
                    <a:pt x="2514928" y="999480"/>
                  </a:lnTo>
                  <a:lnTo>
                    <a:pt x="2515286" y="1000037"/>
                  </a:lnTo>
                  <a:lnTo>
                    <a:pt x="2514822" y="1000879"/>
                  </a:lnTo>
                  <a:lnTo>
                    <a:pt x="2514243" y="1001398"/>
                  </a:lnTo>
                  <a:lnTo>
                    <a:pt x="2512945" y="1001829"/>
                  </a:lnTo>
                  <a:lnTo>
                    <a:pt x="2513143" y="1001798"/>
                  </a:lnTo>
                  <a:lnTo>
                    <a:pt x="2508914" y="1002804"/>
                  </a:lnTo>
                  <a:lnTo>
                    <a:pt x="2506469" y="1001537"/>
                  </a:lnTo>
                  <a:lnTo>
                    <a:pt x="2504631" y="997100"/>
                  </a:lnTo>
                  <a:lnTo>
                    <a:pt x="2505745" y="996498"/>
                  </a:lnTo>
                  <a:lnTo>
                    <a:pt x="2506218" y="995787"/>
                  </a:lnTo>
                  <a:lnTo>
                    <a:pt x="2506485" y="994575"/>
                  </a:lnTo>
                  <a:lnTo>
                    <a:pt x="2504429" y="995062"/>
                  </a:lnTo>
                  <a:lnTo>
                    <a:pt x="2503579" y="996044"/>
                  </a:lnTo>
                  <a:lnTo>
                    <a:pt x="2502997" y="998036"/>
                  </a:lnTo>
                  <a:lnTo>
                    <a:pt x="2502955" y="998998"/>
                  </a:lnTo>
                  <a:lnTo>
                    <a:pt x="2502962" y="1000297"/>
                  </a:lnTo>
                  <a:lnTo>
                    <a:pt x="2502905" y="1001436"/>
                  </a:lnTo>
                  <a:lnTo>
                    <a:pt x="2502690" y="1001969"/>
                  </a:lnTo>
                  <a:lnTo>
                    <a:pt x="2500413" y="1003733"/>
                  </a:lnTo>
                  <a:lnTo>
                    <a:pt x="2500632" y="1003701"/>
                  </a:lnTo>
                  <a:lnTo>
                    <a:pt x="2497924" y="1005535"/>
                  </a:lnTo>
                  <a:lnTo>
                    <a:pt x="2496284" y="1005614"/>
                  </a:lnTo>
                  <a:lnTo>
                    <a:pt x="2494899" y="1004168"/>
                  </a:lnTo>
                  <a:lnTo>
                    <a:pt x="2494455" y="1003215"/>
                  </a:lnTo>
                  <a:lnTo>
                    <a:pt x="2494301" y="1002728"/>
                  </a:lnTo>
                  <a:lnTo>
                    <a:pt x="2494032" y="1000544"/>
                  </a:lnTo>
                  <a:lnTo>
                    <a:pt x="2493654" y="999397"/>
                  </a:lnTo>
                  <a:lnTo>
                    <a:pt x="2493210" y="999565"/>
                  </a:lnTo>
                  <a:lnTo>
                    <a:pt x="2491669" y="1002951"/>
                  </a:lnTo>
                  <a:lnTo>
                    <a:pt x="2490750" y="1003990"/>
                  </a:lnTo>
                  <a:lnTo>
                    <a:pt x="2485506" y="1005228"/>
                  </a:lnTo>
                  <a:lnTo>
                    <a:pt x="2483862" y="1004628"/>
                  </a:lnTo>
                  <a:lnTo>
                    <a:pt x="2482375" y="1002573"/>
                  </a:lnTo>
                  <a:lnTo>
                    <a:pt x="2482498" y="1002150"/>
                  </a:lnTo>
                  <a:lnTo>
                    <a:pt x="2482386" y="1001875"/>
                  </a:lnTo>
                  <a:lnTo>
                    <a:pt x="2481895" y="1002693"/>
                  </a:lnTo>
                  <a:lnTo>
                    <a:pt x="2481026" y="1004860"/>
                  </a:lnTo>
                  <a:lnTo>
                    <a:pt x="2480166" y="1005527"/>
                  </a:lnTo>
                  <a:lnTo>
                    <a:pt x="2471855" y="1004477"/>
                  </a:lnTo>
                  <a:lnTo>
                    <a:pt x="2471248" y="1003684"/>
                  </a:lnTo>
                  <a:lnTo>
                    <a:pt x="2470685" y="1002391"/>
                  </a:lnTo>
                  <a:lnTo>
                    <a:pt x="2470131" y="1000566"/>
                  </a:lnTo>
                  <a:lnTo>
                    <a:pt x="2469687" y="998886"/>
                  </a:lnTo>
                  <a:lnTo>
                    <a:pt x="2469484" y="997866"/>
                  </a:lnTo>
                  <a:lnTo>
                    <a:pt x="2469423" y="996890"/>
                  </a:lnTo>
                  <a:lnTo>
                    <a:pt x="2469368" y="992232"/>
                  </a:lnTo>
                  <a:lnTo>
                    <a:pt x="2469496" y="990691"/>
                  </a:lnTo>
                  <a:lnTo>
                    <a:pt x="2469869" y="989991"/>
                  </a:lnTo>
                  <a:lnTo>
                    <a:pt x="2470104" y="989327"/>
                  </a:lnTo>
                  <a:lnTo>
                    <a:pt x="2470545" y="986158"/>
                  </a:lnTo>
                  <a:lnTo>
                    <a:pt x="2471057" y="983986"/>
                  </a:lnTo>
                  <a:lnTo>
                    <a:pt x="2471238" y="982665"/>
                  </a:lnTo>
                  <a:lnTo>
                    <a:pt x="2471213" y="981278"/>
                  </a:lnTo>
                  <a:lnTo>
                    <a:pt x="2470877" y="980066"/>
                  </a:lnTo>
                  <a:lnTo>
                    <a:pt x="2471143" y="979777"/>
                  </a:lnTo>
                  <a:lnTo>
                    <a:pt x="2471320" y="979361"/>
                  </a:lnTo>
                  <a:lnTo>
                    <a:pt x="2471347" y="978746"/>
                  </a:lnTo>
                  <a:lnTo>
                    <a:pt x="2471163" y="977858"/>
                  </a:lnTo>
                  <a:lnTo>
                    <a:pt x="2471219" y="977012"/>
                  </a:lnTo>
                  <a:lnTo>
                    <a:pt x="2471006" y="976359"/>
                  </a:lnTo>
                  <a:lnTo>
                    <a:pt x="2470265" y="975737"/>
                  </a:lnTo>
                  <a:lnTo>
                    <a:pt x="2474067" y="974407"/>
                  </a:lnTo>
                  <a:lnTo>
                    <a:pt x="2473961" y="973672"/>
                  </a:lnTo>
                  <a:lnTo>
                    <a:pt x="2473190" y="973135"/>
                  </a:lnTo>
                  <a:lnTo>
                    <a:pt x="2469856" y="973546"/>
                  </a:lnTo>
                  <a:lnTo>
                    <a:pt x="2469471" y="973437"/>
                  </a:lnTo>
                  <a:lnTo>
                    <a:pt x="2468673" y="972915"/>
                  </a:lnTo>
                  <a:lnTo>
                    <a:pt x="2468282" y="972941"/>
                  </a:lnTo>
                  <a:lnTo>
                    <a:pt x="2468225" y="971434"/>
                  </a:lnTo>
                  <a:lnTo>
                    <a:pt x="2468281" y="970071"/>
                  </a:lnTo>
                  <a:lnTo>
                    <a:pt x="2468476" y="969002"/>
                  </a:lnTo>
                  <a:lnTo>
                    <a:pt x="2468831" y="968389"/>
                  </a:lnTo>
                  <a:lnTo>
                    <a:pt x="2468289" y="967045"/>
                  </a:lnTo>
                  <a:lnTo>
                    <a:pt x="2465572" y="961763"/>
                  </a:lnTo>
                  <a:lnTo>
                    <a:pt x="2465183" y="961284"/>
                  </a:lnTo>
                  <a:lnTo>
                    <a:pt x="2464189" y="961455"/>
                  </a:lnTo>
                  <a:lnTo>
                    <a:pt x="2464185" y="962257"/>
                  </a:lnTo>
                  <a:lnTo>
                    <a:pt x="2464753" y="963947"/>
                  </a:lnTo>
                  <a:lnTo>
                    <a:pt x="2465786" y="966545"/>
                  </a:lnTo>
                  <a:lnTo>
                    <a:pt x="2465688" y="968099"/>
                  </a:lnTo>
                  <a:lnTo>
                    <a:pt x="2465178" y="969289"/>
                  </a:lnTo>
                  <a:lnTo>
                    <a:pt x="2464162" y="970501"/>
                  </a:lnTo>
                  <a:lnTo>
                    <a:pt x="2464145" y="969478"/>
                  </a:lnTo>
                  <a:lnTo>
                    <a:pt x="2464018" y="968453"/>
                  </a:lnTo>
                  <a:lnTo>
                    <a:pt x="2463785" y="967535"/>
                  </a:lnTo>
                  <a:lnTo>
                    <a:pt x="2463459" y="966852"/>
                  </a:lnTo>
                  <a:lnTo>
                    <a:pt x="2462808" y="966483"/>
                  </a:lnTo>
                  <a:lnTo>
                    <a:pt x="2462507" y="967350"/>
                  </a:lnTo>
                  <a:lnTo>
                    <a:pt x="2462287" y="970483"/>
                  </a:lnTo>
                  <a:lnTo>
                    <a:pt x="2462303" y="971002"/>
                  </a:lnTo>
                  <a:lnTo>
                    <a:pt x="2462298" y="971577"/>
                  </a:lnTo>
                  <a:lnTo>
                    <a:pt x="2462206" y="972244"/>
                  </a:lnTo>
                  <a:lnTo>
                    <a:pt x="2461984" y="972834"/>
                  </a:lnTo>
                  <a:lnTo>
                    <a:pt x="2461454" y="973330"/>
                  </a:lnTo>
                  <a:lnTo>
                    <a:pt x="2461239" y="973865"/>
                  </a:lnTo>
                  <a:lnTo>
                    <a:pt x="2461103" y="974711"/>
                  </a:lnTo>
                  <a:lnTo>
                    <a:pt x="2461024" y="975853"/>
                  </a:lnTo>
                  <a:lnTo>
                    <a:pt x="2461069" y="977022"/>
                  </a:lnTo>
                  <a:lnTo>
                    <a:pt x="2461307" y="978007"/>
                  </a:lnTo>
                  <a:lnTo>
                    <a:pt x="2461768" y="980196"/>
                  </a:lnTo>
                  <a:lnTo>
                    <a:pt x="2461559" y="982360"/>
                  </a:lnTo>
                  <a:lnTo>
                    <a:pt x="2460771" y="985200"/>
                  </a:lnTo>
                  <a:lnTo>
                    <a:pt x="2460535" y="986503"/>
                  </a:lnTo>
                  <a:lnTo>
                    <a:pt x="2460280" y="987471"/>
                  </a:lnTo>
                  <a:lnTo>
                    <a:pt x="2459908" y="988102"/>
                  </a:lnTo>
                  <a:lnTo>
                    <a:pt x="2459312" y="988378"/>
                  </a:lnTo>
                  <a:lnTo>
                    <a:pt x="2458819" y="988049"/>
                  </a:lnTo>
                  <a:lnTo>
                    <a:pt x="2458528" y="987182"/>
                  </a:lnTo>
                  <a:lnTo>
                    <a:pt x="2458458" y="986180"/>
                  </a:lnTo>
                  <a:lnTo>
                    <a:pt x="2458633" y="985473"/>
                  </a:lnTo>
                  <a:lnTo>
                    <a:pt x="2458310" y="984619"/>
                  </a:lnTo>
                  <a:lnTo>
                    <a:pt x="2457578" y="983443"/>
                  </a:lnTo>
                  <a:lnTo>
                    <a:pt x="2457243" y="982666"/>
                  </a:lnTo>
                  <a:lnTo>
                    <a:pt x="2456994" y="981718"/>
                  </a:lnTo>
                  <a:lnTo>
                    <a:pt x="2456936" y="981156"/>
                  </a:lnTo>
                  <a:lnTo>
                    <a:pt x="2456955" y="980788"/>
                  </a:lnTo>
                  <a:lnTo>
                    <a:pt x="2456950" y="980460"/>
                  </a:lnTo>
                  <a:lnTo>
                    <a:pt x="2456748" y="978669"/>
                  </a:lnTo>
                  <a:lnTo>
                    <a:pt x="2456670" y="977459"/>
                  </a:lnTo>
                  <a:lnTo>
                    <a:pt x="2456511" y="976473"/>
                  </a:lnTo>
                  <a:lnTo>
                    <a:pt x="2456070" y="975340"/>
                  </a:lnTo>
                  <a:lnTo>
                    <a:pt x="2455378" y="974426"/>
                  </a:lnTo>
                  <a:lnTo>
                    <a:pt x="2452928" y="972686"/>
                  </a:lnTo>
                  <a:lnTo>
                    <a:pt x="2450888" y="970465"/>
                  </a:lnTo>
                  <a:lnTo>
                    <a:pt x="2450217" y="970094"/>
                  </a:lnTo>
                  <a:lnTo>
                    <a:pt x="2450914" y="972286"/>
                  </a:lnTo>
                  <a:lnTo>
                    <a:pt x="2451793" y="974086"/>
                  </a:lnTo>
                  <a:lnTo>
                    <a:pt x="2452710" y="975285"/>
                  </a:lnTo>
                  <a:lnTo>
                    <a:pt x="2453518" y="975661"/>
                  </a:lnTo>
                  <a:lnTo>
                    <a:pt x="2453331" y="980650"/>
                  </a:lnTo>
                  <a:lnTo>
                    <a:pt x="2452985" y="982709"/>
                  </a:lnTo>
                  <a:lnTo>
                    <a:pt x="2452348" y="983064"/>
                  </a:lnTo>
                  <a:lnTo>
                    <a:pt x="2451562" y="982467"/>
                  </a:lnTo>
                  <a:lnTo>
                    <a:pt x="2450043" y="981906"/>
                  </a:lnTo>
                  <a:lnTo>
                    <a:pt x="2447237" y="979649"/>
                  </a:lnTo>
                  <a:lnTo>
                    <a:pt x="2446463" y="979516"/>
                  </a:lnTo>
                  <a:lnTo>
                    <a:pt x="2447094" y="980290"/>
                  </a:lnTo>
                  <a:lnTo>
                    <a:pt x="2448736" y="983311"/>
                  </a:lnTo>
                  <a:lnTo>
                    <a:pt x="2451804" y="985588"/>
                  </a:lnTo>
                  <a:lnTo>
                    <a:pt x="2452369" y="986630"/>
                  </a:lnTo>
                  <a:lnTo>
                    <a:pt x="2452489" y="988805"/>
                  </a:lnTo>
                  <a:lnTo>
                    <a:pt x="2452443" y="991445"/>
                  </a:lnTo>
                  <a:lnTo>
                    <a:pt x="2452290" y="993862"/>
                  </a:lnTo>
                  <a:lnTo>
                    <a:pt x="2452078" y="995326"/>
                  </a:lnTo>
                  <a:lnTo>
                    <a:pt x="2450940" y="997551"/>
                  </a:lnTo>
                  <a:lnTo>
                    <a:pt x="2449503" y="998309"/>
                  </a:lnTo>
                  <a:lnTo>
                    <a:pt x="2445576" y="998316"/>
                  </a:lnTo>
                  <a:lnTo>
                    <a:pt x="2445277" y="998636"/>
                  </a:lnTo>
                  <a:lnTo>
                    <a:pt x="2445069" y="999457"/>
                  </a:lnTo>
                  <a:lnTo>
                    <a:pt x="2444974" y="1001230"/>
                  </a:lnTo>
                  <a:lnTo>
                    <a:pt x="2444850" y="1001898"/>
                  </a:lnTo>
                  <a:lnTo>
                    <a:pt x="2444515" y="1002204"/>
                  </a:lnTo>
                  <a:lnTo>
                    <a:pt x="2440437" y="1003427"/>
                  </a:lnTo>
                  <a:lnTo>
                    <a:pt x="2440546" y="1002668"/>
                  </a:lnTo>
                  <a:lnTo>
                    <a:pt x="2439776" y="1002241"/>
                  </a:lnTo>
                  <a:lnTo>
                    <a:pt x="2439131" y="1002608"/>
                  </a:lnTo>
                  <a:lnTo>
                    <a:pt x="2437908" y="1004318"/>
                  </a:lnTo>
                  <a:lnTo>
                    <a:pt x="2437001" y="1004968"/>
                  </a:lnTo>
                  <a:lnTo>
                    <a:pt x="2433856" y="1004989"/>
                  </a:lnTo>
                  <a:lnTo>
                    <a:pt x="2430795" y="1006609"/>
                  </a:lnTo>
                  <a:lnTo>
                    <a:pt x="2429851" y="1006113"/>
                  </a:lnTo>
                  <a:lnTo>
                    <a:pt x="2429372" y="1004930"/>
                  </a:lnTo>
                  <a:lnTo>
                    <a:pt x="2428590" y="1001652"/>
                  </a:lnTo>
                  <a:lnTo>
                    <a:pt x="2428219" y="1000657"/>
                  </a:lnTo>
                  <a:lnTo>
                    <a:pt x="2427391" y="1000064"/>
                  </a:lnTo>
                  <a:lnTo>
                    <a:pt x="2426822" y="1000565"/>
                  </a:lnTo>
                  <a:lnTo>
                    <a:pt x="2426056" y="1002793"/>
                  </a:lnTo>
                  <a:lnTo>
                    <a:pt x="2425493" y="1003893"/>
                  </a:lnTo>
                  <a:lnTo>
                    <a:pt x="2424872" y="1004262"/>
                  </a:lnTo>
                  <a:lnTo>
                    <a:pt x="2416699" y="999982"/>
                  </a:lnTo>
                  <a:lnTo>
                    <a:pt x="2417918" y="998045"/>
                  </a:lnTo>
                  <a:lnTo>
                    <a:pt x="2418156" y="996852"/>
                  </a:lnTo>
                  <a:lnTo>
                    <a:pt x="2413772" y="999934"/>
                  </a:lnTo>
                  <a:lnTo>
                    <a:pt x="2411100" y="999803"/>
                  </a:lnTo>
                  <a:lnTo>
                    <a:pt x="2406700" y="996141"/>
                  </a:lnTo>
                  <a:lnTo>
                    <a:pt x="2405680" y="994386"/>
                  </a:lnTo>
                  <a:lnTo>
                    <a:pt x="2405286" y="993001"/>
                  </a:lnTo>
                  <a:lnTo>
                    <a:pt x="2404983" y="991402"/>
                  </a:lnTo>
                  <a:lnTo>
                    <a:pt x="2404634" y="989843"/>
                  </a:lnTo>
                  <a:lnTo>
                    <a:pt x="2404111" y="988585"/>
                  </a:lnTo>
                  <a:lnTo>
                    <a:pt x="2404810" y="987963"/>
                  </a:lnTo>
                  <a:lnTo>
                    <a:pt x="2405044" y="987404"/>
                  </a:lnTo>
                  <a:lnTo>
                    <a:pt x="2405045" y="986259"/>
                  </a:lnTo>
                  <a:lnTo>
                    <a:pt x="2404781" y="986489"/>
                  </a:lnTo>
                  <a:lnTo>
                    <a:pt x="2404549" y="986551"/>
                  </a:lnTo>
                  <a:lnTo>
                    <a:pt x="2404082" y="986353"/>
                  </a:lnTo>
                  <a:lnTo>
                    <a:pt x="2403690" y="987166"/>
                  </a:lnTo>
                  <a:lnTo>
                    <a:pt x="2402272" y="987475"/>
                  </a:lnTo>
                  <a:lnTo>
                    <a:pt x="2401655" y="988000"/>
                  </a:lnTo>
                  <a:lnTo>
                    <a:pt x="2401428" y="988713"/>
                  </a:lnTo>
                  <a:lnTo>
                    <a:pt x="2401318" y="989571"/>
                  </a:lnTo>
                  <a:lnTo>
                    <a:pt x="2401250" y="990420"/>
                  </a:lnTo>
                  <a:lnTo>
                    <a:pt x="2401152" y="991094"/>
                  </a:lnTo>
                  <a:lnTo>
                    <a:pt x="2400359" y="992300"/>
                  </a:lnTo>
                  <a:lnTo>
                    <a:pt x="2399168" y="992253"/>
                  </a:lnTo>
                  <a:lnTo>
                    <a:pt x="2396734" y="990772"/>
                  </a:lnTo>
                  <a:lnTo>
                    <a:pt x="2397313" y="986985"/>
                  </a:lnTo>
                  <a:lnTo>
                    <a:pt x="2399893" y="984286"/>
                  </a:lnTo>
                  <a:lnTo>
                    <a:pt x="2400932" y="981785"/>
                  </a:lnTo>
                  <a:lnTo>
                    <a:pt x="2401553" y="977974"/>
                  </a:lnTo>
                  <a:lnTo>
                    <a:pt x="2401830" y="977326"/>
                  </a:lnTo>
                  <a:lnTo>
                    <a:pt x="2402720" y="976638"/>
                  </a:lnTo>
                  <a:lnTo>
                    <a:pt x="2403023" y="975974"/>
                  </a:lnTo>
                  <a:lnTo>
                    <a:pt x="2403122" y="974195"/>
                  </a:lnTo>
                  <a:lnTo>
                    <a:pt x="2402850" y="972828"/>
                  </a:lnTo>
                  <a:lnTo>
                    <a:pt x="2402532" y="971724"/>
                  </a:lnTo>
                  <a:lnTo>
                    <a:pt x="2402490" y="970743"/>
                  </a:lnTo>
                  <a:lnTo>
                    <a:pt x="2402022" y="970239"/>
                  </a:lnTo>
                  <a:lnTo>
                    <a:pt x="2401564" y="970097"/>
                  </a:lnTo>
                  <a:lnTo>
                    <a:pt x="2400674" y="970239"/>
                  </a:lnTo>
                  <a:lnTo>
                    <a:pt x="2400867" y="970221"/>
                  </a:lnTo>
                  <a:lnTo>
                    <a:pt x="2400093" y="971053"/>
                  </a:lnTo>
                  <a:lnTo>
                    <a:pt x="2399634" y="972365"/>
                  </a:lnTo>
                  <a:lnTo>
                    <a:pt x="2398825" y="975687"/>
                  </a:lnTo>
                  <a:lnTo>
                    <a:pt x="2394086" y="985739"/>
                  </a:lnTo>
                  <a:lnTo>
                    <a:pt x="2393521" y="986207"/>
                  </a:lnTo>
                  <a:lnTo>
                    <a:pt x="2393034" y="985958"/>
                  </a:lnTo>
                  <a:lnTo>
                    <a:pt x="2392551" y="985470"/>
                  </a:lnTo>
                  <a:lnTo>
                    <a:pt x="2391990" y="985250"/>
                  </a:lnTo>
                  <a:lnTo>
                    <a:pt x="2391647" y="985507"/>
                  </a:lnTo>
                  <a:lnTo>
                    <a:pt x="2390670" y="986898"/>
                  </a:lnTo>
                  <a:lnTo>
                    <a:pt x="2390468" y="987616"/>
                  </a:lnTo>
                  <a:lnTo>
                    <a:pt x="2390680" y="989064"/>
                  </a:lnTo>
                  <a:lnTo>
                    <a:pt x="2391165" y="989815"/>
                  </a:lnTo>
                  <a:lnTo>
                    <a:pt x="2391735" y="990353"/>
                  </a:lnTo>
                  <a:lnTo>
                    <a:pt x="2392209" y="991184"/>
                  </a:lnTo>
                  <a:lnTo>
                    <a:pt x="2392396" y="993007"/>
                  </a:lnTo>
                  <a:lnTo>
                    <a:pt x="2394596" y="996997"/>
                  </a:lnTo>
                  <a:lnTo>
                    <a:pt x="2395367" y="999072"/>
                  </a:lnTo>
                  <a:lnTo>
                    <a:pt x="2389907" y="998817"/>
                  </a:lnTo>
                  <a:lnTo>
                    <a:pt x="2390055" y="998068"/>
                  </a:lnTo>
                  <a:lnTo>
                    <a:pt x="2389079" y="995921"/>
                  </a:lnTo>
                  <a:lnTo>
                    <a:pt x="2389580" y="994184"/>
                  </a:lnTo>
                  <a:lnTo>
                    <a:pt x="2388933" y="991350"/>
                  </a:lnTo>
                  <a:lnTo>
                    <a:pt x="2387763" y="989743"/>
                  </a:lnTo>
                  <a:lnTo>
                    <a:pt x="2386682" y="991672"/>
                  </a:lnTo>
                  <a:lnTo>
                    <a:pt x="2387408" y="992238"/>
                  </a:lnTo>
                  <a:lnTo>
                    <a:pt x="2387823" y="993239"/>
                  </a:lnTo>
                  <a:lnTo>
                    <a:pt x="2387965" y="994542"/>
                  </a:lnTo>
                  <a:lnTo>
                    <a:pt x="2387874" y="996026"/>
                  </a:lnTo>
                  <a:lnTo>
                    <a:pt x="2387383" y="997655"/>
                  </a:lnTo>
                  <a:lnTo>
                    <a:pt x="2386612" y="998352"/>
                  </a:lnTo>
                  <a:lnTo>
                    <a:pt x="2383225" y="998432"/>
                  </a:lnTo>
                  <a:lnTo>
                    <a:pt x="2379518" y="996535"/>
                  </a:lnTo>
                  <a:lnTo>
                    <a:pt x="2377780" y="994645"/>
                  </a:lnTo>
                  <a:lnTo>
                    <a:pt x="2378172" y="993913"/>
                  </a:lnTo>
                  <a:lnTo>
                    <a:pt x="2379247" y="992730"/>
                  </a:lnTo>
                  <a:lnTo>
                    <a:pt x="2379487" y="991461"/>
                  </a:lnTo>
                  <a:lnTo>
                    <a:pt x="2378044" y="989933"/>
                  </a:lnTo>
                  <a:lnTo>
                    <a:pt x="2376601" y="989545"/>
                  </a:lnTo>
                  <a:lnTo>
                    <a:pt x="2373835" y="990432"/>
                  </a:lnTo>
                  <a:lnTo>
                    <a:pt x="2374347" y="992380"/>
                  </a:lnTo>
                  <a:lnTo>
                    <a:pt x="2373806" y="992999"/>
                  </a:lnTo>
                  <a:lnTo>
                    <a:pt x="2372816" y="992741"/>
                  </a:lnTo>
                  <a:lnTo>
                    <a:pt x="2371991" y="992066"/>
                  </a:lnTo>
                  <a:lnTo>
                    <a:pt x="2372354" y="990713"/>
                  </a:lnTo>
                  <a:lnTo>
                    <a:pt x="2373913" y="989014"/>
                  </a:lnTo>
                  <a:lnTo>
                    <a:pt x="2372212" y="987599"/>
                  </a:lnTo>
                  <a:lnTo>
                    <a:pt x="2372279" y="988399"/>
                  </a:lnTo>
                  <a:lnTo>
                    <a:pt x="2370746" y="987010"/>
                  </a:lnTo>
                  <a:lnTo>
                    <a:pt x="2367449" y="985250"/>
                  </a:lnTo>
                  <a:lnTo>
                    <a:pt x="2365953" y="982544"/>
                  </a:lnTo>
                  <a:lnTo>
                    <a:pt x="2365749" y="981178"/>
                  </a:lnTo>
                  <a:lnTo>
                    <a:pt x="2365915" y="979811"/>
                  </a:lnTo>
                  <a:lnTo>
                    <a:pt x="2366456" y="977641"/>
                  </a:lnTo>
                  <a:lnTo>
                    <a:pt x="2366616" y="977212"/>
                  </a:lnTo>
                  <a:lnTo>
                    <a:pt x="2366796" y="977154"/>
                  </a:lnTo>
                  <a:lnTo>
                    <a:pt x="2366907" y="976854"/>
                  </a:lnTo>
                  <a:lnTo>
                    <a:pt x="2366870" y="975714"/>
                  </a:lnTo>
                  <a:lnTo>
                    <a:pt x="2366814" y="974882"/>
                  </a:lnTo>
                  <a:lnTo>
                    <a:pt x="2366802" y="974325"/>
                  </a:lnTo>
                  <a:lnTo>
                    <a:pt x="2366877" y="973151"/>
                  </a:lnTo>
                  <a:lnTo>
                    <a:pt x="2366600" y="972291"/>
                  </a:lnTo>
                  <a:lnTo>
                    <a:pt x="2366492" y="971803"/>
                  </a:lnTo>
                  <a:lnTo>
                    <a:pt x="2366480" y="971451"/>
                  </a:lnTo>
                  <a:lnTo>
                    <a:pt x="2366485" y="970950"/>
                  </a:lnTo>
                  <a:lnTo>
                    <a:pt x="2365984" y="969660"/>
                  </a:lnTo>
                  <a:lnTo>
                    <a:pt x="2365442" y="968998"/>
                  </a:lnTo>
                  <a:lnTo>
                    <a:pt x="2364324" y="968144"/>
                  </a:lnTo>
                  <a:lnTo>
                    <a:pt x="2365103" y="966859"/>
                  </a:lnTo>
                  <a:lnTo>
                    <a:pt x="2364621" y="965302"/>
                  </a:lnTo>
                  <a:lnTo>
                    <a:pt x="2360292" y="958921"/>
                  </a:lnTo>
                  <a:lnTo>
                    <a:pt x="2359413" y="958118"/>
                  </a:lnTo>
                  <a:lnTo>
                    <a:pt x="2359350" y="957308"/>
                  </a:lnTo>
                  <a:lnTo>
                    <a:pt x="2359732" y="957157"/>
                  </a:lnTo>
                  <a:lnTo>
                    <a:pt x="2359890" y="956534"/>
                  </a:lnTo>
                  <a:lnTo>
                    <a:pt x="2359877" y="955553"/>
                  </a:lnTo>
                  <a:lnTo>
                    <a:pt x="2359735" y="954307"/>
                  </a:lnTo>
                  <a:lnTo>
                    <a:pt x="2359311" y="954356"/>
                  </a:lnTo>
                  <a:lnTo>
                    <a:pt x="2359027" y="954222"/>
                  </a:lnTo>
                  <a:lnTo>
                    <a:pt x="2358890" y="953634"/>
                  </a:lnTo>
                  <a:lnTo>
                    <a:pt x="2359007" y="952865"/>
                  </a:lnTo>
                  <a:lnTo>
                    <a:pt x="2359299" y="952715"/>
                  </a:lnTo>
                  <a:lnTo>
                    <a:pt x="2359633" y="952730"/>
                  </a:lnTo>
                  <a:lnTo>
                    <a:pt x="2360828" y="951036"/>
                  </a:lnTo>
                  <a:lnTo>
                    <a:pt x="2363744" y="951773"/>
                  </a:lnTo>
                  <a:lnTo>
                    <a:pt x="2364809" y="950218"/>
                  </a:lnTo>
                  <a:lnTo>
                    <a:pt x="2362379" y="948208"/>
                  </a:lnTo>
                  <a:lnTo>
                    <a:pt x="2361631" y="946679"/>
                  </a:lnTo>
                  <a:lnTo>
                    <a:pt x="2363079" y="945446"/>
                  </a:lnTo>
                  <a:lnTo>
                    <a:pt x="2363121" y="944708"/>
                  </a:lnTo>
                  <a:lnTo>
                    <a:pt x="2362558" y="944043"/>
                  </a:lnTo>
                  <a:lnTo>
                    <a:pt x="2358108" y="946457"/>
                  </a:lnTo>
                  <a:lnTo>
                    <a:pt x="2356874" y="946520"/>
                  </a:lnTo>
                  <a:lnTo>
                    <a:pt x="2355559" y="945637"/>
                  </a:lnTo>
                  <a:lnTo>
                    <a:pt x="2355442" y="943863"/>
                  </a:lnTo>
                  <a:lnTo>
                    <a:pt x="2354928" y="943293"/>
                  </a:lnTo>
                  <a:lnTo>
                    <a:pt x="2354239" y="943205"/>
                  </a:lnTo>
                  <a:lnTo>
                    <a:pt x="2353597" y="942804"/>
                  </a:lnTo>
                  <a:lnTo>
                    <a:pt x="2353649" y="942385"/>
                  </a:lnTo>
                  <a:lnTo>
                    <a:pt x="2353697" y="941320"/>
                  </a:lnTo>
                  <a:lnTo>
                    <a:pt x="2352793" y="941029"/>
                  </a:lnTo>
                  <a:lnTo>
                    <a:pt x="2350957" y="938840"/>
                  </a:lnTo>
                  <a:lnTo>
                    <a:pt x="2350043" y="938611"/>
                  </a:lnTo>
                  <a:lnTo>
                    <a:pt x="2350200" y="937353"/>
                  </a:lnTo>
                  <a:lnTo>
                    <a:pt x="2350912" y="935959"/>
                  </a:lnTo>
                  <a:lnTo>
                    <a:pt x="2351089" y="934824"/>
                  </a:lnTo>
                  <a:lnTo>
                    <a:pt x="2350989" y="933495"/>
                  </a:lnTo>
                  <a:lnTo>
                    <a:pt x="2350746" y="932119"/>
                  </a:lnTo>
                  <a:lnTo>
                    <a:pt x="2350384" y="930419"/>
                  </a:lnTo>
                  <a:lnTo>
                    <a:pt x="2350914" y="926336"/>
                  </a:lnTo>
                  <a:lnTo>
                    <a:pt x="2351153" y="925108"/>
                  </a:lnTo>
                  <a:lnTo>
                    <a:pt x="2351696" y="923813"/>
                  </a:lnTo>
                  <a:lnTo>
                    <a:pt x="2353079" y="922376"/>
                  </a:lnTo>
                  <a:lnTo>
                    <a:pt x="2353711" y="921216"/>
                  </a:lnTo>
                  <a:lnTo>
                    <a:pt x="2352770" y="920863"/>
                  </a:lnTo>
                  <a:lnTo>
                    <a:pt x="2350812" y="921846"/>
                  </a:lnTo>
                  <a:lnTo>
                    <a:pt x="2349937" y="921482"/>
                  </a:lnTo>
                  <a:lnTo>
                    <a:pt x="2351561" y="912626"/>
                  </a:lnTo>
                  <a:lnTo>
                    <a:pt x="2353316" y="906371"/>
                  </a:lnTo>
                  <a:lnTo>
                    <a:pt x="2354395" y="904913"/>
                  </a:lnTo>
                  <a:lnTo>
                    <a:pt x="2354847" y="903992"/>
                  </a:lnTo>
                  <a:lnTo>
                    <a:pt x="2355436" y="902104"/>
                  </a:lnTo>
                  <a:lnTo>
                    <a:pt x="2355799" y="901388"/>
                  </a:lnTo>
                  <a:lnTo>
                    <a:pt x="2358670" y="899652"/>
                  </a:lnTo>
                  <a:lnTo>
                    <a:pt x="2359736" y="898386"/>
                  </a:lnTo>
                  <a:lnTo>
                    <a:pt x="2360632" y="896141"/>
                  </a:lnTo>
                  <a:lnTo>
                    <a:pt x="2360014" y="895339"/>
                  </a:lnTo>
                  <a:lnTo>
                    <a:pt x="2358658" y="894434"/>
                  </a:lnTo>
                  <a:lnTo>
                    <a:pt x="2358351" y="893342"/>
                  </a:lnTo>
                  <a:lnTo>
                    <a:pt x="2358525" y="892175"/>
                  </a:lnTo>
                  <a:lnTo>
                    <a:pt x="2359884" y="889448"/>
                  </a:lnTo>
                  <a:lnTo>
                    <a:pt x="2359346" y="888844"/>
                  </a:lnTo>
                  <a:lnTo>
                    <a:pt x="2358853" y="887979"/>
                  </a:lnTo>
                  <a:lnTo>
                    <a:pt x="2358384" y="886343"/>
                  </a:lnTo>
                  <a:lnTo>
                    <a:pt x="2355496" y="882641"/>
                  </a:lnTo>
                  <a:lnTo>
                    <a:pt x="2354690" y="880189"/>
                  </a:lnTo>
                  <a:lnTo>
                    <a:pt x="2354781" y="879449"/>
                  </a:lnTo>
                  <a:lnTo>
                    <a:pt x="2355820" y="875754"/>
                  </a:lnTo>
                  <a:lnTo>
                    <a:pt x="2355991" y="874640"/>
                  </a:lnTo>
                  <a:lnTo>
                    <a:pt x="2356068" y="873347"/>
                  </a:lnTo>
                  <a:lnTo>
                    <a:pt x="2356073" y="871795"/>
                  </a:lnTo>
                  <a:lnTo>
                    <a:pt x="2355343" y="868202"/>
                  </a:lnTo>
                  <a:lnTo>
                    <a:pt x="2354967" y="866983"/>
                  </a:lnTo>
                  <a:lnTo>
                    <a:pt x="2354288" y="865720"/>
                  </a:lnTo>
                  <a:lnTo>
                    <a:pt x="2353245" y="864820"/>
                  </a:lnTo>
                  <a:lnTo>
                    <a:pt x="2351029" y="864660"/>
                  </a:lnTo>
                  <a:lnTo>
                    <a:pt x="2346897" y="861852"/>
                  </a:lnTo>
                  <a:lnTo>
                    <a:pt x="2346063" y="860346"/>
                  </a:lnTo>
                  <a:lnTo>
                    <a:pt x="2345591" y="858549"/>
                  </a:lnTo>
                  <a:lnTo>
                    <a:pt x="2345317" y="857972"/>
                  </a:lnTo>
                  <a:lnTo>
                    <a:pt x="2344869" y="857764"/>
                  </a:lnTo>
                  <a:lnTo>
                    <a:pt x="2343913" y="857813"/>
                  </a:lnTo>
                  <a:lnTo>
                    <a:pt x="2343433" y="857439"/>
                  </a:lnTo>
                  <a:lnTo>
                    <a:pt x="2342953" y="856481"/>
                  </a:lnTo>
                  <a:lnTo>
                    <a:pt x="2342967" y="855190"/>
                  </a:lnTo>
                  <a:lnTo>
                    <a:pt x="2342544" y="854000"/>
                  </a:lnTo>
                  <a:lnTo>
                    <a:pt x="2341937" y="853130"/>
                  </a:lnTo>
                  <a:lnTo>
                    <a:pt x="2341399" y="852818"/>
                  </a:lnTo>
                  <a:lnTo>
                    <a:pt x="2340708" y="852705"/>
                  </a:lnTo>
                  <a:lnTo>
                    <a:pt x="2340398" y="852103"/>
                  </a:lnTo>
                  <a:lnTo>
                    <a:pt x="2339985" y="848459"/>
                  </a:lnTo>
                  <a:lnTo>
                    <a:pt x="2339863" y="847751"/>
                  </a:lnTo>
                  <a:lnTo>
                    <a:pt x="2339522" y="846126"/>
                  </a:lnTo>
                  <a:lnTo>
                    <a:pt x="2339432" y="845527"/>
                  </a:lnTo>
                  <a:lnTo>
                    <a:pt x="2339456" y="845008"/>
                  </a:lnTo>
                  <a:lnTo>
                    <a:pt x="2339625" y="843804"/>
                  </a:lnTo>
                  <a:lnTo>
                    <a:pt x="2339615" y="843231"/>
                  </a:lnTo>
                  <a:lnTo>
                    <a:pt x="2339189" y="841368"/>
                  </a:lnTo>
                  <a:lnTo>
                    <a:pt x="2338564" y="839766"/>
                  </a:lnTo>
                  <a:lnTo>
                    <a:pt x="2337863" y="838660"/>
                  </a:lnTo>
                  <a:lnTo>
                    <a:pt x="2336581" y="837865"/>
                  </a:lnTo>
                  <a:lnTo>
                    <a:pt x="2335879" y="836709"/>
                  </a:lnTo>
                  <a:lnTo>
                    <a:pt x="2335273" y="834955"/>
                  </a:lnTo>
                  <a:lnTo>
                    <a:pt x="2334930" y="832786"/>
                  </a:lnTo>
                  <a:lnTo>
                    <a:pt x="2334440" y="831431"/>
                  </a:lnTo>
                  <a:lnTo>
                    <a:pt x="2333467" y="830464"/>
                  </a:lnTo>
                  <a:lnTo>
                    <a:pt x="2330972" y="829190"/>
                  </a:lnTo>
                  <a:lnTo>
                    <a:pt x="2328651" y="824665"/>
                  </a:lnTo>
                  <a:lnTo>
                    <a:pt x="2327413" y="823071"/>
                  </a:lnTo>
                  <a:lnTo>
                    <a:pt x="2326818" y="821919"/>
                  </a:lnTo>
                  <a:lnTo>
                    <a:pt x="2326392" y="820218"/>
                  </a:lnTo>
                  <a:lnTo>
                    <a:pt x="2326579" y="819951"/>
                  </a:lnTo>
                  <a:lnTo>
                    <a:pt x="2327027" y="818768"/>
                  </a:lnTo>
                  <a:lnTo>
                    <a:pt x="2326906" y="818228"/>
                  </a:lnTo>
                  <a:lnTo>
                    <a:pt x="2326799" y="817841"/>
                  </a:lnTo>
                  <a:lnTo>
                    <a:pt x="2326693" y="817556"/>
                  </a:lnTo>
                  <a:lnTo>
                    <a:pt x="2326578" y="817302"/>
                  </a:lnTo>
                  <a:lnTo>
                    <a:pt x="2326739" y="817292"/>
                  </a:lnTo>
                  <a:lnTo>
                    <a:pt x="2324832" y="815110"/>
                  </a:lnTo>
                  <a:lnTo>
                    <a:pt x="2322725" y="814659"/>
                  </a:lnTo>
                  <a:lnTo>
                    <a:pt x="2320661" y="815456"/>
                  </a:lnTo>
                  <a:lnTo>
                    <a:pt x="2313284" y="823391"/>
                  </a:lnTo>
                  <a:lnTo>
                    <a:pt x="2311234" y="823407"/>
                  </a:lnTo>
                  <a:lnTo>
                    <a:pt x="2311519" y="822811"/>
                  </a:lnTo>
                  <a:lnTo>
                    <a:pt x="2312126" y="822259"/>
                  </a:lnTo>
                  <a:lnTo>
                    <a:pt x="2312411" y="821794"/>
                  </a:lnTo>
                  <a:lnTo>
                    <a:pt x="2311977" y="820343"/>
                  </a:lnTo>
                  <a:lnTo>
                    <a:pt x="2310885" y="820548"/>
                  </a:lnTo>
                  <a:lnTo>
                    <a:pt x="2310387" y="821005"/>
                  </a:lnTo>
                  <a:lnTo>
                    <a:pt x="2309913" y="821920"/>
                  </a:lnTo>
                  <a:lnTo>
                    <a:pt x="2309116" y="824536"/>
                  </a:lnTo>
                  <a:lnTo>
                    <a:pt x="2308810" y="825010"/>
                  </a:lnTo>
                  <a:lnTo>
                    <a:pt x="2309701" y="826426"/>
                  </a:lnTo>
                  <a:lnTo>
                    <a:pt x="2311548" y="826679"/>
                  </a:lnTo>
                  <a:lnTo>
                    <a:pt x="2312378" y="827788"/>
                  </a:lnTo>
                  <a:lnTo>
                    <a:pt x="2310630" y="828750"/>
                  </a:lnTo>
                  <a:lnTo>
                    <a:pt x="2306905" y="826932"/>
                  </a:lnTo>
                  <a:lnTo>
                    <a:pt x="2304342" y="828008"/>
                  </a:lnTo>
                  <a:lnTo>
                    <a:pt x="2302613" y="827659"/>
                  </a:lnTo>
                  <a:lnTo>
                    <a:pt x="2301098" y="828339"/>
                  </a:lnTo>
                  <a:lnTo>
                    <a:pt x="2297882" y="825804"/>
                  </a:lnTo>
                  <a:lnTo>
                    <a:pt x="2287060" y="827342"/>
                  </a:lnTo>
                  <a:lnTo>
                    <a:pt x="2285450" y="825978"/>
                  </a:lnTo>
                  <a:lnTo>
                    <a:pt x="2285830" y="825308"/>
                  </a:lnTo>
                  <a:lnTo>
                    <a:pt x="2285971" y="825148"/>
                  </a:lnTo>
                  <a:lnTo>
                    <a:pt x="2285415" y="823986"/>
                  </a:lnTo>
                  <a:lnTo>
                    <a:pt x="2285207" y="823693"/>
                  </a:lnTo>
                  <a:lnTo>
                    <a:pt x="2285340" y="822948"/>
                  </a:lnTo>
                  <a:lnTo>
                    <a:pt x="2283115" y="823023"/>
                  </a:lnTo>
                  <a:lnTo>
                    <a:pt x="2282850" y="823481"/>
                  </a:lnTo>
                  <a:lnTo>
                    <a:pt x="2281900" y="826457"/>
                  </a:lnTo>
                  <a:lnTo>
                    <a:pt x="2280705" y="828043"/>
                  </a:lnTo>
                  <a:lnTo>
                    <a:pt x="2276820" y="829879"/>
                  </a:lnTo>
                  <a:lnTo>
                    <a:pt x="2276327" y="830797"/>
                  </a:lnTo>
                  <a:lnTo>
                    <a:pt x="2275776" y="832435"/>
                  </a:lnTo>
                  <a:lnTo>
                    <a:pt x="2275305" y="832951"/>
                  </a:lnTo>
                  <a:lnTo>
                    <a:pt x="2274622" y="832934"/>
                  </a:lnTo>
                  <a:lnTo>
                    <a:pt x="2272562" y="831544"/>
                  </a:lnTo>
                  <a:lnTo>
                    <a:pt x="2266648" y="831689"/>
                  </a:lnTo>
                  <a:lnTo>
                    <a:pt x="2266736" y="830699"/>
                  </a:lnTo>
                  <a:lnTo>
                    <a:pt x="2266764" y="830179"/>
                  </a:lnTo>
                  <a:lnTo>
                    <a:pt x="2266714" y="829660"/>
                  </a:lnTo>
                  <a:lnTo>
                    <a:pt x="2266576" y="828662"/>
                  </a:lnTo>
                  <a:lnTo>
                    <a:pt x="2266706" y="826874"/>
                  </a:lnTo>
                  <a:lnTo>
                    <a:pt x="2266904" y="825266"/>
                  </a:lnTo>
                  <a:lnTo>
                    <a:pt x="2267321" y="824520"/>
                  </a:lnTo>
                  <a:lnTo>
                    <a:pt x="2269127" y="826328"/>
                  </a:lnTo>
                  <a:lnTo>
                    <a:pt x="2274046" y="824125"/>
                  </a:lnTo>
                  <a:lnTo>
                    <a:pt x="2274646" y="823280"/>
                  </a:lnTo>
                  <a:lnTo>
                    <a:pt x="2274692" y="822881"/>
                  </a:lnTo>
                  <a:lnTo>
                    <a:pt x="2274617" y="822399"/>
                  </a:lnTo>
                  <a:lnTo>
                    <a:pt x="2274593" y="821981"/>
                  </a:lnTo>
                  <a:lnTo>
                    <a:pt x="2275717" y="821156"/>
                  </a:lnTo>
                  <a:lnTo>
                    <a:pt x="2279623" y="821063"/>
                  </a:lnTo>
                  <a:lnTo>
                    <a:pt x="2280685" y="822299"/>
                  </a:lnTo>
                  <a:lnTo>
                    <a:pt x="2280504" y="822622"/>
                  </a:lnTo>
                  <a:lnTo>
                    <a:pt x="2280386" y="823027"/>
                  </a:lnTo>
                  <a:lnTo>
                    <a:pt x="2280203" y="823857"/>
                  </a:lnTo>
                  <a:lnTo>
                    <a:pt x="2280691" y="823917"/>
                  </a:lnTo>
                  <a:lnTo>
                    <a:pt x="2281141" y="823704"/>
                  </a:lnTo>
                  <a:lnTo>
                    <a:pt x="2281505" y="823014"/>
                  </a:lnTo>
                  <a:lnTo>
                    <a:pt x="2281726" y="821596"/>
                  </a:lnTo>
                  <a:lnTo>
                    <a:pt x="2280630" y="820348"/>
                  </a:lnTo>
                  <a:lnTo>
                    <a:pt x="2273160" y="817617"/>
                  </a:lnTo>
                  <a:lnTo>
                    <a:pt x="2272393" y="818907"/>
                  </a:lnTo>
                  <a:lnTo>
                    <a:pt x="2271906" y="819594"/>
                  </a:lnTo>
                  <a:lnTo>
                    <a:pt x="2271349" y="819145"/>
                  </a:lnTo>
                  <a:lnTo>
                    <a:pt x="2270263" y="817269"/>
                  </a:lnTo>
                  <a:lnTo>
                    <a:pt x="2269858" y="816830"/>
                  </a:lnTo>
                  <a:lnTo>
                    <a:pt x="2269434" y="816602"/>
                  </a:lnTo>
                  <a:lnTo>
                    <a:pt x="2268601" y="816715"/>
                  </a:lnTo>
                  <a:lnTo>
                    <a:pt x="2268280" y="817009"/>
                  </a:lnTo>
                  <a:lnTo>
                    <a:pt x="2267578" y="818220"/>
                  </a:lnTo>
                  <a:lnTo>
                    <a:pt x="2266112" y="818836"/>
                  </a:lnTo>
                  <a:lnTo>
                    <a:pt x="2265242" y="818617"/>
                  </a:lnTo>
                  <a:lnTo>
                    <a:pt x="2264717" y="817610"/>
                  </a:lnTo>
                  <a:lnTo>
                    <a:pt x="2264818" y="816246"/>
                  </a:lnTo>
                  <a:lnTo>
                    <a:pt x="2265432" y="815519"/>
                  </a:lnTo>
                  <a:lnTo>
                    <a:pt x="2266159" y="815093"/>
                  </a:lnTo>
                  <a:lnTo>
                    <a:pt x="2266607" y="814616"/>
                  </a:lnTo>
                  <a:lnTo>
                    <a:pt x="2265444" y="814183"/>
                  </a:lnTo>
                  <a:lnTo>
                    <a:pt x="2262034" y="816186"/>
                  </a:lnTo>
                  <a:lnTo>
                    <a:pt x="2255041" y="814579"/>
                  </a:lnTo>
                  <a:lnTo>
                    <a:pt x="2254451" y="814037"/>
                  </a:lnTo>
                  <a:lnTo>
                    <a:pt x="2253159" y="812070"/>
                  </a:lnTo>
                  <a:lnTo>
                    <a:pt x="2251095" y="810649"/>
                  </a:lnTo>
                  <a:lnTo>
                    <a:pt x="2249320" y="807786"/>
                  </a:lnTo>
                  <a:lnTo>
                    <a:pt x="2247528" y="803785"/>
                  </a:lnTo>
                  <a:lnTo>
                    <a:pt x="2248198" y="801839"/>
                  </a:lnTo>
                  <a:lnTo>
                    <a:pt x="2248821" y="801144"/>
                  </a:lnTo>
                  <a:lnTo>
                    <a:pt x="2255557" y="801366"/>
                  </a:lnTo>
                  <a:lnTo>
                    <a:pt x="2256488" y="800672"/>
                  </a:lnTo>
                  <a:lnTo>
                    <a:pt x="2257386" y="799511"/>
                  </a:lnTo>
                  <a:lnTo>
                    <a:pt x="2260276" y="793299"/>
                  </a:lnTo>
                  <a:lnTo>
                    <a:pt x="2260642" y="791688"/>
                  </a:lnTo>
                  <a:lnTo>
                    <a:pt x="2259815" y="791916"/>
                  </a:lnTo>
                  <a:lnTo>
                    <a:pt x="2259130" y="792537"/>
                  </a:lnTo>
                  <a:lnTo>
                    <a:pt x="2256568" y="797190"/>
                  </a:lnTo>
                  <a:lnTo>
                    <a:pt x="2255763" y="797724"/>
                  </a:lnTo>
                  <a:lnTo>
                    <a:pt x="2255313" y="797021"/>
                  </a:lnTo>
                  <a:lnTo>
                    <a:pt x="2255300" y="796281"/>
                  </a:lnTo>
                  <a:lnTo>
                    <a:pt x="2254595" y="796240"/>
                  </a:lnTo>
                  <a:lnTo>
                    <a:pt x="2252359" y="797740"/>
                  </a:lnTo>
                  <a:lnTo>
                    <a:pt x="2249552" y="797778"/>
                  </a:lnTo>
                  <a:lnTo>
                    <a:pt x="2249659" y="796649"/>
                  </a:lnTo>
                  <a:lnTo>
                    <a:pt x="2249851" y="795827"/>
                  </a:lnTo>
                  <a:lnTo>
                    <a:pt x="2250106" y="795251"/>
                  </a:lnTo>
                  <a:lnTo>
                    <a:pt x="2250399" y="794873"/>
                  </a:lnTo>
                  <a:lnTo>
                    <a:pt x="2249461" y="794079"/>
                  </a:lnTo>
                  <a:lnTo>
                    <a:pt x="2247531" y="795146"/>
                  </a:lnTo>
                  <a:lnTo>
                    <a:pt x="2246572" y="794729"/>
                  </a:lnTo>
                  <a:lnTo>
                    <a:pt x="2245976" y="793735"/>
                  </a:lnTo>
                  <a:lnTo>
                    <a:pt x="2245757" y="793125"/>
                  </a:lnTo>
                  <a:lnTo>
                    <a:pt x="2245556" y="792312"/>
                  </a:lnTo>
                  <a:lnTo>
                    <a:pt x="2245203" y="791342"/>
                  </a:lnTo>
                  <a:lnTo>
                    <a:pt x="2243866" y="790509"/>
                  </a:lnTo>
                  <a:lnTo>
                    <a:pt x="2244053" y="790146"/>
                  </a:lnTo>
                  <a:lnTo>
                    <a:pt x="2244386" y="788963"/>
                  </a:lnTo>
                  <a:lnTo>
                    <a:pt x="2240657" y="788918"/>
                  </a:lnTo>
                  <a:lnTo>
                    <a:pt x="2239465" y="787733"/>
                  </a:lnTo>
                  <a:lnTo>
                    <a:pt x="2238709" y="786469"/>
                  </a:lnTo>
                  <a:lnTo>
                    <a:pt x="2238400" y="785510"/>
                  </a:lnTo>
                  <a:lnTo>
                    <a:pt x="2238271" y="784233"/>
                  </a:lnTo>
                  <a:lnTo>
                    <a:pt x="2238000" y="783213"/>
                  </a:lnTo>
                  <a:lnTo>
                    <a:pt x="2237392" y="782648"/>
                  </a:lnTo>
                  <a:lnTo>
                    <a:pt x="2232777" y="780933"/>
                  </a:lnTo>
                  <a:lnTo>
                    <a:pt x="2230628" y="782377"/>
                  </a:lnTo>
                  <a:lnTo>
                    <a:pt x="2227984" y="781861"/>
                  </a:lnTo>
                  <a:lnTo>
                    <a:pt x="2226630" y="780458"/>
                  </a:lnTo>
                  <a:lnTo>
                    <a:pt x="2225615" y="777937"/>
                  </a:lnTo>
                  <a:lnTo>
                    <a:pt x="2226371" y="777842"/>
                  </a:lnTo>
                  <a:lnTo>
                    <a:pt x="2227245" y="777143"/>
                  </a:lnTo>
                  <a:lnTo>
                    <a:pt x="2228080" y="775924"/>
                  </a:lnTo>
                  <a:lnTo>
                    <a:pt x="2228718" y="774251"/>
                  </a:lnTo>
                  <a:lnTo>
                    <a:pt x="2228285" y="774171"/>
                  </a:lnTo>
                  <a:lnTo>
                    <a:pt x="2227718" y="773765"/>
                  </a:lnTo>
                  <a:lnTo>
                    <a:pt x="2227267" y="772858"/>
                  </a:lnTo>
                  <a:lnTo>
                    <a:pt x="2227176" y="771224"/>
                  </a:lnTo>
                  <a:lnTo>
                    <a:pt x="2227519" y="770035"/>
                  </a:lnTo>
                  <a:lnTo>
                    <a:pt x="2228097" y="769904"/>
                  </a:lnTo>
                  <a:lnTo>
                    <a:pt x="2229388" y="770697"/>
                  </a:lnTo>
                  <a:lnTo>
                    <a:pt x="2229871" y="771688"/>
                  </a:lnTo>
                  <a:lnTo>
                    <a:pt x="2230106" y="772041"/>
                  </a:lnTo>
                  <a:lnTo>
                    <a:pt x="2230399" y="772120"/>
                  </a:lnTo>
                  <a:lnTo>
                    <a:pt x="2231000" y="771938"/>
                  </a:lnTo>
                  <a:lnTo>
                    <a:pt x="2231292" y="772040"/>
                  </a:lnTo>
                  <a:lnTo>
                    <a:pt x="2232871" y="774248"/>
                  </a:lnTo>
                  <a:lnTo>
                    <a:pt x="2232559" y="775345"/>
                  </a:lnTo>
                  <a:lnTo>
                    <a:pt x="2232764" y="776009"/>
                  </a:lnTo>
                  <a:lnTo>
                    <a:pt x="2233244" y="776343"/>
                  </a:lnTo>
                  <a:lnTo>
                    <a:pt x="2233736" y="776456"/>
                  </a:lnTo>
                  <a:lnTo>
                    <a:pt x="2235517" y="774918"/>
                  </a:lnTo>
                  <a:lnTo>
                    <a:pt x="2236443" y="774615"/>
                  </a:lnTo>
                  <a:lnTo>
                    <a:pt x="2237172" y="775712"/>
                  </a:lnTo>
                  <a:lnTo>
                    <a:pt x="2237168" y="774906"/>
                  </a:lnTo>
                  <a:lnTo>
                    <a:pt x="2239716" y="777116"/>
                  </a:lnTo>
                  <a:lnTo>
                    <a:pt x="2241122" y="777177"/>
                  </a:lnTo>
                  <a:lnTo>
                    <a:pt x="2242175" y="775680"/>
                  </a:lnTo>
                  <a:lnTo>
                    <a:pt x="2241757" y="775287"/>
                  </a:lnTo>
                  <a:lnTo>
                    <a:pt x="2240471" y="775693"/>
                  </a:lnTo>
                  <a:lnTo>
                    <a:pt x="2240047" y="775414"/>
                  </a:lnTo>
                  <a:lnTo>
                    <a:pt x="2239228" y="774432"/>
                  </a:lnTo>
                  <a:lnTo>
                    <a:pt x="2237461" y="773518"/>
                  </a:lnTo>
                  <a:lnTo>
                    <a:pt x="2236990" y="773494"/>
                  </a:lnTo>
                  <a:lnTo>
                    <a:pt x="2235704" y="774292"/>
                  </a:lnTo>
                  <a:lnTo>
                    <a:pt x="2235276" y="774241"/>
                  </a:lnTo>
                  <a:lnTo>
                    <a:pt x="2235274" y="773501"/>
                  </a:lnTo>
                  <a:lnTo>
                    <a:pt x="2235739" y="773063"/>
                  </a:lnTo>
                  <a:lnTo>
                    <a:pt x="2237156" y="772753"/>
                  </a:lnTo>
                  <a:lnTo>
                    <a:pt x="2237153" y="772022"/>
                  </a:lnTo>
                  <a:lnTo>
                    <a:pt x="2236651" y="771209"/>
                  </a:lnTo>
                  <a:lnTo>
                    <a:pt x="2236846" y="770720"/>
                  </a:lnTo>
                  <a:lnTo>
                    <a:pt x="2237030" y="770494"/>
                  </a:lnTo>
                  <a:lnTo>
                    <a:pt x="2237487" y="770466"/>
                  </a:lnTo>
                  <a:lnTo>
                    <a:pt x="2237848" y="770724"/>
                  </a:lnTo>
                  <a:lnTo>
                    <a:pt x="2238420" y="771778"/>
                  </a:lnTo>
                  <a:lnTo>
                    <a:pt x="2238697" y="772014"/>
                  </a:lnTo>
                  <a:lnTo>
                    <a:pt x="2241266" y="771486"/>
                  </a:lnTo>
                  <a:lnTo>
                    <a:pt x="2241974" y="770436"/>
                  </a:lnTo>
                  <a:lnTo>
                    <a:pt x="2234818" y="766959"/>
                  </a:lnTo>
                  <a:lnTo>
                    <a:pt x="2234389" y="766053"/>
                  </a:lnTo>
                  <a:lnTo>
                    <a:pt x="2232669" y="764155"/>
                  </a:lnTo>
                  <a:lnTo>
                    <a:pt x="2231986" y="763905"/>
                  </a:lnTo>
                  <a:lnTo>
                    <a:pt x="2230158" y="764210"/>
                  </a:lnTo>
                  <a:lnTo>
                    <a:pt x="2229300" y="763590"/>
                  </a:lnTo>
                  <a:lnTo>
                    <a:pt x="2228539" y="761555"/>
                  </a:lnTo>
                  <a:lnTo>
                    <a:pt x="2228142" y="758688"/>
                  </a:lnTo>
                  <a:lnTo>
                    <a:pt x="2228516" y="757354"/>
                  </a:lnTo>
                  <a:lnTo>
                    <a:pt x="2230538" y="755901"/>
                  </a:lnTo>
                  <a:lnTo>
                    <a:pt x="2231966" y="756379"/>
                  </a:lnTo>
                  <a:lnTo>
                    <a:pt x="2233320" y="754897"/>
                  </a:lnTo>
                  <a:lnTo>
                    <a:pt x="2232320" y="753552"/>
                  </a:lnTo>
                  <a:lnTo>
                    <a:pt x="2231240" y="752902"/>
                  </a:lnTo>
                  <a:lnTo>
                    <a:pt x="2229083" y="752683"/>
                  </a:lnTo>
                  <a:lnTo>
                    <a:pt x="2229330" y="751539"/>
                  </a:lnTo>
                  <a:lnTo>
                    <a:pt x="2229727" y="751150"/>
                  </a:lnTo>
                  <a:lnTo>
                    <a:pt x="2230605" y="751278"/>
                  </a:lnTo>
                  <a:lnTo>
                    <a:pt x="2230436" y="751278"/>
                  </a:lnTo>
                  <a:lnTo>
                    <a:pt x="2237730" y="752661"/>
                  </a:lnTo>
                  <a:lnTo>
                    <a:pt x="2237585" y="754141"/>
                  </a:lnTo>
                  <a:lnTo>
                    <a:pt x="2237902" y="754131"/>
                  </a:lnTo>
                  <a:lnTo>
                    <a:pt x="2238080" y="753707"/>
                  </a:lnTo>
                  <a:lnTo>
                    <a:pt x="2238216" y="753130"/>
                  </a:lnTo>
                  <a:lnTo>
                    <a:pt x="2238407" y="752657"/>
                  </a:lnTo>
                  <a:lnTo>
                    <a:pt x="2239744" y="751769"/>
                  </a:lnTo>
                  <a:lnTo>
                    <a:pt x="2240206" y="750845"/>
                  </a:lnTo>
                  <a:lnTo>
                    <a:pt x="2240931" y="750519"/>
                  </a:lnTo>
                  <a:lnTo>
                    <a:pt x="2242017" y="751145"/>
                  </a:lnTo>
                  <a:lnTo>
                    <a:pt x="2242986" y="751074"/>
                  </a:lnTo>
                  <a:lnTo>
                    <a:pt x="2243467" y="748996"/>
                  </a:lnTo>
                  <a:lnTo>
                    <a:pt x="2241947" y="749009"/>
                  </a:lnTo>
                  <a:lnTo>
                    <a:pt x="2241940" y="748213"/>
                  </a:lnTo>
                  <a:lnTo>
                    <a:pt x="2242109" y="748211"/>
                  </a:lnTo>
                  <a:lnTo>
                    <a:pt x="2241593" y="747061"/>
                  </a:lnTo>
                  <a:lnTo>
                    <a:pt x="2240455" y="746639"/>
                  </a:lnTo>
                  <a:lnTo>
                    <a:pt x="2239898" y="746000"/>
                  </a:lnTo>
                  <a:lnTo>
                    <a:pt x="2249471" y="744162"/>
                  </a:lnTo>
                  <a:lnTo>
                    <a:pt x="2252133" y="742025"/>
                  </a:lnTo>
                  <a:close/>
                  <a:moveTo>
                    <a:pt x="1773725" y="735397"/>
                  </a:moveTo>
                  <a:lnTo>
                    <a:pt x="1777933" y="736644"/>
                  </a:lnTo>
                  <a:lnTo>
                    <a:pt x="1777310" y="737566"/>
                  </a:lnTo>
                  <a:lnTo>
                    <a:pt x="1776145" y="738384"/>
                  </a:lnTo>
                  <a:lnTo>
                    <a:pt x="1775506" y="739085"/>
                  </a:lnTo>
                  <a:lnTo>
                    <a:pt x="1783433" y="740437"/>
                  </a:lnTo>
                  <a:lnTo>
                    <a:pt x="1788505" y="745282"/>
                  </a:lnTo>
                  <a:lnTo>
                    <a:pt x="1789271" y="746880"/>
                  </a:lnTo>
                  <a:lnTo>
                    <a:pt x="1789515" y="748430"/>
                  </a:lnTo>
                  <a:lnTo>
                    <a:pt x="1789457" y="750120"/>
                  </a:lnTo>
                  <a:lnTo>
                    <a:pt x="1788795" y="754533"/>
                  </a:lnTo>
                  <a:lnTo>
                    <a:pt x="1787476" y="756465"/>
                  </a:lnTo>
                  <a:lnTo>
                    <a:pt x="1787620" y="757210"/>
                  </a:lnTo>
                  <a:lnTo>
                    <a:pt x="1786984" y="757759"/>
                  </a:lnTo>
                  <a:lnTo>
                    <a:pt x="1786451" y="757828"/>
                  </a:lnTo>
                  <a:lnTo>
                    <a:pt x="1785520" y="757452"/>
                  </a:lnTo>
                  <a:lnTo>
                    <a:pt x="1785424" y="758749"/>
                  </a:lnTo>
                  <a:lnTo>
                    <a:pt x="1785758" y="759277"/>
                  </a:lnTo>
                  <a:lnTo>
                    <a:pt x="1786784" y="759427"/>
                  </a:lnTo>
                  <a:lnTo>
                    <a:pt x="1786477" y="759804"/>
                  </a:lnTo>
                  <a:lnTo>
                    <a:pt x="1785484" y="761232"/>
                  </a:lnTo>
                  <a:lnTo>
                    <a:pt x="1785431" y="761676"/>
                  </a:lnTo>
                  <a:lnTo>
                    <a:pt x="1785454" y="761876"/>
                  </a:lnTo>
                  <a:lnTo>
                    <a:pt x="1785593" y="762099"/>
                  </a:lnTo>
                  <a:lnTo>
                    <a:pt x="1785422" y="762050"/>
                  </a:lnTo>
                  <a:lnTo>
                    <a:pt x="1785986" y="764527"/>
                  </a:lnTo>
                  <a:lnTo>
                    <a:pt x="1787205" y="767253"/>
                  </a:lnTo>
                  <a:lnTo>
                    <a:pt x="1787254" y="769225"/>
                  </a:lnTo>
                  <a:lnTo>
                    <a:pt x="1786473" y="770373"/>
                  </a:lnTo>
                  <a:lnTo>
                    <a:pt x="1785283" y="771287"/>
                  </a:lnTo>
                  <a:lnTo>
                    <a:pt x="1784114" y="772555"/>
                  </a:lnTo>
                  <a:lnTo>
                    <a:pt x="1784861" y="773502"/>
                  </a:lnTo>
                  <a:lnTo>
                    <a:pt x="1785246" y="775054"/>
                  </a:lnTo>
                  <a:lnTo>
                    <a:pt x="1785770" y="776181"/>
                  </a:lnTo>
                  <a:lnTo>
                    <a:pt x="1788508" y="775158"/>
                  </a:lnTo>
                  <a:lnTo>
                    <a:pt x="1792492" y="776439"/>
                  </a:lnTo>
                  <a:lnTo>
                    <a:pt x="1797052" y="774350"/>
                  </a:lnTo>
                  <a:lnTo>
                    <a:pt x="1798421" y="774231"/>
                  </a:lnTo>
                  <a:lnTo>
                    <a:pt x="1799682" y="774672"/>
                  </a:lnTo>
                  <a:lnTo>
                    <a:pt x="1800398" y="774538"/>
                  </a:lnTo>
                  <a:lnTo>
                    <a:pt x="1801974" y="773111"/>
                  </a:lnTo>
                  <a:lnTo>
                    <a:pt x="1803370" y="772542"/>
                  </a:lnTo>
                  <a:lnTo>
                    <a:pt x="1806696" y="773637"/>
                  </a:lnTo>
                  <a:lnTo>
                    <a:pt x="1807428" y="774846"/>
                  </a:lnTo>
                  <a:lnTo>
                    <a:pt x="1807899" y="775192"/>
                  </a:lnTo>
                  <a:lnTo>
                    <a:pt x="1812629" y="774215"/>
                  </a:lnTo>
                  <a:lnTo>
                    <a:pt x="1814452" y="775726"/>
                  </a:lnTo>
                  <a:lnTo>
                    <a:pt x="1815118" y="777451"/>
                  </a:lnTo>
                  <a:lnTo>
                    <a:pt x="1814947" y="779846"/>
                  </a:lnTo>
                  <a:lnTo>
                    <a:pt x="1815165" y="780955"/>
                  </a:lnTo>
                  <a:lnTo>
                    <a:pt x="1817127" y="781166"/>
                  </a:lnTo>
                  <a:lnTo>
                    <a:pt x="1816890" y="782173"/>
                  </a:lnTo>
                  <a:lnTo>
                    <a:pt x="1816676" y="782948"/>
                  </a:lnTo>
                  <a:lnTo>
                    <a:pt x="1820101" y="783802"/>
                  </a:lnTo>
                  <a:lnTo>
                    <a:pt x="1821599" y="786133"/>
                  </a:lnTo>
                  <a:lnTo>
                    <a:pt x="1823319" y="787395"/>
                  </a:lnTo>
                  <a:lnTo>
                    <a:pt x="1823857" y="788632"/>
                  </a:lnTo>
                  <a:lnTo>
                    <a:pt x="1824030" y="788676"/>
                  </a:lnTo>
                  <a:lnTo>
                    <a:pt x="1823175" y="789457"/>
                  </a:lnTo>
                  <a:lnTo>
                    <a:pt x="1822200" y="789932"/>
                  </a:lnTo>
                  <a:lnTo>
                    <a:pt x="1821328" y="790918"/>
                  </a:lnTo>
                  <a:lnTo>
                    <a:pt x="1820777" y="793209"/>
                  </a:lnTo>
                  <a:lnTo>
                    <a:pt x="1820069" y="793250"/>
                  </a:lnTo>
                  <a:lnTo>
                    <a:pt x="1820018" y="794469"/>
                  </a:lnTo>
                  <a:lnTo>
                    <a:pt x="1820899" y="798086"/>
                  </a:lnTo>
                  <a:lnTo>
                    <a:pt x="1820857" y="799170"/>
                  </a:lnTo>
                  <a:lnTo>
                    <a:pt x="1820752" y="800251"/>
                  </a:lnTo>
                  <a:lnTo>
                    <a:pt x="1820801" y="801317"/>
                  </a:lnTo>
                  <a:lnTo>
                    <a:pt x="1821705" y="803463"/>
                  </a:lnTo>
                  <a:lnTo>
                    <a:pt x="1827438" y="807287"/>
                  </a:lnTo>
                  <a:lnTo>
                    <a:pt x="1832578" y="815148"/>
                  </a:lnTo>
                  <a:lnTo>
                    <a:pt x="1834640" y="816335"/>
                  </a:lnTo>
                  <a:lnTo>
                    <a:pt x="1834957" y="817568"/>
                  </a:lnTo>
                  <a:lnTo>
                    <a:pt x="1834913" y="819809"/>
                  </a:lnTo>
                  <a:lnTo>
                    <a:pt x="1833054" y="821189"/>
                  </a:lnTo>
                  <a:lnTo>
                    <a:pt x="1824815" y="821944"/>
                  </a:lnTo>
                  <a:lnTo>
                    <a:pt x="1821107" y="824102"/>
                  </a:lnTo>
                  <a:lnTo>
                    <a:pt x="1821486" y="825122"/>
                  </a:lnTo>
                  <a:lnTo>
                    <a:pt x="1821987" y="825854"/>
                  </a:lnTo>
                  <a:lnTo>
                    <a:pt x="1819828" y="826656"/>
                  </a:lnTo>
                  <a:lnTo>
                    <a:pt x="1819105" y="827359"/>
                  </a:lnTo>
                  <a:lnTo>
                    <a:pt x="1819696" y="828283"/>
                  </a:lnTo>
                  <a:lnTo>
                    <a:pt x="1820690" y="828454"/>
                  </a:lnTo>
                  <a:lnTo>
                    <a:pt x="1822865" y="827535"/>
                  </a:lnTo>
                  <a:lnTo>
                    <a:pt x="1823363" y="827031"/>
                  </a:lnTo>
                  <a:lnTo>
                    <a:pt x="1823861" y="826399"/>
                  </a:lnTo>
                  <a:lnTo>
                    <a:pt x="1824363" y="825886"/>
                  </a:lnTo>
                  <a:lnTo>
                    <a:pt x="1824870" y="825738"/>
                  </a:lnTo>
                  <a:lnTo>
                    <a:pt x="1825192" y="825982"/>
                  </a:lnTo>
                  <a:lnTo>
                    <a:pt x="1825724" y="826756"/>
                  </a:lnTo>
                  <a:lnTo>
                    <a:pt x="1826086" y="826873"/>
                  </a:lnTo>
                  <a:lnTo>
                    <a:pt x="1825604" y="827178"/>
                  </a:lnTo>
                  <a:lnTo>
                    <a:pt x="1824772" y="827409"/>
                  </a:lnTo>
                  <a:lnTo>
                    <a:pt x="1824288" y="827890"/>
                  </a:lnTo>
                  <a:lnTo>
                    <a:pt x="1826144" y="829947"/>
                  </a:lnTo>
                  <a:lnTo>
                    <a:pt x="1826776" y="829721"/>
                  </a:lnTo>
                  <a:lnTo>
                    <a:pt x="1828232" y="828413"/>
                  </a:lnTo>
                  <a:lnTo>
                    <a:pt x="1828866" y="828187"/>
                  </a:lnTo>
                  <a:lnTo>
                    <a:pt x="1839857" y="829387"/>
                  </a:lnTo>
                  <a:lnTo>
                    <a:pt x="1840066" y="829914"/>
                  </a:lnTo>
                  <a:lnTo>
                    <a:pt x="1839566" y="830844"/>
                  </a:lnTo>
                  <a:lnTo>
                    <a:pt x="1838804" y="831712"/>
                  </a:lnTo>
                  <a:lnTo>
                    <a:pt x="1838237" y="832053"/>
                  </a:lnTo>
                  <a:lnTo>
                    <a:pt x="1836254" y="831069"/>
                  </a:lnTo>
                  <a:lnTo>
                    <a:pt x="1835544" y="831407"/>
                  </a:lnTo>
                  <a:lnTo>
                    <a:pt x="1838451" y="834976"/>
                  </a:lnTo>
                  <a:lnTo>
                    <a:pt x="1838554" y="837536"/>
                  </a:lnTo>
                  <a:lnTo>
                    <a:pt x="1838263" y="837798"/>
                  </a:lnTo>
                  <a:lnTo>
                    <a:pt x="1837915" y="838315"/>
                  </a:lnTo>
                  <a:lnTo>
                    <a:pt x="1837621" y="839040"/>
                  </a:lnTo>
                  <a:lnTo>
                    <a:pt x="1837481" y="839943"/>
                  </a:lnTo>
                  <a:lnTo>
                    <a:pt x="1837742" y="840700"/>
                  </a:lnTo>
                  <a:lnTo>
                    <a:pt x="1838991" y="840629"/>
                  </a:lnTo>
                  <a:lnTo>
                    <a:pt x="1839297" y="841451"/>
                  </a:lnTo>
                  <a:lnTo>
                    <a:pt x="1839059" y="843334"/>
                  </a:lnTo>
                  <a:lnTo>
                    <a:pt x="1838410" y="844321"/>
                  </a:lnTo>
                  <a:lnTo>
                    <a:pt x="1837575" y="845240"/>
                  </a:lnTo>
                  <a:lnTo>
                    <a:pt x="1836774" y="846954"/>
                  </a:lnTo>
                  <a:lnTo>
                    <a:pt x="1836917" y="847319"/>
                  </a:lnTo>
                  <a:lnTo>
                    <a:pt x="1837065" y="848004"/>
                  </a:lnTo>
                  <a:lnTo>
                    <a:pt x="1837129" y="848864"/>
                  </a:lnTo>
                  <a:lnTo>
                    <a:pt x="1837018" y="849783"/>
                  </a:lnTo>
                  <a:lnTo>
                    <a:pt x="1836645" y="850798"/>
                  </a:lnTo>
                  <a:lnTo>
                    <a:pt x="1835132" y="853492"/>
                  </a:lnTo>
                  <a:lnTo>
                    <a:pt x="1835472" y="853723"/>
                  </a:lnTo>
                  <a:lnTo>
                    <a:pt x="1835622" y="854449"/>
                  </a:lnTo>
                  <a:lnTo>
                    <a:pt x="1835755" y="857674"/>
                  </a:lnTo>
                  <a:lnTo>
                    <a:pt x="1836037" y="858290"/>
                  </a:lnTo>
                  <a:lnTo>
                    <a:pt x="1837115" y="858598"/>
                  </a:lnTo>
                  <a:lnTo>
                    <a:pt x="1836952" y="859251"/>
                  </a:lnTo>
                  <a:lnTo>
                    <a:pt x="1836654" y="859603"/>
                  </a:lnTo>
                  <a:lnTo>
                    <a:pt x="1836358" y="860037"/>
                  </a:lnTo>
                  <a:lnTo>
                    <a:pt x="1835686" y="861241"/>
                  </a:lnTo>
                  <a:lnTo>
                    <a:pt x="1836269" y="861642"/>
                  </a:lnTo>
                  <a:lnTo>
                    <a:pt x="1836581" y="862284"/>
                  </a:lnTo>
                  <a:lnTo>
                    <a:pt x="1836559" y="862537"/>
                  </a:lnTo>
                  <a:lnTo>
                    <a:pt x="1836467" y="862924"/>
                  </a:lnTo>
                  <a:lnTo>
                    <a:pt x="1836393" y="863343"/>
                  </a:lnTo>
                  <a:lnTo>
                    <a:pt x="1836421" y="863703"/>
                  </a:lnTo>
                  <a:lnTo>
                    <a:pt x="1836907" y="864408"/>
                  </a:lnTo>
                  <a:lnTo>
                    <a:pt x="1837494" y="864487"/>
                  </a:lnTo>
                  <a:lnTo>
                    <a:pt x="1838114" y="864305"/>
                  </a:lnTo>
                  <a:lnTo>
                    <a:pt x="1843478" y="864871"/>
                  </a:lnTo>
                  <a:lnTo>
                    <a:pt x="1848346" y="863091"/>
                  </a:lnTo>
                  <a:lnTo>
                    <a:pt x="1857871" y="863470"/>
                  </a:lnTo>
                  <a:lnTo>
                    <a:pt x="1859731" y="865416"/>
                  </a:lnTo>
                  <a:lnTo>
                    <a:pt x="1859758" y="865798"/>
                  </a:lnTo>
                  <a:lnTo>
                    <a:pt x="1859678" y="866369"/>
                  </a:lnTo>
                  <a:lnTo>
                    <a:pt x="1859518" y="867107"/>
                  </a:lnTo>
                  <a:lnTo>
                    <a:pt x="1859574" y="867568"/>
                  </a:lnTo>
                  <a:lnTo>
                    <a:pt x="1864824" y="869166"/>
                  </a:lnTo>
                  <a:lnTo>
                    <a:pt x="1866718" y="868342"/>
                  </a:lnTo>
                  <a:lnTo>
                    <a:pt x="1867673" y="869295"/>
                  </a:lnTo>
                  <a:lnTo>
                    <a:pt x="1869131" y="868782"/>
                  </a:lnTo>
                  <a:lnTo>
                    <a:pt x="1870786" y="869471"/>
                  </a:lnTo>
                  <a:lnTo>
                    <a:pt x="1883354" y="874654"/>
                  </a:lnTo>
                  <a:lnTo>
                    <a:pt x="1895984" y="879744"/>
                  </a:lnTo>
                  <a:lnTo>
                    <a:pt x="1897883" y="882472"/>
                  </a:lnTo>
                  <a:lnTo>
                    <a:pt x="1898653" y="882479"/>
                  </a:lnTo>
                  <a:lnTo>
                    <a:pt x="1899319" y="881101"/>
                  </a:lnTo>
                  <a:lnTo>
                    <a:pt x="1899254" y="880724"/>
                  </a:lnTo>
                  <a:lnTo>
                    <a:pt x="1899333" y="876914"/>
                  </a:lnTo>
                  <a:lnTo>
                    <a:pt x="1898955" y="875467"/>
                  </a:lnTo>
                  <a:lnTo>
                    <a:pt x="1897457" y="874618"/>
                  </a:lnTo>
                  <a:lnTo>
                    <a:pt x="1896988" y="873837"/>
                  </a:lnTo>
                  <a:lnTo>
                    <a:pt x="1898361" y="872536"/>
                  </a:lnTo>
                  <a:lnTo>
                    <a:pt x="1899633" y="872687"/>
                  </a:lnTo>
                  <a:lnTo>
                    <a:pt x="1901917" y="874051"/>
                  </a:lnTo>
                  <a:lnTo>
                    <a:pt x="1902081" y="873256"/>
                  </a:lnTo>
                  <a:lnTo>
                    <a:pt x="1901770" y="873127"/>
                  </a:lnTo>
                  <a:lnTo>
                    <a:pt x="1901558" y="872654"/>
                  </a:lnTo>
                  <a:lnTo>
                    <a:pt x="1901449" y="871881"/>
                  </a:lnTo>
                  <a:lnTo>
                    <a:pt x="1901432" y="870870"/>
                  </a:lnTo>
                  <a:lnTo>
                    <a:pt x="1902110" y="869683"/>
                  </a:lnTo>
                  <a:lnTo>
                    <a:pt x="1903321" y="868610"/>
                  </a:lnTo>
                  <a:lnTo>
                    <a:pt x="1903824" y="867560"/>
                  </a:lnTo>
                  <a:lnTo>
                    <a:pt x="1902818" y="862572"/>
                  </a:lnTo>
                  <a:lnTo>
                    <a:pt x="1902305" y="861157"/>
                  </a:lnTo>
                  <a:lnTo>
                    <a:pt x="1902452" y="860839"/>
                  </a:lnTo>
                  <a:lnTo>
                    <a:pt x="1902565" y="860686"/>
                  </a:lnTo>
                  <a:lnTo>
                    <a:pt x="1902769" y="860581"/>
                  </a:lnTo>
                  <a:lnTo>
                    <a:pt x="1904050" y="861102"/>
                  </a:lnTo>
                  <a:lnTo>
                    <a:pt x="1904752" y="861032"/>
                  </a:lnTo>
                  <a:lnTo>
                    <a:pt x="1905500" y="860331"/>
                  </a:lnTo>
                  <a:lnTo>
                    <a:pt x="1904915" y="859201"/>
                  </a:lnTo>
                  <a:lnTo>
                    <a:pt x="1902349" y="858213"/>
                  </a:lnTo>
                  <a:lnTo>
                    <a:pt x="1901986" y="856940"/>
                  </a:lnTo>
                  <a:lnTo>
                    <a:pt x="1901743" y="856514"/>
                  </a:lnTo>
                  <a:lnTo>
                    <a:pt x="1901303" y="856211"/>
                  </a:lnTo>
                  <a:lnTo>
                    <a:pt x="1899749" y="856120"/>
                  </a:lnTo>
                  <a:lnTo>
                    <a:pt x="1899896" y="855663"/>
                  </a:lnTo>
                  <a:lnTo>
                    <a:pt x="1900210" y="854509"/>
                  </a:lnTo>
                  <a:lnTo>
                    <a:pt x="1900358" y="854039"/>
                  </a:lnTo>
                  <a:lnTo>
                    <a:pt x="1899535" y="852633"/>
                  </a:lnTo>
                  <a:lnTo>
                    <a:pt x="1892092" y="847953"/>
                  </a:lnTo>
                  <a:lnTo>
                    <a:pt x="1890964" y="846027"/>
                  </a:lnTo>
                  <a:lnTo>
                    <a:pt x="1891363" y="846131"/>
                  </a:lnTo>
                  <a:lnTo>
                    <a:pt x="1892707" y="845625"/>
                  </a:lnTo>
                  <a:lnTo>
                    <a:pt x="1885283" y="843413"/>
                  </a:lnTo>
                  <a:lnTo>
                    <a:pt x="1885804" y="842308"/>
                  </a:lnTo>
                  <a:lnTo>
                    <a:pt x="1886926" y="841657"/>
                  </a:lnTo>
                  <a:lnTo>
                    <a:pt x="1887553" y="840854"/>
                  </a:lnTo>
                  <a:lnTo>
                    <a:pt x="1887267" y="839969"/>
                  </a:lnTo>
                  <a:lnTo>
                    <a:pt x="1886221" y="839741"/>
                  </a:lnTo>
                  <a:lnTo>
                    <a:pt x="1885885" y="838990"/>
                  </a:lnTo>
                  <a:lnTo>
                    <a:pt x="1886758" y="837859"/>
                  </a:lnTo>
                  <a:lnTo>
                    <a:pt x="1887647" y="836948"/>
                  </a:lnTo>
                  <a:lnTo>
                    <a:pt x="1887335" y="836229"/>
                  </a:lnTo>
                  <a:lnTo>
                    <a:pt x="1886749" y="835593"/>
                  </a:lnTo>
                  <a:lnTo>
                    <a:pt x="1886089" y="835256"/>
                  </a:lnTo>
                  <a:lnTo>
                    <a:pt x="1885554" y="835451"/>
                  </a:lnTo>
                  <a:lnTo>
                    <a:pt x="1884077" y="836820"/>
                  </a:lnTo>
                  <a:lnTo>
                    <a:pt x="1883644" y="836787"/>
                  </a:lnTo>
                  <a:lnTo>
                    <a:pt x="1882900" y="835831"/>
                  </a:lnTo>
                  <a:lnTo>
                    <a:pt x="1881048" y="837511"/>
                  </a:lnTo>
                  <a:lnTo>
                    <a:pt x="1879717" y="836307"/>
                  </a:lnTo>
                  <a:lnTo>
                    <a:pt x="1878791" y="834095"/>
                  </a:lnTo>
                  <a:lnTo>
                    <a:pt x="1877888" y="831927"/>
                  </a:lnTo>
                  <a:lnTo>
                    <a:pt x="1879577" y="830627"/>
                  </a:lnTo>
                  <a:lnTo>
                    <a:pt x="1880488" y="829927"/>
                  </a:lnTo>
                  <a:lnTo>
                    <a:pt x="1888732" y="828526"/>
                  </a:lnTo>
                  <a:lnTo>
                    <a:pt x="1889790" y="827731"/>
                  </a:lnTo>
                  <a:lnTo>
                    <a:pt x="1892143" y="825239"/>
                  </a:lnTo>
                  <a:lnTo>
                    <a:pt x="1893639" y="824438"/>
                  </a:lnTo>
                  <a:lnTo>
                    <a:pt x="1896593" y="823967"/>
                  </a:lnTo>
                  <a:lnTo>
                    <a:pt x="1898113" y="822389"/>
                  </a:lnTo>
                  <a:lnTo>
                    <a:pt x="1897438" y="821057"/>
                  </a:lnTo>
                  <a:lnTo>
                    <a:pt x="1897171" y="820759"/>
                  </a:lnTo>
                  <a:lnTo>
                    <a:pt x="1898338" y="820145"/>
                  </a:lnTo>
                  <a:lnTo>
                    <a:pt x="1900935" y="820916"/>
                  </a:lnTo>
                  <a:lnTo>
                    <a:pt x="1901918" y="819453"/>
                  </a:lnTo>
                  <a:lnTo>
                    <a:pt x="1901210" y="819070"/>
                  </a:lnTo>
                  <a:lnTo>
                    <a:pt x="1899934" y="817622"/>
                  </a:lnTo>
                  <a:lnTo>
                    <a:pt x="1899192" y="817390"/>
                  </a:lnTo>
                  <a:lnTo>
                    <a:pt x="1899612" y="816223"/>
                  </a:lnTo>
                  <a:lnTo>
                    <a:pt x="1899699" y="815907"/>
                  </a:lnTo>
                  <a:lnTo>
                    <a:pt x="1899855" y="815254"/>
                  </a:lnTo>
                  <a:lnTo>
                    <a:pt x="1901518" y="814587"/>
                  </a:lnTo>
                  <a:lnTo>
                    <a:pt x="1902103" y="814134"/>
                  </a:lnTo>
                  <a:lnTo>
                    <a:pt x="1902006" y="812690"/>
                  </a:lnTo>
                  <a:lnTo>
                    <a:pt x="1901602" y="811901"/>
                  </a:lnTo>
                  <a:lnTo>
                    <a:pt x="1901092" y="811324"/>
                  </a:lnTo>
                  <a:lnTo>
                    <a:pt x="1900082" y="809307"/>
                  </a:lnTo>
                  <a:lnTo>
                    <a:pt x="1898559" y="807954"/>
                  </a:lnTo>
                  <a:lnTo>
                    <a:pt x="1898064" y="806500"/>
                  </a:lnTo>
                  <a:lnTo>
                    <a:pt x="1898115" y="806158"/>
                  </a:lnTo>
                  <a:lnTo>
                    <a:pt x="1898260" y="805634"/>
                  </a:lnTo>
                  <a:lnTo>
                    <a:pt x="1898378" y="804995"/>
                  </a:lnTo>
                  <a:lnTo>
                    <a:pt x="1898347" y="804290"/>
                  </a:lnTo>
                  <a:lnTo>
                    <a:pt x="1898073" y="803684"/>
                  </a:lnTo>
                  <a:lnTo>
                    <a:pt x="1894171" y="802255"/>
                  </a:lnTo>
                  <a:lnTo>
                    <a:pt x="1893754" y="801062"/>
                  </a:lnTo>
                  <a:lnTo>
                    <a:pt x="1894025" y="801147"/>
                  </a:lnTo>
                  <a:lnTo>
                    <a:pt x="1894432" y="801078"/>
                  </a:lnTo>
                  <a:lnTo>
                    <a:pt x="1894841" y="800690"/>
                  </a:lnTo>
                  <a:lnTo>
                    <a:pt x="1895121" y="799842"/>
                  </a:lnTo>
                  <a:lnTo>
                    <a:pt x="1894973" y="799134"/>
                  </a:lnTo>
                  <a:lnTo>
                    <a:pt x="1891868" y="796695"/>
                  </a:lnTo>
                  <a:lnTo>
                    <a:pt x="1890882" y="796595"/>
                  </a:lnTo>
                  <a:lnTo>
                    <a:pt x="1889815" y="797276"/>
                  </a:lnTo>
                  <a:lnTo>
                    <a:pt x="1889740" y="798023"/>
                  </a:lnTo>
                  <a:lnTo>
                    <a:pt x="1889659" y="799974"/>
                  </a:lnTo>
                  <a:lnTo>
                    <a:pt x="1889704" y="800209"/>
                  </a:lnTo>
                  <a:lnTo>
                    <a:pt x="1889268" y="800947"/>
                  </a:lnTo>
                  <a:lnTo>
                    <a:pt x="1888830" y="800940"/>
                  </a:lnTo>
                  <a:lnTo>
                    <a:pt x="1888462" y="800537"/>
                  </a:lnTo>
                  <a:lnTo>
                    <a:pt x="1887140" y="797284"/>
                  </a:lnTo>
                  <a:lnTo>
                    <a:pt x="1884695" y="791219"/>
                  </a:lnTo>
                  <a:lnTo>
                    <a:pt x="1879279" y="787346"/>
                  </a:lnTo>
                  <a:lnTo>
                    <a:pt x="1879840" y="785886"/>
                  </a:lnTo>
                  <a:lnTo>
                    <a:pt x="1881034" y="784485"/>
                  </a:lnTo>
                  <a:lnTo>
                    <a:pt x="1881690" y="783323"/>
                  </a:lnTo>
                  <a:lnTo>
                    <a:pt x="1881467" y="782790"/>
                  </a:lnTo>
                  <a:lnTo>
                    <a:pt x="1881171" y="782391"/>
                  </a:lnTo>
                  <a:lnTo>
                    <a:pt x="1880967" y="781807"/>
                  </a:lnTo>
                  <a:lnTo>
                    <a:pt x="1881003" y="780757"/>
                  </a:lnTo>
                  <a:lnTo>
                    <a:pt x="1881545" y="779941"/>
                  </a:lnTo>
                  <a:lnTo>
                    <a:pt x="1881585" y="779091"/>
                  </a:lnTo>
                  <a:lnTo>
                    <a:pt x="1881411" y="778162"/>
                  </a:lnTo>
                  <a:lnTo>
                    <a:pt x="1881316" y="777105"/>
                  </a:lnTo>
                  <a:lnTo>
                    <a:pt x="1881710" y="776568"/>
                  </a:lnTo>
                  <a:lnTo>
                    <a:pt x="1882053" y="775749"/>
                  </a:lnTo>
                  <a:lnTo>
                    <a:pt x="1882323" y="774727"/>
                  </a:lnTo>
                  <a:lnTo>
                    <a:pt x="1882503" y="773573"/>
                  </a:lnTo>
                  <a:lnTo>
                    <a:pt x="1883041" y="773610"/>
                  </a:lnTo>
                  <a:lnTo>
                    <a:pt x="1883189" y="773724"/>
                  </a:lnTo>
                  <a:lnTo>
                    <a:pt x="1883034" y="773690"/>
                  </a:lnTo>
                  <a:lnTo>
                    <a:pt x="1884018" y="774137"/>
                  </a:lnTo>
                  <a:lnTo>
                    <a:pt x="1889868" y="772633"/>
                  </a:lnTo>
                  <a:lnTo>
                    <a:pt x="1892024" y="770554"/>
                  </a:lnTo>
                  <a:lnTo>
                    <a:pt x="1893307" y="769783"/>
                  </a:lnTo>
                  <a:lnTo>
                    <a:pt x="1893386" y="769800"/>
                  </a:lnTo>
                  <a:lnTo>
                    <a:pt x="1895563" y="770265"/>
                  </a:lnTo>
                  <a:lnTo>
                    <a:pt x="1896719" y="769445"/>
                  </a:lnTo>
                  <a:lnTo>
                    <a:pt x="1897236" y="769284"/>
                  </a:lnTo>
                  <a:lnTo>
                    <a:pt x="1898416" y="770260"/>
                  </a:lnTo>
                  <a:lnTo>
                    <a:pt x="1899528" y="769547"/>
                  </a:lnTo>
                  <a:lnTo>
                    <a:pt x="1901835" y="767050"/>
                  </a:lnTo>
                  <a:lnTo>
                    <a:pt x="1901325" y="766014"/>
                  </a:lnTo>
                  <a:lnTo>
                    <a:pt x="1898383" y="765628"/>
                  </a:lnTo>
                  <a:lnTo>
                    <a:pt x="1898558" y="764849"/>
                  </a:lnTo>
                  <a:lnTo>
                    <a:pt x="1899210" y="764581"/>
                  </a:lnTo>
                  <a:lnTo>
                    <a:pt x="1900003" y="763936"/>
                  </a:lnTo>
                  <a:lnTo>
                    <a:pt x="1900831" y="762974"/>
                  </a:lnTo>
                  <a:lnTo>
                    <a:pt x="1901598" y="761701"/>
                  </a:lnTo>
                  <a:lnTo>
                    <a:pt x="1901490" y="761168"/>
                  </a:lnTo>
                  <a:lnTo>
                    <a:pt x="1901486" y="760644"/>
                  </a:lnTo>
                  <a:lnTo>
                    <a:pt x="1901589" y="759358"/>
                  </a:lnTo>
                  <a:lnTo>
                    <a:pt x="1904643" y="760823"/>
                  </a:lnTo>
                  <a:lnTo>
                    <a:pt x="1904701" y="760163"/>
                  </a:lnTo>
                  <a:lnTo>
                    <a:pt x="1904911" y="758475"/>
                  </a:lnTo>
                  <a:lnTo>
                    <a:pt x="1904973" y="757803"/>
                  </a:lnTo>
                  <a:lnTo>
                    <a:pt x="1907345" y="756759"/>
                  </a:lnTo>
                  <a:lnTo>
                    <a:pt x="1908007" y="756923"/>
                  </a:lnTo>
                  <a:lnTo>
                    <a:pt x="1908438" y="754255"/>
                  </a:lnTo>
                  <a:lnTo>
                    <a:pt x="1909105" y="752189"/>
                  </a:lnTo>
                  <a:lnTo>
                    <a:pt x="1909917" y="750734"/>
                  </a:lnTo>
                  <a:lnTo>
                    <a:pt x="1910778" y="749925"/>
                  </a:lnTo>
                  <a:lnTo>
                    <a:pt x="1911644" y="747400"/>
                  </a:lnTo>
                  <a:lnTo>
                    <a:pt x="1913365" y="745866"/>
                  </a:lnTo>
                  <a:lnTo>
                    <a:pt x="1916421" y="744283"/>
                  </a:lnTo>
                  <a:lnTo>
                    <a:pt x="1916408" y="743929"/>
                  </a:lnTo>
                  <a:lnTo>
                    <a:pt x="1916417" y="743120"/>
                  </a:lnTo>
                  <a:lnTo>
                    <a:pt x="1916397" y="742765"/>
                  </a:lnTo>
                  <a:lnTo>
                    <a:pt x="1917336" y="741254"/>
                  </a:lnTo>
                  <a:lnTo>
                    <a:pt x="1917994" y="740721"/>
                  </a:lnTo>
                  <a:lnTo>
                    <a:pt x="1919387" y="740278"/>
                  </a:lnTo>
                  <a:lnTo>
                    <a:pt x="1921119" y="738571"/>
                  </a:lnTo>
                  <a:lnTo>
                    <a:pt x="1921725" y="738485"/>
                  </a:lnTo>
                  <a:lnTo>
                    <a:pt x="1921542" y="738448"/>
                  </a:lnTo>
                  <a:lnTo>
                    <a:pt x="1926067" y="738594"/>
                  </a:lnTo>
                  <a:lnTo>
                    <a:pt x="1927551" y="740110"/>
                  </a:lnTo>
                  <a:lnTo>
                    <a:pt x="1928365" y="740441"/>
                  </a:lnTo>
                  <a:lnTo>
                    <a:pt x="1930743" y="738887"/>
                  </a:lnTo>
                  <a:lnTo>
                    <a:pt x="1930998" y="738428"/>
                  </a:lnTo>
                  <a:lnTo>
                    <a:pt x="1931442" y="737031"/>
                  </a:lnTo>
                  <a:lnTo>
                    <a:pt x="1931983" y="736220"/>
                  </a:lnTo>
                  <a:lnTo>
                    <a:pt x="1932503" y="735943"/>
                  </a:lnTo>
                  <a:lnTo>
                    <a:pt x="1932877" y="736150"/>
                  </a:lnTo>
                  <a:lnTo>
                    <a:pt x="1933058" y="736653"/>
                  </a:lnTo>
                  <a:lnTo>
                    <a:pt x="1933265" y="738499"/>
                  </a:lnTo>
                  <a:lnTo>
                    <a:pt x="1934302" y="740630"/>
                  </a:lnTo>
                  <a:lnTo>
                    <a:pt x="1934520" y="741813"/>
                  </a:lnTo>
                  <a:lnTo>
                    <a:pt x="1933696" y="743299"/>
                  </a:lnTo>
                  <a:lnTo>
                    <a:pt x="1932921" y="744902"/>
                  </a:lnTo>
                  <a:lnTo>
                    <a:pt x="1932579" y="746229"/>
                  </a:lnTo>
                  <a:lnTo>
                    <a:pt x="1932972" y="746812"/>
                  </a:lnTo>
                  <a:lnTo>
                    <a:pt x="1936379" y="747413"/>
                  </a:lnTo>
                  <a:lnTo>
                    <a:pt x="1937326" y="748679"/>
                  </a:lnTo>
                  <a:lnTo>
                    <a:pt x="1937661" y="751449"/>
                  </a:lnTo>
                  <a:lnTo>
                    <a:pt x="1937203" y="754596"/>
                  </a:lnTo>
                  <a:lnTo>
                    <a:pt x="1936231" y="756293"/>
                  </a:lnTo>
                  <a:lnTo>
                    <a:pt x="1933982" y="758297"/>
                  </a:lnTo>
                  <a:lnTo>
                    <a:pt x="1932685" y="760067"/>
                  </a:lnTo>
                  <a:lnTo>
                    <a:pt x="1932105" y="760279"/>
                  </a:lnTo>
                  <a:lnTo>
                    <a:pt x="1931041" y="758925"/>
                  </a:lnTo>
                  <a:lnTo>
                    <a:pt x="1930309" y="758862"/>
                  </a:lnTo>
                  <a:lnTo>
                    <a:pt x="1928756" y="759618"/>
                  </a:lnTo>
                  <a:lnTo>
                    <a:pt x="1929008" y="763531"/>
                  </a:lnTo>
                  <a:lnTo>
                    <a:pt x="1928978" y="764190"/>
                  </a:lnTo>
                  <a:lnTo>
                    <a:pt x="1929498" y="764758"/>
                  </a:lnTo>
                  <a:lnTo>
                    <a:pt x="1929943" y="766919"/>
                  </a:lnTo>
                  <a:lnTo>
                    <a:pt x="1930352" y="767469"/>
                  </a:lnTo>
                  <a:lnTo>
                    <a:pt x="1931426" y="768208"/>
                  </a:lnTo>
                  <a:lnTo>
                    <a:pt x="1931821" y="769199"/>
                  </a:lnTo>
                  <a:lnTo>
                    <a:pt x="1931652" y="770734"/>
                  </a:lnTo>
                  <a:lnTo>
                    <a:pt x="1931102" y="771523"/>
                  </a:lnTo>
                  <a:lnTo>
                    <a:pt x="1929453" y="772175"/>
                  </a:lnTo>
                  <a:lnTo>
                    <a:pt x="1928664" y="773184"/>
                  </a:lnTo>
                  <a:lnTo>
                    <a:pt x="1929197" y="773847"/>
                  </a:lnTo>
                  <a:lnTo>
                    <a:pt x="1930696" y="773544"/>
                  </a:lnTo>
                  <a:lnTo>
                    <a:pt x="1931122" y="774330"/>
                  </a:lnTo>
                  <a:lnTo>
                    <a:pt x="1929857" y="775365"/>
                  </a:lnTo>
                  <a:lnTo>
                    <a:pt x="1929127" y="776322"/>
                  </a:lnTo>
                  <a:lnTo>
                    <a:pt x="1928801" y="777384"/>
                  </a:lnTo>
                  <a:lnTo>
                    <a:pt x="1929118" y="778621"/>
                  </a:lnTo>
                  <a:lnTo>
                    <a:pt x="1930576" y="779158"/>
                  </a:lnTo>
                  <a:lnTo>
                    <a:pt x="1930972" y="780401"/>
                  </a:lnTo>
                  <a:lnTo>
                    <a:pt x="1929953" y="781249"/>
                  </a:lnTo>
                  <a:lnTo>
                    <a:pt x="1928054" y="781572"/>
                  </a:lnTo>
                  <a:lnTo>
                    <a:pt x="1926906" y="783527"/>
                  </a:lnTo>
                  <a:lnTo>
                    <a:pt x="1927282" y="785063"/>
                  </a:lnTo>
                  <a:lnTo>
                    <a:pt x="1928051" y="785111"/>
                  </a:lnTo>
                  <a:lnTo>
                    <a:pt x="1928914" y="784754"/>
                  </a:lnTo>
                  <a:lnTo>
                    <a:pt x="1929573" y="785103"/>
                  </a:lnTo>
                  <a:lnTo>
                    <a:pt x="1930212" y="785983"/>
                  </a:lnTo>
                  <a:lnTo>
                    <a:pt x="1933380" y="787112"/>
                  </a:lnTo>
                  <a:lnTo>
                    <a:pt x="1933855" y="787828"/>
                  </a:lnTo>
                  <a:lnTo>
                    <a:pt x="1934744" y="790736"/>
                  </a:lnTo>
                  <a:lnTo>
                    <a:pt x="1934937" y="792131"/>
                  </a:lnTo>
                  <a:lnTo>
                    <a:pt x="1935046" y="792528"/>
                  </a:lnTo>
                  <a:lnTo>
                    <a:pt x="1935428" y="792747"/>
                  </a:lnTo>
                  <a:lnTo>
                    <a:pt x="1936242" y="792812"/>
                  </a:lnTo>
                  <a:lnTo>
                    <a:pt x="1936470" y="793535"/>
                  </a:lnTo>
                  <a:lnTo>
                    <a:pt x="1936133" y="793536"/>
                  </a:lnTo>
                  <a:lnTo>
                    <a:pt x="1935776" y="793700"/>
                  </a:lnTo>
                  <a:lnTo>
                    <a:pt x="1935392" y="794100"/>
                  </a:lnTo>
                  <a:lnTo>
                    <a:pt x="1934982" y="794778"/>
                  </a:lnTo>
                  <a:lnTo>
                    <a:pt x="1937641" y="800605"/>
                  </a:lnTo>
                  <a:lnTo>
                    <a:pt x="1937500" y="801333"/>
                  </a:lnTo>
                  <a:lnTo>
                    <a:pt x="1936277" y="801110"/>
                  </a:lnTo>
                  <a:lnTo>
                    <a:pt x="1936137" y="801828"/>
                  </a:lnTo>
                  <a:lnTo>
                    <a:pt x="1936488" y="801892"/>
                  </a:lnTo>
                  <a:lnTo>
                    <a:pt x="1935593" y="803290"/>
                  </a:lnTo>
                  <a:lnTo>
                    <a:pt x="1933883" y="802115"/>
                  </a:lnTo>
                  <a:lnTo>
                    <a:pt x="1933084" y="803462"/>
                  </a:lnTo>
                  <a:lnTo>
                    <a:pt x="1933235" y="805065"/>
                  </a:lnTo>
                  <a:lnTo>
                    <a:pt x="1936203" y="807116"/>
                  </a:lnTo>
                  <a:lnTo>
                    <a:pt x="1935057" y="808594"/>
                  </a:lnTo>
                  <a:lnTo>
                    <a:pt x="1928992" y="810087"/>
                  </a:lnTo>
                  <a:lnTo>
                    <a:pt x="1927665" y="811236"/>
                  </a:lnTo>
                  <a:lnTo>
                    <a:pt x="1926326" y="813639"/>
                  </a:lnTo>
                  <a:lnTo>
                    <a:pt x="1926285" y="815585"/>
                  </a:lnTo>
                  <a:lnTo>
                    <a:pt x="1925641" y="816753"/>
                  </a:lnTo>
                  <a:lnTo>
                    <a:pt x="1924779" y="817561"/>
                  </a:lnTo>
                  <a:lnTo>
                    <a:pt x="1924090" y="818429"/>
                  </a:lnTo>
                  <a:lnTo>
                    <a:pt x="1924434" y="819060"/>
                  </a:lnTo>
                  <a:lnTo>
                    <a:pt x="1925401" y="819384"/>
                  </a:lnTo>
                  <a:lnTo>
                    <a:pt x="1925734" y="820309"/>
                  </a:lnTo>
                  <a:lnTo>
                    <a:pt x="1924894" y="820686"/>
                  </a:lnTo>
                  <a:lnTo>
                    <a:pt x="1923663" y="821807"/>
                  </a:lnTo>
                  <a:lnTo>
                    <a:pt x="1922452" y="823313"/>
                  </a:lnTo>
                  <a:lnTo>
                    <a:pt x="1921691" y="824827"/>
                  </a:lnTo>
                  <a:lnTo>
                    <a:pt x="1925723" y="824075"/>
                  </a:lnTo>
                  <a:lnTo>
                    <a:pt x="1930617" y="825667"/>
                  </a:lnTo>
                  <a:lnTo>
                    <a:pt x="1934202" y="824131"/>
                  </a:lnTo>
                  <a:lnTo>
                    <a:pt x="1938123" y="824837"/>
                  </a:lnTo>
                  <a:lnTo>
                    <a:pt x="1938902" y="825187"/>
                  </a:lnTo>
                  <a:lnTo>
                    <a:pt x="1941668" y="828636"/>
                  </a:lnTo>
                  <a:lnTo>
                    <a:pt x="1941898" y="829268"/>
                  </a:lnTo>
                  <a:lnTo>
                    <a:pt x="1942097" y="830670"/>
                  </a:lnTo>
                  <a:lnTo>
                    <a:pt x="1942261" y="831322"/>
                  </a:lnTo>
                  <a:lnTo>
                    <a:pt x="1943107" y="832550"/>
                  </a:lnTo>
                  <a:lnTo>
                    <a:pt x="1943046" y="834359"/>
                  </a:lnTo>
                  <a:lnTo>
                    <a:pt x="1942508" y="836070"/>
                  </a:lnTo>
                  <a:lnTo>
                    <a:pt x="1941615" y="836734"/>
                  </a:lnTo>
                  <a:lnTo>
                    <a:pt x="1940799" y="837021"/>
                  </a:lnTo>
                  <a:lnTo>
                    <a:pt x="1937861" y="839904"/>
                  </a:lnTo>
                  <a:lnTo>
                    <a:pt x="1938096" y="840551"/>
                  </a:lnTo>
                  <a:lnTo>
                    <a:pt x="1938768" y="841020"/>
                  </a:lnTo>
                  <a:lnTo>
                    <a:pt x="1939040" y="841619"/>
                  </a:lnTo>
                  <a:lnTo>
                    <a:pt x="1937440" y="842919"/>
                  </a:lnTo>
                  <a:lnTo>
                    <a:pt x="1934537" y="842564"/>
                  </a:lnTo>
                  <a:lnTo>
                    <a:pt x="1932794" y="845023"/>
                  </a:lnTo>
                  <a:lnTo>
                    <a:pt x="1932801" y="845445"/>
                  </a:lnTo>
                  <a:lnTo>
                    <a:pt x="1932777" y="845782"/>
                  </a:lnTo>
                  <a:lnTo>
                    <a:pt x="1932742" y="846108"/>
                  </a:lnTo>
                  <a:lnTo>
                    <a:pt x="1932714" y="846506"/>
                  </a:lnTo>
                  <a:lnTo>
                    <a:pt x="1931807" y="846653"/>
                  </a:lnTo>
                  <a:lnTo>
                    <a:pt x="1930699" y="848122"/>
                  </a:lnTo>
                  <a:lnTo>
                    <a:pt x="1928685" y="851876"/>
                  </a:lnTo>
                  <a:lnTo>
                    <a:pt x="1928852" y="852135"/>
                  </a:lnTo>
                  <a:lnTo>
                    <a:pt x="1929159" y="853393"/>
                  </a:lnTo>
                  <a:lnTo>
                    <a:pt x="1928822" y="854086"/>
                  </a:lnTo>
                  <a:lnTo>
                    <a:pt x="1929950" y="855012"/>
                  </a:lnTo>
                  <a:lnTo>
                    <a:pt x="1931668" y="854222"/>
                  </a:lnTo>
                  <a:lnTo>
                    <a:pt x="1933560" y="852353"/>
                  </a:lnTo>
                  <a:lnTo>
                    <a:pt x="1935213" y="850034"/>
                  </a:lnTo>
                  <a:lnTo>
                    <a:pt x="1937228" y="846540"/>
                  </a:lnTo>
                  <a:lnTo>
                    <a:pt x="1937860" y="845718"/>
                  </a:lnTo>
                  <a:lnTo>
                    <a:pt x="1938884" y="845021"/>
                  </a:lnTo>
                  <a:lnTo>
                    <a:pt x="1948831" y="843127"/>
                  </a:lnTo>
                  <a:lnTo>
                    <a:pt x="1950558" y="844042"/>
                  </a:lnTo>
                  <a:lnTo>
                    <a:pt x="1952756" y="844099"/>
                  </a:lnTo>
                  <a:lnTo>
                    <a:pt x="1954164" y="846227"/>
                  </a:lnTo>
                  <a:lnTo>
                    <a:pt x="1956136" y="846470"/>
                  </a:lnTo>
                  <a:lnTo>
                    <a:pt x="1956729" y="847713"/>
                  </a:lnTo>
                  <a:lnTo>
                    <a:pt x="1955561" y="848781"/>
                  </a:lnTo>
                  <a:lnTo>
                    <a:pt x="1955109" y="849552"/>
                  </a:lnTo>
                  <a:lnTo>
                    <a:pt x="1954887" y="850227"/>
                  </a:lnTo>
                  <a:lnTo>
                    <a:pt x="1954492" y="851861"/>
                  </a:lnTo>
                  <a:lnTo>
                    <a:pt x="1954223" y="852479"/>
                  </a:lnTo>
                  <a:lnTo>
                    <a:pt x="1954534" y="855456"/>
                  </a:lnTo>
                  <a:lnTo>
                    <a:pt x="1955433" y="856450"/>
                  </a:lnTo>
                  <a:lnTo>
                    <a:pt x="1956501" y="856898"/>
                  </a:lnTo>
                  <a:lnTo>
                    <a:pt x="1957332" y="858242"/>
                  </a:lnTo>
                  <a:lnTo>
                    <a:pt x="1956856" y="858160"/>
                  </a:lnTo>
                  <a:lnTo>
                    <a:pt x="1956115" y="858361"/>
                  </a:lnTo>
                  <a:lnTo>
                    <a:pt x="1955384" y="858961"/>
                  </a:lnTo>
                  <a:lnTo>
                    <a:pt x="1954924" y="860101"/>
                  </a:lnTo>
                  <a:lnTo>
                    <a:pt x="1955101" y="860811"/>
                  </a:lnTo>
                  <a:lnTo>
                    <a:pt x="1956746" y="862717"/>
                  </a:lnTo>
                  <a:lnTo>
                    <a:pt x="1955968" y="864505"/>
                  </a:lnTo>
                  <a:lnTo>
                    <a:pt x="1955655" y="867168"/>
                  </a:lnTo>
                  <a:lnTo>
                    <a:pt x="1955649" y="869820"/>
                  </a:lnTo>
                  <a:lnTo>
                    <a:pt x="1955781" y="871568"/>
                  </a:lnTo>
                  <a:lnTo>
                    <a:pt x="1955977" y="872709"/>
                  </a:lnTo>
                  <a:lnTo>
                    <a:pt x="1956297" y="873825"/>
                  </a:lnTo>
                  <a:lnTo>
                    <a:pt x="1956690" y="874059"/>
                  </a:lnTo>
                  <a:lnTo>
                    <a:pt x="1957118" y="872536"/>
                  </a:lnTo>
                  <a:lnTo>
                    <a:pt x="1957091" y="871638"/>
                  </a:lnTo>
                  <a:lnTo>
                    <a:pt x="1956836" y="871064"/>
                  </a:lnTo>
                  <a:lnTo>
                    <a:pt x="1956700" y="870268"/>
                  </a:lnTo>
                  <a:lnTo>
                    <a:pt x="1957025" y="868703"/>
                  </a:lnTo>
                  <a:lnTo>
                    <a:pt x="1956842" y="868673"/>
                  </a:lnTo>
                  <a:lnTo>
                    <a:pt x="1957482" y="866916"/>
                  </a:lnTo>
                  <a:lnTo>
                    <a:pt x="1957979" y="865216"/>
                  </a:lnTo>
                  <a:lnTo>
                    <a:pt x="1958508" y="863657"/>
                  </a:lnTo>
                  <a:lnTo>
                    <a:pt x="1959247" y="862306"/>
                  </a:lnTo>
                  <a:lnTo>
                    <a:pt x="1958798" y="861558"/>
                  </a:lnTo>
                  <a:lnTo>
                    <a:pt x="1960847" y="859774"/>
                  </a:lnTo>
                  <a:lnTo>
                    <a:pt x="1962753" y="858927"/>
                  </a:lnTo>
                  <a:lnTo>
                    <a:pt x="1966545" y="858970"/>
                  </a:lnTo>
                  <a:lnTo>
                    <a:pt x="1965475" y="857322"/>
                  </a:lnTo>
                  <a:lnTo>
                    <a:pt x="1960421" y="855279"/>
                  </a:lnTo>
                  <a:lnTo>
                    <a:pt x="1960027" y="853833"/>
                  </a:lnTo>
                  <a:lnTo>
                    <a:pt x="1960263" y="851645"/>
                  </a:lnTo>
                  <a:lnTo>
                    <a:pt x="1961285" y="848792"/>
                  </a:lnTo>
                  <a:lnTo>
                    <a:pt x="1961668" y="847017"/>
                  </a:lnTo>
                  <a:lnTo>
                    <a:pt x="1961635" y="845040"/>
                  </a:lnTo>
                  <a:lnTo>
                    <a:pt x="1961772" y="842809"/>
                  </a:lnTo>
                  <a:lnTo>
                    <a:pt x="1962653" y="840283"/>
                  </a:lnTo>
                  <a:lnTo>
                    <a:pt x="1963841" y="838638"/>
                  </a:lnTo>
                  <a:lnTo>
                    <a:pt x="1967656" y="835630"/>
                  </a:lnTo>
                  <a:lnTo>
                    <a:pt x="1968264" y="834842"/>
                  </a:lnTo>
                  <a:lnTo>
                    <a:pt x="1969953" y="832081"/>
                  </a:lnTo>
                  <a:lnTo>
                    <a:pt x="1970712" y="831343"/>
                  </a:lnTo>
                  <a:lnTo>
                    <a:pt x="1971417" y="831120"/>
                  </a:lnTo>
                  <a:lnTo>
                    <a:pt x="1978391" y="832205"/>
                  </a:lnTo>
                  <a:lnTo>
                    <a:pt x="1985368" y="837173"/>
                  </a:lnTo>
                  <a:lnTo>
                    <a:pt x="1992389" y="842112"/>
                  </a:lnTo>
                  <a:lnTo>
                    <a:pt x="1995570" y="848342"/>
                  </a:lnTo>
                  <a:lnTo>
                    <a:pt x="1997333" y="853722"/>
                  </a:lnTo>
                  <a:lnTo>
                    <a:pt x="1998014" y="857412"/>
                  </a:lnTo>
                  <a:lnTo>
                    <a:pt x="1998068" y="861402"/>
                  </a:lnTo>
                  <a:lnTo>
                    <a:pt x="1997204" y="863487"/>
                  </a:lnTo>
                  <a:lnTo>
                    <a:pt x="1997076" y="865532"/>
                  </a:lnTo>
                  <a:lnTo>
                    <a:pt x="1997425" y="869599"/>
                  </a:lnTo>
                  <a:lnTo>
                    <a:pt x="1996122" y="870848"/>
                  </a:lnTo>
                  <a:lnTo>
                    <a:pt x="1996588" y="871666"/>
                  </a:lnTo>
                  <a:lnTo>
                    <a:pt x="1996963" y="873250"/>
                  </a:lnTo>
                  <a:lnTo>
                    <a:pt x="1997149" y="875263"/>
                  </a:lnTo>
                  <a:lnTo>
                    <a:pt x="1997037" y="877363"/>
                  </a:lnTo>
                  <a:lnTo>
                    <a:pt x="1996948" y="878300"/>
                  </a:lnTo>
                  <a:lnTo>
                    <a:pt x="1996933" y="878948"/>
                  </a:lnTo>
                  <a:lnTo>
                    <a:pt x="1996849" y="879623"/>
                  </a:lnTo>
                  <a:lnTo>
                    <a:pt x="1996551" y="880691"/>
                  </a:lnTo>
                  <a:lnTo>
                    <a:pt x="1995960" y="881932"/>
                  </a:lnTo>
                  <a:lnTo>
                    <a:pt x="1994870" y="882543"/>
                  </a:lnTo>
                  <a:lnTo>
                    <a:pt x="1994281" y="883371"/>
                  </a:lnTo>
                  <a:lnTo>
                    <a:pt x="1993660" y="885178"/>
                  </a:lnTo>
                  <a:lnTo>
                    <a:pt x="1993199" y="887039"/>
                  </a:lnTo>
                  <a:lnTo>
                    <a:pt x="1992666" y="888667"/>
                  </a:lnTo>
                  <a:lnTo>
                    <a:pt x="1991820" y="889819"/>
                  </a:lnTo>
                  <a:lnTo>
                    <a:pt x="1991146" y="890059"/>
                  </a:lnTo>
                  <a:lnTo>
                    <a:pt x="1989818" y="889952"/>
                  </a:lnTo>
                  <a:lnTo>
                    <a:pt x="1986746" y="892031"/>
                  </a:lnTo>
                  <a:lnTo>
                    <a:pt x="1986626" y="892830"/>
                  </a:lnTo>
                  <a:lnTo>
                    <a:pt x="1986851" y="893023"/>
                  </a:lnTo>
                  <a:lnTo>
                    <a:pt x="1986972" y="893321"/>
                  </a:lnTo>
                  <a:lnTo>
                    <a:pt x="1987176" y="894330"/>
                  </a:lnTo>
                  <a:lnTo>
                    <a:pt x="1986513" y="894308"/>
                  </a:lnTo>
                  <a:lnTo>
                    <a:pt x="1985207" y="894825"/>
                  </a:lnTo>
                  <a:lnTo>
                    <a:pt x="1984511" y="895524"/>
                  </a:lnTo>
                  <a:lnTo>
                    <a:pt x="1985349" y="896549"/>
                  </a:lnTo>
                  <a:lnTo>
                    <a:pt x="1987895" y="897223"/>
                  </a:lnTo>
                  <a:lnTo>
                    <a:pt x="1988364" y="899064"/>
                  </a:lnTo>
                  <a:lnTo>
                    <a:pt x="1987862" y="899322"/>
                  </a:lnTo>
                  <a:lnTo>
                    <a:pt x="1986606" y="901490"/>
                  </a:lnTo>
                  <a:lnTo>
                    <a:pt x="1985969" y="902314"/>
                  </a:lnTo>
                  <a:lnTo>
                    <a:pt x="1984470" y="903478"/>
                  </a:lnTo>
                  <a:lnTo>
                    <a:pt x="1984327" y="904483"/>
                  </a:lnTo>
                  <a:lnTo>
                    <a:pt x="1984765" y="906445"/>
                  </a:lnTo>
                  <a:lnTo>
                    <a:pt x="1985072" y="907376"/>
                  </a:lnTo>
                  <a:lnTo>
                    <a:pt x="1985259" y="908209"/>
                  </a:lnTo>
                  <a:lnTo>
                    <a:pt x="1985192" y="909199"/>
                  </a:lnTo>
                  <a:lnTo>
                    <a:pt x="1984733" y="910588"/>
                  </a:lnTo>
                  <a:lnTo>
                    <a:pt x="1984086" y="911369"/>
                  </a:lnTo>
                  <a:lnTo>
                    <a:pt x="1983335" y="911735"/>
                  </a:lnTo>
                  <a:lnTo>
                    <a:pt x="1982791" y="912215"/>
                  </a:lnTo>
                  <a:lnTo>
                    <a:pt x="1982772" y="913305"/>
                  </a:lnTo>
                  <a:lnTo>
                    <a:pt x="1982027" y="914714"/>
                  </a:lnTo>
                  <a:lnTo>
                    <a:pt x="1979687" y="915916"/>
                  </a:lnTo>
                  <a:lnTo>
                    <a:pt x="1977682" y="918811"/>
                  </a:lnTo>
                  <a:lnTo>
                    <a:pt x="1977144" y="919219"/>
                  </a:lnTo>
                  <a:lnTo>
                    <a:pt x="1976709" y="919968"/>
                  </a:lnTo>
                  <a:lnTo>
                    <a:pt x="1974767" y="924557"/>
                  </a:lnTo>
                  <a:lnTo>
                    <a:pt x="1974934" y="925456"/>
                  </a:lnTo>
                  <a:lnTo>
                    <a:pt x="1977019" y="928325"/>
                  </a:lnTo>
                  <a:lnTo>
                    <a:pt x="1975915" y="929048"/>
                  </a:lnTo>
                  <a:lnTo>
                    <a:pt x="1975389" y="929886"/>
                  </a:lnTo>
                  <a:lnTo>
                    <a:pt x="1975274" y="931369"/>
                  </a:lnTo>
                  <a:lnTo>
                    <a:pt x="1974953" y="932148"/>
                  </a:lnTo>
                  <a:lnTo>
                    <a:pt x="1971456" y="932898"/>
                  </a:lnTo>
                  <a:lnTo>
                    <a:pt x="1970265" y="933829"/>
                  </a:lnTo>
                  <a:lnTo>
                    <a:pt x="1969790" y="934548"/>
                  </a:lnTo>
                  <a:lnTo>
                    <a:pt x="1969193" y="935813"/>
                  </a:lnTo>
                  <a:lnTo>
                    <a:pt x="1968848" y="937034"/>
                  </a:lnTo>
                  <a:lnTo>
                    <a:pt x="1969125" y="937651"/>
                  </a:lnTo>
                  <a:lnTo>
                    <a:pt x="1970194" y="938425"/>
                  </a:lnTo>
                  <a:lnTo>
                    <a:pt x="1970642" y="939415"/>
                  </a:lnTo>
                  <a:lnTo>
                    <a:pt x="1970574" y="940865"/>
                  </a:lnTo>
                  <a:lnTo>
                    <a:pt x="1970201" y="941221"/>
                  </a:lnTo>
                  <a:lnTo>
                    <a:pt x="1959232" y="942511"/>
                  </a:lnTo>
                  <a:lnTo>
                    <a:pt x="1948237" y="943734"/>
                  </a:lnTo>
                  <a:lnTo>
                    <a:pt x="1947822" y="944111"/>
                  </a:lnTo>
                  <a:lnTo>
                    <a:pt x="1947586" y="944489"/>
                  </a:lnTo>
                  <a:lnTo>
                    <a:pt x="1947414" y="944917"/>
                  </a:lnTo>
                  <a:lnTo>
                    <a:pt x="1947289" y="945291"/>
                  </a:lnTo>
                  <a:lnTo>
                    <a:pt x="1947194" y="945513"/>
                  </a:lnTo>
                  <a:lnTo>
                    <a:pt x="1939913" y="951095"/>
                  </a:lnTo>
                  <a:lnTo>
                    <a:pt x="1933491" y="950438"/>
                  </a:lnTo>
                  <a:lnTo>
                    <a:pt x="1931412" y="948583"/>
                  </a:lnTo>
                  <a:lnTo>
                    <a:pt x="1926027" y="946603"/>
                  </a:lnTo>
                  <a:lnTo>
                    <a:pt x="1921921" y="941612"/>
                  </a:lnTo>
                  <a:lnTo>
                    <a:pt x="1922152" y="939809"/>
                  </a:lnTo>
                  <a:lnTo>
                    <a:pt x="1921638" y="937835"/>
                  </a:lnTo>
                  <a:lnTo>
                    <a:pt x="1921649" y="937123"/>
                  </a:lnTo>
                  <a:lnTo>
                    <a:pt x="1922013" y="936147"/>
                  </a:lnTo>
                  <a:lnTo>
                    <a:pt x="1922951" y="935459"/>
                  </a:lnTo>
                  <a:lnTo>
                    <a:pt x="1923343" y="934339"/>
                  </a:lnTo>
                  <a:lnTo>
                    <a:pt x="1923595" y="931584"/>
                  </a:lnTo>
                  <a:lnTo>
                    <a:pt x="1923293" y="929755"/>
                  </a:lnTo>
                  <a:lnTo>
                    <a:pt x="1922656" y="928759"/>
                  </a:lnTo>
                  <a:lnTo>
                    <a:pt x="1921901" y="928474"/>
                  </a:lnTo>
                  <a:lnTo>
                    <a:pt x="1921380" y="929068"/>
                  </a:lnTo>
                  <a:lnTo>
                    <a:pt x="1921512" y="929226"/>
                  </a:lnTo>
                  <a:lnTo>
                    <a:pt x="1921801" y="929964"/>
                  </a:lnTo>
                  <a:lnTo>
                    <a:pt x="1921343" y="931242"/>
                  </a:lnTo>
                  <a:lnTo>
                    <a:pt x="1921654" y="932432"/>
                  </a:lnTo>
                  <a:lnTo>
                    <a:pt x="1921717" y="933807"/>
                  </a:lnTo>
                  <a:lnTo>
                    <a:pt x="1920507" y="935613"/>
                  </a:lnTo>
                  <a:lnTo>
                    <a:pt x="1917864" y="937423"/>
                  </a:lnTo>
                  <a:lnTo>
                    <a:pt x="1915390" y="937857"/>
                  </a:lnTo>
                  <a:lnTo>
                    <a:pt x="1915726" y="937675"/>
                  </a:lnTo>
                  <a:lnTo>
                    <a:pt x="1915900" y="937521"/>
                  </a:lnTo>
                  <a:lnTo>
                    <a:pt x="1916099" y="937230"/>
                  </a:lnTo>
                  <a:lnTo>
                    <a:pt x="1915754" y="936598"/>
                  </a:lnTo>
                  <a:lnTo>
                    <a:pt x="1915204" y="936140"/>
                  </a:lnTo>
                  <a:lnTo>
                    <a:pt x="1914576" y="936135"/>
                  </a:lnTo>
                  <a:lnTo>
                    <a:pt x="1914005" y="936854"/>
                  </a:lnTo>
                  <a:lnTo>
                    <a:pt x="1913601" y="938101"/>
                  </a:lnTo>
                  <a:lnTo>
                    <a:pt x="1913664" y="938745"/>
                  </a:lnTo>
                  <a:lnTo>
                    <a:pt x="1914260" y="939571"/>
                  </a:lnTo>
                  <a:lnTo>
                    <a:pt x="1914423" y="941400"/>
                  </a:lnTo>
                  <a:lnTo>
                    <a:pt x="1913668" y="942392"/>
                  </a:lnTo>
                  <a:lnTo>
                    <a:pt x="1911981" y="943336"/>
                  </a:lnTo>
                  <a:lnTo>
                    <a:pt x="1912415" y="943935"/>
                  </a:lnTo>
                  <a:lnTo>
                    <a:pt x="1913419" y="944403"/>
                  </a:lnTo>
                  <a:lnTo>
                    <a:pt x="1913793" y="945170"/>
                  </a:lnTo>
                  <a:lnTo>
                    <a:pt x="1912875" y="945832"/>
                  </a:lnTo>
                  <a:lnTo>
                    <a:pt x="1910634" y="944601"/>
                  </a:lnTo>
                  <a:lnTo>
                    <a:pt x="1900143" y="944862"/>
                  </a:lnTo>
                  <a:lnTo>
                    <a:pt x="1898298" y="942614"/>
                  </a:lnTo>
                  <a:lnTo>
                    <a:pt x="1897590" y="942188"/>
                  </a:lnTo>
                  <a:lnTo>
                    <a:pt x="1897202" y="941638"/>
                  </a:lnTo>
                  <a:lnTo>
                    <a:pt x="1896814" y="939432"/>
                  </a:lnTo>
                  <a:lnTo>
                    <a:pt x="1890691" y="935519"/>
                  </a:lnTo>
                  <a:lnTo>
                    <a:pt x="1890826" y="934856"/>
                  </a:lnTo>
                  <a:lnTo>
                    <a:pt x="1898767" y="937818"/>
                  </a:lnTo>
                  <a:lnTo>
                    <a:pt x="1898527" y="933991"/>
                  </a:lnTo>
                  <a:lnTo>
                    <a:pt x="1897695" y="930981"/>
                  </a:lnTo>
                  <a:lnTo>
                    <a:pt x="1896501" y="928954"/>
                  </a:lnTo>
                  <a:lnTo>
                    <a:pt x="1892090" y="926251"/>
                  </a:lnTo>
                  <a:lnTo>
                    <a:pt x="1888938" y="927560"/>
                  </a:lnTo>
                  <a:lnTo>
                    <a:pt x="1888221" y="928234"/>
                  </a:lnTo>
                  <a:lnTo>
                    <a:pt x="1887908" y="928763"/>
                  </a:lnTo>
                  <a:lnTo>
                    <a:pt x="1886847" y="931055"/>
                  </a:lnTo>
                  <a:lnTo>
                    <a:pt x="1887118" y="931107"/>
                  </a:lnTo>
                  <a:lnTo>
                    <a:pt x="1887321" y="931391"/>
                  </a:lnTo>
                  <a:lnTo>
                    <a:pt x="1887454" y="931894"/>
                  </a:lnTo>
                  <a:lnTo>
                    <a:pt x="1887510" y="932630"/>
                  </a:lnTo>
                  <a:lnTo>
                    <a:pt x="1884834" y="932104"/>
                  </a:lnTo>
                  <a:lnTo>
                    <a:pt x="1885659" y="933848"/>
                  </a:lnTo>
                  <a:lnTo>
                    <a:pt x="1883293" y="933696"/>
                  </a:lnTo>
                  <a:lnTo>
                    <a:pt x="1874498" y="936582"/>
                  </a:lnTo>
                  <a:lnTo>
                    <a:pt x="1873620" y="937513"/>
                  </a:lnTo>
                  <a:lnTo>
                    <a:pt x="1872754" y="938802"/>
                  </a:lnTo>
                  <a:lnTo>
                    <a:pt x="1872170" y="940222"/>
                  </a:lnTo>
                  <a:lnTo>
                    <a:pt x="1872309" y="940372"/>
                  </a:lnTo>
                  <a:lnTo>
                    <a:pt x="1872599" y="941000"/>
                  </a:lnTo>
                  <a:lnTo>
                    <a:pt x="1871459" y="941183"/>
                  </a:lnTo>
                  <a:lnTo>
                    <a:pt x="1867780" y="944048"/>
                  </a:lnTo>
                  <a:lnTo>
                    <a:pt x="1866186" y="944704"/>
                  </a:lnTo>
                  <a:lnTo>
                    <a:pt x="1858024" y="941621"/>
                  </a:lnTo>
                  <a:lnTo>
                    <a:pt x="1854444" y="942678"/>
                  </a:lnTo>
                  <a:lnTo>
                    <a:pt x="1854245" y="942812"/>
                  </a:lnTo>
                  <a:lnTo>
                    <a:pt x="1853685" y="943189"/>
                  </a:lnTo>
                  <a:lnTo>
                    <a:pt x="1852292" y="945008"/>
                  </a:lnTo>
                  <a:lnTo>
                    <a:pt x="1851701" y="945486"/>
                  </a:lnTo>
                  <a:lnTo>
                    <a:pt x="1851281" y="944953"/>
                  </a:lnTo>
                  <a:lnTo>
                    <a:pt x="1851621" y="944271"/>
                  </a:lnTo>
                  <a:lnTo>
                    <a:pt x="1851596" y="943564"/>
                  </a:lnTo>
                  <a:lnTo>
                    <a:pt x="1849417" y="944525"/>
                  </a:lnTo>
                  <a:lnTo>
                    <a:pt x="1845728" y="941017"/>
                  </a:lnTo>
                  <a:lnTo>
                    <a:pt x="1843520" y="941809"/>
                  </a:lnTo>
                  <a:lnTo>
                    <a:pt x="1843767" y="942072"/>
                  </a:lnTo>
                  <a:lnTo>
                    <a:pt x="1843868" y="942262"/>
                  </a:lnTo>
                  <a:lnTo>
                    <a:pt x="1843938" y="942603"/>
                  </a:lnTo>
                  <a:lnTo>
                    <a:pt x="1843561" y="942466"/>
                  </a:lnTo>
                  <a:lnTo>
                    <a:pt x="1843140" y="942532"/>
                  </a:lnTo>
                  <a:lnTo>
                    <a:pt x="1842244" y="942987"/>
                  </a:lnTo>
                  <a:lnTo>
                    <a:pt x="1842076" y="943711"/>
                  </a:lnTo>
                  <a:lnTo>
                    <a:pt x="1843772" y="945523"/>
                  </a:lnTo>
                  <a:lnTo>
                    <a:pt x="1844439" y="945741"/>
                  </a:lnTo>
                  <a:lnTo>
                    <a:pt x="1843358" y="946686"/>
                  </a:lnTo>
                  <a:lnTo>
                    <a:pt x="1835825" y="946187"/>
                  </a:lnTo>
                  <a:lnTo>
                    <a:pt x="1834832" y="945041"/>
                  </a:lnTo>
                  <a:lnTo>
                    <a:pt x="1834195" y="945238"/>
                  </a:lnTo>
                  <a:lnTo>
                    <a:pt x="1833602" y="947144"/>
                  </a:lnTo>
                  <a:lnTo>
                    <a:pt x="1833604" y="948686"/>
                  </a:lnTo>
                  <a:lnTo>
                    <a:pt x="1833934" y="950360"/>
                  </a:lnTo>
                  <a:lnTo>
                    <a:pt x="1834714" y="952710"/>
                  </a:lnTo>
                  <a:lnTo>
                    <a:pt x="1833434" y="954649"/>
                  </a:lnTo>
                  <a:lnTo>
                    <a:pt x="1828458" y="955941"/>
                  </a:lnTo>
                  <a:lnTo>
                    <a:pt x="1826017" y="958435"/>
                  </a:lnTo>
                  <a:lnTo>
                    <a:pt x="1825244" y="958813"/>
                  </a:lnTo>
                  <a:lnTo>
                    <a:pt x="1822545" y="958750"/>
                  </a:lnTo>
                  <a:lnTo>
                    <a:pt x="1822102" y="959375"/>
                  </a:lnTo>
                  <a:lnTo>
                    <a:pt x="1821675" y="960234"/>
                  </a:lnTo>
                  <a:lnTo>
                    <a:pt x="1821095" y="961113"/>
                  </a:lnTo>
                  <a:lnTo>
                    <a:pt x="1820337" y="961592"/>
                  </a:lnTo>
                  <a:lnTo>
                    <a:pt x="1818218" y="961208"/>
                  </a:lnTo>
                  <a:lnTo>
                    <a:pt x="1815351" y="962909"/>
                  </a:lnTo>
                  <a:lnTo>
                    <a:pt x="1813324" y="962454"/>
                  </a:lnTo>
                  <a:lnTo>
                    <a:pt x="1812434" y="962982"/>
                  </a:lnTo>
                  <a:lnTo>
                    <a:pt x="1810393" y="965148"/>
                  </a:lnTo>
                  <a:lnTo>
                    <a:pt x="1809789" y="965346"/>
                  </a:lnTo>
                  <a:lnTo>
                    <a:pt x="1807519" y="963787"/>
                  </a:lnTo>
                  <a:lnTo>
                    <a:pt x="1801889" y="966685"/>
                  </a:lnTo>
                  <a:lnTo>
                    <a:pt x="1798701" y="969359"/>
                  </a:lnTo>
                  <a:lnTo>
                    <a:pt x="1789723" y="970127"/>
                  </a:lnTo>
                  <a:lnTo>
                    <a:pt x="1780727" y="970851"/>
                  </a:lnTo>
                  <a:lnTo>
                    <a:pt x="1778235" y="972246"/>
                  </a:lnTo>
                  <a:lnTo>
                    <a:pt x="1775798" y="972343"/>
                  </a:lnTo>
                  <a:lnTo>
                    <a:pt x="1774105" y="973091"/>
                  </a:lnTo>
                  <a:lnTo>
                    <a:pt x="1768472" y="971690"/>
                  </a:lnTo>
                  <a:lnTo>
                    <a:pt x="1756911" y="970607"/>
                  </a:lnTo>
                  <a:lnTo>
                    <a:pt x="1751559" y="968207"/>
                  </a:lnTo>
                  <a:lnTo>
                    <a:pt x="1745411" y="964938"/>
                  </a:lnTo>
                  <a:lnTo>
                    <a:pt x="1739380" y="960398"/>
                  </a:lnTo>
                  <a:lnTo>
                    <a:pt x="1738139" y="957045"/>
                  </a:lnTo>
                  <a:lnTo>
                    <a:pt x="1729632" y="943823"/>
                  </a:lnTo>
                  <a:lnTo>
                    <a:pt x="1729766" y="943309"/>
                  </a:lnTo>
                  <a:lnTo>
                    <a:pt x="1729856" y="943155"/>
                  </a:lnTo>
                  <a:lnTo>
                    <a:pt x="1729945" y="943152"/>
                  </a:lnTo>
                  <a:lnTo>
                    <a:pt x="1730072" y="943106"/>
                  </a:lnTo>
                  <a:lnTo>
                    <a:pt x="1729365" y="942743"/>
                  </a:lnTo>
                  <a:lnTo>
                    <a:pt x="1725795" y="934533"/>
                  </a:lnTo>
                  <a:lnTo>
                    <a:pt x="1725314" y="932288"/>
                  </a:lnTo>
                  <a:lnTo>
                    <a:pt x="1725383" y="931077"/>
                  </a:lnTo>
                  <a:lnTo>
                    <a:pt x="1725878" y="929533"/>
                  </a:lnTo>
                  <a:lnTo>
                    <a:pt x="1726978" y="927647"/>
                  </a:lnTo>
                  <a:lnTo>
                    <a:pt x="1728101" y="926662"/>
                  </a:lnTo>
                  <a:lnTo>
                    <a:pt x="1731007" y="925521"/>
                  </a:lnTo>
                  <a:lnTo>
                    <a:pt x="1733932" y="923345"/>
                  </a:lnTo>
                  <a:lnTo>
                    <a:pt x="1742699" y="920302"/>
                  </a:lnTo>
                  <a:lnTo>
                    <a:pt x="1746827" y="920731"/>
                  </a:lnTo>
                  <a:lnTo>
                    <a:pt x="1749588" y="919209"/>
                  </a:lnTo>
                  <a:lnTo>
                    <a:pt x="1753293" y="919278"/>
                  </a:lnTo>
                  <a:lnTo>
                    <a:pt x="1756805" y="920643"/>
                  </a:lnTo>
                  <a:lnTo>
                    <a:pt x="1759380" y="919362"/>
                  </a:lnTo>
                  <a:lnTo>
                    <a:pt x="1761897" y="919411"/>
                  </a:lnTo>
                  <a:lnTo>
                    <a:pt x="1763625" y="921509"/>
                  </a:lnTo>
                  <a:lnTo>
                    <a:pt x="1764681" y="922017"/>
                  </a:lnTo>
                  <a:lnTo>
                    <a:pt x="1765851" y="920474"/>
                  </a:lnTo>
                  <a:lnTo>
                    <a:pt x="1764417" y="918481"/>
                  </a:lnTo>
                  <a:lnTo>
                    <a:pt x="1762678" y="917311"/>
                  </a:lnTo>
                  <a:lnTo>
                    <a:pt x="1763492" y="916884"/>
                  </a:lnTo>
                  <a:lnTo>
                    <a:pt x="1763863" y="916851"/>
                  </a:lnTo>
                  <a:lnTo>
                    <a:pt x="1764131" y="916988"/>
                  </a:lnTo>
                  <a:lnTo>
                    <a:pt x="1766280" y="917386"/>
                  </a:lnTo>
                  <a:lnTo>
                    <a:pt x="1767030" y="917009"/>
                  </a:lnTo>
                  <a:lnTo>
                    <a:pt x="1767353" y="916542"/>
                  </a:lnTo>
                  <a:lnTo>
                    <a:pt x="1768200" y="914944"/>
                  </a:lnTo>
                  <a:lnTo>
                    <a:pt x="1770442" y="912766"/>
                  </a:lnTo>
                  <a:lnTo>
                    <a:pt x="1773470" y="912279"/>
                  </a:lnTo>
                  <a:lnTo>
                    <a:pt x="1775348" y="911255"/>
                  </a:lnTo>
                  <a:lnTo>
                    <a:pt x="1780298" y="910490"/>
                  </a:lnTo>
                  <a:lnTo>
                    <a:pt x="1782878" y="911806"/>
                  </a:lnTo>
                  <a:lnTo>
                    <a:pt x="1787530" y="910757"/>
                  </a:lnTo>
                  <a:lnTo>
                    <a:pt x="1795144" y="912693"/>
                  </a:lnTo>
                  <a:lnTo>
                    <a:pt x="1801119" y="913221"/>
                  </a:lnTo>
                  <a:lnTo>
                    <a:pt x="1805068" y="915408"/>
                  </a:lnTo>
                  <a:lnTo>
                    <a:pt x="1808363" y="917567"/>
                  </a:lnTo>
                  <a:lnTo>
                    <a:pt x="1811788" y="916281"/>
                  </a:lnTo>
                  <a:lnTo>
                    <a:pt x="1814206" y="916591"/>
                  </a:lnTo>
                  <a:lnTo>
                    <a:pt x="1815207" y="916135"/>
                  </a:lnTo>
                  <a:lnTo>
                    <a:pt x="1817400" y="913645"/>
                  </a:lnTo>
                  <a:lnTo>
                    <a:pt x="1818198" y="913034"/>
                  </a:lnTo>
                  <a:lnTo>
                    <a:pt x="1817825" y="911608"/>
                  </a:lnTo>
                  <a:lnTo>
                    <a:pt x="1816158" y="912447"/>
                  </a:lnTo>
                  <a:lnTo>
                    <a:pt x="1815918" y="910970"/>
                  </a:lnTo>
                  <a:lnTo>
                    <a:pt x="1817156" y="909866"/>
                  </a:lnTo>
                  <a:lnTo>
                    <a:pt x="1818045" y="910238"/>
                  </a:lnTo>
                  <a:lnTo>
                    <a:pt x="1819597" y="911849"/>
                  </a:lnTo>
                  <a:lnTo>
                    <a:pt x="1820744" y="911794"/>
                  </a:lnTo>
                  <a:lnTo>
                    <a:pt x="1824541" y="909965"/>
                  </a:lnTo>
                  <a:lnTo>
                    <a:pt x="1824423" y="908728"/>
                  </a:lnTo>
                  <a:lnTo>
                    <a:pt x="1824038" y="907901"/>
                  </a:lnTo>
                  <a:lnTo>
                    <a:pt x="1823524" y="907435"/>
                  </a:lnTo>
                  <a:lnTo>
                    <a:pt x="1823005" y="907312"/>
                  </a:lnTo>
                  <a:lnTo>
                    <a:pt x="1823862" y="906683"/>
                  </a:lnTo>
                  <a:lnTo>
                    <a:pt x="1824960" y="907846"/>
                  </a:lnTo>
                  <a:lnTo>
                    <a:pt x="1825657" y="907937"/>
                  </a:lnTo>
                  <a:lnTo>
                    <a:pt x="1825868" y="907646"/>
                  </a:lnTo>
                  <a:lnTo>
                    <a:pt x="1826018" y="907164"/>
                  </a:lnTo>
                  <a:lnTo>
                    <a:pt x="1826125" y="906712"/>
                  </a:lnTo>
                  <a:lnTo>
                    <a:pt x="1826217" y="906474"/>
                  </a:lnTo>
                  <a:lnTo>
                    <a:pt x="1828443" y="905551"/>
                  </a:lnTo>
                  <a:lnTo>
                    <a:pt x="1829238" y="905659"/>
                  </a:lnTo>
                  <a:lnTo>
                    <a:pt x="1829593" y="905506"/>
                  </a:lnTo>
                  <a:lnTo>
                    <a:pt x="1830353" y="904634"/>
                  </a:lnTo>
                  <a:lnTo>
                    <a:pt x="1831363" y="904302"/>
                  </a:lnTo>
                  <a:lnTo>
                    <a:pt x="1833978" y="902184"/>
                  </a:lnTo>
                  <a:lnTo>
                    <a:pt x="1833211" y="900491"/>
                  </a:lnTo>
                  <a:lnTo>
                    <a:pt x="1833764" y="900006"/>
                  </a:lnTo>
                  <a:lnTo>
                    <a:pt x="1834798" y="899564"/>
                  </a:lnTo>
                  <a:lnTo>
                    <a:pt x="1835432" y="898717"/>
                  </a:lnTo>
                  <a:lnTo>
                    <a:pt x="1835419" y="897961"/>
                  </a:lnTo>
                  <a:lnTo>
                    <a:pt x="1836212" y="897444"/>
                  </a:lnTo>
                  <a:lnTo>
                    <a:pt x="1837635" y="897930"/>
                  </a:lnTo>
                  <a:lnTo>
                    <a:pt x="1838388" y="897041"/>
                  </a:lnTo>
                  <a:lnTo>
                    <a:pt x="1838485" y="895893"/>
                  </a:lnTo>
                  <a:lnTo>
                    <a:pt x="1837990" y="894804"/>
                  </a:lnTo>
                  <a:lnTo>
                    <a:pt x="1834425" y="891558"/>
                  </a:lnTo>
                  <a:lnTo>
                    <a:pt x="1830428" y="891388"/>
                  </a:lnTo>
                  <a:lnTo>
                    <a:pt x="1830087" y="891944"/>
                  </a:lnTo>
                  <a:lnTo>
                    <a:pt x="1828695" y="894760"/>
                  </a:lnTo>
                  <a:lnTo>
                    <a:pt x="1828053" y="895817"/>
                  </a:lnTo>
                  <a:lnTo>
                    <a:pt x="1827075" y="896946"/>
                  </a:lnTo>
                  <a:lnTo>
                    <a:pt x="1824852" y="898924"/>
                  </a:lnTo>
                  <a:lnTo>
                    <a:pt x="1823115" y="899358"/>
                  </a:lnTo>
                  <a:lnTo>
                    <a:pt x="1821087" y="900511"/>
                  </a:lnTo>
                  <a:lnTo>
                    <a:pt x="1820174" y="900475"/>
                  </a:lnTo>
                  <a:lnTo>
                    <a:pt x="1818956" y="899351"/>
                  </a:lnTo>
                  <a:lnTo>
                    <a:pt x="1818234" y="899164"/>
                  </a:lnTo>
                  <a:lnTo>
                    <a:pt x="1817348" y="899796"/>
                  </a:lnTo>
                  <a:lnTo>
                    <a:pt x="1818479" y="900878"/>
                  </a:lnTo>
                  <a:lnTo>
                    <a:pt x="1818694" y="901639"/>
                  </a:lnTo>
                  <a:lnTo>
                    <a:pt x="1815511" y="900872"/>
                  </a:lnTo>
                  <a:lnTo>
                    <a:pt x="1815190" y="899807"/>
                  </a:lnTo>
                  <a:lnTo>
                    <a:pt x="1814969" y="896818"/>
                  </a:lnTo>
                  <a:lnTo>
                    <a:pt x="1814567" y="896065"/>
                  </a:lnTo>
                  <a:lnTo>
                    <a:pt x="1814264" y="896137"/>
                  </a:lnTo>
                  <a:lnTo>
                    <a:pt x="1813935" y="896458"/>
                  </a:lnTo>
                  <a:lnTo>
                    <a:pt x="1813594" y="896884"/>
                  </a:lnTo>
                  <a:lnTo>
                    <a:pt x="1809268" y="900466"/>
                  </a:lnTo>
                  <a:lnTo>
                    <a:pt x="1808463" y="900651"/>
                  </a:lnTo>
                  <a:lnTo>
                    <a:pt x="1805132" y="898328"/>
                  </a:lnTo>
                  <a:lnTo>
                    <a:pt x="1800294" y="899564"/>
                  </a:lnTo>
                  <a:lnTo>
                    <a:pt x="1796531" y="899341"/>
                  </a:lnTo>
                  <a:lnTo>
                    <a:pt x="1794755" y="898137"/>
                  </a:lnTo>
                  <a:lnTo>
                    <a:pt x="1793861" y="895489"/>
                  </a:lnTo>
                  <a:lnTo>
                    <a:pt x="1794649" y="894704"/>
                  </a:lnTo>
                  <a:lnTo>
                    <a:pt x="1795490" y="894202"/>
                  </a:lnTo>
                  <a:lnTo>
                    <a:pt x="1797578" y="893733"/>
                  </a:lnTo>
                  <a:lnTo>
                    <a:pt x="1799526" y="891954"/>
                  </a:lnTo>
                  <a:lnTo>
                    <a:pt x="1800251" y="890918"/>
                  </a:lnTo>
                  <a:lnTo>
                    <a:pt x="1799810" y="890109"/>
                  </a:lnTo>
                  <a:lnTo>
                    <a:pt x="1797818" y="889604"/>
                  </a:lnTo>
                  <a:lnTo>
                    <a:pt x="1798008" y="888895"/>
                  </a:lnTo>
                  <a:lnTo>
                    <a:pt x="1798764" y="889087"/>
                  </a:lnTo>
                  <a:lnTo>
                    <a:pt x="1799204" y="888915"/>
                  </a:lnTo>
                  <a:lnTo>
                    <a:pt x="1799698" y="888479"/>
                  </a:lnTo>
                  <a:lnTo>
                    <a:pt x="1798758" y="886219"/>
                  </a:lnTo>
                  <a:lnTo>
                    <a:pt x="1798436" y="885859"/>
                  </a:lnTo>
                  <a:lnTo>
                    <a:pt x="1797884" y="886102"/>
                  </a:lnTo>
                  <a:lnTo>
                    <a:pt x="1797055" y="886849"/>
                  </a:lnTo>
                  <a:lnTo>
                    <a:pt x="1796252" y="887909"/>
                  </a:lnTo>
                  <a:lnTo>
                    <a:pt x="1795784" y="889086"/>
                  </a:lnTo>
                  <a:lnTo>
                    <a:pt x="1795886" y="889294"/>
                  </a:lnTo>
                  <a:lnTo>
                    <a:pt x="1796149" y="889499"/>
                  </a:lnTo>
                  <a:lnTo>
                    <a:pt x="1796363" y="889919"/>
                  </a:lnTo>
                  <a:lnTo>
                    <a:pt x="1796323" y="890757"/>
                  </a:lnTo>
                  <a:lnTo>
                    <a:pt x="1795929" y="891807"/>
                  </a:lnTo>
                  <a:lnTo>
                    <a:pt x="1795457" y="892139"/>
                  </a:lnTo>
                  <a:lnTo>
                    <a:pt x="1791662" y="891167"/>
                  </a:lnTo>
                  <a:lnTo>
                    <a:pt x="1791094" y="890057"/>
                  </a:lnTo>
                  <a:lnTo>
                    <a:pt x="1790948" y="889201"/>
                  </a:lnTo>
                  <a:lnTo>
                    <a:pt x="1791060" y="888220"/>
                  </a:lnTo>
                  <a:lnTo>
                    <a:pt x="1791531" y="887072"/>
                  </a:lnTo>
                  <a:lnTo>
                    <a:pt x="1792062" y="886496"/>
                  </a:lnTo>
                  <a:lnTo>
                    <a:pt x="1792586" y="886142"/>
                  </a:lnTo>
                  <a:lnTo>
                    <a:pt x="1793048" y="885662"/>
                  </a:lnTo>
                  <a:lnTo>
                    <a:pt x="1793406" y="884137"/>
                  </a:lnTo>
                  <a:lnTo>
                    <a:pt x="1793121" y="882415"/>
                  </a:lnTo>
                  <a:lnTo>
                    <a:pt x="1792535" y="881016"/>
                  </a:lnTo>
                  <a:lnTo>
                    <a:pt x="1791998" y="880448"/>
                  </a:lnTo>
                  <a:lnTo>
                    <a:pt x="1792075" y="880870"/>
                  </a:lnTo>
                  <a:lnTo>
                    <a:pt x="1792189" y="881191"/>
                  </a:lnTo>
                  <a:lnTo>
                    <a:pt x="1791993" y="881908"/>
                  </a:lnTo>
                  <a:lnTo>
                    <a:pt x="1790930" y="882145"/>
                  </a:lnTo>
                  <a:lnTo>
                    <a:pt x="1790155" y="883351"/>
                  </a:lnTo>
                  <a:lnTo>
                    <a:pt x="1789338" y="885325"/>
                  </a:lnTo>
                  <a:lnTo>
                    <a:pt x="1788183" y="887826"/>
                  </a:lnTo>
                  <a:lnTo>
                    <a:pt x="1788612" y="889917"/>
                  </a:lnTo>
                  <a:lnTo>
                    <a:pt x="1788689" y="890741"/>
                  </a:lnTo>
                  <a:lnTo>
                    <a:pt x="1788539" y="891552"/>
                  </a:lnTo>
                  <a:lnTo>
                    <a:pt x="1787785" y="893533"/>
                  </a:lnTo>
                  <a:lnTo>
                    <a:pt x="1787509" y="894696"/>
                  </a:lnTo>
                  <a:lnTo>
                    <a:pt x="1786652" y="894560"/>
                  </a:lnTo>
                  <a:lnTo>
                    <a:pt x="1782286" y="896983"/>
                  </a:lnTo>
                  <a:lnTo>
                    <a:pt x="1777335" y="897372"/>
                  </a:lnTo>
                  <a:lnTo>
                    <a:pt x="1776550" y="896871"/>
                  </a:lnTo>
                  <a:lnTo>
                    <a:pt x="1776079" y="895527"/>
                  </a:lnTo>
                  <a:lnTo>
                    <a:pt x="1776046" y="891782"/>
                  </a:lnTo>
                  <a:lnTo>
                    <a:pt x="1775821" y="890778"/>
                  </a:lnTo>
                  <a:lnTo>
                    <a:pt x="1774041" y="894655"/>
                  </a:lnTo>
                  <a:lnTo>
                    <a:pt x="1773063" y="896252"/>
                  </a:lnTo>
                  <a:lnTo>
                    <a:pt x="1772135" y="896783"/>
                  </a:lnTo>
                  <a:lnTo>
                    <a:pt x="1768028" y="896475"/>
                  </a:lnTo>
                  <a:lnTo>
                    <a:pt x="1765521" y="895286"/>
                  </a:lnTo>
                  <a:lnTo>
                    <a:pt x="1760234" y="895853"/>
                  </a:lnTo>
                  <a:lnTo>
                    <a:pt x="1759684" y="895284"/>
                  </a:lnTo>
                  <a:lnTo>
                    <a:pt x="1759448" y="895495"/>
                  </a:lnTo>
                  <a:lnTo>
                    <a:pt x="1759197" y="895921"/>
                  </a:lnTo>
                  <a:lnTo>
                    <a:pt x="1758823" y="896245"/>
                  </a:lnTo>
                  <a:lnTo>
                    <a:pt x="1752755" y="894808"/>
                  </a:lnTo>
                  <a:lnTo>
                    <a:pt x="1751330" y="892569"/>
                  </a:lnTo>
                  <a:lnTo>
                    <a:pt x="1752919" y="887585"/>
                  </a:lnTo>
                  <a:lnTo>
                    <a:pt x="1753793" y="886061"/>
                  </a:lnTo>
                  <a:lnTo>
                    <a:pt x="1754259" y="885502"/>
                  </a:lnTo>
                  <a:lnTo>
                    <a:pt x="1754867" y="885047"/>
                  </a:lnTo>
                  <a:lnTo>
                    <a:pt x="1763337" y="882780"/>
                  </a:lnTo>
                  <a:lnTo>
                    <a:pt x="1762653" y="881682"/>
                  </a:lnTo>
                  <a:lnTo>
                    <a:pt x="1761590" y="881591"/>
                  </a:lnTo>
                  <a:lnTo>
                    <a:pt x="1756706" y="883438"/>
                  </a:lnTo>
                  <a:lnTo>
                    <a:pt x="1755609" y="883127"/>
                  </a:lnTo>
                  <a:lnTo>
                    <a:pt x="1755180" y="881352"/>
                  </a:lnTo>
                  <a:lnTo>
                    <a:pt x="1758934" y="874898"/>
                  </a:lnTo>
                  <a:lnTo>
                    <a:pt x="1761592" y="869776"/>
                  </a:lnTo>
                  <a:lnTo>
                    <a:pt x="1762902" y="867629"/>
                  </a:lnTo>
                  <a:lnTo>
                    <a:pt x="1764150" y="866198"/>
                  </a:lnTo>
                  <a:lnTo>
                    <a:pt x="1767576" y="864907"/>
                  </a:lnTo>
                  <a:lnTo>
                    <a:pt x="1769812" y="864862"/>
                  </a:lnTo>
                  <a:lnTo>
                    <a:pt x="1772359" y="863093"/>
                  </a:lnTo>
                  <a:lnTo>
                    <a:pt x="1777361" y="861168"/>
                  </a:lnTo>
                  <a:lnTo>
                    <a:pt x="1778765" y="861520"/>
                  </a:lnTo>
                  <a:lnTo>
                    <a:pt x="1778987" y="860741"/>
                  </a:lnTo>
                  <a:lnTo>
                    <a:pt x="1778171" y="861360"/>
                  </a:lnTo>
                  <a:lnTo>
                    <a:pt x="1776423" y="860046"/>
                  </a:lnTo>
                  <a:lnTo>
                    <a:pt x="1775144" y="860313"/>
                  </a:lnTo>
                  <a:lnTo>
                    <a:pt x="1774847" y="859874"/>
                  </a:lnTo>
                  <a:lnTo>
                    <a:pt x="1775386" y="858233"/>
                  </a:lnTo>
                  <a:lnTo>
                    <a:pt x="1773655" y="859842"/>
                  </a:lnTo>
                  <a:lnTo>
                    <a:pt x="1762809" y="861975"/>
                  </a:lnTo>
                  <a:lnTo>
                    <a:pt x="1762213" y="861592"/>
                  </a:lnTo>
                  <a:lnTo>
                    <a:pt x="1762006" y="860141"/>
                  </a:lnTo>
                  <a:lnTo>
                    <a:pt x="1762048" y="855533"/>
                  </a:lnTo>
                  <a:lnTo>
                    <a:pt x="1761370" y="851176"/>
                  </a:lnTo>
                  <a:lnTo>
                    <a:pt x="1760727" y="849959"/>
                  </a:lnTo>
                  <a:lnTo>
                    <a:pt x="1759674" y="851538"/>
                  </a:lnTo>
                  <a:lnTo>
                    <a:pt x="1759942" y="852065"/>
                  </a:lnTo>
                  <a:lnTo>
                    <a:pt x="1759619" y="852999"/>
                  </a:lnTo>
                  <a:lnTo>
                    <a:pt x="1759053" y="854094"/>
                  </a:lnTo>
                  <a:lnTo>
                    <a:pt x="1758608" y="855099"/>
                  </a:lnTo>
                  <a:lnTo>
                    <a:pt x="1758195" y="856712"/>
                  </a:lnTo>
                  <a:lnTo>
                    <a:pt x="1758185" y="857464"/>
                  </a:lnTo>
                  <a:lnTo>
                    <a:pt x="1758339" y="858101"/>
                  </a:lnTo>
                  <a:lnTo>
                    <a:pt x="1758422" y="859366"/>
                  </a:lnTo>
                  <a:lnTo>
                    <a:pt x="1757992" y="861448"/>
                  </a:lnTo>
                  <a:lnTo>
                    <a:pt x="1757044" y="863488"/>
                  </a:lnTo>
                  <a:lnTo>
                    <a:pt x="1755184" y="866549"/>
                  </a:lnTo>
                  <a:lnTo>
                    <a:pt x="1753177" y="870608"/>
                  </a:lnTo>
                  <a:lnTo>
                    <a:pt x="1752680" y="871442"/>
                  </a:lnTo>
                  <a:lnTo>
                    <a:pt x="1751200" y="873562"/>
                  </a:lnTo>
                  <a:lnTo>
                    <a:pt x="1749594" y="875037"/>
                  </a:lnTo>
                  <a:lnTo>
                    <a:pt x="1748118" y="874436"/>
                  </a:lnTo>
                  <a:lnTo>
                    <a:pt x="1747015" y="872573"/>
                  </a:lnTo>
                  <a:lnTo>
                    <a:pt x="1746522" y="870252"/>
                  </a:lnTo>
                  <a:lnTo>
                    <a:pt x="1746614" y="869860"/>
                  </a:lnTo>
                  <a:lnTo>
                    <a:pt x="1747055" y="868577"/>
                  </a:lnTo>
                  <a:lnTo>
                    <a:pt x="1747150" y="868185"/>
                  </a:lnTo>
                  <a:lnTo>
                    <a:pt x="1747026" y="867546"/>
                  </a:lnTo>
                  <a:lnTo>
                    <a:pt x="1744091" y="864564"/>
                  </a:lnTo>
                  <a:lnTo>
                    <a:pt x="1744065" y="863053"/>
                  </a:lnTo>
                  <a:lnTo>
                    <a:pt x="1742893" y="863275"/>
                  </a:lnTo>
                  <a:lnTo>
                    <a:pt x="1741350" y="864434"/>
                  </a:lnTo>
                  <a:lnTo>
                    <a:pt x="1740219" y="865749"/>
                  </a:lnTo>
                  <a:lnTo>
                    <a:pt x="1739864" y="866798"/>
                  </a:lnTo>
                  <a:lnTo>
                    <a:pt x="1740098" y="867412"/>
                  </a:lnTo>
                  <a:lnTo>
                    <a:pt x="1740607" y="867624"/>
                  </a:lnTo>
                  <a:lnTo>
                    <a:pt x="1741722" y="867305"/>
                  </a:lnTo>
                  <a:lnTo>
                    <a:pt x="1744043" y="869090"/>
                  </a:lnTo>
                  <a:lnTo>
                    <a:pt x="1744478" y="869810"/>
                  </a:lnTo>
                  <a:lnTo>
                    <a:pt x="1744624" y="870903"/>
                  </a:lnTo>
                  <a:lnTo>
                    <a:pt x="1744289" y="874327"/>
                  </a:lnTo>
                  <a:lnTo>
                    <a:pt x="1744599" y="876134"/>
                  </a:lnTo>
                  <a:lnTo>
                    <a:pt x="1745183" y="877311"/>
                  </a:lnTo>
                  <a:lnTo>
                    <a:pt x="1745343" y="878729"/>
                  </a:lnTo>
                  <a:lnTo>
                    <a:pt x="1744369" y="881296"/>
                  </a:lnTo>
                  <a:lnTo>
                    <a:pt x="1743241" y="883091"/>
                  </a:lnTo>
                  <a:lnTo>
                    <a:pt x="1740908" y="885792"/>
                  </a:lnTo>
                  <a:lnTo>
                    <a:pt x="1739804" y="887362"/>
                  </a:lnTo>
                  <a:lnTo>
                    <a:pt x="1738032" y="889514"/>
                  </a:lnTo>
                  <a:lnTo>
                    <a:pt x="1729463" y="892536"/>
                  </a:lnTo>
                  <a:lnTo>
                    <a:pt x="1720858" y="895516"/>
                  </a:lnTo>
                  <a:lnTo>
                    <a:pt x="1718040" y="895103"/>
                  </a:lnTo>
                  <a:lnTo>
                    <a:pt x="1715957" y="892566"/>
                  </a:lnTo>
                  <a:lnTo>
                    <a:pt x="1715567" y="891430"/>
                  </a:lnTo>
                  <a:lnTo>
                    <a:pt x="1715464" y="890270"/>
                  </a:lnTo>
                  <a:lnTo>
                    <a:pt x="1715664" y="888674"/>
                  </a:lnTo>
                  <a:lnTo>
                    <a:pt x="1716190" y="886223"/>
                  </a:lnTo>
                  <a:lnTo>
                    <a:pt x="1716578" y="884004"/>
                  </a:lnTo>
                  <a:lnTo>
                    <a:pt x="1716862" y="883173"/>
                  </a:lnTo>
                  <a:lnTo>
                    <a:pt x="1717565" y="881915"/>
                  </a:lnTo>
                  <a:lnTo>
                    <a:pt x="1718195" y="881249"/>
                  </a:lnTo>
                  <a:lnTo>
                    <a:pt x="1718824" y="880866"/>
                  </a:lnTo>
                  <a:lnTo>
                    <a:pt x="1719280" y="880384"/>
                  </a:lnTo>
                  <a:lnTo>
                    <a:pt x="1719383" y="879425"/>
                  </a:lnTo>
                  <a:lnTo>
                    <a:pt x="1719885" y="877578"/>
                  </a:lnTo>
                  <a:lnTo>
                    <a:pt x="1720165" y="874794"/>
                  </a:lnTo>
                  <a:lnTo>
                    <a:pt x="1720123" y="872218"/>
                  </a:lnTo>
                  <a:lnTo>
                    <a:pt x="1719655" y="870969"/>
                  </a:lnTo>
                  <a:lnTo>
                    <a:pt x="1719288" y="872844"/>
                  </a:lnTo>
                  <a:lnTo>
                    <a:pt x="1718229" y="874392"/>
                  </a:lnTo>
                  <a:lnTo>
                    <a:pt x="1713145" y="878128"/>
                  </a:lnTo>
                  <a:lnTo>
                    <a:pt x="1711918" y="878058"/>
                  </a:lnTo>
                  <a:lnTo>
                    <a:pt x="1710708" y="874859"/>
                  </a:lnTo>
                  <a:lnTo>
                    <a:pt x="1708136" y="871058"/>
                  </a:lnTo>
                  <a:lnTo>
                    <a:pt x="1707685" y="871252"/>
                  </a:lnTo>
                  <a:lnTo>
                    <a:pt x="1707368" y="872071"/>
                  </a:lnTo>
                  <a:lnTo>
                    <a:pt x="1707388" y="873413"/>
                  </a:lnTo>
                  <a:lnTo>
                    <a:pt x="1707649" y="874009"/>
                  </a:lnTo>
                  <a:lnTo>
                    <a:pt x="1708411" y="874556"/>
                  </a:lnTo>
                  <a:lnTo>
                    <a:pt x="1708593" y="875280"/>
                  </a:lnTo>
                  <a:lnTo>
                    <a:pt x="1707839" y="876253"/>
                  </a:lnTo>
                  <a:lnTo>
                    <a:pt x="1707659" y="878465"/>
                  </a:lnTo>
                  <a:lnTo>
                    <a:pt x="1707672" y="881163"/>
                  </a:lnTo>
                  <a:lnTo>
                    <a:pt x="1707495" y="883564"/>
                  </a:lnTo>
                  <a:lnTo>
                    <a:pt x="1707328" y="883513"/>
                  </a:lnTo>
                  <a:lnTo>
                    <a:pt x="1706337" y="885928"/>
                  </a:lnTo>
                  <a:lnTo>
                    <a:pt x="1704722" y="887780"/>
                  </a:lnTo>
                  <a:lnTo>
                    <a:pt x="1703051" y="889001"/>
                  </a:lnTo>
                  <a:lnTo>
                    <a:pt x="1701890" y="889545"/>
                  </a:lnTo>
                  <a:lnTo>
                    <a:pt x="1700328" y="889272"/>
                  </a:lnTo>
                  <a:lnTo>
                    <a:pt x="1695543" y="884634"/>
                  </a:lnTo>
                  <a:lnTo>
                    <a:pt x="1693866" y="880883"/>
                  </a:lnTo>
                  <a:lnTo>
                    <a:pt x="1690565" y="878218"/>
                  </a:lnTo>
                  <a:lnTo>
                    <a:pt x="1688864" y="875365"/>
                  </a:lnTo>
                  <a:lnTo>
                    <a:pt x="1689105" y="874651"/>
                  </a:lnTo>
                  <a:lnTo>
                    <a:pt x="1692730" y="873924"/>
                  </a:lnTo>
                  <a:lnTo>
                    <a:pt x="1694792" y="872879"/>
                  </a:lnTo>
                  <a:lnTo>
                    <a:pt x="1696921" y="870125"/>
                  </a:lnTo>
                  <a:lnTo>
                    <a:pt x="1695852" y="869939"/>
                  </a:lnTo>
                  <a:lnTo>
                    <a:pt x="1689896" y="871108"/>
                  </a:lnTo>
                  <a:lnTo>
                    <a:pt x="1688932" y="870556"/>
                  </a:lnTo>
                  <a:lnTo>
                    <a:pt x="1688586" y="868954"/>
                  </a:lnTo>
                  <a:lnTo>
                    <a:pt x="1691047" y="866670"/>
                  </a:lnTo>
                  <a:lnTo>
                    <a:pt x="1692594" y="864892"/>
                  </a:lnTo>
                  <a:lnTo>
                    <a:pt x="1693313" y="863085"/>
                  </a:lnTo>
                  <a:lnTo>
                    <a:pt x="1693567" y="862040"/>
                  </a:lnTo>
                  <a:lnTo>
                    <a:pt x="1694030" y="861035"/>
                  </a:lnTo>
                  <a:lnTo>
                    <a:pt x="1694337" y="860231"/>
                  </a:lnTo>
                  <a:lnTo>
                    <a:pt x="1694117" y="859797"/>
                  </a:lnTo>
                  <a:lnTo>
                    <a:pt x="1687580" y="860757"/>
                  </a:lnTo>
                  <a:lnTo>
                    <a:pt x="1686311" y="859840"/>
                  </a:lnTo>
                  <a:lnTo>
                    <a:pt x="1685526" y="859989"/>
                  </a:lnTo>
                  <a:lnTo>
                    <a:pt x="1683665" y="861059"/>
                  </a:lnTo>
                  <a:lnTo>
                    <a:pt x="1682977" y="861659"/>
                  </a:lnTo>
                  <a:lnTo>
                    <a:pt x="1680202" y="864899"/>
                  </a:lnTo>
                  <a:lnTo>
                    <a:pt x="1679506" y="865207"/>
                  </a:lnTo>
                  <a:lnTo>
                    <a:pt x="1677383" y="864538"/>
                  </a:lnTo>
                  <a:lnTo>
                    <a:pt x="1674732" y="861354"/>
                  </a:lnTo>
                  <a:lnTo>
                    <a:pt x="1673908" y="858837"/>
                  </a:lnTo>
                  <a:lnTo>
                    <a:pt x="1673472" y="858905"/>
                  </a:lnTo>
                  <a:lnTo>
                    <a:pt x="1672478" y="859765"/>
                  </a:lnTo>
                  <a:lnTo>
                    <a:pt x="1671717" y="859524"/>
                  </a:lnTo>
                  <a:lnTo>
                    <a:pt x="1660564" y="849798"/>
                  </a:lnTo>
                  <a:lnTo>
                    <a:pt x="1659359" y="846368"/>
                  </a:lnTo>
                  <a:lnTo>
                    <a:pt x="1658291" y="844938"/>
                  </a:lnTo>
                  <a:lnTo>
                    <a:pt x="1657948" y="843890"/>
                  </a:lnTo>
                  <a:lnTo>
                    <a:pt x="1658050" y="842180"/>
                  </a:lnTo>
                  <a:lnTo>
                    <a:pt x="1658870" y="841503"/>
                  </a:lnTo>
                  <a:lnTo>
                    <a:pt x="1659292" y="841044"/>
                  </a:lnTo>
                  <a:lnTo>
                    <a:pt x="1659704" y="840465"/>
                  </a:lnTo>
                  <a:lnTo>
                    <a:pt x="1659636" y="840150"/>
                  </a:lnTo>
                  <a:lnTo>
                    <a:pt x="1659659" y="838877"/>
                  </a:lnTo>
                  <a:lnTo>
                    <a:pt x="1660743" y="837803"/>
                  </a:lnTo>
                  <a:lnTo>
                    <a:pt x="1661811" y="837399"/>
                  </a:lnTo>
                  <a:lnTo>
                    <a:pt x="1663504" y="837773"/>
                  </a:lnTo>
                  <a:lnTo>
                    <a:pt x="1663850" y="835318"/>
                  </a:lnTo>
                  <a:lnTo>
                    <a:pt x="1665234" y="833324"/>
                  </a:lnTo>
                  <a:lnTo>
                    <a:pt x="1675455" y="825284"/>
                  </a:lnTo>
                  <a:lnTo>
                    <a:pt x="1678929" y="823880"/>
                  </a:lnTo>
                  <a:lnTo>
                    <a:pt x="1688673" y="827336"/>
                  </a:lnTo>
                  <a:lnTo>
                    <a:pt x="1698441" y="830733"/>
                  </a:lnTo>
                  <a:lnTo>
                    <a:pt x="1700893" y="830192"/>
                  </a:lnTo>
                  <a:lnTo>
                    <a:pt x="1706205" y="833269"/>
                  </a:lnTo>
                  <a:lnTo>
                    <a:pt x="1709280" y="833380"/>
                  </a:lnTo>
                  <a:lnTo>
                    <a:pt x="1724594" y="826422"/>
                  </a:lnTo>
                  <a:lnTo>
                    <a:pt x="1733556" y="827617"/>
                  </a:lnTo>
                  <a:lnTo>
                    <a:pt x="1733595" y="825575"/>
                  </a:lnTo>
                  <a:lnTo>
                    <a:pt x="1733867" y="824810"/>
                  </a:lnTo>
                  <a:lnTo>
                    <a:pt x="1734559" y="823610"/>
                  </a:lnTo>
                  <a:lnTo>
                    <a:pt x="1735345" y="822748"/>
                  </a:lnTo>
                  <a:lnTo>
                    <a:pt x="1740339" y="819820"/>
                  </a:lnTo>
                  <a:lnTo>
                    <a:pt x="1742798" y="819959"/>
                  </a:lnTo>
                  <a:lnTo>
                    <a:pt x="1743523" y="819622"/>
                  </a:lnTo>
                  <a:lnTo>
                    <a:pt x="1742613" y="818009"/>
                  </a:lnTo>
                  <a:lnTo>
                    <a:pt x="1732682" y="820644"/>
                  </a:lnTo>
                  <a:lnTo>
                    <a:pt x="1723761" y="819569"/>
                  </a:lnTo>
                  <a:lnTo>
                    <a:pt x="1721119" y="820887"/>
                  </a:lnTo>
                  <a:lnTo>
                    <a:pt x="1715195" y="820803"/>
                  </a:lnTo>
                  <a:lnTo>
                    <a:pt x="1711230" y="822470"/>
                  </a:lnTo>
                  <a:lnTo>
                    <a:pt x="1710585" y="823175"/>
                  </a:lnTo>
                  <a:lnTo>
                    <a:pt x="1701205" y="820238"/>
                  </a:lnTo>
                  <a:lnTo>
                    <a:pt x="1691842" y="817246"/>
                  </a:lnTo>
                  <a:lnTo>
                    <a:pt x="1682499" y="814199"/>
                  </a:lnTo>
                  <a:lnTo>
                    <a:pt x="1681714" y="813105"/>
                  </a:lnTo>
                  <a:lnTo>
                    <a:pt x="1682424" y="810314"/>
                  </a:lnTo>
                  <a:lnTo>
                    <a:pt x="1683860" y="807994"/>
                  </a:lnTo>
                  <a:lnTo>
                    <a:pt x="1695240" y="797135"/>
                  </a:lnTo>
                  <a:lnTo>
                    <a:pt x="1698286" y="794982"/>
                  </a:lnTo>
                  <a:lnTo>
                    <a:pt x="1708040" y="796465"/>
                  </a:lnTo>
                  <a:lnTo>
                    <a:pt x="1717794" y="797889"/>
                  </a:lnTo>
                  <a:lnTo>
                    <a:pt x="1727547" y="799253"/>
                  </a:lnTo>
                  <a:lnTo>
                    <a:pt x="1728090" y="798732"/>
                  </a:lnTo>
                  <a:lnTo>
                    <a:pt x="1728793" y="797580"/>
                  </a:lnTo>
                  <a:lnTo>
                    <a:pt x="1729461" y="796736"/>
                  </a:lnTo>
                  <a:lnTo>
                    <a:pt x="1729875" y="797185"/>
                  </a:lnTo>
                  <a:lnTo>
                    <a:pt x="1730105" y="797800"/>
                  </a:lnTo>
                  <a:lnTo>
                    <a:pt x="1733234" y="801027"/>
                  </a:lnTo>
                  <a:lnTo>
                    <a:pt x="1742781" y="802081"/>
                  </a:lnTo>
                  <a:lnTo>
                    <a:pt x="1752324" y="803078"/>
                  </a:lnTo>
                  <a:lnTo>
                    <a:pt x="1753934" y="802194"/>
                  </a:lnTo>
                  <a:lnTo>
                    <a:pt x="1754901" y="801018"/>
                  </a:lnTo>
                  <a:lnTo>
                    <a:pt x="1755056" y="799943"/>
                  </a:lnTo>
                  <a:lnTo>
                    <a:pt x="1754711" y="799120"/>
                  </a:lnTo>
                  <a:lnTo>
                    <a:pt x="1754181" y="798704"/>
                  </a:lnTo>
                  <a:lnTo>
                    <a:pt x="1743066" y="796730"/>
                  </a:lnTo>
                  <a:lnTo>
                    <a:pt x="1731958" y="794678"/>
                  </a:lnTo>
                  <a:lnTo>
                    <a:pt x="1730651" y="793198"/>
                  </a:lnTo>
                  <a:lnTo>
                    <a:pt x="1718470" y="792530"/>
                  </a:lnTo>
                  <a:lnTo>
                    <a:pt x="1718115" y="792245"/>
                  </a:lnTo>
                  <a:lnTo>
                    <a:pt x="1718257" y="791560"/>
                  </a:lnTo>
                  <a:lnTo>
                    <a:pt x="1717458" y="792038"/>
                  </a:lnTo>
                  <a:lnTo>
                    <a:pt x="1706763" y="785115"/>
                  </a:lnTo>
                  <a:lnTo>
                    <a:pt x="1706678" y="784117"/>
                  </a:lnTo>
                  <a:lnTo>
                    <a:pt x="1706881" y="782687"/>
                  </a:lnTo>
                  <a:lnTo>
                    <a:pt x="1707409" y="780987"/>
                  </a:lnTo>
                  <a:lnTo>
                    <a:pt x="1708207" y="779334"/>
                  </a:lnTo>
                  <a:lnTo>
                    <a:pt x="1708829" y="778728"/>
                  </a:lnTo>
                  <a:lnTo>
                    <a:pt x="1711828" y="777995"/>
                  </a:lnTo>
                  <a:lnTo>
                    <a:pt x="1713385" y="778258"/>
                  </a:lnTo>
                  <a:lnTo>
                    <a:pt x="1714984" y="779503"/>
                  </a:lnTo>
                  <a:lnTo>
                    <a:pt x="1715803" y="779048"/>
                  </a:lnTo>
                  <a:lnTo>
                    <a:pt x="1715938" y="777491"/>
                  </a:lnTo>
                  <a:lnTo>
                    <a:pt x="1715233" y="776227"/>
                  </a:lnTo>
                  <a:lnTo>
                    <a:pt x="1715301" y="774912"/>
                  </a:lnTo>
                  <a:lnTo>
                    <a:pt x="1715604" y="774759"/>
                  </a:lnTo>
                  <a:lnTo>
                    <a:pt x="1716643" y="773785"/>
                  </a:lnTo>
                  <a:lnTo>
                    <a:pt x="1715797" y="772530"/>
                  </a:lnTo>
                  <a:lnTo>
                    <a:pt x="1712328" y="773158"/>
                  </a:lnTo>
                  <a:lnTo>
                    <a:pt x="1711979" y="770689"/>
                  </a:lnTo>
                  <a:lnTo>
                    <a:pt x="1712195" y="769627"/>
                  </a:lnTo>
                  <a:lnTo>
                    <a:pt x="1712493" y="768872"/>
                  </a:lnTo>
                  <a:lnTo>
                    <a:pt x="1713569" y="767227"/>
                  </a:lnTo>
                  <a:lnTo>
                    <a:pt x="1715535" y="764919"/>
                  </a:lnTo>
                  <a:lnTo>
                    <a:pt x="1715788" y="764126"/>
                  </a:lnTo>
                  <a:lnTo>
                    <a:pt x="1716623" y="763059"/>
                  </a:lnTo>
                  <a:lnTo>
                    <a:pt x="1717230" y="762867"/>
                  </a:lnTo>
                  <a:lnTo>
                    <a:pt x="1717775" y="762924"/>
                  </a:lnTo>
                  <a:lnTo>
                    <a:pt x="1718409" y="762638"/>
                  </a:lnTo>
                  <a:lnTo>
                    <a:pt x="1719184" y="761718"/>
                  </a:lnTo>
                  <a:lnTo>
                    <a:pt x="1719929" y="760662"/>
                  </a:lnTo>
                  <a:lnTo>
                    <a:pt x="1720629" y="759825"/>
                  </a:lnTo>
                  <a:lnTo>
                    <a:pt x="1731207" y="758253"/>
                  </a:lnTo>
                  <a:lnTo>
                    <a:pt x="1736523" y="760146"/>
                  </a:lnTo>
                  <a:lnTo>
                    <a:pt x="1738554" y="762741"/>
                  </a:lnTo>
                  <a:lnTo>
                    <a:pt x="1742619" y="764525"/>
                  </a:lnTo>
                  <a:lnTo>
                    <a:pt x="1748365" y="765426"/>
                  </a:lnTo>
                  <a:lnTo>
                    <a:pt x="1754954" y="769843"/>
                  </a:lnTo>
                  <a:lnTo>
                    <a:pt x="1757795" y="771047"/>
                  </a:lnTo>
                  <a:lnTo>
                    <a:pt x="1757700" y="771605"/>
                  </a:lnTo>
                  <a:lnTo>
                    <a:pt x="1760133" y="771752"/>
                  </a:lnTo>
                  <a:lnTo>
                    <a:pt x="1762733" y="774188"/>
                  </a:lnTo>
                  <a:lnTo>
                    <a:pt x="1765808" y="774545"/>
                  </a:lnTo>
                  <a:lnTo>
                    <a:pt x="1767232" y="773853"/>
                  </a:lnTo>
                  <a:lnTo>
                    <a:pt x="1766581" y="772486"/>
                  </a:lnTo>
                  <a:lnTo>
                    <a:pt x="1764147" y="772495"/>
                  </a:lnTo>
                  <a:lnTo>
                    <a:pt x="1762366" y="770890"/>
                  </a:lnTo>
                  <a:lnTo>
                    <a:pt x="1759931" y="770177"/>
                  </a:lnTo>
                  <a:lnTo>
                    <a:pt x="1759331" y="766464"/>
                  </a:lnTo>
                  <a:lnTo>
                    <a:pt x="1754317" y="761696"/>
                  </a:lnTo>
                  <a:lnTo>
                    <a:pt x="1748097" y="759772"/>
                  </a:lnTo>
                  <a:lnTo>
                    <a:pt x="1741885" y="757823"/>
                  </a:lnTo>
                  <a:lnTo>
                    <a:pt x="1740005" y="755413"/>
                  </a:lnTo>
                  <a:lnTo>
                    <a:pt x="1739839" y="754636"/>
                  </a:lnTo>
                  <a:lnTo>
                    <a:pt x="1739986" y="752186"/>
                  </a:lnTo>
                  <a:lnTo>
                    <a:pt x="1739934" y="751557"/>
                  </a:lnTo>
                  <a:lnTo>
                    <a:pt x="1740785" y="750411"/>
                  </a:lnTo>
                  <a:lnTo>
                    <a:pt x="1743011" y="748491"/>
                  </a:lnTo>
                  <a:lnTo>
                    <a:pt x="1743082" y="747335"/>
                  </a:lnTo>
                  <a:lnTo>
                    <a:pt x="1742573" y="746061"/>
                  </a:lnTo>
                  <a:lnTo>
                    <a:pt x="1742419" y="745251"/>
                  </a:lnTo>
                  <a:lnTo>
                    <a:pt x="1743868" y="744048"/>
                  </a:lnTo>
                  <a:lnTo>
                    <a:pt x="1755932" y="737266"/>
                  </a:lnTo>
                  <a:lnTo>
                    <a:pt x="1768723" y="738567"/>
                  </a:lnTo>
                  <a:lnTo>
                    <a:pt x="1769932" y="738126"/>
                  </a:lnTo>
                  <a:lnTo>
                    <a:pt x="1772818" y="735518"/>
                  </a:lnTo>
                  <a:close/>
                  <a:moveTo>
                    <a:pt x="1796037" y="700940"/>
                  </a:moveTo>
                  <a:lnTo>
                    <a:pt x="1800649" y="702645"/>
                  </a:lnTo>
                  <a:lnTo>
                    <a:pt x="1802080" y="701731"/>
                  </a:lnTo>
                  <a:lnTo>
                    <a:pt x="1810620" y="703240"/>
                  </a:lnTo>
                  <a:lnTo>
                    <a:pt x="1812822" y="705604"/>
                  </a:lnTo>
                  <a:lnTo>
                    <a:pt x="1815241" y="710414"/>
                  </a:lnTo>
                  <a:lnTo>
                    <a:pt x="1816319" y="711191"/>
                  </a:lnTo>
                  <a:lnTo>
                    <a:pt x="1816755" y="711989"/>
                  </a:lnTo>
                  <a:lnTo>
                    <a:pt x="1816899" y="713825"/>
                  </a:lnTo>
                  <a:lnTo>
                    <a:pt x="1816730" y="716270"/>
                  </a:lnTo>
                  <a:lnTo>
                    <a:pt x="1816222" y="718917"/>
                  </a:lnTo>
                  <a:lnTo>
                    <a:pt x="1815201" y="719284"/>
                  </a:lnTo>
                  <a:lnTo>
                    <a:pt x="1812685" y="721814"/>
                  </a:lnTo>
                  <a:lnTo>
                    <a:pt x="1811200" y="722583"/>
                  </a:lnTo>
                  <a:lnTo>
                    <a:pt x="1809891" y="724234"/>
                  </a:lnTo>
                  <a:lnTo>
                    <a:pt x="1809330" y="724707"/>
                  </a:lnTo>
                  <a:lnTo>
                    <a:pt x="1808789" y="724672"/>
                  </a:lnTo>
                  <a:lnTo>
                    <a:pt x="1805627" y="721392"/>
                  </a:lnTo>
                  <a:lnTo>
                    <a:pt x="1798533" y="719155"/>
                  </a:lnTo>
                  <a:lnTo>
                    <a:pt x="1791453" y="716884"/>
                  </a:lnTo>
                  <a:lnTo>
                    <a:pt x="1789797" y="714690"/>
                  </a:lnTo>
                  <a:lnTo>
                    <a:pt x="1782888" y="710955"/>
                  </a:lnTo>
                  <a:lnTo>
                    <a:pt x="1782426" y="710817"/>
                  </a:lnTo>
                  <a:lnTo>
                    <a:pt x="1782416" y="710215"/>
                  </a:lnTo>
                  <a:lnTo>
                    <a:pt x="1781804" y="710310"/>
                  </a:lnTo>
                  <a:lnTo>
                    <a:pt x="1781671" y="709748"/>
                  </a:lnTo>
                  <a:lnTo>
                    <a:pt x="1783267" y="706349"/>
                  </a:lnTo>
                  <a:lnTo>
                    <a:pt x="1783965" y="705657"/>
                  </a:lnTo>
                  <a:lnTo>
                    <a:pt x="1790663" y="701719"/>
                  </a:lnTo>
                  <a:close/>
                  <a:moveTo>
                    <a:pt x="2368779" y="671985"/>
                  </a:moveTo>
                  <a:lnTo>
                    <a:pt x="2375702" y="672849"/>
                  </a:lnTo>
                  <a:lnTo>
                    <a:pt x="2382635" y="673680"/>
                  </a:lnTo>
                  <a:lnTo>
                    <a:pt x="2384642" y="675411"/>
                  </a:lnTo>
                  <a:lnTo>
                    <a:pt x="2384951" y="675937"/>
                  </a:lnTo>
                  <a:lnTo>
                    <a:pt x="2385104" y="676398"/>
                  </a:lnTo>
                  <a:lnTo>
                    <a:pt x="2385234" y="676876"/>
                  </a:lnTo>
                  <a:lnTo>
                    <a:pt x="2385465" y="677392"/>
                  </a:lnTo>
                  <a:lnTo>
                    <a:pt x="2385952" y="677955"/>
                  </a:lnTo>
                  <a:lnTo>
                    <a:pt x="2386922" y="678237"/>
                  </a:lnTo>
                  <a:lnTo>
                    <a:pt x="2396868" y="687692"/>
                  </a:lnTo>
                  <a:lnTo>
                    <a:pt x="2398645" y="690504"/>
                  </a:lnTo>
                  <a:lnTo>
                    <a:pt x="2398651" y="692130"/>
                  </a:lnTo>
                  <a:lnTo>
                    <a:pt x="2399006" y="694167"/>
                  </a:lnTo>
                  <a:lnTo>
                    <a:pt x="2399529" y="696200"/>
                  </a:lnTo>
                  <a:lnTo>
                    <a:pt x="2400042" y="697781"/>
                  </a:lnTo>
                  <a:lnTo>
                    <a:pt x="2399847" y="697910"/>
                  </a:lnTo>
                  <a:lnTo>
                    <a:pt x="2399681" y="698310"/>
                  </a:lnTo>
                  <a:lnTo>
                    <a:pt x="2399639" y="699011"/>
                  </a:lnTo>
                  <a:lnTo>
                    <a:pt x="2399805" y="700033"/>
                  </a:lnTo>
                  <a:lnTo>
                    <a:pt x="2400222" y="701125"/>
                  </a:lnTo>
                  <a:lnTo>
                    <a:pt x="2400586" y="701256"/>
                  </a:lnTo>
                  <a:lnTo>
                    <a:pt x="2400931" y="701110"/>
                  </a:lnTo>
                  <a:lnTo>
                    <a:pt x="2401291" y="701352"/>
                  </a:lnTo>
                  <a:lnTo>
                    <a:pt x="2401862" y="702696"/>
                  </a:lnTo>
                  <a:lnTo>
                    <a:pt x="2401987" y="703808"/>
                  </a:lnTo>
                  <a:lnTo>
                    <a:pt x="2401814" y="704799"/>
                  </a:lnTo>
                  <a:lnTo>
                    <a:pt x="2399299" y="710910"/>
                  </a:lnTo>
                  <a:lnTo>
                    <a:pt x="2392826" y="718878"/>
                  </a:lnTo>
                  <a:lnTo>
                    <a:pt x="2390991" y="718100"/>
                  </a:lnTo>
                  <a:lnTo>
                    <a:pt x="2390148" y="718385"/>
                  </a:lnTo>
                  <a:lnTo>
                    <a:pt x="2389367" y="719096"/>
                  </a:lnTo>
                  <a:lnTo>
                    <a:pt x="2386382" y="720121"/>
                  </a:lnTo>
                  <a:lnTo>
                    <a:pt x="2385302" y="719768"/>
                  </a:lnTo>
                  <a:lnTo>
                    <a:pt x="2384915" y="719184"/>
                  </a:lnTo>
                  <a:lnTo>
                    <a:pt x="2384884" y="718655"/>
                  </a:lnTo>
                  <a:lnTo>
                    <a:pt x="2385304" y="717493"/>
                  </a:lnTo>
                  <a:lnTo>
                    <a:pt x="2385369" y="716477"/>
                  </a:lnTo>
                  <a:lnTo>
                    <a:pt x="2378461" y="713168"/>
                  </a:lnTo>
                  <a:lnTo>
                    <a:pt x="2371586" y="709828"/>
                  </a:lnTo>
                  <a:lnTo>
                    <a:pt x="2367957" y="705179"/>
                  </a:lnTo>
                  <a:lnTo>
                    <a:pt x="2366726" y="704254"/>
                  </a:lnTo>
                  <a:lnTo>
                    <a:pt x="2366266" y="703208"/>
                  </a:lnTo>
                  <a:lnTo>
                    <a:pt x="2365767" y="701848"/>
                  </a:lnTo>
                  <a:lnTo>
                    <a:pt x="2364544" y="701008"/>
                  </a:lnTo>
                  <a:lnTo>
                    <a:pt x="2363922" y="699579"/>
                  </a:lnTo>
                  <a:lnTo>
                    <a:pt x="2363742" y="698314"/>
                  </a:lnTo>
                  <a:lnTo>
                    <a:pt x="2363811" y="696929"/>
                  </a:lnTo>
                  <a:lnTo>
                    <a:pt x="2364005" y="695642"/>
                  </a:lnTo>
                  <a:lnTo>
                    <a:pt x="2364205" y="694700"/>
                  </a:lnTo>
                  <a:lnTo>
                    <a:pt x="2362981" y="688680"/>
                  </a:lnTo>
                  <a:lnTo>
                    <a:pt x="2362530" y="687501"/>
                  </a:lnTo>
                  <a:lnTo>
                    <a:pt x="2362688" y="686085"/>
                  </a:lnTo>
                  <a:lnTo>
                    <a:pt x="2362802" y="685597"/>
                  </a:lnTo>
                  <a:lnTo>
                    <a:pt x="2362964" y="685234"/>
                  </a:lnTo>
                  <a:lnTo>
                    <a:pt x="2362746" y="684109"/>
                  </a:lnTo>
                  <a:lnTo>
                    <a:pt x="2361960" y="681559"/>
                  </a:lnTo>
                  <a:lnTo>
                    <a:pt x="2362113" y="681019"/>
                  </a:lnTo>
                  <a:lnTo>
                    <a:pt x="2362211" y="680108"/>
                  </a:lnTo>
                  <a:lnTo>
                    <a:pt x="2362257" y="678987"/>
                  </a:lnTo>
                  <a:lnTo>
                    <a:pt x="2362248" y="677821"/>
                  </a:lnTo>
                  <a:lnTo>
                    <a:pt x="2362478" y="676938"/>
                  </a:lnTo>
                  <a:lnTo>
                    <a:pt x="2363550" y="676217"/>
                  </a:lnTo>
                  <a:lnTo>
                    <a:pt x="2364296" y="676843"/>
                  </a:lnTo>
                  <a:lnTo>
                    <a:pt x="2365099" y="676257"/>
                  </a:lnTo>
                  <a:lnTo>
                    <a:pt x="2367122" y="672836"/>
                  </a:lnTo>
                  <a:close/>
                  <a:moveTo>
                    <a:pt x="2261279" y="661650"/>
                  </a:moveTo>
                  <a:lnTo>
                    <a:pt x="2262308" y="664848"/>
                  </a:lnTo>
                  <a:lnTo>
                    <a:pt x="2262147" y="667237"/>
                  </a:lnTo>
                  <a:lnTo>
                    <a:pt x="2262439" y="668595"/>
                  </a:lnTo>
                  <a:lnTo>
                    <a:pt x="2262968" y="669181"/>
                  </a:lnTo>
                  <a:lnTo>
                    <a:pt x="2263533" y="669313"/>
                  </a:lnTo>
                  <a:lnTo>
                    <a:pt x="2264010" y="668483"/>
                  </a:lnTo>
                  <a:lnTo>
                    <a:pt x="2264435" y="666946"/>
                  </a:lnTo>
                  <a:lnTo>
                    <a:pt x="2264897" y="666112"/>
                  </a:lnTo>
                  <a:lnTo>
                    <a:pt x="2266191" y="668602"/>
                  </a:lnTo>
                  <a:lnTo>
                    <a:pt x="2267157" y="668577"/>
                  </a:lnTo>
                  <a:lnTo>
                    <a:pt x="2269784" y="667134"/>
                  </a:lnTo>
                  <a:lnTo>
                    <a:pt x="2272029" y="663919"/>
                  </a:lnTo>
                  <a:lnTo>
                    <a:pt x="2272867" y="663494"/>
                  </a:lnTo>
                  <a:lnTo>
                    <a:pt x="2279806" y="664210"/>
                  </a:lnTo>
                  <a:lnTo>
                    <a:pt x="2286753" y="664892"/>
                  </a:lnTo>
                  <a:lnTo>
                    <a:pt x="2286496" y="666378"/>
                  </a:lnTo>
                  <a:lnTo>
                    <a:pt x="2288088" y="666314"/>
                  </a:lnTo>
                  <a:lnTo>
                    <a:pt x="2287808" y="665194"/>
                  </a:lnTo>
                  <a:lnTo>
                    <a:pt x="2287706" y="664855"/>
                  </a:lnTo>
                  <a:lnTo>
                    <a:pt x="2290953" y="666196"/>
                  </a:lnTo>
                  <a:lnTo>
                    <a:pt x="2291841" y="666128"/>
                  </a:lnTo>
                  <a:lnTo>
                    <a:pt x="2293555" y="664684"/>
                  </a:lnTo>
                  <a:lnTo>
                    <a:pt x="2294463" y="665648"/>
                  </a:lnTo>
                  <a:lnTo>
                    <a:pt x="2294898" y="666364"/>
                  </a:lnTo>
                  <a:lnTo>
                    <a:pt x="2295767" y="667187"/>
                  </a:lnTo>
                  <a:lnTo>
                    <a:pt x="2296610" y="668457"/>
                  </a:lnTo>
                  <a:lnTo>
                    <a:pt x="2296844" y="668239"/>
                  </a:lnTo>
                  <a:lnTo>
                    <a:pt x="2297015" y="667712"/>
                  </a:lnTo>
                  <a:lnTo>
                    <a:pt x="2297269" y="667396"/>
                  </a:lnTo>
                  <a:lnTo>
                    <a:pt x="2298758" y="668330"/>
                  </a:lnTo>
                  <a:lnTo>
                    <a:pt x="2299227" y="668044"/>
                  </a:lnTo>
                  <a:lnTo>
                    <a:pt x="2299432" y="667347"/>
                  </a:lnTo>
                  <a:lnTo>
                    <a:pt x="2299601" y="666321"/>
                  </a:lnTo>
                  <a:lnTo>
                    <a:pt x="2299827" y="665398"/>
                  </a:lnTo>
                  <a:lnTo>
                    <a:pt x="2300201" y="664971"/>
                  </a:lnTo>
                  <a:lnTo>
                    <a:pt x="2304099" y="663305"/>
                  </a:lnTo>
                  <a:lnTo>
                    <a:pt x="2305029" y="663680"/>
                  </a:lnTo>
                  <a:lnTo>
                    <a:pt x="2307773" y="666063"/>
                  </a:lnTo>
                  <a:lnTo>
                    <a:pt x="2308556" y="665678"/>
                  </a:lnTo>
                  <a:lnTo>
                    <a:pt x="2308929" y="665684"/>
                  </a:lnTo>
                  <a:lnTo>
                    <a:pt x="2309910" y="667176"/>
                  </a:lnTo>
                  <a:lnTo>
                    <a:pt x="2310401" y="667466"/>
                  </a:lnTo>
                  <a:lnTo>
                    <a:pt x="2312239" y="667518"/>
                  </a:lnTo>
                  <a:lnTo>
                    <a:pt x="2313018" y="668033"/>
                  </a:lnTo>
                  <a:lnTo>
                    <a:pt x="2313796" y="669112"/>
                  </a:lnTo>
                  <a:lnTo>
                    <a:pt x="2314651" y="670922"/>
                  </a:lnTo>
                  <a:lnTo>
                    <a:pt x="2315109" y="672301"/>
                  </a:lnTo>
                  <a:lnTo>
                    <a:pt x="2316693" y="675306"/>
                  </a:lnTo>
                  <a:lnTo>
                    <a:pt x="2314231" y="677628"/>
                  </a:lnTo>
                  <a:lnTo>
                    <a:pt x="2313282" y="677656"/>
                  </a:lnTo>
                  <a:lnTo>
                    <a:pt x="2311302" y="677728"/>
                  </a:lnTo>
                  <a:lnTo>
                    <a:pt x="2310465" y="678938"/>
                  </a:lnTo>
                  <a:lnTo>
                    <a:pt x="2309810" y="681618"/>
                  </a:lnTo>
                  <a:lnTo>
                    <a:pt x="2310044" y="681936"/>
                  </a:lnTo>
                  <a:lnTo>
                    <a:pt x="2310285" y="682425"/>
                  </a:lnTo>
                  <a:lnTo>
                    <a:pt x="2310522" y="683047"/>
                  </a:lnTo>
                  <a:lnTo>
                    <a:pt x="2310745" y="683784"/>
                  </a:lnTo>
                  <a:lnTo>
                    <a:pt x="2308499" y="687202"/>
                  </a:lnTo>
                  <a:lnTo>
                    <a:pt x="2308460" y="687927"/>
                  </a:lnTo>
                  <a:lnTo>
                    <a:pt x="2308327" y="688361"/>
                  </a:lnTo>
                  <a:lnTo>
                    <a:pt x="2308254" y="688788"/>
                  </a:lnTo>
                  <a:lnTo>
                    <a:pt x="2308596" y="690542"/>
                  </a:lnTo>
                  <a:lnTo>
                    <a:pt x="2308575" y="691411"/>
                  </a:lnTo>
                  <a:lnTo>
                    <a:pt x="2308404" y="692152"/>
                  </a:lnTo>
                  <a:lnTo>
                    <a:pt x="2308152" y="692800"/>
                  </a:lnTo>
                  <a:lnTo>
                    <a:pt x="2308921" y="694821"/>
                  </a:lnTo>
                  <a:lnTo>
                    <a:pt x="2308518" y="697448"/>
                  </a:lnTo>
                  <a:lnTo>
                    <a:pt x="2307585" y="699582"/>
                  </a:lnTo>
                  <a:lnTo>
                    <a:pt x="2306766" y="700127"/>
                  </a:lnTo>
                  <a:lnTo>
                    <a:pt x="2305148" y="698839"/>
                  </a:lnTo>
                  <a:lnTo>
                    <a:pt x="2304386" y="698877"/>
                  </a:lnTo>
                  <a:lnTo>
                    <a:pt x="2303630" y="699492"/>
                  </a:lnTo>
                  <a:lnTo>
                    <a:pt x="2302897" y="699714"/>
                  </a:lnTo>
                  <a:lnTo>
                    <a:pt x="2301224" y="698517"/>
                  </a:lnTo>
                  <a:lnTo>
                    <a:pt x="2300451" y="698431"/>
                  </a:lnTo>
                  <a:lnTo>
                    <a:pt x="2300862" y="699081"/>
                  </a:lnTo>
                  <a:lnTo>
                    <a:pt x="2301884" y="699781"/>
                  </a:lnTo>
                  <a:lnTo>
                    <a:pt x="2302315" y="699746"/>
                  </a:lnTo>
                  <a:lnTo>
                    <a:pt x="2301915" y="700634"/>
                  </a:lnTo>
                  <a:lnTo>
                    <a:pt x="2301356" y="700555"/>
                  </a:lnTo>
                  <a:lnTo>
                    <a:pt x="2300209" y="699848"/>
                  </a:lnTo>
                  <a:lnTo>
                    <a:pt x="2297774" y="700767"/>
                  </a:lnTo>
                  <a:lnTo>
                    <a:pt x="2297791" y="700357"/>
                  </a:lnTo>
                  <a:lnTo>
                    <a:pt x="2297796" y="700013"/>
                  </a:lnTo>
                  <a:lnTo>
                    <a:pt x="2297813" y="699655"/>
                  </a:lnTo>
                  <a:lnTo>
                    <a:pt x="2297862" y="699221"/>
                  </a:lnTo>
                  <a:lnTo>
                    <a:pt x="2297233" y="698457"/>
                  </a:lnTo>
                  <a:lnTo>
                    <a:pt x="2296528" y="698326"/>
                  </a:lnTo>
                  <a:lnTo>
                    <a:pt x="2294585" y="699588"/>
                  </a:lnTo>
                  <a:lnTo>
                    <a:pt x="2291227" y="698977"/>
                  </a:lnTo>
                  <a:lnTo>
                    <a:pt x="2288673" y="696914"/>
                  </a:lnTo>
                  <a:lnTo>
                    <a:pt x="2278796" y="697230"/>
                  </a:lnTo>
                  <a:lnTo>
                    <a:pt x="2268917" y="697482"/>
                  </a:lnTo>
                  <a:lnTo>
                    <a:pt x="2259037" y="697667"/>
                  </a:lnTo>
                  <a:lnTo>
                    <a:pt x="2249156" y="697787"/>
                  </a:lnTo>
                  <a:lnTo>
                    <a:pt x="2247012" y="695754"/>
                  </a:lnTo>
                  <a:lnTo>
                    <a:pt x="2246671" y="695098"/>
                  </a:lnTo>
                  <a:lnTo>
                    <a:pt x="2245873" y="692572"/>
                  </a:lnTo>
                  <a:lnTo>
                    <a:pt x="2241538" y="685512"/>
                  </a:lnTo>
                  <a:lnTo>
                    <a:pt x="2240903" y="683761"/>
                  </a:lnTo>
                  <a:lnTo>
                    <a:pt x="2241397" y="683625"/>
                  </a:lnTo>
                  <a:lnTo>
                    <a:pt x="2241934" y="683106"/>
                  </a:lnTo>
                  <a:lnTo>
                    <a:pt x="2242157" y="682365"/>
                  </a:lnTo>
                  <a:lnTo>
                    <a:pt x="2241705" y="681537"/>
                  </a:lnTo>
                  <a:lnTo>
                    <a:pt x="2241883" y="680704"/>
                  </a:lnTo>
                  <a:lnTo>
                    <a:pt x="2241962" y="680083"/>
                  </a:lnTo>
                  <a:lnTo>
                    <a:pt x="2241943" y="679427"/>
                  </a:lnTo>
                  <a:lnTo>
                    <a:pt x="2241823" y="678514"/>
                  </a:lnTo>
                  <a:lnTo>
                    <a:pt x="2242538" y="678569"/>
                  </a:lnTo>
                  <a:lnTo>
                    <a:pt x="2242626" y="677596"/>
                  </a:lnTo>
                  <a:lnTo>
                    <a:pt x="2242464" y="676172"/>
                  </a:lnTo>
                  <a:lnTo>
                    <a:pt x="2242433" y="674892"/>
                  </a:lnTo>
                  <a:lnTo>
                    <a:pt x="2243003" y="673369"/>
                  </a:lnTo>
                  <a:lnTo>
                    <a:pt x="2245477" y="672503"/>
                  </a:lnTo>
                  <a:lnTo>
                    <a:pt x="2247536" y="669928"/>
                  </a:lnTo>
                  <a:lnTo>
                    <a:pt x="2248972" y="669276"/>
                  </a:lnTo>
                  <a:lnTo>
                    <a:pt x="2250849" y="667336"/>
                  </a:lnTo>
                  <a:lnTo>
                    <a:pt x="2254867" y="666061"/>
                  </a:lnTo>
                  <a:lnTo>
                    <a:pt x="2255597" y="665196"/>
                  </a:lnTo>
                  <a:lnTo>
                    <a:pt x="2255977" y="665110"/>
                  </a:lnTo>
                  <a:lnTo>
                    <a:pt x="2256777" y="665808"/>
                  </a:lnTo>
                  <a:lnTo>
                    <a:pt x="2257176" y="665553"/>
                  </a:lnTo>
                  <a:lnTo>
                    <a:pt x="2259832" y="661738"/>
                  </a:lnTo>
                  <a:close/>
                  <a:moveTo>
                    <a:pt x="2506754" y="660369"/>
                  </a:moveTo>
                  <a:lnTo>
                    <a:pt x="2507642" y="661464"/>
                  </a:lnTo>
                  <a:lnTo>
                    <a:pt x="2509479" y="665168"/>
                  </a:lnTo>
                  <a:lnTo>
                    <a:pt x="2509956" y="665911"/>
                  </a:lnTo>
                  <a:lnTo>
                    <a:pt x="2510782" y="666434"/>
                  </a:lnTo>
                  <a:lnTo>
                    <a:pt x="2511510" y="666428"/>
                  </a:lnTo>
                  <a:lnTo>
                    <a:pt x="2512294" y="666765"/>
                  </a:lnTo>
                  <a:lnTo>
                    <a:pt x="2513288" y="668350"/>
                  </a:lnTo>
                  <a:lnTo>
                    <a:pt x="2512394" y="670397"/>
                  </a:lnTo>
                  <a:lnTo>
                    <a:pt x="2508740" y="673748"/>
                  </a:lnTo>
                  <a:lnTo>
                    <a:pt x="2506085" y="674252"/>
                  </a:lnTo>
                  <a:lnTo>
                    <a:pt x="2505577" y="673747"/>
                  </a:lnTo>
                  <a:lnTo>
                    <a:pt x="2505511" y="672373"/>
                  </a:lnTo>
                  <a:lnTo>
                    <a:pt x="2505768" y="669794"/>
                  </a:lnTo>
                  <a:lnTo>
                    <a:pt x="2505107" y="668506"/>
                  </a:lnTo>
                  <a:lnTo>
                    <a:pt x="2504513" y="668152"/>
                  </a:lnTo>
                  <a:lnTo>
                    <a:pt x="2503939" y="668071"/>
                  </a:lnTo>
                  <a:lnTo>
                    <a:pt x="2502593" y="666782"/>
                  </a:lnTo>
                  <a:lnTo>
                    <a:pt x="2495471" y="667190"/>
                  </a:lnTo>
                  <a:lnTo>
                    <a:pt x="2495712" y="666309"/>
                  </a:lnTo>
                  <a:lnTo>
                    <a:pt x="2496927" y="665360"/>
                  </a:lnTo>
                  <a:lnTo>
                    <a:pt x="2497237" y="664796"/>
                  </a:lnTo>
                  <a:lnTo>
                    <a:pt x="2497777" y="663245"/>
                  </a:lnTo>
                  <a:lnTo>
                    <a:pt x="2498490" y="662575"/>
                  </a:lnTo>
                  <a:lnTo>
                    <a:pt x="2499152" y="661417"/>
                  </a:lnTo>
                  <a:lnTo>
                    <a:pt x="2499557" y="661108"/>
                  </a:lnTo>
                  <a:close/>
                  <a:moveTo>
                    <a:pt x="2018152" y="651260"/>
                  </a:moveTo>
                  <a:lnTo>
                    <a:pt x="2023935" y="653592"/>
                  </a:lnTo>
                  <a:lnTo>
                    <a:pt x="2024754" y="655300"/>
                  </a:lnTo>
                  <a:lnTo>
                    <a:pt x="2026760" y="657611"/>
                  </a:lnTo>
                  <a:lnTo>
                    <a:pt x="2031201" y="668276"/>
                  </a:lnTo>
                  <a:lnTo>
                    <a:pt x="2035732" y="678929"/>
                  </a:lnTo>
                  <a:lnTo>
                    <a:pt x="2036130" y="681197"/>
                  </a:lnTo>
                  <a:lnTo>
                    <a:pt x="2036018" y="684434"/>
                  </a:lnTo>
                  <a:lnTo>
                    <a:pt x="2035213" y="685958"/>
                  </a:lnTo>
                  <a:lnTo>
                    <a:pt x="2034343" y="687069"/>
                  </a:lnTo>
                  <a:lnTo>
                    <a:pt x="2034027" y="689089"/>
                  </a:lnTo>
                  <a:lnTo>
                    <a:pt x="2033891" y="690155"/>
                  </a:lnTo>
                  <a:lnTo>
                    <a:pt x="2033578" y="691198"/>
                  </a:lnTo>
                  <a:lnTo>
                    <a:pt x="2033416" y="691994"/>
                  </a:lnTo>
                  <a:lnTo>
                    <a:pt x="2033732" y="692365"/>
                  </a:lnTo>
                  <a:lnTo>
                    <a:pt x="2038834" y="691892"/>
                  </a:lnTo>
                  <a:lnTo>
                    <a:pt x="2039811" y="692492"/>
                  </a:lnTo>
                  <a:lnTo>
                    <a:pt x="2039911" y="695102"/>
                  </a:lnTo>
                  <a:lnTo>
                    <a:pt x="2040363" y="696372"/>
                  </a:lnTo>
                  <a:lnTo>
                    <a:pt x="2043644" y="700979"/>
                  </a:lnTo>
                  <a:lnTo>
                    <a:pt x="2044305" y="703023"/>
                  </a:lnTo>
                  <a:lnTo>
                    <a:pt x="2044607" y="703575"/>
                  </a:lnTo>
                  <a:lnTo>
                    <a:pt x="2045768" y="704451"/>
                  </a:lnTo>
                  <a:lnTo>
                    <a:pt x="2046051" y="705244"/>
                  </a:lnTo>
                  <a:lnTo>
                    <a:pt x="2045632" y="705610"/>
                  </a:lnTo>
                  <a:lnTo>
                    <a:pt x="2045243" y="705793"/>
                  </a:lnTo>
                  <a:lnTo>
                    <a:pt x="2044859" y="706198"/>
                  </a:lnTo>
                  <a:lnTo>
                    <a:pt x="2044438" y="707282"/>
                  </a:lnTo>
                  <a:lnTo>
                    <a:pt x="2045046" y="708382"/>
                  </a:lnTo>
                  <a:lnTo>
                    <a:pt x="2045676" y="708526"/>
                  </a:lnTo>
                  <a:lnTo>
                    <a:pt x="2046144" y="709036"/>
                  </a:lnTo>
                  <a:lnTo>
                    <a:pt x="2046273" y="711226"/>
                  </a:lnTo>
                  <a:lnTo>
                    <a:pt x="2046236" y="713245"/>
                  </a:lnTo>
                  <a:lnTo>
                    <a:pt x="2046124" y="713586"/>
                  </a:lnTo>
                  <a:lnTo>
                    <a:pt x="2045082" y="717710"/>
                  </a:lnTo>
                  <a:lnTo>
                    <a:pt x="2043166" y="721923"/>
                  </a:lnTo>
                  <a:lnTo>
                    <a:pt x="2041468" y="722921"/>
                  </a:lnTo>
                  <a:lnTo>
                    <a:pt x="2038160" y="722880"/>
                  </a:lnTo>
                  <a:lnTo>
                    <a:pt x="2035201" y="725347"/>
                  </a:lnTo>
                  <a:lnTo>
                    <a:pt x="2034279" y="725371"/>
                  </a:lnTo>
                  <a:lnTo>
                    <a:pt x="2033522" y="724647"/>
                  </a:lnTo>
                  <a:lnTo>
                    <a:pt x="2032938" y="723426"/>
                  </a:lnTo>
                  <a:lnTo>
                    <a:pt x="2031916" y="720254"/>
                  </a:lnTo>
                  <a:lnTo>
                    <a:pt x="2031087" y="718648"/>
                  </a:lnTo>
                  <a:lnTo>
                    <a:pt x="2030041" y="717719"/>
                  </a:lnTo>
                  <a:lnTo>
                    <a:pt x="2027819" y="717074"/>
                  </a:lnTo>
                  <a:lnTo>
                    <a:pt x="2025613" y="718107"/>
                  </a:lnTo>
                  <a:lnTo>
                    <a:pt x="2024588" y="718133"/>
                  </a:lnTo>
                  <a:lnTo>
                    <a:pt x="2023843" y="716538"/>
                  </a:lnTo>
                  <a:lnTo>
                    <a:pt x="2024500" y="714360"/>
                  </a:lnTo>
                  <a:lnTo>
                    <a:pt x="2024763" y="713675"/>
                  </a:lnTo>
                  <a:lnTo>
                    <a:pt x="2024081" y="712542"/>
                  </a:lnTo>
                  <a:lnTo>
                    <a:pt x="2022110" y="712619"/>
                  </a:lnTo>
                  <a:lnTo>
                    <a:pt x="2021325" y="711710"/>
                  </a:lnTo>
                  <a:lnTo>
                    <a:pt x="2021434" y="710978"/>
                  </a:lnTo>
                  <a:lnTo>
                    <a:pt x="2021758" y="711729"/>
                  </a:lnTo>
                  <a:lnTo>
                    <a:pt x="2022231" y="712048"/>
                  </a:lnTo>
                  <a:lnTo>
                    <a:pt x="2022762" y="711904"/>
                  </a:lnTo>
                  <a:lnTo>
                    <a:pt x="2023272" y="711231"/>
                  </a:lnTo>
                  <a:lnTo>
                    <a:pt x="2022778" y="709015"/>
                  </a:lnTo>
                  <a:lnTo>
                    <a:pt x="2022058" y="707465"/>
                  </a:lnTo>
                  <a:lnTo>
                    <a:pt x="2020412" y="705547"/>
                  </a:lnTo>
                  <a:lnTo>
                    <a:pt x="2020829" y="704969"/>
                  </a:lnTo>
                  <a:lnTo>
                    <a:pt x="2021227" y="704851"/>
                  </a:lnTo>
                  <a:lnTo>
                    <a:pt x="2021982" y="705089"/>
                  </a:lnTo>
                  <a:lnTo>
                    <a:pt x="2022090" y="704357"/>
                  </a:lnTo>
                  <a:lnTo>
                    <a:pt x="2020237" y="703289"/>
                  </a:lnTo>
                  <a:lnTo>
                    <a:pt x="2019295" y="702108"/>
                  </a:lnTo>
                  <a:lnTo>
                    <a:pt x="2018866" y="700169"/>
                  </a:lnTo>
                  <a:lnTo>
                    <a:pt x="2018887" y="699042"/>
                  </a:lnTo>
                  <a:lnTo>
                    <a:pt x="2018995" y="698257"/>
                  </a:lnTo>
                  <a:lnTo>
                    <a:pt x="2019425" y="696449"/>
                  </a:lnTo>
                  <a:lnTo>
                    <a:pt x="2019955" y="695474"/>
                  </a:lnTo>
                  <a:lnTo>
                    <a:pt x="2020176" y="694971"/>
                  </a:lnTo>
                  <a:lnTo>
                    <a:pt x="2019985" y="695033"/>
                  </a:lnTo>
                  <a:lnTo>
                    <a:pt x="2019687" y="693812"/>
                  </a:lnTo>
                  <a:lnTo>
                    <a:pt x="2019032" y="693319"/>
                  </a:lnTo>
                  <a:lnTo>
                    <a:pt x="2017592" y="693208"/>
                  </a:lnTo>
                  <a:lnTo>
                    <a:pt x="2017861" y="692272"/>
                  </a:lnTo>
                  <a:lnTo>
                    <a:pt x="2018119" y="691744"/>
                  </a:lnTo>
                  <a:lnTo>
                    <a:pt x="2018722" y="691126"/>
                  </a:lnTo>
                  <a:lnTo>
                    <a:pt x="2018514" y="690340"/>
                  </a:lnTo>
                  <a:lnTo>
                    <a:pt x="2017608" y="688658"/>
                  </a:lnTo>
                  <a:lnTo>
                    <a:pt x="2018566" y="687073"/>
                  </a:lnTo>
                  <a:lnTo>
                    <a:pt x="2018258" y="685707"/>
                  </a:lnTo>
                  <a:lnTo>
                    <a:pt x="2016490" y="684015"/>
                  </a:lnTo>
                  <a:lnTo>
                    <a:pt x="2016935" y="682620"/>
                  </a:lnTo>
                  <a:lnTo>
                    <a:pt x="2017365" y="682041"/>
                  </a:lnTo>
                  <a:lnTo>
                    <a:pt x="2017795" y="681769"/>
                  </a:lnTo>
                  <a:lnTo>
                    <a:pt x="2018240" y="681286"/>
                  </a:lnTo>
                  <a:lnTo>
                    <a:pt x="2018963" y="679894"/>
                  </a:lnTo>
                  <a:lnTo>
                    <a:pt x="2019275" y="678951"/>
                  </a:lnTo>
                  <a:lnTo>
                    <a:pt x="2019080" y="678483"/>
                  </a:lnTo>
                  <a:lnTo>
                    <a:pt x="2018634" y="678174"/>
                  </a:lnTo>
                  <a:lnTo>
                    <a:pt x="2017780" y="676983"/>
                  </a:lnTo>
                  <a:lnTo>
                    <a:pt x="2015925" y="675690"/>
                  </a:lnTo>
                  <a:lnTo>
                    <a:pt x="2015598" y="674922"/>
                  </a:lnTo>
                  <a:lnTo>
                    <a:pt x="2016598" y="673746"/>
                  </a:lnTo>
                  <a:lnTo>
                    <a:pt x="2016855" y="672942"/>
                  </a:lnTo>
                  <a:lnTo>
                    <a:pt x="2016546" y="672082"/>
                  </a:lnTo>
                  <a:lnTo>
                    <a:pt x="2017194" y="669956"/>
                  </a:lnTo>
                  <a:lnTo>
                    <a:pt x="2017183" y="667265"/>
                  </a:lnTo>
                  <a:lnTo>
                    <a:pt x="2016820" y="664778"/>
                  </a:lnTo>
                  <a:lnTo>
                    <a:pt x="2016408" y="663236"/>
                  </a:lnTo>
                  <a:lnTo>
                    <a:pt x="2013652" y="658571"/>
                  </a:lnTo>
                  <a:lnTo>
                    <a:pt x="2013102" y="656147"/>
                  </a:lnTo>
                  <a:lnTo>
                    <a:pt x="2013237" y="654715"/>
                  </a:lnTo>
                  <a:lnTo>
                    <a:pt x="2013770" y="653816"/>
                  </a:lnTo>
                  <a:close/>
                  <a:moveTo>
                    <a:pt x="2116289" y="647247"/>
                  </a:moveTo>
                  <a:lnTo>
                    <a:pt x="2116901" y="647432"/>
                  </a:lnTo>
                  <a:lnTo>
                    <a:pt x="2117985" y="649132"/>
                  </a:lnTo>
                  <a:lnTo>
                    <a:pt x="2127502" y="655214"/>
                  </a:lnTo>
                  <a:lnTo>
                    <a:pt x="2132811" y="664293"/>
                  </a:lnTo>
                  <a:lnTo>
                    <a:pt x="2133299" y="666037"/>
                  </a:lnTo>
                  <a:lnTo>
                    <a:pt x="2132507" y="667722"/>
                  </a:lnTo>
                  <a:lnTo>
                    <a:pt x="2131883" y="667909"/>
                  </a:lnTo>
                  <a:lnTo>
                    <a:pt x="2130615" y="667338"/>
                  </a:lnTo>
                  <a:lnTo>
                    <a:pt x="2128076" y="668364"/>
                  </a:lnTo>
                  <a:lnTo>
                    <a:pt x="2123632" y="666927"/>
                  </a:lnTo>
                  <a:lnTo>
                    <a:pt x="2122222" y="667773"/>
                  </a:lnTo>
                  <a:lnTo>
                    <a:pt x="2121107" y="667783"/>
                  </a:lnTo>
                  <a:lnTo>
                    <a:pt x="2119864" y="666772"/>
                  </a:lnTo>
                  <a:lnTo>
                    <a:pt x="2118592" y="666491"/>
                  </a:lnTo>
                  <a:lnTo>
                    <a:pt x="2116858" y="669593"/>
                  </a:lnTo>
                  <a:lnTo>
                    <a:pt x="2112697" y="671597"/>
                  </a:lnTo>
                  <a:lnTo>
                    <a:pt x="2103827" y="669151"/>
                  </a:lnTo>
                  <a:lnTo>
                    <a:pt x="2101407" y="666303"/>
                  </a:lnTo>
                  <a:lnTo>
                    <a:pt x="2097860" y="664502"/>
                  </a:lnTo>
                  <a:lnTo>
                    <a:pt x="2097931" y="663766"/>
                  </a:lnTo>
                  <a:lnTo>
                    <a:pt x="2098216" y="663875"/>
                  </a:lnTo>
                  <a:lnTo>
                    <a:pt x="2098494" y="663548"/>
                  </a:lnTo>
                  <a:lnTo>
                    <a:pt x="2098749" y="662802"/>
                  </a:lnTo>
                  <a:lnTo>
                    <a:pt x="2098967" y="661632"/>
                  </a:lnTo>
                  <a:lnTo>
                    <a:pt x="2098436" y="661368"/>
                  </a:lnTo>
                  <a:lnTo>
                    <a:pt x="2097782" y="660425"/>
                  </a:lnTo>
                  <a:lnTo>
                    <a:pt x="2097210" y="659091"/>
                  </a:lnTo>
                  <a:lnTo>
                    <a:pt x="2096925" y="657678"/>
                  </a:lnTo>
                  <a:lnTo>
                    <a:pt x="2097487" y="656196"/>
                  </a:lnTo>
                  <a:lnTo>
                    <a:pt x="2097554" y="655111"/>
                  </a:lnTo>
                  <a:lnTo>
                    <a:pt x="2097042" y="653239"/>
                  </a:lnTo>
                  <a:lnTo>
                    <a:pt x="2098161" y="650235"/>
                  </a:lnTo>
                  <a:lnTo>
                    <a:pt x="2099409" y="648550"/>
                  </a:lnTo>
                  <a:lnTo>
                    <a:pt x="2100645" y="647839"/>
                  </a:lnTo>
                  <a:lnTo>
                    <a:pt x="2107495" y="648083"/>
                  </a:lnTo>
                  <a:lnTo>
                    <a:pt x="2114344" y="648292"/>
                  </a:lnTo>
                  <a:close/>
                  <a:moveTo>
                    <a:pt x="1761356" y="615680"/>
                  </a:moveTo>
                  <a:lnTo>
                    <a:pt x="1773372" y="616669"/>
                  </a:lnTo>
                  <a:lnTo>
                    <a:pt x="1773132" y="616954"/>
                  </a:lnTo>
                  <a:lnTo>
                    <a:pt x="1772404" y="617982"/>
                  </a:lnTo>
                  <a:lnTo>
                    <a:pt x="1774132" y="619395"/>
                  </a:lnTo>
                  <a:lnTo>
                    <a:pt x="1773427" y="620323"/>
                  </a:lnTo>
                  <a:lnTo>
                    <a:pt x="1773194" y="620582"/>
                  </a:lnTo>
                  <a:lnTo>
                    <a:pt x="1775708" y="621467"/>
                  </a:lnTo>
                  <a:lnTo>
                    <a:pt x="1776239" y="622195"/>
                  </a:lnTo>
                  <a:lnTo>
                    <a:pt x="1777736" y="626270"/>
                  </a:lnTo>
                  <a:lnTo>
                    <a:pt x="1778415" y="626938"/>
                  </a:lnTo>
                  <a:lnTo>
                    <a:pt x="1777054" y="627486"/>
                  </a:lnTo>
                  <a:lnTo>
                    <a:pt x="1776522" y="627966"/>
                  </a:lnTo>
                  <a:lnTo>
                    <a:pt x="1776978" y="629495"/>
                  </a:lnTo>
                  <a:lnTo>
                    <a:pt x="1780734" y="632848"/>
                  </a:lnTo>
                  <a:lnTo>
                    <a:pt x="1781267" y="634384"/>
                  </a:lnTo>
                  <a:lnTo>
                    <a:pt x="1782485" y="634514"/>
                  </a:lnTo>
                  <a:lnTo>
                    <a:pt x="1782960" y="634862"/>
                  </a:lnTo>
                  <a:lnTo>
                    <a:pt x="1784256" y="639891"/>
                  </a:lnTo>
                  <a:lnTo>
                    <a:pt x="1785774" y="641633"/>
                  </a:lnTo>
                  <a:lnTo>
                    <a:pt x="1786912" y="644730"/>
                  </a:lnTo>
                  <a:lnTo>
                    <a:pt x="1787697" y="645552"/>
                  </a:lnTo>
                  <a:lnTo>
                    <a:pt x="1787508" y="645900"/>
                  </a:lnTo>
                  <a:lnTo>
                    <a:pt x="1787349" y="646225"/>
                  </a:lnTo>
                  <a:lnTo>
                    <a:pt x="1787177" y="646533"/>
                  </a:lnTo>
                  <a:lnTo>
                    <a:pt x="1786960" y="646799"/>
                  </a:lnTo>
                  <a:lnTo>
                    <a:pt x="1787091" y="647723"/>
                  </a:lnTo>
                  <a:lnTo>
                    <a:pt x="1787670" y="649002"/>
                  </a:lnTo>
                  <a:lnTo>
                    <a:pt x="1787581" y="650168"/>
                  </a:lnTo>
                  <a:lnTo>
                    <a:pt x="1786074" y="649703"/>
                  </a:lnTo>
                  <a:lnTo>
                    <a:pt x="1785716" y="649829"/>
                  </a:lnTo>
                  <a:lnTo>
                    <a:pt x="1784852" y="650630"/>
                  </a:lnTo>
                  <a:lnTo>
                    <a:pt x="1784513" y="650775"/>
                  </a:lnTo>
                  <a:lnTo>
                    <a:pt x="1784355" y="651018"/>
                  </a:lnTo>
                  <a:lnTo>
                    <a:pt x="1783724" y="652266"/>
                  </a:lnTo>
                  <a:lnTo>
                    <a:pt x="1783444" y="652703"/>
                  </a:lnTo>
                  <a:lnTo>
                    <a:pt x="1782949" y="653109"/>
                  </a:lnTo>
                  <a:lnTo>
                    <a:pt x="1779315" y="652879"/>
                  </a:lnTo>
                  <a:lnTo>
                    <a:pt x="1777946" y="653414"/>
                  </a:lnTo>
                  <a:lnTo>
                    <a:pt x="1776885" y="653053"/>
                  </a:lnTo>
                  <a:lnTo>
                    <a:pt x="1775571" y="654053"/>
                  </a:lnTo>
                  <a:lnTo>
                    <a:pt x="1774498" y="654410"/>
                  </a:lnTo>
                  <a:lnTo>
                    <a:pt x="1772696" y="655927"/>
                  </a:lnTo>
                  <a:lnTo>
                    <a:pt x="1771966" y="656169"/>
                  </a:lnTo>
                  <a:lnTo>
                    <a:pt x="1764013" y="655495"/>
                  </a:lnTo>
                  <a:lnTo>
                    <a:pt x="1763167" y="655918"/>
                  </a:lnTo>
                  <a:lnTo>
                    <a:pt x="1762711" y="657105"/>
                  </a:lnTo>
                  <a:lnTo>
                    <a:pt x="1762276" y="657815"/>
                  </a:lnTo>
                  <a:lnTo>
                    <a:pt x="1762229" y="658506"/>
                  </a:lnTo>
                  <a:lnTo>
                    <a:pt x="1761066" y="659989"/>
                  </a:lnTo>
                  <a:lnTo>
                    <a:pt x="1759354" y="659750"/>
                  </a:lnTo>
                  <a:lnTo>
                    <a:pt x="1758389" y="660375"/>
                  </a:lnTo>
                  <a:lnTo>
                    <a:pt x="1758574" y="661468"/>
                  </a:lnTo>
                  <a:lnTo>
                    <a:pt x="1759945" y="663070"/>
                  </a:lnTo>
                  <a:lnTo>
                    <a:pt x="1760057" y="663818"/>
                  </a:lnTo>
                  <a:lnTo>
                    <a:pt x="1759865" y="664606"/>
                  </a:lnTo>
                  <a:lnTo>
                    <a:pt x="1759521" y="665569"/>
                  </a:lnTo>
                  <a:lnTo>
                    <a:pt x="1759166" y="666867"/>
                  </a:lnTo>
                  <a:lnTo>
                    <a:pt x="1758831" y="669817"/>
                  </a:lnTo>
                  <a:lnTo>
                    <a:pt x="1759170" y="671552"/>
                  </a:lnTo>
                  <a:lnTo>
                    <a:pt x="1765926" y="681559"/>
                  </a:lnTo>
                  <a:lnTo>
                    <a:pt x="1767089" y="682199"/>
                  </a:lnTo>
                  <a:lnTo>
                    <a:pt x="1767480" y="682962"/>
                  </a:lnTo>
                  <a:lnTo>
                    <a:pt x="1767432" y="684796"/>
                  </a:lnTo>
                  <a:lnTo>
                    <a:pt x="1766452" y="686250"/>
                  </a:lnTo>
                  <a:lnTo>
                    <a:pt x="1761519" y="688803"/>
                  </a:lnTo>
                  <a:lnTo>
                    <a:pt x="1758812" y="687749"/>
                  </a:lnTo>
                  <a:lnTo>
                    <a:pt x="1754788" y="681693"/>
                  </a:lnTo>
                  <a:lnTo>
                    <a:pt x="1753338" y="680647"/>
                  </a:lnTo>
                  <a:lnTo>
                    <a:pt x="1751910" y="681755"/>
                  </a:lnTo>
                  <a:lnTo>
                    <a:pt x="1751261" y="684307"/>
                  </a:lnTo>
                  <a:lnTo>
                    <a:pt x="1751669" y="686416"/>
                  </a:lnTo>
                  <a:lnTo>
                    <a:pt x="1752406" y="688147"/>
                  </a:lnTo>
                  <a:lnTo>
                    <a:pt x="1753246" y="692474"/>
                  </a:lnTo>
                  <a:lnTo>
                    <a:pt x="1755977" y="694881"/>
                  </a:lnTo>
                  <a:lnTo>
                    <a:pt x="1755849" y="698763"/>
                  </a:lnTo>
                  <a:lnTo>
                    <a:pt x="1755445" y="699785"/>
                  </a:lnTo>
                  <a:lnTo>
                    <a:pt x="1755137" y="700671"/>
                  </a:lnTo>
                  <a:lnTo>
                    <a:pt x="1754923" y="701508"/>
                  </a:lnTo>
                  <a:lnTo>
                    <a:pt x="1755143" y="703346"/>
                  </a:lnTo>
                  <a:lnTo>
                    <a:pt x="1755180" y="707803"/>
                  </a:lnTo>
                  <a:lnTo>
                    <a:pt x="1754989" y="709381"/>
                  </a:lnTo>
                  <a:lnTo>
                    <a:pt x="1754416" y="709603"/>
                  </a:lnTo>
                  <a:lnTo>
                    <a:pt x="1752637" y="709633"/>
                  </a:lnTo>
                  <a:lnTo>
                    <a:pt x="1751869" y="710169"/>
                  </a:lnTo>
                  <a:lnTo>
                    <a:pt x="1751475" y="710605"/>
                  </a:lnTo>
                  <a:lnTo>
                    <a:pt x="1751284" y="710934"/>
                  </a:lnTo>
                  <a:lnTo>
                    <a:pt x="1750978" y="711687"/>
                  </a:lnTo>
                  <a:lnTo>
                    <a:pt x="1750835" y="711962"/>
                  </a:lnTo>
                  <a:lnTo>
                    <a:pt x="1749303" y="713865"/>
                  </a:lnTo>
                  <a:lnTo>
                    <a:pt x="1748014" y="715032"/>
                  </a:lnTo>
                  <a:lnTo>
                    <a:pt x="1740507" y="718069"/>
                  </a:lnTo>
                  <a:lnTo>
                    <a:pt x="1737375" y="717299"/>
                  </a:lnTo>
                  <a:lnTo>
                    <a:pt x="1735936" y="717899"/>
                  </a:lnTo>
                  <a:lnTo>
                    <a:pt x="1735306" y="717940"/>
                  </a:lnTo>
                  <a:lnTo>
                    <a:pt x="1729646" y="715493"/>
                  </a:lnTo>
                  <a:lnTo>
                    <a:pt x="1728967" y="715739"/>
                  </a:lnTo>
                  <a:lnTo>
                    <a:pt x="1728190" y="716376"/>
                  </a:lnTo>
                  <a:lnTo>
                    <a:pt x="1726971" y="717879"/>
                  </a:lnTo>
                  <a:lnTo>
                    <a:pt x="1726460" y="718203"/>
                  </a:lnTo>
                  <a:lnTo>
                    <a:pt x="1724247" y="715691"/>
                  </a:lnTo>
                  <a:lnTo>
                    <a:pt x="1722955" y="715668"/>
                  </a:lnTo>
                  <a:lnTo>
                    <a:pt x="1720389" y="717798"/>
                  </a:lnTo>
                  <a:lnTo>
                    <a:pt x="1720083" y="718438"/>
                  </a:lnTo>
                  <a:lnTo>
                    <a:pt x="1719754" y="719822"/>
                  </a:lnTo>
                  <a:lnTo>
                    <a:pt x="1719650" y="721150"/>
                  </a:lnTo>
                  <a:lnTo>
                    <a:pt x="1719883" y="721864"/>
                  </a:lnTo>
                  <a:lnTo>
                    <a:pt x="1720211" y="722414"/>
                  </a:lnTo>
                  <a:lnTo>
                    <a:pt x="1720405" y="723240"/>
                  </a:lnTo>
                  <a:lnTo>
                    <a:pt x="1719974" y="723880"/>
                  </a:lnTo>
                  <a:lnTo>
                    <a:pt x="1720202" y="725044"/>
                  </a:lnTo>
                  <a:lnTo>
                    <a:pt x="1719704" y="726213"/>
                  </a:lnTo>
                  <a:lnTo>
                    <a:pt x="1718978" y="727565"/>
                  </a:lnTo>
                  <a:lnTo>
                    <a:pt x="1718511" y="729300"/>
                  </a:lnTo>
                  <a:lnTo>
                    <a:pt x="1718733" y="731504"/>
                  </a:lnTo>
                  <a:lnTo>
                    <a:pt x="1718649" y="732843"/>
                  </a:lnTo>
                  <a:lnTo>
                    <a:pt x="1718028" y="734125"/>
                  </a:lnTo>
                  <a:lnTo>
                    <a:pt x="1717937" y="734696"/>
                  </a:lnTo>
                  <a:lnTo>
                    <a:pt x="1717689" y="735818"/>
                  </a:lnTo>
                  <a:lnTo>
                    <a:pt x="1717595" y="736402"/>
                  </a:lnTo>
                  <a:lnTo>
                    <a:pt x="1716879" y="737274"/>
                  </a:lnTo>
                  <a:lnTo>
                    <a:pt x="1716183" y="737764"/>
                  </a:lnTo>
                  <a:lnTo>
                    <a:pt x="1715564" y="737954"/>
                  </a:lnTo>
                  <a:lnTo>
                    <a:pt x="1715086" y="737915"/>
                  </a:lnTo>
                  <a:lnTo>
                    <a:pt x="1714473" y="738101"/>
                  </a:lnTo>
                  <a:lnTo>
                    <a:pt x="1710251" y="741458"/>
                  </a:lnTo>
                  <a:lnTo>
                    <a:pt x="1706422" y="741332"/>
                  </a:lnTo>
                  <a:lnTo>
                    <a:pt x="1704432" y="742749"/>
                  </a:lnTo>
                  <a:lnTo>
                    <a:pt x="1703813" y="742790"/>
                  </a:lnTo>
                  <a:lnTo>
                    <a:pt x="1698886" y="739709"/>
                  </a:lnTo>
                  <a:lnTo>
                    <a:pt x="1697937" y="737159"/>
                  </a:lnTo>
                  <a:lnTo>
                    <a:pt x="1697555" y="736632"/>
                  </a:lnTo>
                  <a:lnTo>
                    <a:pt x="1698624" y="734416"/>
                  </a:lnTo>
                  <a:lnTo>
                    <a:pt x="1698382" y="733202"/>
                  </a:lnTo>
                  <a:lnTo>
                    <a:pt x="1694854" y="732139"/>
                  </a:lnTo>
                  <a:lnTo>
                    <a:pt x="1694095" y="731257"/>
                  </a:lnTo>
                  <a:lnTo>
                    <a:pt x="1694257" y="729173"/>
                  </a:lnTo>
                  <a:lnTo>
                    <a:pt x="1694590" y="729290"/>
                  </a:lnTo>
                  <a:lnTo>
                    <a:pt x="1693215" y="722634"/>
                  </a:lnTo>
                  <a:lnTo>
                    <a:pt x="1692271" y="721389"/>
                  </a:lnTo>
                  <a:lnTo>
                    <a:pt x="1692597" y="720889"/>
                  </a:lnTo>
                  <a:lnTo>
                    <a:pt x="1692962" y="720398"/>
                  </a:lnTo>
                  <a:lnTo>
                    <a:pt x="1693716" y="719537"/>
                  </a:lnTo>
                  <a:lnTo>
                    <a:pt x="1693704" y="719153"/>
                  </a:lnTo>
                  <a:lnTo>
                    <a:pt x="1693766" y="717906"/>
                  </a:lnTo>
                  <a:lnTo>
                    <a:pt x="1696034" y="716341"/>
                  </a:lnTo>
                  <a:lnTo>
                    <a:pt x="1696056" y="714869"/>
                  </a:lnTo>
                  <a:lnTo>
                    <a:pt x="1695979" y="714310"/>
                  </a:lnTo>
                  <a:lnTo>
                    <a:pt x="1695831" y="713901"/>
                  </a:lnTo>
                  <a:lnTo>
                    <a:pt x="1697057" y="712155"/>
                  </a:lnTo>
                  <a:lnTo>
                    <a:pt x="1700601" y="710138"/>
                  </a:lnTo>
                  <a:lnTo>
                    <a:pt x="1700807" y="708831"/>
                  </a:lnTo>
                  <a:lnTo>
                    <a:pt x="1700777" y="706195"/>
                  </a:lnTo>
                  <a:lnTo>
                    <a:pt x="1701238" y="705879"/>
                  </a:lnTo>
                  <a:lnTo>
                    <a:pt x="1701989" y="705604"/>
                  </a:lnTo>
                  <a:lnTo>
                    <a:pt x="1702442" y="705205"/>
                  </a:lnTo>
                  <a:lnTo>
                    <a:pt x="1701553" y="703694"/>
                  </a:lnTo>
                  <a:lnTo>
                    <a:pt x="1701575" y="702537"/>
                  </a:lnTo>
                  <a:lnTo>
                    <a:pt x="1703176" y="701083"/>
                  </a:lnTo>
                  <a:lnTo>
                    <a:pt x="1704945" y="698993"/>
                  </a:lnTo>
                  <a:lnTo>
                    <a:pt x="1704936" y="698450"/>
                  </a:lnTo>
                  <a:lnTo>
                    <a:pt x="1705025" y="697528"/>
                  </a:lnTo>
                  <a:lnTo>
                    <a:pt x="1705242" y="696403"/>
                  </a:lnTo>
                  <a:lnTo>
                    <a:pt x="1705616" y="695225"/>
                  </a:lnTo>
                  <a:lnTo>
                    <a:pt x="1706430" y="693733"/>
                  </a:lnTo>
                  <a:lnTo>
                    <a:pt x="1707157" y="693163"/>
                  </a:lnTo>
                  <a:lnTo>
                    <a:pt x="1708416" y="692662"/>
                  </a:lnTo>
                  <a:lnTo>
                    <a:pt x="1712507" y="688519"/>
                  </a:lnTo>
                  <a:lnTo>
                    <a:pt x="1714048" y="686375"/>
                  </a:lnTo>
                  <a:lnTo>
                    <a:pt x="1714340" y="682946"/>
                  </a:lnTo>
                  <a:lnTo>
                    <a:pt x="1713789" y="681172"/>
                  </a:lnTo>
                  <a:lnTo>
                    <a:pt x="1712624" y="680922"/>
                  </a:lnTo>
                  <a:lnTo>
                    <a:pt x="1711069" y="682107"/>
                  </a:lnTo>
                  <a:lnTo>
                    <a:pt x="1708906" y="684390"/>
                  </a:lnTo>
                  <a:lnTo>
                    <a:pt x="1708002" y="685066"/>
                  </a:lnTo>
                  <a:lnTo>
                    <a:pt x="1707075" y="685428"/>
                  </a:lnTo>
                  <a:lnTo>
                    <a:pt x="1706102" y="685426"/>
                  </a:lnTo>
                  <a:lnTo>
                    <a:pt x="1699470" y="682245"/>
                  </a:lnTo>
                  <a:lnTo>
                    <a:pt x="1699276" y="682890"/>
                  </a:lnTo>
                  <a:lnTo>
                    <a:pt x="1699378" y="684033"/>
                  </a:lnTo>
                  <a:lnTo>
                    <a:pt x="1699187" y="685404"/>
                  </a:lnTo>
                  <a:lnTo>
                    <a:pt x="1698292" y="687624"/>
                  </a:lnTo>
                  <a:lnTo>
                    <a:pt x="1697751" y="688545"/>
                  </a:lnTo>
                  <a:lnTo>
                    <a:pt x="1697351" y="688580"/>
                  </a:lnTo>
                  <a:lnTo>
                    <a:pt x="1693731" y="686234"/>
                  </a:lnTo>
                  <a:lnTo>
                    <a:pt x="1693642" y="687003"/>
                  </a:lnTo>
                  <a:lnTo>
                    <a:pt x="1693612" y="687670"/>
                  </a:lnTo>
                  <a:lnTo>
                    <a:pt x="1693643" y="688219"/>
                  </a:lnTo>
                  <a:lnTo>
                    <a:pt x="1693738" y="688607"/>
                  </a:lnTo>
                  <a:lnTo>
                    <a:pt x="1693522" y="688910"/>
                  </a:lnTo>
                  <a:lnTo>
                    <a:pt x="1693066" y="689649"/>
                  </a:lnTo>
                  <a:lnTo>
                    <a:pt x="1692857" y="689941"/>
                  </a:lnTo>
                  <a:lnTo>
                    <a:pt x="1693294" y="691837"/>
                  </a:lnTo>
                  <a:lnTo>
                    <a:pt x="1694085" y="693084"/>
                  </a:lnTo>
                  <a:lnTo>
                    <a:pt x="1694351" y="695058"/>
                  </a:lnTo>
                  <a:lnTo>
                    <a:pt x="1692753" y="700823"/>
                  </a:lnTo>
                  <a:lnTo>
                    <a:pt x="1692467" y="703276"/>
                  </a:lnTo>
                  <a:lnTo>
                    <a:pt x="1691896" y="704539"/>
                  </a:lnTo>
                  <a:lnTo>
                    <a:pt x="1691157" y="704881"/>
                  </a:lnTo>
                  <a:lnTo>
                    <a:pt x="1688793" y="703420"/>
                  </a:lnTo>
                  <a:lnTo>
                    <a:pt x="1687344" y="704026"/>
                  </a:lnTo>
                  <a:lnTo>
                    <a:pt x="1686916" y="704393"/>
                  </a:lnTo>
                  <a:lnTo>
                    <a:pt x="1686554" y="704993"/>
                  </a:lnTo>
                  <a:lnTo>
                    <a:pt x="1686355" y="705561"/>
                  </a:lnTo>
                  <a:lnTo>
                    <a:pt x="1686096" y="706188"/>
                  </a:lnTo>
                  <a:lnTo>
                    <a:pt x="1685548" y="706983"/>
                  </a:lnTo>
                  <a:lnTo>
                    <a:pt x="1684407" y="707756"/>
                  </a:lnTo>
                  <a:lnTo>
                    <a:pt x="1681368" y="705850"/>
                  </a:lnTo>
                  <a:lnTo>
                    <a:pt x="1681264" y="704675"/>
                  </a:lnTo>
                  <a:lnTo>
                    <a:pt x="1681325" y="701956"/>
                  </a:lnTo>
                  <a:lnTo>
                    <a:pt x="1681014" y="700931"/>
                  </a:lnTo>
                  <a:lnTo>
                    <a:pt x="1680359" y="700029"/>
                  </a:lnTo>
                  <a:lnTo>
                    <a:pt x="1679561" y="699536"/>
                  </a:lnTo>
                  <a:lnTo>
                    <a:pt x="1678808" y="699767"/>
                  </a:lnTo>
                  <a:lnTo>
                    <a:pt x="1678865" y="700733"/>
                  </a:lnTo>
                  <a:lnTo>
                    <a:pt x="1679081" y="701568"/>
                  </a:lnTo>
                  <a:lnTo>
                    <a:pt x="1679758" y="702630"/>
                  </a:lnTo>
                  <a:lnTo>
                    <a:pt x="1678422" y="702727"/>
                  </a:lnTo>
                  <a:lnTo>
                    <a:pt x="1676967" y="702015"/>
                  </a:lnTo>
                  <a:lnTo>
                    <a:pt x="1675316" y="702206"/>
                  </a:lnTo>
                  <a:lnTo>
                    <a:pt x="1673379" y="705031"/>
                  </a:lnTo>
                  <a:lnTo>
                    <a:pt x="1673923" y="705994"/>
                  </a:lnTo>
                  <a:lnTo>
                    <a:pt x="1676093" y="707620"/>
                  </a:lnTo>
                  <a:lnTo>
                    <a:pt x="1676127" y="708138"/>
                  </a:lnTo>
                  <a:lnTo>
                    <a:pt x="1676028" y="708885"/>
                  </a:lnTo>
                  <a:lnTo>
                    <a:pt x="1675897" y="709545"/>
                  </a:lnTo>
                  <a:lnTo>
                    <a:pt x="1675826" y="709831"/>
                  </a:lnTo>
                  <a:lnTo>
                    <a:pt x="1676202" y="710281"/>
                  </a:lnTo>
                  <a:lnTo>
                    <a:pt x="1677876" y="710585"/>
                  </a:lnTo>
                  <a:lnTo>
                    <a:pt x="1678446" y="711163"/>
                  </a:lnTo>
                  <a:lnTo>
                    <a:pt x="1678815" y="712346"/>
                  </a:lnTo>
                  <a:lnTo>
                    <a:pt x="1678930" y="714029"/>
                  </a:lnTo>
                  <a:lnTo>
                    <a:pt x="1678369" y="718993"/>
                  </a:lnTo>
                  <a:lnTo>
                    <a:pt x="1677973" y="720179"/>
                  </a:lnTo>
                  <a:lnTo>
                    <a:pt x="1677240" y="720713"/>
                  </a:lnTo>
                  <a:lnTo>
                    <a:pt x="1677572" y="722900"/>
                  </a:lnTo>
                  <a:lnTo>
                    <a:pt x="1677378" y="723575"/>
                  </a:lnTo>
                  <a:lnTo>
                    <a:pt x="1676752" y="724412"/>
                  </a:lnTo>
                  <a:lnTo>
                    <a:pt x="1675561" y="725694"/>
                  </a:lnTo>
                  <a:lnTo>
                    <a:pt x="1674882" y="726578"/>
                  </a:lnTo>
                  <a:lnTo>
                    <a:pt x="1673249" y="728340"/>
                  </a:lnTo>
                  <a:lnTo>
                    <a:pt x="1671988" y="728643"/>
                  </a:lnTo>
                  <a:lnTo>
                    <a:pt x="1667923" y="727109"/>
                  </a:lnTo>
                  <a:lnTo>
                    <a:pt x="1666583" y="727743"/>
                  </a:lnTo>
                  <a:lnTo>
                    <a:pt x="1665018" y="729687"/>
                  </a:lnTo>
                  <a:lnTo>
                    <a:pt x="1663873" y="732013"/>
                  </a:lnTo>
                  <a:lnTo>
                    <a:pt x="1663065" y="734450"/>
                  </a:lnTo>
                  <a:lnTo>
                    <a:pt x="1662803" y="736348"/>
                  </a:lnTo>
                  <a:lnTo>
                    <a:pt x="1663282" y="737044"/>
                  </a:lnTo>
                  <a:lnTo>
                    <a:pt x="1662469" y="738161"/>
                  </a:lnTo>
                  <a:lnTo>
                    <a:pt x="1661367" y="737866"/>
                  </a:lnTo>
                  <a:lnTo>
                    <a:pt x="1660614" y="738433"/>
                  </a:lnTo>
                  <a:lnTo>
                    <a:pt x="1660037" y="739613"/>
                  </a:lnTo>
                  <a:lnTo>
                    <a:pt x="1659817" y="740577"/>
                  </a:lnTo>
                  <a:lnTo>
                    <a:pt x="1659485" y="741300"/>
                  </a:lnTo>
                  <a:lnTo>
                    <a:pt x="1658574" y="741718"/>
                  </a:lnTo>
                  <a:lnTo>
                    <a:pt x="1657414" y="741314"/>
                  </a:lnTo>
                  <a:lnTo>
                    <a:pt x="1656778" y="741375"/>
                  </a:lnTo>
                  <a:lnTo>
                    <a:pt x="1655837" y="742277"/>
                  </a:lnTo>
                  <a:lnTo>
                    <a:pt x="1655620" y="742760"/>
                  </a:lnTo>
                  <a:lnTo>
                    <a:pt x="1655378" y="743507"/>
                  </a:lnTo>
                  <a:lnTo>
                    <a:pt x="1655207" y="744162"/>
                  </a:lnTo>
                  <a:lnTo>
                    <a:pt x="1655208" y="744361"/>
                  </a:lnTo>
                  <a:lnTo>
                    <a:pt x="1654687" y="744877"/>
                  </a:lnTo>
                  <a:lnTo>
                    <a:pt x="1654354" y="744899"/>
                  </a:lnTo>
                  <a:lnTo>
                    <a:pt x="1653949" y="744118"/>
                  </a:lnTo>
                  <a:lnTo>
                    <a:pt x="1653522" y="742339"/>
                  </a:lnTo>
                  <a:lnTo>
                    <a:pt x="1653201" y="741707"/>
                  </a:lnTo>
                  <a:lnTo>
                    <a:pt x="1652089" y="741593"/>
                  </a:lnTo>
                  <a:lnTo>
                    <a:pt x="1651679" y="741002"/>
                  </a:lnTo>
                  <a:lnTo>
                    <a:pt x="1651416" y="740075"/>
                  </a:lnTo>
                  <a:lnTo>
                    <a:pt x="1651328" y="739004"/>
                  </a:lnTo>
                  <a:lnTo>
                    <a:pt x="1651722" y="736812"/>
                  </a:lnTo>
                  <a:lnTo>
                    <a:pt x="1653243" y="732946"/>
                  </a:lnTo>
                  <a:lnTo>
                    <a:pt x="1653400" y="731556"/>
                  </a:lnTo>
                  <a:lnTo>
                    <a:pt x="1653298" y="730650"/>
                  </a:lnTo>
                  <a:lnTo>
                    <a:pt x="1653330" y="728501"/>
                  </a:lnTo>
                  <a:lnTo>
                    <a:pt x="1653253" y="727576"/>
                  </a:lnTo>
                  <a:lnTo>
                    <a:pt x="1652423" y="725255"/>
                  </a:lnTo>
                  <a:lnTo>
                    <a:pt x="1652518" y="723830"/>
                  </a:lnTo>
                  <a:lnTo>
                    <a:pt x="1652929" y="722189"/>
                  </a:lnTo>
                  <a:lnTo>
                    <a:pt x="1655742" y="714353"/>
                  </a:lnTo>
                  <a:lnTo>
                    <a:pt x="1655850" y="713707"/>
                  </a:lnTo>
                  <a:lnTo>
                    <a:pt x="1655594" y="713358"/>
                  </a:lnTo>
                  <a:lnTo>
                    <a:pt x="1655000" y="713316"/>
                  </a:lnTo>
                  <a:lnTo>
                    <a:pt x="1654664" y="713738"/>
                  </a:lnTo>
                  <a:lnTo>
                    <a:pt x="1654332" y="714522"/>
                  </a:lnTo>
                  <a:lnTo>
                    <a:pt x="1653751" y="715553"/>
                  </a:lnTo>
                  <a:lnTo>
                    <a:pt x="1652045" y="716955"/>
                  </a:lnTo>
                  <a:lnTo>
                    <a:pt x="1650484" y="714244"/>
                  </a:lnTo>
                  <a:lnTo>
                    <a:pt x="1649244" y="714184"/>
                  </a:lnTo>
                  <a:lnTo>
                    <a:pt x="1648963" y="714874"/>
                  </a:lnTo>
                  <a:lnTo>
                    <a:pt x="1649426" y="715052"/>
                  </a:lnTo>
                  <a:lnTo>
                    <a:pt x="1649744" y="715645"/>
                  </a:lnTo>
                  <a:lnTo>
                    <a:pt x="1649723" y="716781"/>
                  </a:lnTo>
                  <a:lnTo>
                    <a:pt x="1649171" y="718573"/>
                  </a:lnTo>
                  <a:lnTo>
                    <a:pt x="1648244" y="720515"/>
                  </a:lnTo>
                  <a:lnTo>
                    <a:pt x="1647652" y="721086"/>
                  </a:lnTo>
                  <a:lnTo>
                    <a:pt x="1646587" y="721127"/>
                  </a:lnTo>
                  <a:lnTo>
                    <a:pt x="1646523" y="722271"/>
                  </a:lnTo>
                  <a:lnTo>
                    <a:pt x="1646694" y="728705"/>
                  </a:lnTo>
                  <a:lnTo>
                    <a:pt x="1646922" y="729523"/>
                  </a:lnTo>
                  <a:lnTo>
                    <a:pt x="1646801" y="730028"/>
                  </a:lnTo>
                  <a:lnTo>
                    <a:pt x="1646624" y="730615"/>
                  </a:lnTo>
                  <a:lnTo>
                    <a:pt x="1646503" y="731124"/>
                  </a:lnTo>
                  <a:lnTo>
                    <a:pt x="1646235" y="732104"/>
                  </a:lnTo>
                  <a:lnTo>
                    <a:pt x="1645852" y="732513"/>
                  </a:lnTo>
                  <a:lnTo>
                    <a:pt x="1644473" y="732601"/>
                  </a:lnTo>
                  <a:lnTo>
                    <a:pt x="1643297" y="731661"/>
                  </a:lnTo>
                  <a:lnTo>
                    <a:pt x="1642535" y="731596"/>
                  </a:lnTo>
                  <a:lnTo>
                    <a:pt x="1642275" y="734142"/>
                  </a:lnTo>
                  <a:lnTo>
                    <a:pt x="1643001" y="735247"/>
                  </a:lnTo>
                  <a:lnTo>
                    <a:pt x="1643998" y="735904"/>
                  </a:lnTo>
                  <a:lnTo>
                    <a:pt x="1644540" y="737152"/>
                  </a:lnTo>
                  <a:lnTo>
                    <a:pt x="1643471" y="738029"/>
                  </a:lnTo>
                  <a:lnTo>
                    <a:pt x="1638045" y="735513"/>
                  </a:lnTo>
                  <a:lnTo>
                    <a:pt x="1638099" y="736685"/>
                  </a:lnTo>
                  <a:lnTo>
                    <a:pt x="1638460" y="737537"/>
                  </a:lnTo>
                  <a:lnTo>
                    <a:pt x="1640111" y="738886"/>
                  </a:lnTo>
                  <a:lnTo>
                    <a:pt x="1642382" y="744542"/>
                  </a:lnTo>
                  <a:lnTo>
                    <a:pt x="1642521" y="746427"/>
                  </a:lnTo>
                  <a:lnTo>
                    <a:pt x="1641635" y="749648"/>
                  </a:lnTo>
                  <a:lnTo>
                    <a:pt x="1640144" y="752743"/>
                  </a:lnTo>
                  <a:lnTo>
                    <a:pt x="1639208" y="753283"/>
                  </a:lnTo>
                  <a:lnTo>
                    <a:pt x="1638689" y="752292"/>
                  </a:lnTo>
                  <a:lnTo>
                    <a:pt x="1638235" y="749745"/>
                  </a:lnTo>
                  <a:lnTo>
                    <a:pt x="1637880" y="749186"/>
                  </a:lnTo>
                  <a:lnTo>
                    <a:pt x="1637296" y="749247"/>
                  </a:lnTo>
                  <a:lnTo>
                    <a:pt x="1636402" y="750040"/>
                  </a:lnTo>
                  <a:lnTo>
                    <a:pt x="1633517" y="753781"/>
                  </a:lnTo>
                  <a:lnTo>
                    <a:pt x="1634599" y="754962"/>
                  </a:lnTo>
                  <a:lnTo>
                    <a:pt x="1634954" y="756043"/>
                  </a:lnTo>
                  <a:lnTo>
                    <a:pt x="1634783" y="757459"/>
                  </a:lnTo>
                  <a:lnTo>
                    <a:pt x="1634312" y="757254"/>
                  </a:lnTo>
                  <a:lnTo>
                    <a:pt x="1633201" y="756054"/>
                  </a:lnTo>
                  <a:lnTo>
                    <a:pt x="1632624" y="756065"/>
                  </a:lnTo>
                  <a:lnTo>
                    <a:pt x="1632117" y="756496"/>
                  </a:lnTo>
                  <a:lnTo>
                    <a:pt x="1630849" y="757938"/>
                  </a:lnTo>
                  <a:lnTo>
                    <a:pt x="1629207" y="759263"/>
                  </a:lnTo>
                  <a:lnTo>
                    <a:pt x="1626050" y="760847"/>
                  </a:lnTo>
                  <a:lnTo>
                    <a:pt x="1620858" y="760747"/>
                  </a:lnTo>
                  <a:lnTo>
                    <a:pt x="1620491" y="759099"/>
                  </a:lnTo>
                  <a:lnTo>
                    <a:pt x="1620703" y="758252"/>
                  </a:lnTo>
                  <a:lnTo>
                    <a:pt x="1621065" y="757079"/>
                  </a:lnTo>
                  <a:lnTo>
                    <a:pt x="1621300" y="756004"/>
                  </a:lnTo>
                  <a:lnTo>
                    <a:pt x="1621139" y="755436"/>
                  </a:lnTo>
                  <a:lnTo>
                    <a:pt x="1620808" y="754892"/>
                  </a:lnTo>
                  <a:lnTo>
                    <a:pt x="1620657" y="754175"/>
                  </a:lnTo>
                  <a:lnTo>
                    <a:pt x="1620288" y="754005"/>
                  </a:lnTo>
                  <a:lnTo>
                    <a:pt x="1619312" y="755076"/>
                  </a:lnTo>
                  <a:lnTo>
                    <a:pt x="1617875" y="756908"/>
                  </a:lnTo>
                  <a:lnTo>
                    <a:pt x="1616458" y="758442"/>
                  </a:lnTo>
                  <a:lnTo>
                    <a:pt x="1615091" y="759643"/>
                  </a:lnTo>
                  <a:lnTo>
                    <a:pt x="1613802" y="760469"/>
                  </a:lnTo>
                  <a:lnTo>
                    <a:pt x="1612350" y="760991"/>
                  </a:lnTo>
                  <a:lnTo>
                    <a:pt x="1610820" y="761004"/>
                  </a:lnTo>
                  <a:lnTo>
                    <a:pt x="1609705" y="760112"/>
                  </a:lnTo>
                  <a:lnTo>
                    <a:pt x="1609507" y="757888"/>
                  </a:lnTo>
                  <a:lnTo>
                    <a:pt x="1610004" y="755941"/>
                  </a:lnTo>
                  <a:lnTo>
                    <a:pt x="1610796" y="754308"/>
                  </a:lnTo>
                  <a:lnTo>
                    <a:pt x="1612725" y="751229"/>
                  </a:lnTo>
                  <a:lnTo>
                    <a:pt x="1613220" y="750223"/>
                  </a:lnTo>
                  <a:lnTo>
                    <a:pt x="1613583" y="749325"/>
                  </a:lnTo>
                  <a:lnTo>
                    <a:pt x="1613975" y="748460"/>
                  </a:lnTo>
                  <a:lnTo>
                    <a:pt x="1614557" y="747551"/>
                  </a:lnTo>
                  <a:lnTo>
                    <a:pt x="1615407" y="746653"/>
                  </a:lnTo>
                  <a:lnTo>
                    <a:pt x="1617003" y="745349"/>
                  </a:lnTo>
                  <a:lnTo>
                    <a:pt x="1617776" y="744349"/>
                  </a:lnTo>
                  <a:lnTo>
                    <a:pt x="1616741" y="743182"/>
                  </a:lnTo>
                  <a:lnTo>
                    <a:pt x="1616685" y="742755"/>
                  </a:lnTo>
                  <a:lnTo>
                    <a:pt x="1617052" y="742084"/>
                  </a:lnTo>
                  <a:lnTo>
                    <a:pt x="1617797" y="741078"/>
                  </a:lnTo>
                  <a:lnTo>
                    <a:pt x="1618058" y="740461"/>
                  </a:lnTo>
                  <a:lnTo>
                    <a:pt x="1617839" y="739303"/>
                  </a:lnTo>
                  <a:lnTo>
                    <a:pt x="1614515" y="739043"/>
                  </a:lnTo>
                  <a:lnTo>
                    <a:pt x="1614518" y="739369"/>
                  </a:lnTo>
                  <a:lnTo>
                    <a:pt x="1614436" y="740249"/>
                  </a:lnTo>
                  <a:lnTo>
                    <a:pt x="1614436" y="740618"/>
                  </a:lnTo>
                  <a:lnTo>
                    <a:pt x="1613297" y="740839"/>
                  </a:lnTo>
                  <a:lnTo>
                    <a:pt x="1612435" y="739875"/>
                  </a:lnTo>
                  <a:lnTo>
                    <a:pt x="1611973" y="738039"/>
                  </a:lnTo>
                  <a:lnTo>
                    <a:pt x="1612031" y="735637"/>
                  </a:lnTo>
                  <a:lnTo>
                    <a:pt x="1612873" y="732652"/>
                  </a:lnTo>
                  <a:lnTo>
                    <a:pt x="1614157" y="730898"/>
                  </a:lnTo>
                  <a:lnTo>
                    <a:pt x="1616930" y="728711"/>
                  </a:lnTo>
                  <a:lnTo>
                    <a:pt x="1616503" y="728171"/>
                  </a:lnTo>
                  <a:lnTo>
                    <a:pt x="1614479" y="728756"/>
                  </a:lnTo>
                  <a:lnTo>
                    <a:pt x="1614440" y="727706"/>
                  </a:lnTo>
                  <a:lnTo>
                    <a:pt x="1615504" y="725647"/>
                  </a:lnTo>
                  <a:lnTo>
                    <a:pt x="1616615" y="724944"/>
                  </a:lnTo>
                  <a:lnTo>
                    <a:pt x="1617623" y="724805"/>
                  </a:lnTo>
                  <a:lnTo>
                    <a:pt x="1618362" y="724472"/>
                  </a:lnTo>
                  <a:lnTo>
                    <a:pt x="1618347" y="722547"/>
                  </a:lnTo>
                  <a:lnTo>
                    <a:pt x="1616544" y="719933"/>
                  </a:lnTo>
                  <a:lnTo>
                    <a:pt x="1616232" y="717182"/>
                  </a:lnTo>
                  <a:lnTo>
                    <a:pt x="1615924" y="716722"/>
                  </a:lnTo>
                  <a:lnTo>
                    <a:pt x="1615462" y="716811"/>
                  </a:lnTo>
                  <a:lnTo>
                    <a:pt x="1613057" y="717977"/>
                  </a:lnTo>
                  <a:lnTo>
                    <a:pt x="1611340" y="719207"/>
                  </a:lnTo>
                  <a:lnTo>
                    <a:pt x="1609709" y="721501"/>
                  </a:lnTo>
                  <a:lnTo>
                    <a:pt x="1608458" y="725271"/>
                  </a:lnTo>
                  <a:lnTo>
                    <a:pt x="1607867" y="725609"/>
                  </a:lnTo>
                  <a:lnTo>
                    <a:pt x="1607224" y="726582"/>
                  </a:lnTo>
                  <a:lnTo>
                    <a:pt x="1606591" y="727852"/>
                  </a:lnTo>
                  <a:lnTo>
                    <a:pt x="1606022" y="729096"/>
                  </a:lnTo>
                  <a:lnTo>
                    <a:pt x="1605702" y="732407"/>
                  </a:lnTo>
                  <a:lnTo>
                    <a:pt x="1605716" y="733429"/>
                  </a:lnTo>
                  <a:lnTo>
                    <a:pt x="1605433" y="734551"/>
                  </a:lnTo>
                  <a:lnTo>
                    <a:pt x="1604799" y="736348"/>
                  </a:lnTo>
                  <a:lnTo>
                    <a:pt x="1604253" y="738052"/>
                  </a:lnTo>
                  <a:lnTo>
                    <a:pt x="1604244" y="738896"/>
                  </a:lnTo>
                  <a:lnTo>
                    <a:pt x="1604075" y="739345"/>
                  </a:lnTo>
                  <a:lnTo>
                    <a:pt x="1603306" y="740167"/>
                  </a:lnTo>
                  <a:lnTo>
                    <a:pt x="1602391" y="740919"/>
                  </a:lnTo>
                  <a:lnTo>
                    <a:pt x="1601782" y="741183"/>
                  </a:lnTo>
                  <a:lnTo>
                    <a:pt x="1601481" y="740341"/>
                  </a:lnTo>
                  <a:lnTo>
                    <a:pt x="1601995" y="738940"/>
                  </a:lnTo>
                  <a:lnTo>
                    <a:pt x="1602893" y="737635"/>
                  </a:lnTo>
                  <a:lnTo>
                    <a:pt x="1603743" y="737091"/>
                  </a:lnTo>
                  <a:lnTo>
                    <a:pt x="1603291" y="734814"/>
                  </a:lnTo>
                  <a:lnTo>
                    <a:pt x="1601103" y="734319"/>
                  </a:lnTo>
                  <a:lnTo>
                    <a:pt x="1598338" y="735022"/>
                  </a:lnTo>
                  <a:lnTo>
                    <a:pt x="1596148" y="736373"/>
                  </a:lnTo>
                  <a:lnTo>
                    <a:pt x="1595317" y="737537"/>
                  </a:lnTo>
                  <a:lnTo>
                    <a:pt x="1593587" y="740568"/>
                  </a:lnTo>
                  <a:lnTo>
                    <a:pt x="1592757" y="741415"/>
                  </a:lnTo>
                  <a:lnTo>
                    <a:pt x="1592569" y="741115"/>
                  </a:lnTo>
                  <a:lnTo>
                    <a:pt x="1592347" y="738687"/>
                  </a:lnTo>
                  <a:lnTo>
                    <a:pt x="1591050" y="737512"/>
                  </a:lnTo>
                  <a:lnTo>
                    <a:pt x="1590867" y="736671"/>
                  </a:lnTo>
                  <a:lnTo>
                    <a:pt x="1591164" y="736473"/>
                  </a:lnTo>
                  <a:lnTo>
                    <a:pt x="1591969" y="735515"/>
                  </a:lnTo>
                  <a:lnTo>
                    <a:pt x="1591465" y="734367"/>
                  </a:lnTo>
                  <a:lnTo>
                    <a:pt x="1591361" y="733476"/>
                  </a:lnTo>
                  <a:lnTo>
                    <a:pt x="1591442" y="732437"/>
                  </a:lnTo>
                  <a:lnTo>
                    <a:pt x="1591358" y="731753"/>
                  </a:lnTo>
                  <a:lnTo>
                    <a:pt x="1590168" y="730657"/>
                  </a:lnTo>
                  <a:lnTo>
                    <a:pt x="1588104" y="726715"/>
                  </a:lnTo>
                  <a:lnTo>
                    <a:pt x="1585326" y="724226"/>
                  </a:lnTo>
                  <a:lnTo>
                    <a:pt x="1585362" y="722399"/>
                  </a:lnTo>
                  <a:lnTo>
                    <a:pt x="1580019" y="721490"/>
                  </a:lnTo>
                  <a:lnTo>
                    <a:pt x="1579084" y="720219"/>
                  </a:lnTo>
                  <a:lnTo>
                    <a:pt x="1578448" y="719915"/>
                  </a:lnTo>
                  <a:lnTo>
                    <a:pt x="1577514" y="720412"/>
                  </a:lnTo>
                  <a:lnTo>
                    <a:pt x="1577581" y="720601"/>
                  </a:lnTo>
                  <a:lnTo>
                    <a:pt x="1577638" y="721128"/>
                  </a:lnTo>
                  <a:lnTo>
                    <a:pt x="1577715" y="721311"/>
                  </a:lnTo>
                  <a:lnTo>
                    <a:pt x="1576439" y="723081"/>
                  </a:lnTo>
                  <a:lnTo>
                    <a:pt x="1575887" y="724048"/>
                  </a:lnTo>
                  <a:lnTo>
                    <a:pt x="1575924" y="724596"/>
                  </a:lnTo>
                  <a:lnTo>
                    <a:pt x="1576018" y="724800"/>
                  </a:lnTo>
                  <a:lnTo>
                    <a:pt x="1575905" y="725168"/>
                  </a:lnTo>
                  <a:lnTo>
                    <a:pt x="1575660" y="725618"/>
                  </a:lnTo>
                  <a:lnTo>
                    <a:pt x="1575364" y="726046"/>
                  </a:lnTo>
                  <a:lnTo>
                    <a:pt x="1575034" y="726160"/>
                  </a:lnTo>
                  <a:lnTo>
                    <a:pt x="1574024" y="725467"/>
                  </a:lnTo>
                  <a:lnTo>
                    <a:pt x="1567689" y="727593"/>
                  </a:lnTo>
                  <a:lnTo>
                    <a:pt x="1566249" y="727517"/>
                  </a:lnTo>
                  <a:lnTo>
                    <a:pt x="1561986" y="724556"/>
                  </a:lnTo>
                  <a:lnTo>
                    <a:pt x="1560939" y="719743"/>
                  </a:lnTo>
                  <a:lnTo>
                    <a:pt x="1562107" y="719993"/>
                  </a:lnTo>
                  <a:lnTo>
                    <a:pt x="1563574" y="719708"/>
                  </a:lnTo>
                  <a:lnTo>
                    <a:pt x="1565313" y="718699"/>
                  </a:lnTo>
                  <a:lnTo>
                    <a:pt x="1567298" y="716777"/>
                  </a:lnTo>
                  <a:lnTo>
                    <a:pt x="1566821" y="716713"/>
                  </a:lnTo>
                  <a:lnTo>
                    <a:pt x="1565598" y="717364"/>
                  </a:lnTo>
                  <a:lnTo>
                    <a:pt x="1565092" y="717437"/>
                  </a:lnTo>
                  <a:lnTo>
                    <a:pt x="1563696" y="715922"/>
                  </a:lnTo>
                  <a:lnTo>
                    <a:pt x="1564531" y="715587"/>
                  </a:lnTo>
                  <a:lnTo>
                    <a:pt x="1566610" y="715660"/>
                  </a:lnTo>
                  <a:lnTo>
                    <a:pt x="1569717" y="713693"/>
                  </a:lnTo>
                  <a:lnTo>
                    <a:pt x="1569821" y="713001"/>
                  </a:lnTo>
                  <a:lnTo>
                    <a:pt x="1571284" y="711689"/>
                  </a:lnTo>
                  <a:lnTo>
                    <a:pt x="1572621" y="710108"/>
                  </a:lnTo>
                  <a:lnTo>
                    <a:pt x="1573274" y="708649"/>
                  </a:lnTo>
                  <a:lnTo>
                    <a:pt x="1572701" y="707685"/>
                  </a:lnTo>
                  <a:lnTo>
                    <a:pt x="1567913" y="706454"/>
                  </a:lnTo>
                  <a:lnTo>
                    <a:pt x="1568738" y="705852"/>
                  </a:lnTo>
                  <a:lnTo>
                    <a:pt x="1574274" y="705931"/>
                  </a:lnTo>
                  <a:lnTo>
                    <a:pt x="1574091" y="705138"/>
                  </a:lnTo>
                  <a:lnTo>
                    <a:pt x="1573664" y="704762"/>
                  </a:lnTo>
                  <a:lnTo>
                    <a:pt x="1572600" y="704454"/>
                  </a:lnTo>
                  <a:lnTo>
                    <a:pt x="1573406" y="702669"/>
                  </a:lnTo>
                  <a:lnTo>
                    <a:pt x="1572981" y="701697"/>
                  </a:lnTo>
                  <a:lnTo>
                    <a:pt x="1571604" y="700682"/>
                  </a:lnTo>
                  <a:lnTo>
                    <a:pt x="1568111" y="702005"/>
                  </a:lnTo>
                  <a:lnTo>
                    <a:pt x="1567125" y="702034"/>
                  </a:lnTo>
                  <a:lnTo>
                    <a:pt x="1566752" y="701324"/>
                  </a:lnTo>
                  <a:lnTo>
                    <a:pt x="1566426" y="701441"/>
                  </a:lnTo>
                  <a:lnTo>
                    <a:pt x="1565769" y="702616"/>
                  </a:lnTo>
                  <a:lnTo>
                    <a:pt x="1565301" y="703220"/>
                  </a:lnTo>
                  <a:lnTo>
                    <a:pt x="1563168" y="705172"/>
                  </a:lnTo>
                  <a:lnTo>
                    <a:pt x="1561778" y="705942"/>
                  </a:lnTo>
                  <a:lnTo>
                    <a:pt x="1560578" y="706132"/>
                  </a:lnTo>
                  <a:lnTo>
                    <a:pt x="1558611" y="705576"/>
                  </a:lnTo>
                  <a:lnTo>
                    <a:pt x="1559238" y="705210"/>
                  </a:lnTo>
                  <a:lnTo>
                    <a:pt x="1560296" y="704910"/>
                  </a:lnTo>
                  <a:lnTo>
                    <a:pt x="1561032" y="704218"/>
                  </a:lnTo>
                  <a:lnTo>
                    <a:pt x="1561107" y="702840"/>
                  </a:lnTo>
                  <a:lnTo>
                    <a:pt x="1561048" y="702517"/>
                  </a:lnTo>
                  <a:lnTo>
                    <a:pt x="1562611" y="702137"/>
                  </a:lnTo>
                  <a:lnTo>
                    <a:pt x="1563148" y="701447"/>
                  </a:lnTo>
                  <a:lnTo>
                    <a:pt x="1563780" y="700358"/>
                  </a:lnTo>
                  <a:lnTo>
                    <a:pt x="1564287" y="699904"/>
                  </a:lnTo>
                  <a:lnTo>
                    <a:pt x="1564673" y="699901"/>
                  </a:lnTo>
                  <a:lnTo>
                    <a:pt x="1564933" y="700168"/>
                  </a:lnTo>
                  <a:lnTo>
                    <a:pt x="1565133" y="699319"/>
                  </a:lnTo>
                  <a:lnTo>
                    <a:pt x="1565228" y="698621"/>
                  </a:lnTo>
                  <a:lnTo>
                    <a:pt x="1565210" y="698103"/>
                  </a:lnTo>
                  <a:lnTo>
                    <a:pt x="1565074" y="697779"/>
                  </a:lnTo>
                  <a:lnTo>
                    <a:pt x="1566070" y="696877"/>
                  </a:lnTo>
                  <a:lnTo>
                    <a:pt x="1566574" y="697793"/>
                  </a:lnTo>
                  <a:lnTo>
                    <a:pt x="1567260" y="698196"/>
                  </a:lnTo>
                  <a:lnTo>
                    <a:pt x="1570523" y="693086"/>
                  </a:lnTo>
                  <a:lnTo>
                    <a:pt x="1571497" y="693403"/>
                  </a:lnTo>
                  <a:lnTo>
                    <a:pt x="1572201" y="694682"/>
                  </a:lnTo>
                  <a:lnTo>
                    <a:pt x="1573121" y="694914"/>
                  </a:lnTo>
                  <a:lnTo>
                    <a:pt x="1572781" y="694764"/>
                  </a:lnTo>
                  <a:lnTo>
                    <a:pt x="1573814" y="693400"/>
                  </a:lnTo>
                  <a:lnTo>
                    <a:pt x="1574732" y="692830"/>
                  </a:lnTo>
                  <a:lnTo>
                    <a:pt x="1576320" y="692338"/>
                  </a:lnTo>
                  <a:lnTo>
                    <a:pt x="1576829" y="691664"/>
                  </a:lnTo>
                  <a:lnTo>
                    <a:pt x="1577323" y="690553"/>
                  </a:lnTo>
                  <a:lnTo>
                    <a:pt x="1577676" y="689427"/>
                  </a:lnTo>
                  <a:lnTo>
                    <a:pt x="1577754" y="688744"/>
                  </a:lnTo>
                  <a:lnTo>
                    <a:pt x="1579331" y="686295"/>
                  </a:lnTo>
                  <a:lnTo>
                    <a:pt x="1580486" y="684858"/>
                  </a:lnTo>
                  <a:lnTo>
                    <a:pt x="1581523" y="684049"/>
                  </a:lnTo>
                  <a:lnTo>
                    <a:pt x="1586164" y="682751"/>
                  </a:lnTo>
                  <a:lnTo>
                    <a:pt x="1588321" y="681029"/>
                  </a:lnTo>
                  <a:lnTo>
                    <a:pt x="1589049" y="680834"/>
                  </a:lnTo>
                  <a:lnTo>
                    <a:pt x="1600167" y="682217"/>
                  </a:lnTo>
                  <a:lnTo>
                    <a:pt x="1603906" y="685249"/>
                  </a:lnTo>
                  <a:lnTo>
                    <a:pt x="1609804" y="686345"/>
                  </a:lnTo>
                  <a:lnTo>
                    <a:pt x="1611284" y="685639"/>
                  </a:lnTo>
                  <a:lnTo>
                    <a:pt x="1611678" y="685169"/>
                  </a:lnTo>
                  <a:lnTo>
                    <a:pt x="1612001" y="684582"/>
                  </a:lnTo>
                  <a:lnTo>
                    <a:pt x="1612198" y="684107"/>
                  </a:lnTo>
                  <a:lnTo>
                    <a:pt x="1612214" y="683969"/>
                  </a:lnTo>
                  <a:lnTo>
                    <a:pt x="1612536" y="683633"/>
                  </a:lnTo>
                  <a:lnTo>
                    <a:pt x="1615665" y="681302"/>
                  </a:lnTo>
                  <a:lnTo>
                    <a:pt x="1616615" y="680088"/>
                  </a:lnTo>
                  <a:lnTo>
                    <a:pt x="1618275" y="676032"/>
                  </a:lnTo>
                  <a:lnTo>
                    <a:pt x="1619976" y="674915"/>
                  </a:lnTo>
                  <a:lnTo>
                    <a:pt x="1621451" y="674573"/>
                  </a:lnTo>
                  <a:lnTo>
                    <a:pt x="1622442" y="672838"/>
                  </a:lnTo>
                  <a:lnTo>
                    <a:pt x="1624430" y="672069"/>
                  </a:lnTo>
                  <a:lnTo>
                    <a:pt x="1625551" y="671161"/>
                  </a:lnTo>
                  <a:lnTo>
                    <a:pt x="1626634" y="669377"/>
                  </a:lnTo>
                  <a:lnTo>
                    <a:pt x="1627668" y="667213"/>
                  </a:lnTo>
                  <a:lnTo>
                    <a:pt x="1628601" y="665694"/>
                  </a:lnTo>
                  <a:lnTo>
                    <a:pt x="1629430" y="664861"/>
                  </a:lnTo>
                  <a:lnTo>
                    <a:pt x="1630151" y="664756"/>
                  </a:lnTo>
                  <a:lnTo>
                    <a:pt x="1630441" y="665102"/>
                  </a:lnTo>
                  <a:lnTo>
                    <a:pt x="1630631" y="667156"/>
                  </a:lnTo>
                  <a:lnTo>
                    <a:pt x="1630947" y="667545"/>
                  </a:lnTo>
                  <a:lnTo>
                    <a:pt x="1632703" y="666685"/>
                  </a:lnTo>
                  <a:lnTo>
                    <a:pt x="1635972" y="666692"/>
                  </a:lnTo>
                  <a:lnTo>
                    <a:pt x="1640074" y="663863"/>
                  </a:lnTo>
                  <a:lnTo>
                    <a:pt x="1647263" y="663746"/>
                  </a:lnTo>
                  <a:lnTo>
                    <a:pt x="1648293" y="663108"/>
                  </a:lnTo>
                  <a:lnTo>
                    <a:pt x="1649225" y="661677"/>
                  </a:lnTo>
                  <a:lnTo>
                    <a:pt x="1653868" y="659923"/>
                  </a:lnTo>
                  <a:lnTo>
                    <a:pt x="1653890" y="659550"/>
                  </a:lnTo>
                  <a:lnTo>
                    <a:pt x="1654003" y="658670"/>
                  </a:lnTo>
                  <a:lnTo>
                    <a:pt x="1653998" y="658305"/>
                  </a:lnTo>
                  <a:lnTo>
                    <a:pt x="1654251" y="658029"/>
                  </a:lnTo>
                  <a:lnTo>
                    <a:pt x="1654797" y="657359"/>
                  </a:lnTo>
                  <a:lnTo>
                    <a:pt x="1655047" y="657129"/>
                  </a:lnTo>
                  <a:lnTo>
                    <a:pt x="1654807" y="656652"/>
                  </a:lnTo>
                  <a:lnTo>
                    <a:pt x="1654687" y="655908"/>
                  </a:lnTo>
                  <a:lnTo>
                    <a:pt x="1654682" y="654951"/>
                  </a:lnTo>
                  <a:lnTo>
                    <a:pt x="1654763" y="653881"/>
                  </a:lnTo>
                  <a:lnTo>
                    <a:pt x="1657142" y="652053"/>
                  </a:lnTo>
                  <a:lnTo>
                    <a:pt x="1660820" y="652354"/>
                  </a:lnTo>
                  <a:lnTo>
                    <a:pt x="1663411" y="649966"/>
                  </a:lnTo>
                  <a:lnTo>
                    <a:pt x="1663224" y="649597"/>
                  </a:lnTo>
                  <a:lnTo>
                    <a:pt x="1663323" y="648911"/>
                  </a:lnTo>
                  <a:lnTo>
                    <a:pt x="1663663" y="648174"/>
                  </a:lnTo>
                  <a:lnTo>
                    <a:pt x="1664195" y="647669"/>
                  </a:lnTo>
                  <a:lnTo>
                    <a:pt x="1666111" y="647038"/>
                  </a:lnTo>
                  <a:lnTo>
                    <a:pt x="1666567" y="647218"/>
                  </a:lnTo>
                  <a:lnTo>
                    <a:pt x="1667311" y="644754"/>
                  </a:lnTo>
                  <a:lnTo>
                    <a:pt x="1668288" y="643248"/>
                  </a:lnTo>
                  <a:lnTo>
                    <a:pt x="1669302" y="642455"/>
                  </a:lnTo>
                  <a:lnTo>
                    <a:pt x="1670121" y="642215"/>
                  </a:lnTo>
                  <a:lnTo>
                    <a:pt x="1671576" y="643327"/>
                  </a:lnTo>
                  <a:lnTo>
                    <a:pt x="1672560" y="643226"/>
                  </a:lnTo>
                  <a:lnTo>
                    <a:pt x="1673936" y="641319"/>
                  </a:lnTo>
                  <a:lnTo>
                    <a:pt x="1673885" y="640566"/>
                  </a:lnTo>
                  <a:lnTo>
                    <a:pt x="1674580" y="640262"/>
                  </a:lnTo>
                  <a:lnTo>
                    <a:pt x="1675751" y="640409"/>
                  </a:lnTo>
                  <a:lnTo>
                    <a:pt x="1676587" y="639517"/>
                  </a:lnTo>
                  <a:lnTo>
                    <a:pt x="1677144" y="638393"/>
                  </a:lnTo>
                  <a:lnTo>
                    <a:pt x="1677650" y="637173"/>
                  </a:lnTo>
                  <a:lnTo>
                    <a:pt x="1678190" y="636247"/>
                  </a:lnTo>
                  <a:lnTo>
                    <a:pt x="1681265" y="635386"/>
                  </a:lnTo>
                  <a:lnTo>
                    <a:pt x="1682938" y="635998"/>
                  </a:lnTo>
                  <a:lnTo>
                    <a:pt x="1683748" y="635474"/>
                  </a:lnTo>
                  <a:lnTo>
                    <a:pt x="1684549" y="633576"/>
                  </a:lnTo>
                  <a:lnTo>
                    <a:pt x="1685563" y="632879"/>
                  </a:lnTo>
                  <a:lnTo>
                    <a:pt x="1690688" y="631490"/>
                  </a:lnTo>
                  <a:lnTo>
                    <a:pt x="1692034" y="630610"/>
                  </a:lnTo>
                  <a:lnTo>
                    <a:pt x="1692840" y="629561"/>
                  </a:lnTo>
                  <a:lnTo>
                    <a:pt x="1694967" y="626304"/>
                  </a:lnTo>
                  <a:lnTo>
                    <a:pt x="1695535" y="625658"/>
                  </a:lnTo>
                  <a:lnTo>
                    <a:pt x="1695857" y="625221"/>
                  </a:lnTo>
                  <a:lnTo>
                    <a:pt x="1698153" y="621725"/>
                  </a:lnTo>
                  <a:lnTo>
                    <a:pt x="1698942" y="621148"/>
                  </a:lnTo>
                  <a:lnTo>
                    <a:pt x="1700156" y="620612"/>
                  </a:lnTo>
                  <a:lnTo>
                    <a:pt x="1701434" y="619618"/>
                  </a:lnTo>
                  <a:lnTo>
                    <a:pt x="1702469" y="619156"/>
                  </a:lnTo>
                  <a:lnTo>
                    <a:pt x="1703362" y="619098"/>
                  </a:lnTo>
                  <a:lnTo>
                    <a:pt x="1706674" y="621339"/>
                  </a:lnTo>
                  <a:lnTo>
                    <a:pt x="1709375" y="620345"/>
                  </a:lnTo>
                  <a:lnTo>
                    <a:pt x="1709990" y="619898"/>
                  </a:lnTo>
                  <a:lnTo>
                    <a:pt x="1711190" y="618586"/>
                  </a:lnTo>
                  <a:lnTo>
                    <a:pt x="1711601" y="618365"/>
                  </a:lnTo>
                  <a:lnTo>
                    <a:pt x="1712178" y="619357"/>
                  </a:lnTo>
                  <a:lnTo>
                    <a:pt x="1712698" y="619549"/>
                  </a:lnTo>
                  <a:lnTo>
                    <a:pt x="1714433" y="619027"/>
                  </a:lnTo>
                  <a:lnTo>
                    <a:pt x="1720215" y="621374"/>
                  </a:lnTo>
                  <a:lnTo>
                    <a:pt x="1726009" y="623697"/>
                  </a:lnTo>
                  <a:lnTo>
                    <a:pt x="1728508" y="622269"/>
                  </a:lnTo>
                  <a:lnTo>
                    <a:pt x="1734526" y="623236"/>
                  </a:lnTo>
                  <a:lnTo>
                    <a:pt x="1734265" y="623933"/>
                  </a:lnTo>
                  <a:lnTo>
                    <a:pt x="1733637" y="623740"/>
                  </a:lnTo>
                  <a:lnTo>
                    <a:pt x="1731945" y="624522"/>
                  </a:lnTo>
                  <a:lnTo>
                    <a:pt x="1731268" y="624442"/>
                  </a:lnTo>
                  <a:lnTo>
                    <a:pt x="1731554" y="625538"/>
                  </a:lnTo>
                  <a:lnTo>
                    <a:pt x="1735025" y="625532"/>
                  </a:lnTo>
                  <a:lnTo>
                    <a:pt x="1735274" y="625853"/>
                  </a:lnTo>
                  <a:lnTo>
                    <a:pt x="1735320" y="626512"/>
                  </a:lnTo>
                  <a:lnTo>
                    <a:pt x="1735146" y="628336"/>
                  </a:lnTo>
                  <a:lnTo>
                    <a:pt x="1735163" y="628965"/>
                  </a:lnTo>
                  <a:lnTo>
                    <a:pt x="1735402" y="629311"/>
                  </a:lnTo>
                  <a:lnTo>
                    <a:pt x="1736567" y="629455"/>
                  </a:lnTo>
                  <a:lnTo>
                    <a:pt x="1736909" y="629781"/>
                  </a:lnTo>
                  <a:lnTo>
                    <a:pt x="1737601" y="631385"/>
                  </a:lnTo>
                  <a:lnTo>
                    <a:pt x="1741011" y="631780"/>
                  </a:lnTo>
                  <a:lnTo>
                    <a:pt x="1741026" y="632093"/>
                  </a:lnTo>
                  <a:lnTo>
                    <a:pt x="1740700" y="633497"/>
                  </a:lnTo>
                  <a:lnTo>
                    <a:pt x="1740682" y="634024"/>
                  </a:lnTo>
                  <a:lnTo>
                    <a:pt x="1740988" y="634411"/>
                  </a:lnTo>
                  <a:lnTo>
                    <a:pt x="1742374" y="634607"/>
                  </a:lnTo>
                  <a:lnTo>
                    <a:pt x="1743414" y="636005"/>
                  </a:lnTo>
                  <a:lnTo>
                    <a:pt x="1744108" y="638202"/>
                  </a:lnTo>
                  <a:lnTo>
                    <a:pt x="1744676" y="638802"/>
                  </a:lnTo>
                  <a:lnTo>
                    <a:pt x="1747489" y="637922"/>
                  </a:lnTo>
                  <a:lnTo>
                    <a:pt x="1749315" y="639561"/>
                  </a:lnTo>
                  <a:lnTo>
                    <a:pt x="1750306" y="638873"/>
                  </a:lnTo>
                  <a:lnTo>
                    <a:pt x="1750212" y="635177"/>
                  </a:lnTo>
                  <a:lnTo>
                    <a:pt x="1749854" y="633931"/>
                  </a:lnTo>
                  <a:lnTo>
                    <a:pt x="1748626" y="634324"/>
                  </a:lnTo>
                  <a:lnTo>
                    <a:pt x="1748219" y="634157"/>
                  </a:lnTo>
                  <a:lnTo>
                    <a:pt x="1747995" y="633633"/>
                  </a:lnTo>
                  <a:lnTo>
                    <a:pt x="1748143" y="632730"/>
                  </a:lnTo>
                  <a:lnTo>
                    <a:pt x="1748716" y="631682"/>
                  </a:lnTo>
                  <a:lnTo>
                    <a:pt x="1749274" y="631395"/>
                  </a:lnTo>
                  <a:lnTo>
                    <a:pt x="1751655" y="633451"/>
                  </a:lnTo>
                  <a:lnTo>
                    <a:pt x="1754328" y="638323"/>
                  </a:lnTo>
                  <a:lnTo>
                    <a:pt x="1755342" y="638852"/>
                  </a:lnTo>
                  <a:lnTo>
                    <a:pt x="1756609" y="637848"/>
                  </a:lnTo>
                  <a:lnTo>
                    <a:pt x="1756468" y="637554"/>
                  </a:lnTo>
                  <a:lnTo>
                    <a:pt x="1756340" y="636196"/>
                  </a:lnTo>
                  <a:lnTo>
                    <a:pt x="1757727" y="635223"/>
                  </a:lnTo>
                  <a:lnTo>
                    <a:pt x="1760269" y="634305"/>
                  </a:lnTo>
                  <a:lnTo>
                    <a:pt x="1761792" y="632535"/>
                  </a:lnTo>
                  <a:lnTo>
                    <a:pt x="1761372" y="631600"/>
                  </a:lnTo>
                  <a:lnTo>
                    <a:pt x="1759912" y="630725"/>
                  </a:lnTo>
                  <a:lnTo>
                    <a:pt x="1759081" y="630854"/>
                  </a:lnTo>
                  <a:lnTo>
                    <a:pt x="1757465" y="631896"/>
                  </a:lnTo>
                  <a:lnTo>
                    <a:pt x="1756908" y="631650"/>
                  </a:lnTo>
                  <a:lnTo>
                    <a:pt x="1757628" y="629587"/>
                  </a:lnTo>
                  <a:lnTo>
                    <a:pt x="1755328" y="629582"/>
                  </a:lnTo>
                  <a:lnTo>
                    <a:pt x="1754255" y="628979"/>
                  </a:lnTo>
                  <a:lnTo>
                    <a:pt x="1754307" y="627260"/>
                  </a:lnTo>
                  <a:lnTo>
                    <a:pt x="1754505" y="625414"/>
                  </a:lnTo>
                  <a:lnTo>
                    <a:pt x="1752817" y="621706"/>
                  </a:lnTo>
                  <a:lnTo>
                    <a:pt x="1753630" y="620897"/>
                  </a:lnTo>
                  <a:lnTo>
                    <a:pt x="1754391" y="620418"/>
                  </a:lnTo>
                  <a:lnTo>
                    <a:pt x="1755607" y="620222"/>
                  </a:lnTo>
                  <a:lnTo>
                    <a:pt x="1754951" y="621569"/>
                  </a:lnTo>
                  <a:lnTo>
                    <a:pt x="1755174" y="622088"/>
                  </a:lnTo>
                  <a:lnTo>
                    <a:pt x="1755581" y="622141"/>
                  </a:lnTo>
                  <a:lnTo>
                    <a:pt x="1756650" y="621619"/>
                  </a:lnTo>
                  <a:lnTo>
                    <a:pt x="1757235" y="621555"/>
                  </a:lnTo>
                  <a:lnTo>
                    <a:pt x="1758199" y="622070"/>
                  </a:lnTo>
                  <a:lnTo>
                    <a:pt x="1758802" y="621936"/>
                  </a:lnTo>
                  <a:lnTo>
                    <a:pt x="1763750" y="619112"/>
                  </a:lnTo>
                  <a:lnTo>
                    <a:pt x="1763592" y="618337"/>
                  </a:lnTo>
                  <a:lnTo>
                    <a:pt x="1760424" y="616366"/>
                  </a:lnTo>
                  <a:close/>
                  <a:moveTo>
                    <a:pt x="2093440" y="605302"/>
                  </a:moveTo>
                  <a:lnTo>
                    <a:pt x="2094819" y="606334"/>
                  </a:lnTo>
                  <a:lnTo>
                    <a:pt x="2095501" y="607424"/>
                  </a:lnTo>
                  <a:lnTo>
                    <a:pt x="2095626" y="609567"/>
                  </a:lnTo>
                  <a:lnTo>
                    <a:pt x="2095557" y="610620"/>
                  </a:lnTo>
                  <a:lnTo>
                    <a:pt x="2095552" y="611327"/>
                  </a:lnTo>
                  <a:lnTo>
                    <a:pt x="2095500" y="611971"/>
                  </a:lnTo>
                  <a:lnTo>
                    <a:pt x="2095291" y="612826"/>
                  </a:lnTo>
                  <a:lnTo>
                    <a:pt x="2094874" y="613502"/>
                  </a:lnTo>
                  <a:lnTo>
                    <a:pt x="2093174" y="614544"/>
                  </a:lnTo>
                  <a:lnTo>
                    <a:pt x="2088473" y="620816"/>
                  </a:lnTo>
                  <a:lnTo>
                    <a:pt x="2087534" y="621225"/>
                  </a:lnTo>
                  <a:lnTo>
                    <a:pt x="2084273" y="620273"/>
                  </a:lnTo>
                  <a:lnTo>
                    <a:pt x="2083621" y="618994"/>
                  </a:lnTo>
                  <a:lnTo>
                    <a:pt x="2083547" y="616580"/>
                  </a:lnTo>
                  <a:lnTo>
                    <a:pt x="2084017" y="614665"/>
                  </a:lnTo>
                  <a:lnTo>
                    <a:pt x="2084790" y="613020"/>
                  </a:lnTo>
                  <a:lnTo>
                    <a:pt x="2089626" y="606342"/>
                  </a:lnTo>
                  <a:lnTo>
                    <a:pt x="2090634" y="605515"/>
                  </a:lnTo>
                  <a:close/>
                  <a:moveTo>
                    <a:pt x="1903962" y="593931"/>
                  </a:moveTo>
                  <a:lnTo>
                    <a:pt x="1905340" y="595099"/>
                  </a:lnTo>
                  <a:lnTo>
                    <a:pt x="1910109" y="594611"/>
                  </a:lnTo>
                  <a:lnTo>
                    <a:pt x="1910202" y="594823"/>
                  </a:lnTo>
                  <a:lnTo>
                    <a:pt x="1910112" y="595287"/>
                  </a:lnTo>
                  <a:lnTo>
                    <a:pt x="1909969" y="595882"/>
                  </a:lnTo>
                  <a:lnTo>
                    <a:pt x="1909886" y="596528"/>
                  </a:lnTo>
                  <a:lnTo>
                    <a:pt x="1910106" y="597240"/>
                  </a:lnTo>
                  <a:lnTo>
                    <a:pt x="1912631" y="598320"/>
                  </a:lnTo>
                  <a:lnTo>
                    <a:pt x="1913603" y="597941"/>
                  </a:lnTo>
                  <a:lnTo>
                    <a:pt x="1916821" y="595379"/>
                  </a:lnTo>
                  <a:lnTo>
                    <a:pt x="1924588" y="597370"/>
                  </a:lnTo>
                  <a:lnTo>
                    <a:pt x="1932369" y="599317"/>
                  </a:lnTo>
                  <a:lnTo>
                    <a:pt x="1939117" y="600967"/>
                  </a:lnTo>
                  <a:lnTo>
                    <a:pt x="1940640" y="603879"/>
                  </a:lnTo>
                  <a:lnTo>
                    <a:pt x="1940666" y="606076"/>
                  </a:lnTo>
                  <a:lnTo>
                    <a:pt x="1939701" y="608315"/>
                  </a:lnTo>
                  <a:lnTo>
                    <a:pt x="1937555" y="611756"/>
                  </a:lnTo>
                  <a:lnTo>
                    <a:pt x="1936733" y="613786"/>
                  </a:lnTo>
                  <a:lnTo>
                    <a:pt x="1936378" y="614333"/>
                  </a:lnTo>
                  <a:lnTo>
                    <a:pt x="1933606" y="616141"/>
                  </a:lnTo>
                  <a:lnTo>
                    <a:pt x="1928296" y="617046"/>
                  </a:lnTo>
                  <a:lnTo>
                    <a:pt x="1925347" y="617536"/>
                  </a:lnTo>
                  <a:lnTo>
                    <a:pt x="1922511" y="619490"/>
                  </a:lnTo>
                  <a:lnTo>
                    <a:pt x="1915223" y="619441"/>
                  </a:lnTo>
                  <a:lnTo>
                    <a:pt x="1907927" y="619355"/>
                  </a:lnTo>
                  <a:lnTo>
                    <a:pt x="1906098" y="620781"/>
                  </a:lnTo>
                  <a:lnTo>
                    <a:pt x="1905798" y="624268"/>
                  </a:lnTo>
                  <a:lnTo>
                    <a:pt x="1907670" y="626651"/>
                  </a:lnTo>
                  <a:lnTo>
                    <a:pt x="1907711" y="628777"/>
                  </a:lnTo>
                  <a:lnTo>
                    <a:pt x="1908015" y="630895"/>
                  </a:lnTo>
                  <a:lnTo>
                    <a:pt x="1915273" y="631723"/>
                  </a:lnTo>
                  <a:lnTo>
                    <a:pt x="1917003" y="630833"/>
                  </a:lnTo>
                  <a:lnTo>
                    <a:pt x="1921804" y="632258"/>
                  </a:lnTo>
                  <a:lnTo>
                    <a:pt x="1922166" y="632923"/>
                  </a:lnTo>
                  <a:lnTo>
                    <a:pt x="1922326" y="634257"/>
                  </a:lnTo>
                  <a:lnTo>
                    <a:pt x="1922204" y="635556"/>
                  </a:lnTo>
                  <a:lnTo>
                    <a:pt x="1921728" y="636090"/>
                  </a:lnTo>
                  <a:lnTo>
                    <a:pt x="1921596" y="637148"/>
                  </a:lnTo>
                  <a:lnTo>
                    <a:pt x="1921563" y="637569"/>
                  </a:lnTo>
                  <a:lnTo>
                    <a:pt x="1920401" y="640137"/>
                  </a:lnTo>
                  <a:lnTo>
                    <a:pt x="1920260" y="640314"/>
                  </a:lnTo>
                  <a:lnTo>
                    <a:pt x="1920057" y="641750"/>
                  </a:lnTo>
                  <a:lnTo>
                    <a:pt x="1920125" y="642775"/>
                  </a:lnTo>
                  <a:lnTo>
                    <a:pt x="1920522" y="644160"/>
                  </a:lnTo>
                  <a:lnTo>
                    <a:pt x="1920362" y="644478"/>
                  </a:lnTo>
                  <a:lnTo>
                    <a:pt x="1920037" y="645219"/>
                  </a:lnTo>
                  <a:lnTo>
                    <a:pt x="1919878" y="645528"/>
                  </a:lnTo>
                  <a:lnTo>
                    <a:pt x="1919947" y="646210"/>
                  </a:lnTo>
                  <a:lnTo>
                    <a:pt x="1920073" y="646720"/>
                  </a:lnTo>
                  <a:lnTo>
                    <a:pt x="1920254" y="647034"/>
                  </a:lnTo>
                  <a:lnTo>
                    <a:pt x="1920485" y="647174"/>
                  </a:lnTo>
                  <a:lnTo>
                    <a:pt x="1919843" y="648403"/>
                  </a:lnTo>
                  <a:lnTo>
                    <a:pt x="1919154" y="649052"/>
                  </a:lnTo>
                  <a:lnTo>
                    <a:pt x="1917921" y="649652"/>
                  </a:lnTo>
                  <a:lnTo>
                    <a:pt x="1917167" y="650336"/>
                  </a:lnTo>
                  <a:lnTo>
                    <a:pt x="1916585" y="651229"/>
                  </a:lnTo>
                  <a:lnTo>
                    <a:pt x="1916460" y="652069"/>
                  </a:lnTo>
                  <a:lnTo>
                    <a:pt x="1917563" y="652849"/>
                  </a:lnTo>
                  <a:lnTo>
                    <a:pt x="1917790" y="653508"/>
                  </a:lnTo>
                  <a:lnTo>
                    <a:pt x="1917657" y="654643"/>
                  </a:lnTo>
                  <a:lnTo>
                    <a:pt x="1917052" y="656349"/>
                  </a:lnTo>
                  <a:lnTo>
                    <a:pt x="1916330" y="657546"/>
                  </a:lnTo>
                  <a:lnTo>
                    <a:pt x="1914942" y="658454"/>
                  </a:lnTo>
                  <a:lnTo>
                    <a:pt x="1912570" y="660997"/>
                  </a:lnTo>
                  <a:lnTo>
                    <a:pt x="1903516" y="664421"/>
                  </a:lnTo>
                  <a:lnTo>
                    <a:pt x="1900272" y="663965"/>
                  </a:lnTo>
                  <a:lnTo>
                    <a:pt x="1899193" y="664589"/>
                  </a:lnTo>
                  <a:lnTo>
                    <a:pt x="1898260" y="664295"/>
                  </a:lnTo>
                  <a:lnTo>
                    <a:pt x="1897944" y="664494"/>
                  </a:lnTo>
                  <a:lnTo>
                    <a:pt x="1896791" y="666240"/>
                  </a:lnTo>
                  <a:lnTo>
                    <a:pt x="1895247" y="667312"/>
                  </a:lnTo>
                  <a:lnTo>
                    <a:pt x="1888194" y="664709"/>
                  </a:lnTo>
                  <a:lnTo>
                    <a:pt x="1887157" y="663173"/>
                  </a:lnTo>
                  <a:lnTo>
                    <a:pt x="1886424" y="663136"/>
                  </a:lnTo>
                  <a:lnTo>
                    <a:pt x="1882886" y="665412"/>
                  </a:lnTo>
                  <a:lnTo>
                    <a:pt x="1870275" y="667970"/>
                  </a:lnTo>
                  <a:lnTo>
                    <a:pt x="1867117" y="669858"/>
                  </a:lnTo>
                  <a:lnTo>
                    <a:pt x="1864254" y="669539"/>
                  </a:lnTo>
                  <a:lnTo>
                    <a:pt x="1857135" y="662716"/>
                  </a:lnTo>
                  <a:lnTo>
                    <a:pt x="1856841" y="661555"/>
                  </a:lnTo>
                  <a:lnTo>
                    <a:pt x="1856775" y="660673"/>
                  </a:lnTo>
                  <a:lnTo>
                    <a:pt x="1856790" y="658033"/>
                  </a:lnTo>
                  <a:lnTo>
                    <a:pt x="1856484" y="653240"/>
                  </a:lnTo>
                  <a:lnTo>
                    <a:pt x="1855934" y="651934"/>
                  </a:lnTo>
                  <a:lnTo>
                    <a:pt x="1854876" y="652038"/>
                  </a:lnTo>
                  <a:lnTo>
                    <a:pt x="1853457" y="652740"/>
                  </a:lnTo>
                  <a:lnTo>
                    <a:pt x="1852243" y="652723"/>
                  </a:lnTo>
                  <a:lnTo>
                    <a:pt x="1849272" y="650106"/>
                  </a:lnTo>
                  <a:lnTo>
                    <a:pt x="1848826" y="649289"/>
                  </a:lnTo>
                  <a:lnTo>
                    <a:pt x="1848914" y="647932"/>
                  </a:lnTo>
                  <a:lnTo>
                    <a:pt x="1849294" y="645946"/>
                  </a:lnTo>
                  <a:lnTo>
                    <a:pt x="1849150" y="644881"/>
                  </a:lnTo>
                  <a:lnTo>
                    <a:pt x="1848390" y="643847"/>
                  </a:lnTo>
                  <a:lnTo>
                    <a:pt x="1845293" y="643397"/>
                  </a:lnTo>
                  <a:lnTo>
                    <a:pt x="1844897" y="641878"/>
                  </a:lnTo>
                  <a:lnTo>
                    <a:pt x="1845177" y="640152"/>
                  </a:lnTo>
                  <a:lnTo>
                    <a:pt x="1845636" y="638264"/>
                  </a:lnTo>
                  <a:lnTo>
                    <a:pt x="1845894" y="636705"/>
                  </a:lnTo>
                  <a:lnTo>
                    <a:pt x="1845583" y="635927"/>
                  </a:lnTo>
                  <a:lnTo>
                    <a:pt x="1846700" y="634189"/>
                  </a:lnTo>
                  <a:lnTo>
                    <a:pt x="1849224" y="633295"/>
                  </a:lnTo>
                  <a:lnTo>
                    <a:pt x="1850254" y="632579"/>
                  </a:lnTo>
                  <a:lnTo>
                    <a:pt x="1850058" y="631535"/>
                  </a:lnTo>
                  <a:lnTo>
                    <a:pt x="1849041" y="629183"/>
                  </a:lnTo>
                  <a:lnTo>
                    <a:pt x="1849196" y="629224"/>
                  </a:lnTo>
                  <a:lnTo>
                    <a:pt x="1849024" y="628296"/>
                  </a:lnTo>
                  <a:lnTo>
                    <a:pt x="1848209" y="627450"/>
                  </a:lnTo>
                  <a:lnTo>
                    <a:pt x="1847972" y="626531"/>
                  </a:lnTo>
                  <a:lnTo>
                    <a:pt x="1848424" y="626328"/>
                  </a:lnTo>
                  <a:lnTo>
                    <a:pt x="1849077" y="625658"/>
                  </a:lnTo>
                  <a:lnTo>
                    <a:pt x="1849711" y="624508"/>
                  </a:lnTo>
                  <a:lnTo>
                    <a:pt x="1850106" y="622846"/>
                  </a:lnTo>
                  <a:lnTo>
                    <a:pt x="1850045" y="621311"/>
                  </a:lnTo>
                  <a:lnTo>
                    <a:pt x="1850094" y="620895"/>
                  </a:lnTo>
                  <a:lnTo>
                    <a:pt x="1850482" y="620149"/>
                  </a:lnTo>
                  <a:lnTo>
                    <a:pt x="1850912" y="619826"/>
                  </a:lnTo>
                  <a:lnTo>
                    <a:pt x="1851561" y="619823"/>
                  </a:lnTo>
                  <a:lnTo>
                    <a:pt x="1850320" y="617252"/>
                  </a:lnTo>
                  <a:lnTo>
                    <a:pt x="1849985" y="615250"/>
                  </a:lnTo>
                  <a:lnTo>
                    <a:pt x="1850537" y="611878"/>
                  </a:lnTo>
                  <a:lnTo>
                    <a:pt x="1851707" y="608757"/>
                  </a:lnTo>
                  <a:lnTo>
                    <a:pt x="1853087" y="606479"/>
                  </a:lnTo>
                  <a:lnTo>
                    <a:pt x="1855473" y="603933"/>
                  </a:lnTo>
                  <a:lnTo>
                    <a:pt x="1855278" y="602285"/>
                  </a:lnTo>
                  <a:lnTo>
                    <a:pt x="1858026" y="601055"/>
                  </a:lnTo>
                  <a:lnTo>
                    <a:pt x="1859273" y="601372"/>
                  </a:lnTo>
                  <a:lnTo>
                    <a:pt x="1859722" y="603122"/>
                  </a:lnTo>
                  <a:lnTo>
                    <a:pt x="1859835" y="604139"/>
                  </a:lnTo>
                  <a:lnTo>
                    <a:pt x="1860239" y="604607"/>
                  </a:lnTo>
                  <a:lnTo>
                    <a:pt x="1860829" y="604600"/>
                  </a:lnTo>
                  <a:lnTo>
                    <a:pt x="1861507" y="604169"/>
                  </a:lnTo>
                  <a:lnTo>
                    <a:pt x="1862023" y="603406"/>
                  </a:lnTo>
                  <a:lnTo>
                    <a:pt x="1862529" y="602394"/>
                  </a:lnTo>
                  <a:lnTo>
                    <a:pt x="1863031" y="601596"/>
                  </a:lnTo>
                  <a:lnTo>
                    <a:pt x="1863526" y="601490"/>
                  </a:lnTo>
                  <a:lnTo>
                    <a:pt x="1863387" y="601453"/>
                  </a:lnTo>
                  <a:lnTo>
                    <a:pt x="1871707" y="598946"/>
                  </a:lnTo>
                  <a:lnTo>
                    <a:pt x="1879991" y="596391"/>
                  </a:lnTo>
                  <a:lnTo>
                    <a:pt x="1880842" y="597289"/>
                  </a:lnTo>
                  <a:lnTo>
                    <a:pt x="1882032" y="597739"/>
                  </a:lnTo>
                  <a:lnTo>
                    <a:pt x="1884980" y="596669"/>
                  </a:lnTo>
                  <a:lnTo>
                    <a:pt x="1887241" y="597542"/>
                  </a:lnTo>
                  <a:lnTo>
                    <a:pt x="1890901" y="594948"/>
                  </a:lnTo>
                  <a:lnTo>
                    <a:pt x="1891428" y="595177"/>
                  </a:lnTo>
                  <a:lnTo>
                    <a:pt x="1891296" y="596662"/>
                  </a:lnTo>
                  <a:lnTo>
                    <a:pt x="1891353" y="597638"/>
                  </a:lnTo>
                  <a:lnTo>
                    <a:pt x="1891967" y="598024"/>
                  </a:lnTo>
                  <a:lnTo>
                    <a:pt x="1892745" y="598010"/>
                  </a:lnTo>
                  <a:lnTo>
                    <a:pt x="1893306" y="597752"/>
                  </a:lnTo>
                  <a:lnTo>
                    <a:pt x="1894857" y="596414"/>
                  </a:lnTo>
                  <a:lnTo>
                    <a:pt x="1897850" y="595029"/>
                  </a:lnTo>
                  <a:lnTo>
                    <a:pt x="1900967" y="595232"/>
                  </a:lnTo>
                  <a:close/>
                  <a:moveTo>
                    <a:pt x="2665120" y="588080"/>
                  </a:moveTo>
                  <a:lnTo>
                    <a:pt x="2666586" y="588438"/>
                  </a:lnTo>
                  <a:lnTo>
                    <a:pt x="2667326" y="589004"/>
                  </a:lnTo>
                  <a:lnTo>
                    <a:pt x="2667421" y="590306"/>
                  </a:lnTo>
                  <a:lnTo>
                    <a:pt x="2667376" y="590617"/>
                  </a:lnTo>
                  <a:lnTo>
                    <a:pt x="2667594" y="591257"/>
                  </a:lnTo>
                  <a:lnTo>
                    <a:pt x="2668207" y="592202"/>
                  </a:lnTo>
                  <a:lnTo>
                    <a:pt x="2668204" y="593288"/>
                  </a:lnTo>
                  <a:lnTo>
                    <a:pt x="2667243" y="595872"/>
                  </a:lnTo>
                  <a:lnTo>
                    <a:pt x="2665262" y="596667"/>
                  </a:lnTo>
                  <a:lnTo>
                    <a:pt x="2663849" y="598924"/>
                  </a:lnTo>
                  <a:lnTo>
                    <a:pt x="2663031" y="598570"/>
                  </a:lnTo>
                  <a:lnTo>
                    <a:pt x="2661351" y="596402"/>
                  </a:lnTo>
                  <a:lnTo>
                    <a:pt x="2659600" y="593784"/>
                  </a:lnTo>
                  <a:lnTo>
                    <a:pt x="2660500" y="591599"/>
                  </a:lnTo>
                  <a:close/>
                  <a:moveTo>
                    <a:pt x="2421461" y="578555"/>
                  </a:moveTo>
                  <a:lnTo>
                    <a:pt x="2421867" y="579181"/>
                  </a:lnTo>
                  <a:lnTo>
                    <a:pt x="2422574" y="582271"/>
                  </a:lnTo>
                  <a:lnTo>
                    <a:pt x="2422221" y="584907"/>
                  </a:lnTo>
                  <a:lnTo>
                    <a:pt x="2421039" y="588988"/>
                  </a:lnTo>
                  <a:lnTo>
                    <a:pt x="2421600" y="591495"/>
                  </a:lnTo>
                  <a:lnTo>
                    <a:pt x="2421693" y="594015"/>
                  </a:lnTo>
                  <a:lnTo>
                    <a:pt x="2421522" y="596251"/>
                  </a:lnTo>
                  <a:lnTo>
                    <a:pt x="2421291" y="597896"/>
                  </a:lnTo>
                  <a:lnTo>
                    <a:pt x="2420782" y="600246"/>
                  </a:lnTo>
                  <a:lnTo>
                    <a:pt x="2420061" y="601891"/>
                  </a:lnTo>
                  <a:lnTo>
                    <a:pt x="2419150" y="602642"/>
                  </a:lnTo>
                  <a:lnTo>
                    <a:pt x="2418076" y="602309"/>
                  </a:lnTo>
                  <a:lnTo>
                    <a:pt x="2417278" y="600939"/>
                  </a:lnTo>
                  <a:lnTo>
                    <a:pt x="2416831" y="598775"/>
                  </a:lnTo>
                  <a:lnTo>
                    <a:pt x="2416718" y="596419"/>
                  </a:lnTo>
                  <a:lnTo>
                    <a:pt x="2416919" y="594433"/>
                  </a:lnTo>
                  <a:lnTo>
                    <a:pt x="2417548" y="592362"/>
                  </a:lnTo>
                  <a:lnTo>
                    <a:pt x="2418329" y="590976"/>
                  </a:lnTo>
                  <a:lnTo>
                    <a:pt x="2420248" y="589845"/>
                  </a:lnTo>
                  <a:lnTo>
                    <a:pt x="2420033" y="589106"/>
                  </a:lnTo>
                  <a:lnTo>
                    <a:pt x="2419818" y="588709"/>
                  </a:lnTo>
                  <a:lnTo>
                    <a:pt x="2419596" y="588554"/>
                  </a:lnTo>
                  <a:lnTo>
                    <a:pt x="2419364" y="588541"/>
                  </a:lnTo>
                  <a:lnTo>
                    <a:pt x="2418986" y="588300"/>
                  </a:lnTo>
                  <a:lnTo>
                    <a:pt x="2418904" y="587632"/>
                  </a:lnTo>
                  <a:lnTo>
                    <a:pt x="2418967" y="586291"/>
                  </a:lnTo>
                  <a:lnTo>
                    <a:pt x="2418737" y="584804"/>
                  </a:lnTo>
                  <a:lnTo>
                    <a:pt x="2418585" y="583630"/>
                  </a:lnTo>
                  <a:lnTo>
                    <a:pt x="2418532" y="582674"/>
                  </a:lnTo>
                  <a:lnTo>
                    <a:pt x="2418594" y="581808"/>
                  </a:lnTo>
                  <a:lnTo>
                    <a:pt x="2418808" y="581147"/>
                  </a:lnTo>
                  <a:lnTo>
                    <a:pt x="2419131" y="580934"/>
                  </a:lnTo>
                  <a:lnTo>
                    <a:pt x="2419841" y="580950"/>
                  </a:lnTo>
                  <a:lnTo>
                    <a:pt x="2420036" y="580692"/>
                  </a:lnTo>
                  <a:lnTo>
                    <a:pt x="2420296" y="579629"/>
                  </a:lnTo>
                  <a:lnTo>
                    <a:pt x="2421108" y="578684"/>
                  </a:lnTo>
                  <a:close/>
                  <a:moveTo>
                    <a:pt x="1836867" y="577330"/>
                  </a:moveTo>
                  <a:lnTo>
                    <a:pt x="1837237" y="579550"/>
                  </a:lnTo>
                  <a:lnTo>
                    <a:pt x="1836684" y="580493"/>
                  </a:lnTo>
                  <a:lnTo>
                    <a:pt x="1834874" y="581955"/>
                  </a:lnTo>
                  <a:lnTo>
                    <a:pt x="1835055" y="582834"/>
                  </a:lnTo>
                  <a:lnTo>
                    <a:pt x="1836008" y="584599"/>
                  </a:lnTo>
                  <a:lnTo>
                    <a:pt x="1834962" y="584297"/>
                  </a:lnTo>
                  <a:lnTo>
                    <a:pt x="1835465" y="587240"/>
                  </a:lnTo>
                  <a:lnTo>
                    <a:pt x="1838954" y="587001"/>
                  </a:lnTo>
                  <a:lnTo>
                    <a:pt x="1839196" y="590205"/>
                  </a:lnTo>
                  <a:lnTo>
                    <a:pt x="1839058" y="590166"/>
                  </a:lnTo>
                  <a:lnTo>
                    <a:pt x="1839766" y="594336"/>
                  </a:lnTo>
                  <a:lnTo>
                    <a:pt x="1839769" y="595370"/>
                  </a:lnTo>
                  <a:lnTo>
                    <a:pt x="1839980" y="596493"/>
                  </a:lnTo>
                  <a:lnTo>
                    <a:pt x="1844180" y="599608"/>
                  </a:lnTo>
                  <a:lnTo>
                    <a:pt x="1844622" y="601005"/>
                  </a:lnTo>
                  <a:lnTo>
                    <a:pt x="1844228" y="603570"/>
                  </a:lnTo>
                  <a:lnTo>
                    <a:pt x="1843918" y="605812"/>
                  </a:lnTo>
                  <a:lnTo>
                    <a:pt x="1845075" y="607653"/>
                  </a:lnTo>
                  <a:lnTo>
                    <a:pt x="1845074" y="609613"/>
                  </a:lnTo>
                  <a:lnTo>
                    <a:pt x="1844339" y="609877"/>
                  </a:lnTo>
                  <a:lnTo>
                    <a:pt x="1840414" y="613474"/>
                  </a:lnTo>
                  <a:lnTo>
                    <a:pt x="1828592" y="617182"/>
                  </a:lnTo>
                  <a:lnTo>
                    <a:pt x="1825703" y="615611"/>
                  </a:lnTo>
                  <a:lnTo>
                    <a:pt x="1822922" y="610496"/>
                  </a:lnTo>
                  <a:lnTo>
                    <a:pt x="1819934" y="609008"/>
                  </a:lnTo>
                  <a:lnTo>
                    <a:pt x="1819595" y="607655"/>
                  </a:lnTo>
                  <a:lnTo>
                    <a:pt x="1820462" y="607207"/>
                  </a:lnTo>
                  <a:lnTo>
                    <a:pt x="1822399" y="609321"/>
                  </a:lnTo>
                  <a:lnTo>
                    <a:pt x="1822641" y="606839"/>
                  </a:lnTo>
                  <a:lnTo>
                    <a:pt x="1822098" y="605161"/>
                  </a:lnTo>
                  <a:lnTo>
                    <a:pt x="1820589" y="603391"/>
                  </a:lnTo>
                  <a:lnTo>
                    <a:pt x="1819059" y="598166"/>
                  </a:lnTo>
                  <a:lnTo>
                    <a:pt x="1818053" y="596792"/>
                  </a:lnTo>
                  <a:lnTo>
                    <a:pt x="1815639" y="584748"/>
                  </a:lnTo>
                  <a:lnTo>
                    <a:pt x="1816318" y="584220"/>
                  </a:lnTo>
                  <a:lnTo>
                    <a:pt x="1817019" y="584113"/>
                  </a:lnTo>
                  <a:lnTo>
                    <a:pt x="1817622" y="584375"/>
                  </a:lnTo>
                  <a:lnTo>
                    <a:pt x="1818375" y="585764"/>
                  </a:lnTo>
                  <a:lnTo>
                    <a:pt x="1818825" y="586038"/>
                  </a:lnTo>
                  <a:lnTo>
                    <a:pt x="1819375" y="585875"/>
                  </a:lnTo>
                  <a:lnTo>
                    <a:pt x="1820902" y="584756"/>
                  </a:lnTo>
                  <a:lnTo>
                    <a:pt x="1823480" y="584475"/>
                  </a:lnTo>
                  <a:lnTo>
                    <a:pt x="1824324" y="583911"/>
                  </a:lnTo>
                  <a:lnTo>
                    <a:pt x="1825221" y="583058"/>
                  </a:lnTo>
                  <a:lnTo>
                    <a:pt x="1827692" y="579880"/>
                  </a:lnTo>
                  <a:lnTo>
                    <a:pt x="1832021" y="579580"/>
                  </a:lnTo>
                  <a:lnTo>
                    <a:pt x="1835393" y="577376"/>
                  </a:lnTo>
                  <a:close/>
                  <a:moveTo>
                    <a:pt x="2200917" y="552852"/>
                  </a:moveTo>
                  <a:lnTo>
                    <a:pt x="2208355" y="554156"/>
                  </a:lnTo>
                  <a:lnTo>
                    <a:pt x="2215808" y="555418"/>
                  </a:lnTo>
                  <a:lnTo>
                    <a:pt x="2218053" y="558014"/>
                  </a:lnTo>
                  <a:lnTo>
                    <a:pt x="2226320" y="562339"/>
                  </a:lnTo>
                  <a:lnTo>
                    <a:pt x="2227718" y="565654"/>
                  </a:lnTo>
                  <a:lnTo>
                    <a:pt x="2231806" y="567455"/>
                  </a:lnTo>
                  <a:lnTo>
                    <a:pt x="2234120" y="566610"/>
                  </a:lnTo>
                  <a:lnTo>
                    <a:pt x="2235306" y="567515"/>
                  </a:lnTo>
                  <a:lnTo>
                    <a:pt x="2239740" y="573974"/>
                  </a:lnTo>
                  <a:lnTo>
                    <a:pt x="2240321" y="574488"/>
                  </a:lnTo>
                  <a:lnTo>
                    <a:pt x="2240853" y="574344"/>
                  </a:lnTo>
                  <a:lnTo>
                    <a:pt x="2241931" y="573411"/>
                  </a:lnTo>
                  <a:lnTo>
                    <a:pt x="2242359" y="573389"/>
                  </a:lnTo>
                  <a:lnTo>
                    <a:pt x="2243572" y="574134"/>
                  </a:lnTo>
                  <a:lnTo>
                    <a:pt x="2243727" y="574584"/>
                  </a:lnTo>
                  <a:lnTo>
                    <a:pt x="2243532" y="575575"/>
                  </a:lnTo>
                  <a:lnTo>
                    <a:pt x="2243168" y="576568"/>
                  </a:lnTo>
                  <a:lnTo>
                    <a:pt x="2242564" y="577457"/>
                  </a:lnTo>
                  <a:lnTo>
                    <a:pt x="2242524" y="578495"/>
                  </a:lnTo>
                  <a:lnTo>
                    <a:pt x="2242539" y="579742"/>
                  </a:lnTo>
                  <a:lnTo>
                    <a:pt x="2242452" y="580847"/>
                  </a:lnTo>
                  <a:lnTo>
                    <a:pt x="2242155" y="581566"/>
                  </a:lnTo>
                  <a:lnTo>
                    <a:pt x="2241800" y="581921"/>
                  </a:lnTo>
                  <a:lnTo>
                    <a:pt x="2241480" y="582464"/>
                  </a:lnTo>
                  <a:lnTo>
                    <a:pt x="2241285" y="583736"/>
                  </a:lnTo>
                  <a:lnTo>
                    <a:pt x="2249392" y="588807"/>
                  </a:lnTo>
                  <a:lnTo>
                    <a:pt x="2250236" y="588386"/>
                  </a:lnTo>
                  <a:lnTo>
                    <a:pt x="2252866" y="585135"/>
                  </a:lnTo>
                  <a:lnTo>
                    <a:pt x="2253866" y="584537"/>
                  </a:lnTo>
                  <a:lnTo>
                    <a:pt x="2259135" y="586050"/>
                  </a:lnTo>
                  <a:lnTo>
                    <a:pt x="2263592" y="590506"/>
                  </a:lnTo>
                  <a:lnTo>
                    <a:pt x="2266823" y="591965"/>
                  </a:lnTo>
                  <a:lnTo>
                    <a:pt x="2271059" y="597420"/>
                  </a:lnTo>
                  <a:lnTo>
                    <a:pt x="2272455" y="598239"/>
                  </a:lnTo>
                  <a:lnTo>
                    <a:pt x="2272830" y="599164"/>
                  </a:lnTo>
                  <a:lnTo>
                    <a:pt x="2273568" y="601595"/>
                  </a:lnTo>
                  <a:lnTo>
                    <a:pt x="2273140" y="603509"/>
                  </a:lnTo>
                  <a:lnTo>
                    <a:pt x="2272484" y="604743"/>
                  </a:lnTo>
                  <a:lnTo>
                    <a:pt x="2261841" y="614557"/>
                  </a:lnTo>
                  <a:lnTo>
                    <a:pt x="2261130" y="616024"/>
                  </a:lnTo>
                  <a:lnTo>
                    <a:pt x="2262751" y="617812"/>
                  </a:lnTo>
                  <a:lnTo>
                    <a:pt x="2266183" y="618659"/>
                  </a:lnTo>
                  <a:lnTo>
                    <a:pt x="2267865" y="620286"/>
                  </a:lnTo>
                  <a:lnTo>
                    <a:pt x="2268344" y="623272"/>
                  </a:lnTo>
                  <a:lnTo>
                    <a:pt x="2273110" y="629115"/>
                  </a:lnTo>
                  <a:lnTo>
                    <a:pt x="2272398" y="631575"/>
                  </a:lnTo>
                  <a:lnTo>
                    <a:pt x="2272556" y="632371"/>
                  </a:lnTo>
                  <a:lnTo>
                    <a:pt x="2273254" y="633476"/>
                  </a:lnTo>
                  <a:lnTo>
                    <a:pt x="2273278" y="634214"/>
                  </a:lnTo>
                  <a:lnTo>
                    <a:pt x="2272893" y="634235"/>
                  </a:lnTo>
                  <a:lnTo>
                    <a:pt x="2272535" y="634615"/>
                  </a:lnTo>
                  <a:lnTo>
                    <a:pt x="2272217" y="635355"/>
                  </a:lnTo>
                  <a:lnTo>
                    <a:pt x="2271949" y="636472"/>
                  </a:lnTo>
                  <a:lnTo>
                    <a:pt x="2272247" y="636463"/>
                  </a:lnTo>
                  <a:lnTo>
                    <a:pt x="2271129" y="638855"/>
                  </a:lnTo>
                  <a:lnTo>
                    <a:pt x="2270368" y="642194"/>
                  </a:lnTo>
                  <a:lnTo>
                    <a:pt x="2270061" y="643136"/>
                  </a:lnTo>
                  <a:lnTo>
                    <a:pt x="2269667" y="643991"/>
                  </a:lnTo>
                  <a:lnTo>
                    <a:pt x="2268502" y="645317"/>
                  </a:lnTo>
                  <a:lnTo>
                    <a:pt x="2267366" y="645348"/>
                  </a:lnTo>
                  <a:lnTo>
                    <a:pt x="2264941" y="644116"/>
                  </a:lnTo>
                  <a:lnTo>
                    <a:pt x="2262402" y="644177"/>
                  </a:lnTo>
                  <a:lnTo>
                    <a:pt x="2261908" y="644535"/>
                  </a:lnTo>
                  <a:lnTo>
                    <a:pt x="2260765" y="647095"/>
                  </a:lnTo>
                  <a:lnTo>
                    <a:pt x="2260229" y="647260"/>
                  </a:lnTo>
                  <a:lnTo>
                    <a:pt x="2259071" y="646906"/>
                  </a:lnTo>
                  <a:lnTo>
                    <a:pt x="2258085" y="648391"/>
                  </a:lnTo>
                  <a:lnTo>
                    <a:pt x="2254992" y="649333"/>
                  </a:lnTo>
                  <a:lnTo>
                    <a:pt x="2252643" y="651898"/>
                  </a:lnTo>
                  <a:lnTo>
                    <a:pt x="2246244" y="654149"/>
                  </a:lnTo>
                  <a:lnTo>
                    <a:pt x="2239824" y="656371"/>
                  </a:lnTo>
                  <a:lnTo>
                    <a:pt x="2239295" y="655939"/>
                  </a:lnTo>
                  <a:lnTo>
                    <a:pt x="2238770" y="654847"/>
                  </a:lnTo>
                  <a:lnTo>
                    <a:pt x="2238751" y="654474"/>
                  </a:lnTo>
                  <a:lnTo>
                    <a:pt x="2238818" y="653936"/>
                  </a:lnTo>
                  <a:lnTo>
                    <a:pt x="2238857" y="653302"/>
                  </a:lnTo>
                  <a:lnTo>
                    <a:pt x="2238755" y="652634"/>
                  </a:lnTo>
                  <a:lnTo>
                    <a:pt x="2238510" y="652179"/>
                  </a:lnTo>
                  <a:lnTo>
                    <a:pt x="2236776" y="651731"/>
                  </a:lnTo>
                  <a:lnTo>
                    <a:pt x="2235983" y="652148"/>
                  </a:lnTo>
                  <a:lnTo>
                    <a:pt x="2234491" y="654204"/>
                  </a:lnTo>
                  <a:lnTo>
                    <a:pt x="2233647" y="654844"/>
                  </a:lnTo>
                  <a:lnTo>
                    <a:pt x="2231880" y="654532"/>
                  </a:lnTo>
                  <a:lnTo>
                    <a:pt x="2231151" y="655615"/>
                  </a:lnTo>
                  <a:lnTo>
                    <a:pt x="2232375" y="657535"/>
                  </a:lnTo>
                  <a:lnTo>
                    <a:pt x="2233978" y="657592"/>
                  </a:lnTo>
                  <a:lnTo>
                    <a:pt x="2235592" y="656474"/>
                  </a:lnTo>
                  <a:lnTo>
                    <a:pt x="2236860" y="654858"/>
                  </a:lnTo>
                  <a:lnTo>
                    <a:pt x="2236865" y="655597"/>
                  </a:lnTo>
                  <a:lnTo>
                    <a:pt x="2234977" y="657083"/>
                  </a:lnTo>
                  <a:lnTo>
                    <a:pt x="2236400" y="657077"/>
                  </a:lnTo>
                  <a:lnTo>
                    <a:pt x="2236143" y="658187"/>
                  </a:lnTo>
                  <a:lnTo>
                    <a:pt x="2235715" y="658690"/>
                  </a:lnTo>
                  <a:lnTo>
                    <a:pt x="2235232" y="658723"/>
                  </a:lnTo>
                  <a:lnTo>
                    <a:pt x="2234256" y="658075"/>
                  </a:lnTo>
                  <a:lnTo>
                    <a:pt x="2231470" y="659234"/>
                  </a:lnTo>
                  <a:lnTo>
                    <a:pt x="2229772" y="661822"/>
                  </a:lnTo>
                  <a:lnTo>
                    <a:pt x="2228778" y="662332"/>
                  </a:lnTo>
                  <a:lnTo>
                    <a:pt x="2228954" y="662319"/>
                  </a:lnTo>
                  <a:lnTo>
                    <a:pt x="2229117" y="662420"/>
                  </a:lnTo>
                  <a:lnTo>
                    <a:pt x="2229273" y="662658"/>
                  </a:lnTo>
                  <a:lnTo>
                    <a:pt x="2229426" y="663062"/>
                  </a:lnTo>
                  <a:lnTo>
                    <a:pt x="2228886" y="664136"/>
                  </a:lnTo>
                  <a:lnTo>
                    <a:pt x="2228340" y="664408"/>
                  </a:lnTo>
                  <a:lnTo>
                    <a:pt x="2227202" y="663738"/>
                  </a:lnTo>
                  <a:lnTo>
                    <a:pt x="2224161" y="662322"/>
                  </a:lnTo>
                  <a:lnTo>
                    <a:pt x="2222959" y="662572"/>
                  </a:lnTo>
                  <a:lnTo>
                    <a:pt x="2222717" y="662316"/>
                  </a:lnTo>
                  <a:lnTo>
                    <a:pt x="2222685" y="661560"/>
                  </a:lnTo>
                  <a:lnTo>
                    <a:pt x="2222752" y="660720"/>
                  </a:lnTo>
                  <a:lnTo>
                    <a:pt x="2222846" y="660126"/>
                  </a:lnTo>
                  <a:lnTo>
                    <a:pt x="2222902" y="660100"/>
                  </a:lnTo>
                  <a:lnTo>
                    <a:pt x="2222937" y="659484"/>
                  </a:lnTo>
                  <a:lnTo>
                    <a:pt x="2223033" y="659115"/>
                  </a:lnTo>
                  <a:lnTo>
                    <a:pt x="2223107" y="658663"/>
                  </a:lnTo>
                  <a:lnTo>
                    <a:pt x="2223072" y="657818"/>
                  </a:lnTo>
                  <a:lnTo>
                    <a:pt x="2222900" y="657078"/>
                  </a:lnTo>
                  <a:lnTo>
                    <a:pt x="2222657" y="656659"/>
                  </a:lnTo>
                  <a:lnTo>
                    <a:pt x="2222425" y="656086"/>
                  </a:lnTo>
                  <a:lnTo>
                    <a:pt x="2222280" y="654859"/>
                  </a:lnTo>
                  <a:lnTo>
                    <a:pt x="2222973" y="654400"/>
                  </a:lnTo>
                  <a:lnTo>
                    <a:pt x="2223928" y="653124"/>
                  </a:lnTo>
                  <a:lnTo>
                    <a:pt x="2224815" y="651425"/>
                  </a:lnTo>
                  <a:lnTo>
                    <a:pt x="2225311" y="649711"/>
                  </a:lnTo>
                  <a:lnTo>
                    <a:pt x="2217289" y="645931"/>
                  </a:lnTo>
                  <a:lnTo>
                    <a:pt x="2215226" y="642214"/>
                  </a:lnTo>
                  <a:lnTo>
                    <a:pt x="2209850" y="638512"/>
                  </a:lnTo>
                  <a:lnTo>
                    <a:pt x="2208607" y="638684"/>
                  </a:lnTo>
                  <a:lnTo>
                    <a:pt x="2208004" y="638341"/>
                  </a:lnTo>
                  <a:lnTo>
                    <a:pt x="2207536" y="636935"/>
                  </a:lnTo>
                  <a:lnTo>
                    <a:pt x="2208266" y="636867"/>
                  </a:lnTo>
                  <a:lnTo>
                    <a:pt x="2209704" y="635568"/>
                  </a:lnTo>
                  <a:lnTo>
                    <a:pt x="2210361" y="635432"/>
                  </a:lnTo>
                  <a:lnTo>
                    <a:pt x="2210200" y="635003"/>
                  </a:lnTo>
                  <a:lnTo>
                    <a:pt x="2209844" y="633767"/>
                  </a:lnTo>
                  <a:lnTo>
                    <a:pt x="2209630" y="633280"/>
                  </a:lnTo>
                  <a:lnTo>
                    <a:pt x="2210301" y="630976"/>
                  </a:lnTo>
                  <a:lnTo>
                    <a:pt x="2218462" y="631930"/>
                  </a:lnTo>
                  <a:lnTo>
                    <a:pt x="2226634" y="632836"/>
                  </a:lnTo>
                  <a:lnTo>
                    <a:pt x="2227602" y="631730"/>
                  </a:lnTo>
                  <a:lnTo>
                    <a:pt x="2228485" y="629786"/>
                  </a:lnTo>
                  <a:lnTo>
                    <a:pt x="2228159" y="629914"/>
                  </a:lnTo>
                  <a:lnTo>
                    <a:pt x="2227842" y="629808"/>
                  </a:lnTo>
                  <a:lnTo>
                    <a:pt x="2227575" y="629311"/>
                  </a:lnTo>
                  <a:lnTo>
                    <a:pt x="2227403" y="628251"/>
                  </a:lnTo>
                  <a:lnTo>
                    <a:pt x="2227623" y="628212"/>
                  </a:lnTo>
                  <a:lnTo>
                    <a:pt x="2227833" y="627957"/>
                  </a:lnTo>
                  <a:lnTo>
                    <a:pt x="2228022" y="627464"/>
                  </a:lnTo>
                  <a:lnTo>
                    <a:pt x="2228194" y="626775"/>
                  </a:lnTo>
                  <a:lnTo>
                    <a:pt x="2227567" y="625732"/>
                  </a:lnTo>
                  <a:lnTo>
                    <a:pt x="2225752" y="624778"/>
                  </a:lnTo>
                  <a:lnTo>
                    <a:pt x="2224387" y="625117"/>
                  </a:lnTo>
                  <a:lnTo>
                    <a:pt x="2221285" y="622530"/>
                  </a:lnTo>
                  <a:lnTo>
                    <a:pt x="2220109" y="620495"/>
                  </a:lnTo>
                  <a:lnTo>
                    <a:pt x="2216393" y="618532"/>
                  </a:lnTo>
                  <a:lnTo>
                    <a:pt x="2213213" y="619162"/>
                  </a:lnTo>
                  <a:lnTo>
                    <a:pt x="2206624" y="616933"/>
                  </a:lnTo>
                  <a:lnTo>
                    <a:pt x="2205256" y="617728"/>
                  </a:lnTo>
                  <a:lnTo>
                    <a:pt x="2204589" y="617571"/>
                  </a:lnTo>
                  <a:lnTo>
                    <a:pt x="2204490" y="616158"/>
                  </a:lnTo>
                  <a:lnTo>
                    <a:pt x="2204581" y="615002"/>
                  </a:lnTo>
                  <a:lnTo>
                    <a:pt x="2205323" y="615034"/>
                  </a:lnTo>
                  <a:lnTo>
                    <a:pt x="2206805" y="616197"/>
                  </a:lnTo>
                  <a:lnTo>
                    <a:pt x="2206819" y="615393"/>
                  </a:lnTo>
                  <a:lnTo>
                    <a:pt x="2206958" y="616200"/>
                  </a:lnTo>
                  <a:lnTo>
                    <a:pt x="2207148" y="615460"/>
                  </a:lnTo>
                  <a:lnTo>
                    <a:pt x="2207763" y="615223"/>
                  </a:lnTo>
                  <a:lnTo>
                    <a:pt x="2208070" y="614740"/>
                  </a:lnTo>
                  <a:lnTo>
                    <a:pt x="2206510" y="611654"/>
                  </a:lnTo>
                  <a:lnTo>
                    <a:pt x="2204867" y="609810"/>
                  </a:lnTo>
                  <a:lnTo>
                    <a:pt x="2201447" y="607978"/>
                  </a:lnTo>
                  <a:lnTo>
                    <a:pt x="2201670" y="606549"/>
                  </a:lnTo>
                  <a:lnTo>
                    <a:pt x="2201999" y="605887"/>
                  </a:lnTo>
                  <a:lnTo>
                    <a:pt x="2202372" y="605526"/>
                  </a:lnTo>
                  <a:lnTo>
                    <a:pt x="2202727" y="604991"/>
                  </a:lnTo>
                  <a:lnTo>
                    <a:pt x="2202384" y="603811"/>
                  </a:lnTo>
                  <a:lnTo>
                    <a:pt x="2201523" y="601859"/>
                  </a:lnTo>
                  <a:lnTo>
                    <a:pt x="2201108" y="601332"/>
                  </a:lnTo>
                  <a:lnTo>
                    <a:pt x="2201323" y="599820"/>
                  </a:lnTo>
                  <a:lnTo>
                    <a:pt x="2201664" y="599167"/>
                  </a:lnTo>
                  <a:lnTo>
                    <a:pt x="2202051" y="598836"/>
                  </a:lnTo>
                  <a:lnTo>
                    <a:pt x="2202398" y="598271"/>
                  </a:lnTo>
                  <a:lnTo>
                    <a:pt x="2201654" y="597544"/>
                  </a:lnTo>
                  <a:lnTo>
                    <a:pt x="2198419" y="596384"/>
                  </a:lnTo>
                  <a:lnTo>
                    <a:pt x="2195359" y="592364"/>
                  </a:lnTo>
                  <a:lnTo>
                    <a:pt x="2195114" y="591791"/>
                  </a:lnTo>
                  <a:lnTo>
                    <a:pt x="2194857" y="590795"/>
                  </a:lnTo>
                  <a:lnTo>
                    <a:pt x="2194419" y="588400"/>
                  </a:lnTo>
                  <a:lnTo>
                    <a:pt x="2194353" y="587761"/>
                  </a:lnTo>
                  <a:lnTo>
                    <a:pt x="2194590" y="585723"/>
                  </a:lnTo>
                  <a:lnTo>
                    <a:pt x="2195134" y="584919"/>
                  </a:lnTo>
                  <a:lnTo>
                    <a:pt x="2196363" y="584932"/>
                  </a:lnTo>
                  <a:lnTo>
                    <a:pt x="2195669" y="583367"/>
                  </a:lnTo>
                  <a:lnTo>
                    <a:pt x="2196057" y="582449"/>
                  </a:lnTo>
                  <a:lnTo>
                    <a:pt x="2196456" y="582512"/>
                  </a:lnTo>
                  <a:lnTo>
                    <a:pt x="2197164" y="583403"/>
                  </a:lnTo>
                  <a:lnTo>
                    <a:pt x="2201817" y="583506"/>
                  </a:lnTo>
                  <a:lnTo>
                    <a:pt x="2202346" y="583169"/>
                  </a:lnTo>
                  <a:lnTo>
                    <a:pt x="2202831" y="582401"/>
                  </a:lnTo>
                  <a:lnTo>
                    <a:pt x="2202968" y="581638"/>
                  </a:lnTo>
                  <a:lnTo>
                    <a:pt x="2202457" y="581312"/>
                  </a:lnTo>
                  <a:lnTo>
                    <a:pt x="2202471" y="580640"/>
                  </a:lnTo>
                  <a:lnTo>
                    <a:pt x="2202630" y="580551"/>
                  </a:lnTo>
                  <a:lnTo>
                    <a:pt x="2202948" y="579845"/>
                  </a:lnTo>
                  <a:lnTo>
                    <a:pt x="2202391" y="578607"/>
                  </a:lnTo>
                  <a:lnTo>
                    <a:pt x="2200628" y="576237"/>
                  </a:lnTo>
                  <a:lnTo>
                    <a:pt x="2200034" y="575974"/>
                  </a:lnTo>
                  <a:lnTo>
                    <a:pt x="2198767" y="576160"/>
                  </a:lnTo>
                  <a:lnTo>
                    <a:pt x="2198261" y="575314"/>
                  </a:lnTo>
                  <a:lnTo>
                    <a:pt x="2198595" y="573854"/>
                  </a:lnTo>
                  <a:lnTo>
                    <a:pt x="2198173" y="572868"/>
                  </a:lnTo>
                  <a:lnTo>
                    <a:pt x="2196866" y="571387"/>
                  </a:lnTo>
                  <a:lnTo>
                    <a:pt x="2196605" y="570448"/>
                  </a:lnTo>
                  <a:lnTo>
                    <a:pt x="2196685" y="567378"/>
                  </a:lnTo>
                  <a:lnTo>
                    <a:pt x="2196804" y="566049"/>
                  </a:lnTo>
                  <a:lnTo>
                    <a:pt x="2197045" y="564894"/>
                  </a:lnTo>
                  <a:lnTo>
                    <a:pt x="2196162" y="563616"/>
                  </a:lnTo>
                  <a:lnTo>
                    <a:pt x="2195926" y="562661"/>
                  </a:lnTo>
                  <a:lnTo>
                    <a:pt x="2196238" y="562185"/>
                  </a:lnTo>
                  <a:lnTo>
                    <a:pt x="2196849" y="560921"/>
                  </a:lnTo>
                  <a:lnTo>
                    <a:pt x="2197160" y="560480"/>
                  </a:lnTo>
                  <a:lnTo>
                    <a:pt x="2196523" y="559361"/>
                  </a:lnTo>
                  <a:lnTo>
                    <a:pt x="2196218" y="558413"/>
                  </a:lnTo>
                  <a:lnTo>
                    <a:pt x="2196369" y="557582"/>
                  </a:lnTo>
                  <a:close/>
                  <a:moveTo>
                    <a:pt x="1932949" y="526403"/>
                  </a:moveTo>
                  <a:lnTo>
                    <a:pt x="1933098" y="526514"/>
                  </a:lnTo>
                  <a:lnTo>
                    <a:pt x="1933201" y="526894"/>
                  </a:lnTo>
                  <a:lnTo>
                    <a:pt x="1933374" y="527042"/>
                  </a:lnTo>
                  <a:lnTo>
                    <a:pt x="1939727" y="527000"/>
                  </a:lnTo>
                  <a:lnTo>
                    <a:pt x="1940025" y="528492"/>
                  </a:lnTo>
                  <a:lnTo>
                    <a:pt x="1940438" y="529621"/>
                  </a:lnTo>
                  <a:lnTo>
                    <a:pt x="1942731" y="531930"/>
                  </a:lnTo>
                  <a:lnTo>
                    <a:pt x="1944143" y="535444"/>
                  </a:lnTo>
                  <a:lnTo>
                    <a:pt x="1946226" y="536602"/>
                  </a:lnTo>
                  <a:lnTo>
                    <a:pt x="1946649" y="537315"/>
                  </a:lnTo>
                  <a:lnTo>
                    <a:pt x="1947340" y="538473"/>
                  </a:lnTo>
                  <a:lnTo>
                    <a:pt x="1948840" y="539001"/>
                  </a:lnTo>
                  <a:lnTo>
                    <a:pt x="1949245" y="540258"/>
                  </a:lnTo>
                  <a:lnTo>
                    <a:pt x="1948756" y="542207"/>
                  </a:lnTo>
                  <a:lnTo>
                    <a:pt x="1948882" y="543396"/>
                  </a:lnTo>
                  <a:lnTo>
                    <a:pt x="1949329" y="544004"/>
                  </a:lnTo>
                  <a:lnTo>
                    <a:pt x="1950402" y="544609"/>
                  </a:lnTo>
                  <a:lnTo>
                    <a:pt x="1951858" y="547602"/>
                  </a:lnTo>
                  <a:lnTo>
                    <a:pt x="1951538" y="548291"/>
                  </a:lnTo>
                  <a:lnTo>
                    <a:pt x="1952094" y="549545"/>
                  </a:lnTo>
                  <a:lnTo>
                    <a:pt x="1954905" y="549825"/>
                  </a:lnTo>
                  <a:lnTo>
                    <a:pt x="1955075" y="550201"/>
                  </a:lnTo>
                  <a:lnTo>
                    <a:pt x="1955038" y="551758"/>
                  </a:lnTo>
                  <a:lnTo>
                    <a:pt x="1955262" y="552155"/>
                  </a:lnTo>
                  <a:lnTo>
                    <a:pt x="1955645" y="552369"/>
                  </a:lnTo>
                  <a:lnTo>
                    <a:pt x="1956275" y="553483"/>
                  </a:lnTo>
                  <a:lnTo>
                    <a:pt x="1957014" y="556251"/>
                  </a:lnTo>
                  <a:lnTo>
                    <a:pt x="1957094" y="557053"/>
                  </a:lnTo>
                  <a:lnTo>
                    <a:pt x="1956965" y="558268"/>
                  </a:lnTo>
                  <a:lnTo>
                    <a:pt x="1956720" y="559090"/>
                  </a:lnTo>
                  <a:lnTo>
                    <a:pt x="1956557" y="559767"/>
                  </a:lnTo>
                  <a:lnTo>
                    <a:pt x="1956680" y="560552"/>
                  </a:lnTo>
                  <a:lnTo>
                    <a:pt x="1957012" y="560754"/>
                  </a:lnTo>
                  <a:lnTo>
                    <a:pt x="1957461" y="560737"/>
                  </a:lnTo>
                  <a:lnTo>
                    <a:pt x="1957773" y="561016"/>
                  </a:lnTo>
                  <a:lnTo>
                    <a:pt x="1957691" y="562109"/>
                  </a:lnTo>
                  <a:lnTo>
                    <a:pt x="1957403" y="562774"/>
                  </a:lnTo>
                  <a:lnTo>
                    <a:pt x="1957045" y="563326"/>
                  </a:lnTo>
                  <a:lnTo>
                    <a:pt x="1956869" y="563911"/>
                  </a:lnTo>
                  <a:lnTo>
                    <a:pt x="1957135" y="564675"/>
                  </a:lnTo>
                  <a:lnTo>
                    <a:pt x="1955486" y="566254"/>
                  </a:lnTo>
                  <a:lnTo>
                    <a:pt x="1954807" y="567617"/>
                  </a:lnTo>
                  <a:lnTo>
                    <a:pt x="1954841" y="569557"/>
                  </a:lnTo>
                  <a:lnTo>
                    <a:pt x="1953826" y="570887"/>
                  </a:lnTo>
                  <a:lnTo>
                    <a:pt x="1953483" y="571469"/>
                  </a:lnTo>
                  <a:lnTo>
                    <a:pt x="1953749" y="573425"/>
                  </a:lnTo>
                  <a:lnTo>
                    <a:pt x="1953006" y="575391"/>
                  </a:lnTo>
                  <a:lnTo>
                    <a:pt x="1950847" y="578479"/>
                  </a:lnTo>
                  <a:lnTo>
                    <a:pt x="1950654" y="578979"/>
                  </a:lnTo>
                  <a:lnTo>
                    <a:pt x="1950579" y="579476"/>
                  </a:lnTo>
                  <a:lnTo>
                    <a:pt x="1950450" y="579818"/>
                  </a:lnTo>
                  <a:lnTo>
                    <a:pt x="1950085" y="579896"/>
                  </a:lnTo>
                  <a:lnTo>
                    <a:pt x="1948439" y="578675"/>
                  </a:lnTo>
                  <a:lnTo>
                    <a:pt x="1941064" y="579462"/>
                  </a:lnTo>
                  <a:lnTo>
                    <a:pt x="1940172" y="578493"/>
                  </a:lnTo>
                  <a:lnTo>
                    <a:pt x="1938888" y="575268"/>
                  </a:lnTo>
                  <a:lnTo>
                    <a:pt x="1937946" y="575074"/>
                  </a:lnTo>
                  <a:lnTo>
                    <a:pt x="1937743" y="575030"/>
                  </a:lnTo>
                  <a:lnTo>
                    <a:pt x="1929734" y="578055"/>
                  </a:lnTo>
                  <a:lnTo>
                    <a:pt x="1924574" y="575284"/>
                  </a:lnTo>
                  <a:lnTo>
                    <a:pt x="1919433" y="572494"/>
                  </a:lnTo>
                  <a:lnTo>
                    <a:pt x="1919141" y="571586"/>
                  </a:lnTo>
                  <a:lnTo>
                    <a:pt x="1919561" y="569869"/>
                  </a:lnTo>
                  <a:lnTo>
                    <a:pt x="1919179" y="569062"/>
                  </a:lnTo>
                  <a:lnTo>
                    <a:pt x="1918050" y="568300"/>
                  </a:lnTo>
                  <a:lnTo>
                    <a:pt x="1916967" y="565284"/>
                  </a:lnTo>
                  <a:lnTo>
                    <a:pt x="1914609" y="562996"/>
                  </a:lnTo>
                  <a:lnTo>
                    <a:pt x="1912997" y="563617"/>
                  </a:lnTo>
                  <a:lnTo>
                    <a:pt x="1911433" y="563438"/>
                  </a:lnTo>
                  <a:lnTo>
                    <a:pt x="1910602" y="564341"/>
                  </a:lnTo>
                  <a:lnTo>
                    <a:pt x="1910649" y="565585"/>
                  </a:lnTo>
                  <a:lnTo>
                    <a:pt x="1910807" y="566799"/>
                  </a:lnTo>
                  <a:lnTo>
                    <a:pt x="1911042" y="567770"/>
                  </a:lnTo>
                  <a:lnTo>
                    <a:pt x="1911331" y="568251"/>
                  </a:lnTo>
                  <a:lnTo>
                    <a:pt x="1910111" y="569579"/>
                  </a:lnTo>
                  <a:lnTo>
                    <a:pt x="1907452" y="568059"/>
                  </a:lnTo>
                  <a:lnTo>
                    <a:pt x="1906437" y="570190"/>
                  </a:lnTo>
                  <a:lnTo>
                    <a:pt x="1906416" y="570820"/>
                  </a:lnTo>
                  <a:lnTo>
                    <a:pt x="1906724" y="571193"/>
                  </a:lnTo>
                  <a:lnTo>
                    <a:pt x="1906586" y="572066"/>
                  </a:lnTo>
                  <a:lnTo>
                    <a:pt x="1906211" y="573110"/>
                  </a:lnTo>
                  <a:lnTo>
                    <a:pt x="1905825" y="573606"/>
                  </a:lnTo>
                  <a:lnTo>
                    <a:pt x="1905482" y="573737"/>
                  </a:lnTo>
                  <a:lnTo>
                    <a:pt x="1897888" y="572386"/>
                  </a:lnTo>
                  <a:lnTo>
                    <a:pt x="1897048" y="570505"/>
                  </a:lnTo>
                  <a:lnTo>
                    <a:pt x="1896773" y="568539"/>
                  </a:lnTo>
                  <a:lnTo>
                    <a:pt x="1896808" y="567812"/>
                  </a:lnTo>
                  <a:lnTo>
                    <a:pt x="1897085" y="565627"/>
                  </a:lnTo>
                  <a:lnTo>
                    <a:pt x="1896803" y="564795"/>
                  </a:lnTo>
                  <a:lnTo>
                    <a:pt x="1895835" y="563429"/>
                  </a:lnTo>
                  <a:lnTo>
                    <a:pt x="1895742" y="562946"/>
                  </a:lnTo>
                  <a:lnTo>
                    <a:pt x="1894747" y="562494"/>
                  </a:lnTo>
                  <a:lnTo>
                    <a:pt x="1892309" y="559032"/>
                  </a:lnTo>
                  <a:lnTo>
                    <a:pt x="1885355" y="560114"/>
                  </a:lnTo>
                  <a:lnTo>
                    <a:pt x="1878384" y="561160"/>
                  </a:lnTo>
                  <a:lnTo>
                    <a:pt x="1877709" y="561776"/>
                  </a:lnTo>
                  <a:lnTo>
                    <a:pt x="1877213" y="562836"/>
                  </a:lnTo>
                  <a:lnTo>
                    <a:pt x="1877206" y="564321"/>
                  </a:lnTo>
                  <a:lnTo>
                    <a:pt x="1876792" y="562821"/>
                  </a:lnTo>
                  <a:lnTo>
                    <a:pt x="1875994" y="562762"/>
                  </a:lnTo>
                  <a:lnTo>
                    <a:pt x="1870266" y="564841"/>
                  </a:lnTo>
                  <a:lnTo>
                    <a:pt x="1867579" y="564206"/>
                  </a:lnTo>
                  <a:lnTo>
                    <a:pt x="1866563" y="562652"/>
                  </a:lnTo>
                  <a:lnTo>
                    <a:pt x="1866469" y="559217"/>
                  </a:lnTo>
                  <a:lnTo>
                    <a:pt x="1866973" y="558523"/>
                  </a:lnTo>
                  <a:lnTo>
                    <a:pt x="1866230" y="556789"/>
                  </a:lnTo>
                  <a:lnTo>
                    <a:pt x="1869524" y="554611"/>
                  </a:lnTo>
                  <a:lnTo>
                    <a:pt x="1869806" y="553458"/>
                  </a:lnTo>
                  <a:lnTo>
                    <a:pt x="1870109" y="552453"/>
                  </a:lnTo>
                  <a:lnTo>
                    <a:pt x="1870311" y="551603"/>
                  </a:lnTo>
                  <a:lnTo>
                    <a:pt x="1870294" y="550913"/>
                  </a:lnTo>
                  <a:lnTo>
                    <a:pt x="1870954" y="550187"/>
                  </a:lnTo>
                  <a:lnTo>
                    <a:pt x="1872426" y="550209"/>
                  </a:lnTo>
                  <a:lnTo>
                    <a:pt x="1872911" y="549819"/>
                  </a:lnTo>
                  <a:lnTo>
                    <a:pt x="1873980" y="548631"/>
                  </a:lnTo>
                  <a:lnTo>
                    <a:pt x="1882145" y="545703"/>
                  </a:lnTo>
                  <a:lnTo>
                    <a:pt x="1884977" y="543627"/>
                  </a:lnTo>
                  <a:lnTo>
                    <a:pt x="1889386" y="543231"/>
                  </a:lnTo>
                  <a:lnTo>
                    <a:pt x="1893112" y="541056"/>
                  </a:lnTo>
                  <a:lnTo>
                    <a:pt x="1897920" y="540374"/>
                  </a:lnTo>
                  <a:lnTo>
                    <a:pt x="1900193" y="541536"/>
                  </a:lnTo>
                  <a:lnTo>
                    <a:pt x="1902744" y="541171"/>
                  </a:lnTo>
                  <a:lnTo>
                    <a:pt x="1904760" y="542986"/>
                  </a:lnTo>
                  <a:lnTo>
                    <a:pt x="1914704" y="538965"/>
                  </a:lnTo>
                  <a:lnTo>
                    <a:pt x="1916081" y="537387"/>
                  </a:lnTo>
                  <a:lnTo>
                    <a:pt x="1915337" y="534930"/>
                  </a:lnTo>
                  <a:lnTo>
                    <a:pt x="1918054" y="535112"/>
                  </a:lnTo>
                  <a:lnTo>
                    <a:pt x="1918821" y="533818"/>
                  </a:lnTo>
                  <a:lnTo>
                    <a:pt x="1919451" y="533016"/>
                  </a:lnTo>
                  <a:lnTo>
                    <a:pt x="1922546" y="530556"/>
                  </a:lnTo>
                  <a:lnTo>
                    <a:pt x="1923039" y="531486"/>
                  </a:lnTo>
                  <a:lnTo>
                    <a:pt x="1926973" y="529242"/>
                  </a:lnTo>
                  <a:lnTo>
                    <a:pt x="1930088" y="528785"/>
                  </a:lnTo>
                  <a:lnTo>
                    <a:pt x="1931480" y="527585"/>
                  </a:lnTo>
                  <a:lnTo>
                    <a:pt x="1932333" y="527193"/>
                  </a:lnTo>
                  <a:close/>
                  <a:moveTo>
                    <a:pt x="2054636" y="485404"/>
                  </a:moveTo>
                  <a:lnTo>
                    <a:pt x="2059179" y="489779"/>
                  </a:lnTo>
                  <a:lnTo>
                    <a:pt x="2069193" y="488788"/>
                  </a:lnTo>
                  <a:lnTo>
                    <a:pt x="2079182" y="487716"/>
                  </a:lnTo>
                  <a:lnTo>
                    <a:pt x="2089141" y="486567"/>
                  </a:lnTo>
                  <a:lnTo>
                    <a:pt x="2090167" y="489077"/>
                  </a:lnTo>
                  <a:lnTo>
                    <a:pt x="2095441" y="494031"/>
                  </a:lnTo>
                  <a:lnTo>
                    <a:pt x="2097217" y="493272"/>
                  </a:lnTo>
                  <a:lnTo>
                    <a:pt x="2100440" y="495662"/>
                  </a:lnTo>
                  <a:lnTo>
                    <a:pt x="2101268" y="497460"/>
                  </a:lnTo>
                  <a:lnTo>
                    <a:pt x="2102074" y="500552"/>
                  </a:lnTo>
                  <a:lnTo>
                    <a:pt x="2102408" y="501283"/>
                  </a:lnTo>
                  <a:lnTo>
                    <a:pt x="2102977" y="501596"/>
                  </a:lnTo>
                  <a:lnTo>
                    <a:pt x="2104193" y="501570"/>
                  </a:lnTo>
                  <a:lnTo>
                    <a:pt x="2104714" y="502314"/>
                  </a:lnTo>
                  <a:lnTo>
                    <a:pt x="2104421" y="502493"/>
                  </a:lnTo>
                  <a:lnTo>
                    <a:pt x="2104117" y="502887"/>
                  </a:lnTo>
                  <a:lnTo>
                    <a:pt x="2103807" y="503496"/>
                  </a:lnTo>
                  <a:lnTo>
                    <a:pt x="2103496" y="504349"/>
                  </a:lnTo>
                  <a:lnTo>
                    <a:pt x="2103606" y="505512"/>
                  </a:lnTo>
                  <a:lnTo>
                    <a:pt x="2103624" y="507937"/>
                  </a:lnTo>
                  <a:lnTo>
                    <a:pt x="2103727" y="508883"/>
                  </a:lnTo>
                  <a:lnTo>
                    <a:pt x="2103993" y="509360"/>
                  </a:lnTo>
                  <a:lnTo>
                    <a:pt x="2104761" y="509470"/>
                  </a:lnTo>
                  <a:lnTo>
                    <a:pt x="2105069" y="509756"/>
                  </a:lnTo>
                  <a:lnTo>
                    <a:pt x="2105525" y="511711"/>
                  </a:lnTo>
                  <a:lnTo>
                    <a:pt x="2105961" y="512252"/>
                  </a:lnTo>
                  <a:lnTo>
                    <a:pt x="2106016" y="512866"/>
                  </a:lnTo>
                  <a:lnTo>
                    <a:pt x="2106047" y="513619"/>
                  </a:lnTo>
                  <a:lnTo>
                    <a:pt x="2106166" y="514302"/>
                  </a:lnTo>
                  <a:lnTo>
                    <a:pt x="2106374" y="514710"/>
                  </a:lnTo>
                  <a:lnTo>
                    <a:pt x="2106750" y="515020"/>
                  </a:lnTo>
                  <a:lnTo>
                    <a:pt x="2106911" y="515449"/>
                  </a:lnTo>
                  <a:lnTo>
                    <a:pt x="2107313" y="516053"/>
                  </a:lnTo>
                  <a:lnTo>
                    <a:pt x="2108477" y="516838"/>
                  </a:lnTo>
                  <a:lnTo>
                    <a:pt x="2108582" y="517496"/>
                  </a:lnTo>
                  <a:lnTo>
                    <a:pt x="2108604" y="519696"/>
                  </a:lnTo>
                  <a:lnTo>
                    <a:pt x="2108188" y="521467"/>
                  </a:lnTo>
                  <a:lnTo>
                    <a:pt x="2107607" y="523363"/>
                  </a:lnTo>
                  <a:lnTo>
                    <a:pt x="2107146" y="525915"/>
                  </a:lnTo>
                  <a:lnTo>
                    <a:pt x="2106418" y="529306"/>
                  </a:lnTo>
                  <a:lnTo>
                    <a:pt x="2104439" y="531043"/>
                  </a:lnTo>
                  <a:lnTo>
                    <a:pt x="2103637" y="533385"/>
                  </a:lnTo>
                  <a:lnTo>
                    <a:pt x="2104574" y="534106"/>
                  </a:lnTo>
                  <a:lnTo>
                    <a:pt x="2104878" y="533875"/>
                  </a:lnTo>
                  <a:lnTo>
                    <a:pt x="2105210" y="533448"/>
                  </a:lnTo>
                  <a:lnTo>
                    <a:pt x="2106067" y="532901"/>
                  </a:lnTo>
                  <a:lnTo>
                    <a:pt x="2107640" y="533270"/>
                  </a:lnTo>
                  <a:lnTo>
                    <a:pt x="2107945" y="533792"/>
                  </a:lnTo>
                  <a:lnTo>
                    <a:pt x="2107885" y="534290"/>
                  </a:lnTo>
                  <a:lnTo>
                    <a:pt x="2107857" y="534389"/>
                  </a:lnTo>
                  <a:lnTo>
                    <a:pt x="2107822" y="534372"/>
                  </a:lnTo>
                  <a:lnTo>
                    <a:pt x="2107742" y="534515"/>
                  </a:lnTo>
                  <a:lnTo>
                    <a:pt x="2107791" y="535332"/>
                  </a:lnTo>
                  <a:lnTo>
                    <a:pt x="2106354" y="538088"/>
                  </a:lnTo>
                  <a:lnTo>
                    <a:pt x="2106413" y="538955"/>
                  </a:lnTo>
                  <a:lnTo>
                    <a:pt x="2106518" y="539613"/>
                  </a:lnTo>
                  <a:lnTo>
                    <a:pt x="2106668" y="540074"/>
                  </a:lnTo>
                  <a:lnTo>
                    <a:pt x="2106860" y="540294"/>
                  </a:lnTo>
                  <a:lnTo>
                    <a:pt x="2106635" y="541081"/>
                  </a:lnTo>
                  <a:lnTo>
                    <a:pt x="2107943" y="541202"/>
                  </a:lnTo>
                  <a:lnTo>
                    <a:pt x="2108215" y="540940"/>
                  </a:lnTo>
                  <a:lnTo>
                    <a:pt x="2109047" y="539079"/>
                  </a:lnTo>
                  <a:lnTo>
                    <a:pt x="2111382" y="535316"/>
                  </a:lnTo>
                  <a:lnTo>
                    <a:pt x="2112058" y="533365"/>
                  </a:lnTo>
                  <a:lnTo>
                    <a:pt x="2112088" y="532846"/>
                  </a:lnTo>
                  <a:lnTo>
                    <a:pt x="2112086" y="532696"/>
                  </a:lnTo>
                  <a:lnTo>
                    <a:pt x="2112106" y="532504"/>
                  </a:lnTo>
                  <a:lnTo>
                    <a:pt x="2112199" y="531899"/>
                  </a:lnTo>
                  <a:lnTo>
                    <a:pt x="2112051" y="530893"/>
                  </a:lnTo>
                  <a:lnTo>
                    <a:pt x="2111863" y="528326"/>
                  </a:lnTo>
                  <a:lnTo>
                    <a:pt x="2111636" y="527401"/>
                  </a:lnTo>
                  <a:lnTo>
                    <a:pt x="2112116" y="526769"/>
                  </a:lnTo>
                  <a:lnTo>
                    <a:pt x="2111831" y="526744"/>
                  </a:lnTo>
                  <a:lnTo>
                    <a:pt x="2114521" y="526282"/>
                  </a:lnTo>
                  <a:lnTo>
                    <a:pt x="2114862" y="525911"/>
                  </a:lnTo>
                  <a:lnTo>
                    <a:pt x="2114929" y="524735"/>
                  </a:lnTo>
                  <a:lnTo>
                    <a:pt x="2118394" y="524237"/>
                  </a:lnTo>
                  <a:lnTo>
                    <a:pt x="2122211" y="519810"/>
                  </a:lnTo>
                  <a:lnTo>
                    <a:pt x="2123242" y="519384"/>
                  </a:lnTo>
                  <a:lnTo>
                    <a:pt x="2128596" y="520918"/>
                  </a:lnTo>
                  <a:lnTo>
                    <a:pt x="2128794" y="521198"/>
                  </a:lnTo>
                  <a:lnTo>
                    <a:pt x="2128867" y="521623"/>
                  </a:lnTo>
                  <a:lnTo>
                    <a:pt x="2128867" y="522204"/>
                  </a:lnTo>
                  <a:lnTo>
                    <a:pt x="2128896" y="522713"/>
                  </a:lnTo>
                  <a:lnTo>
                    <a:pt x="2129051" y="522941"/>
                  </a:lnTo>
                  <a:lnTo>
                    <a:pt x="2129884" y="523529"/>
                  </a:lnTo>
                  <a:lnTo>
                    <a:pt x="2133312" y="529722"/>
                  </a:lnTo>
                  <a:lnTo>
                    <a:pt x="2134151" y="530510"/>
                  </a:lnTo>
                  <a:lnTo>
                    <a:pt x="2134872" y="532598"/>
                  </a:lnTo>
                  <a:lnTo>
                    <a:pt x="2137623" y="534868"/>
                  </a:lnTo>
                  <a:lnTo>
                    <a:pt x="2137846" y="534778"/>
                  </a:lnTo>
                  <a:lnTo>
                    <a:pt x="2138045" y="534356"/>
                  </a:lnTo>
                  <a:lnTo>
                    <a:pt x="2138155" y="533782"/>
                  </a:lnTo>
                  <a:lnTo>
                    <a:pt x="2138247" y="533159"/>
                  </a:lnTo>
                  <a:lnTo>
                    <a:pt x="2138347" y="532739"/>
                  </a:lnTo>
                  <a:lnTo>
                    <a:pt x="2138487" y="532771"/>
                  </a:lnTo>
                  <a:lnTo>
                    <a:pt x="2140782" y="535931"/>
                  </a:lnTo>
                  <a:lnTo>
                    <a:pt x="2141184" y="538002"/>
                  </a:lnTo>
                  <a:lnTo>
                    <a:pt x="2140464" y="539124"/>
                  </a:lnTo>
                  <a:lnTo>
                    <a:pt x="2138084" y="544186"/>
                  </a:lnTo>
                  <a:lnTo>
                    <a:pt x="2136743" y="547853"/>
                  </a:lnTo>
                  <a:lnTo>
                    <a:pt x="2135653" y="549438"/>
                  </a:lnTo>
                  <a:lnTo>
                    <a:pt x="2136016" y="551089"/>
                  </a:lnTo>
                  <a:lnTo>
                    <a:pt x="2136544" y="551725"/>
                  </a:lnTo>
                  <a:lnTo>
                    <a:pt x="2139184" y="551695"/>
                  </a:lnTo>
                  <a:lnTo>
                    <a:pt x="2139787" y="552366"/>
                  </a:lnTo>
                  <a:lnTo>
                    <a:pt x="2139725" y="554159"/>
                  </a:lnTo>
                  <a:lnTo>
                    <a:pt x="2141709" y="555124"/>
                  </a:lnTo>
                  <a:lnTo>
                    <a:pt x="2143304" y="553308"/>
                  </a:lnTo>
                  <a:lnTo>
                    <a:pt x="2144948" y="552321"/>
                  </a:lnTo>
                  <a:lnTo>
                    <a:pt x="2148556" y="552625"/>
                  </a:lnTo>
                  <a:lnTo>
                    <a:pt x="2150301" y="550234"/>
                  </a:lnTo>
                  <a:lnTo>
                    <a:pt x="2152957" y="549742"/>
                  </a:lnTo>
                  <a:lnTo>
                    <a:pt x="2153956" y="550469"/>
                  </a:lnTo>
                  <a:lnTo>
                    <a:pt x="2154384" y="551514"/>
                  </a:lnTo>
                  <a:lnTo>
                    <a:pt x="2154290" y="553146"/>
                  </a:lnTo>
                  <a:lnTo>
                    <a:pt x="2154410" y="554772"/>
                  </a:lnTo>
                  <a:lnTo>
                    <a:pt x="2155242" y="556121"/>
                  </a:lnTo>
                  <a:lnTo>
                    <a:pt x="2161103" y="560333"/>
                  </a:lnTo>
                  <a:lnTo>
                    <a:pt x="2163004" y="564446"/>
                  </a:lnTo>
                  <a:lnTo>
                    <a:pt x="2162117" y="566615"/>
                  </a:lnTo>
                  <a:lnTo>
                    <a:pt x="2159685" y="568815"/>
                  </a:lnTo>
                  <a:lnTo>
                    <a:pt x="2158942" y="570818"/>
                  </a:lnTo>
                  <a:lnTo>
                    <a:pt x="2160210" y="572124"/>
                  </a:lnTo>
                  <a:lnTo>
                    <a:pt x="2161611" y="572504"/>
                  </a:lnTo>
                  <a:lnTo>
                    <a:pt x="2164013" y="570937"/>
                  </a:lnTo>
                  <a:lnTo>
                    <a:pt x="2164713" y="571917"/>
                  </a:lnTo>
                  <a:lnTo>
                    <a:pt x="2164892" y="572774"/>
                  </a:lnTo>
                  <a:lnTo>
                    <a:pt x="2165014" y="573726"/>
                  </a:lnTo>
                  <a:lnTo>
                    <a:pt x="2165148" y="574503"/>
                  </a:lnTo>
                  <a:lnTo>
                    <a:pt x="2165368" y="574830"/>
                  </a:lnTo>
                  <a:lnTo>
                    <a:pt x="2166660" y="574996"/>
                  </a:lnTo>
                  <a:lnTo>
                    <a:pt x="2167850" y="574421"/>
                  </a:lnTo>
                  <a:lnTo>
                    <a:pt x="2168806" y="574685"/>
                  </a:lnTo>
                  <a:lnTo>
                    <a:pt x="2169700" y="575595"/>
                  </a:lnTo>
                  <a:lnTo>
                    <a:pt x="2170266" y="577270"/>
                  </a:lnTo>
                  <a:lnTo>
                    <a:pt x="2169580" y="579127"/>
                  </a:lnTo>
                  <a:lnTo>
                    <a:pt x="2168010" y="579809"/>
                  </a:lnTo>
                  <a:lnTo>
                    <a:pt x="2167358" y="581571"/>
                  </a:lnTo>
                  <a:lnTo>
                    <a:pt x="2167994" y="581547"/>
                  </a:lnTo>
                  <a:lnTo>
                    <a:pt x="2168274" y="581775"/>
                  </a:lnTo>
                  <a:lnTo>
                    <a:pt x="2168515" y="582423"/>
                  </a:lnTo>
                  <a:lnTo>
                    <a:pt x="2168139" y="583339"/>
                  </a:lnTo>
                  <a:lnTo>
                    <a:pt x="2167385" y="584563"/>
                  </a:lnTo>
                  <a:lnTo>
                    <a:pt x="2167009" y="585383"/>
                  </a:lnTo>
                  <a:lnTo>
                    <a:pt x="2166782" y="586252"/>
                  </a:lnTo>
                  <a:lnTo>
                    <a:pt x="2166657" y="587087"/>
                  </a:lnTo>
                  <a:lnTo>
                    <a:pt x="2166481" y="587840"/>
                  </a:lnTo>
                  <a:lnTo>
                    <a:pt x="2166105" y="588465"/>
                  </a:lnTo>
                  <a:lnTo>
                    <a:pt x="2162909" y="590540"/>
                  </a:lnTo>
                  <a:lnTo>
                    <a:pt x="2161967" y="592519"/>
                  </a:lnTo>
                  <a:lnTo>
                    <a:pt x="2163498" y="594424"/>
                  </a:lnTo>
                  <a:lnTo>
                    <a:pt x="2164180" y="596265"/>
                  </a:lnTo>
                  <a:lnTo>
                    <a:pt x="2164374" y="598915"/>
                  </a:lnTo>
                  <a:lnTo>
                    <a:pt x="2164133" y="600651"/>
                  </a:lnTo>
                  <a:lnTo>
                    <a:pt x="2163129" y="605410"/>
                  </a:lnTo>
                  <a:lnTo>
                    <a:pt x="2162763" y="606660"/>
                  </a:lnTo>
                  <a:lnTo>
                    <a:pt x="2163409" y="608214"/>
                  </a:lnTo>
                  <a:lnTo>
                    <a:pt x="2167870" y="608322"/>
                  </a:lnTo>
                  <a:lnTo>
                    <a:pt x="2168654" y="609104"/>
                  </a:lnTo>
                  <a:lnTo>
                    <a:pt x="2169225" y="611017"/>
                  </a:lnTo>
                  <a:lnTo>
                    <a:pt x="2169832" y="614348"/>
                  </a:lnTo>
                  <a:lnTo>
                    <a:pt x="2170547" y="617354"/>
                  </a:lnTo>
                  <a:lnTo>
                    <a:pt x="2171169" y="618427"/>
                  </a:lnTo>
                  <a:lnTo>
                    <a:pt x="2173503" y="620432"/>
                  </a:lnTo>
                  <a:lnTo>
                    <a:pt x="2178733" y="631842"/>
                  </a:lnTo>
                  <a:lnTo>
                    <a:pt x="2179863" y="633215"/>
                  </a:lnTo>
                  <a:lnTo>
                    <a:pt x="2180916" y="633318"/>
                  </a:lnTo>
                  <a:lnTo>
                    <a:pt x="2180417" y="635849"/>
                  </a:lnTo>
                  <a:lnTo>
                    <a:pt x="2180327" y="636624"/>
                  </a:lnTo>
                  <a:lnTo>
                    <a:pt x="2180274" y="638576"/>
                  </a:lnTo>
                  <a:lnTo>
                    <a:pt x="2180218" y="639565"/>
                  </a:lnTo>
                  <a:lnTo>
                    <a:pt x="2180113" y="640304"/>
                  </a:lnTo>
                  <a:lnTo>
                    <a:pt x="2179403" y="641926"/>
                  </a:lnTo>
                  <a:lnTo>
                    <a:pt x="2177660" y="643144"/>
                  </a:lnTo>
                  <a:lnTo>
                    <a:pt x="2176892" y="644318"/>
                  </a:lnTo>
                  <a:lnTo>
                    <a:pt x="2177547" y="647299"/>
                  </a:lnTo>
                  <a:lnTo>
                    <a:pt x="2177277" y="648253"/>
                  </a:lnTo>
                  <a:lnTo>
                    <a:pt x="2177426" y="649210"/>
                  </a:lnTo>
                  <a:lnTo>
                    <a:pt x="2178050" y="650949"/>
                  </a:lnTo>
                  <a:lnTo>
                    <a:pt x="2178430" y="651662"/>
                  </a:lnTo>
                  <a:lnTo>
                    <a:pt x="2178584" y="652178"/>
                  </a:lnTo>
                  <a:lnTo>
                    <a:pt x="2178528" y="652907"/>
                  </a:lnTo>
                  <a:lnTo>
                    <a:pt x="2178266" y="653364"/>
                  </a:lnTo>
                  <a:lnTo>
                    <a:pt x="2177119" y="653824"/>
                  </a:lnTo>
                  <a:lnTo>
                    <a:pt x="2176107" y="655081"/>
                  </a:lnTo>
                  <a:lnTo>
                    <a:pt x="2175135" y="656810"/>
                  </a:lnTo>
                  <a:lnTo>
                    <a:pt x="2174557" y="657449"/>
                  </a:lnTo>
                  <a:lnTo>
                    <a:pt x="2167380" y="658473"/>
                  </a:lnTo>
                  <a:lnTo>
                    <a:pt x="2160191" y="659461"/>
                  </a:lnTo>
                  <a:lnTo>
                    <a:pt x="2159552" y="659906"/>
                  </a:lnTo>
                  <a:lnTo>
                    <a:pt x="2159107" y="660664"/>
                  </a:lnTo>
                  <a:lnTo>
                    <a:pt x="2158390" y="662320"/>
                  </a:lnTo>
                  <a:lnTo>
                    <a:pt x="2157946" y="662959"/>
                  </a:lnTo>
                  <a:lnTo>
                    <a:pt x="2156690" y="663240"/>
                  </a:lnTo>
                  <a:lnTo>
                    <a:pt x="2152871" y="659568"/>
                  </a:lnTo>
                  <a:lnTo>
                    <a:pt x="2148992" y="658921"/>
                  </a:lnTo>
                  <a:lnTo>
                    <a:pt x="2146618" y="656086"/>
                  </a:lnTo>
                  <a:lnTo>
                    <a:pt x="2141645" y="653628"/>
                  </a:lnTo>
                  <a:lnTo>
                    <a:pt x="2141341" y="652921"/>
                  </a:lnTo>
                  <a:lnTo>
                    <a:pt x="2141904" y="651488"/>
                  </a:lnTo>
                  <a:lnTo>
                    <a:pt x="2141758" y="649664"/>
                  </a:lnTo>
                  <a:lnTo>
                    <a:pt x="2141269" y="647893"/>
                  </a:lnTo>
                  <a:lnTo>
                    <a:pt x="2138475" y="641662"/>
                  </a:lnTo>
                  <a:lnTo>
                    <a:pt x="2137929" y="638996"/>
                  </a:lnTo>
                  <a:lnTo>
                    <a:pt x="2137675" y="636983"/>
                  </a:lnTo>
                  <a:lnTo>
                    <a:pt x="2137634" y="635936"/>
                  </a:lnTo>
                  <a:lnTo>
                    <a:pt x="2137692" y="634511"/>
                  </a:lnTo>
                  <a:lnTo>
                    <a:pt x="2138020" y="632707"/>
                  </a:lnTo>
                  <a:lnTo>
                    <a:pt x="2138523" y="632409"/>
                  </a:lnTo>
                  <a:lnTo>
                    <a:pt x="2139076" y="632550"/>
                  </a:lnTo>
                  <a:lnTo>
                    <a:pt x="2139562" y="632039"/>
                  </a:lnTo>
                  <a:lnTo>
                    <a:pt x="2139735" y="629785"/>
                  </a:lnTo>
                  <a:lnTo>
                    <a:pt x="2138852" y="628305"/>
                  </a:lnTo>
                  <a:lnTo>
                    <a:pt x="2135365" y="624970"/>
                  </a:lnTo>
                  <a:lnTo>
                    <a:pt x="2134712" y="623498"/>
                  </a:lnTo>
                  <a:lnTo>
                    <a:pt x="2134402" y="621282"/>
                  </a:lnTo>
                  <a:lnTo>
                    <a:pt x="2134469" y="620105"/>
                  </a:lnTo>
                  <a:lnTo>
                    <a:pt x="2134615" y="619180"/>
                  </a:lnTo>
                  <a:lnTo>
                    <a:pt x="2134663" y="618192"/>
                  </a:lnTo>
                  <a:lnTo>
                    <a:pt x="2134430" y="616849"/>
                  </a:lnTo>
                  <a:lnTo>
                    <a:pt x="2133947" y="616133"/>
                  </a:lnTo>
                  <a:lnTo>
                    <a:pt x="2133222" y="616070"/>
                  </a:lnTo>
                  <a:lnTo>
                    <a:pt x="2129228" y="617968"/>
                  </a:lnTo>
                  <a:lnTo>
                    <a:pt x="2128625" y="617665"/>
                  </a:lnTo>
                  <a:lnTo>
                    <a:pt x="2124380" y="611951"/>
                  </a:lnTo>
                  <a:lnTo>
                    <a:pt x="2117204" y="608652"/>
                  </a:lnTo>
                  <a:lnTo>
                    <a:pt x="2110062" y="605316"/>
                  </a:lnTo>
                  <a:lnTo>
                    <a:pt x="2101069" y="609477"/>
                  </a:lnTo>
                  <a:lnTo>
                    <a:pt x="2099980" y="609174"/>
                  </a:lnTo>
                  <a:lnTo>
                    <a:pt x="2096455" y="605625"/>
                  </a:lnTo>
                  <a:lnTo>
                    <a:pt x="2095778" y="604071"/>
                  </a:lnTo>
                  <a:lnTo>
                    <a:pt x="2095697" y="601442"/>
                  </a:lnTo>
                  <a:lnTo>
                    <a:pt x="2096345" y="599676"/>
                  </a:lnTo>
                  <a:lnTo>
                    <a:pt x="2099608" y="596192"/>
                  </a:lnTo>
                  <a:lnTo>
                    <a:pt x="2098091" y="594219"/>
                  </a:lnTo>
                  <a:lnTo>
                    <a:pt x="2091389" y="595320"/>
                  </a:lnTo>
                  <a:lnTo>
                    <a:pt x="2084672" y="596388"/>
                  </a:lnTo>
                  <a:lnTo>
                    <a:pt x="2083528" y="597554"/>
                  </a:lnTo>
                  <a:lnTo>
                    <a:pt x="2082144" y="597619"/>
                  </a:lnTo>
                  <a:lnTo>
                    <a:pt x="2080767" y="598520"/>
                  </a:lnTo>
                  <a:lnTo>
                    <a:pt x="2077160" y="598526"/>
                  </a:lnTo>
                  <a:lnTo>
                    <a:pt x="2075145" y="599497"/>
                  </a:lnTo>
                  <a:lnTo>
                    <a:pt x="2071671" y="602784"/>
                  </a:lnTo>
                  <a:lnTo>
                    <a:pt x="2070890" y="602907"/>
                  </a:lnTo>
                  <a:lnTo>
                    <a:pt x="2070824" y="605224"/>
                  </a:lnTo>
                  <a:lnTo>
                    <a:pt x="2069755" y="606208"/>
                  </a:lnTo>
                  <a:lnTo>
                    <a:pt x="2064190" y="603825"/>
                  </a:lnTo>
                  <a:lnTo>
                    <a:pt x="2058644" y="601420"/>
                  </a:lnTo>
                  <a:lnTo>
                    <a:pt x="2054683" y="595684"/>
                  </a:lnTo>
                  <a:lnTo>
                    <a:pt x="2053807" y="592955"/>
                  </a:lnTo>
                  <a:lnTo>
                    <a:pt x="2053423" y="592547"/>
                  </a:lnTo>
                  <a:lnTo>
                    <a:pt x="2052911" y="592379"/>
                  </a:lnTo>
                  <a:lnTo>
                    <a:pt x="2052442" y="591938"/>
                  </a:lnTo>
                  <a:lnTo>
                    <a:pt x="2052080" y="591110"/>
                  </a:lnTo>
                  <a:lnTo>
                    <a:pt x="2051521" y="587205"/>
                  </a:lnTo>
                  <a:lnTo>
                    <a:pt x="2049489" y="582350"/>
                  </a:lnTo>
                  <a:lnTo>
                    <a:pt x="2049369" y="581531"/>
                  </a:lnTo>
                  <a:lnTo>
                    <a:pt x="2049192" y="576152"/>
                  </a:lnTo>
                  <a:lnTo>
                    <a:pt x="2049269" y="575132"/>
                  </a:lnTo>
                  <a:lnTo>
                    <a:pt x="2049563" y="574302"/>
                  </a:lnTo>
                  <a:lnTo>
                    <a:pt x="2050192" y="573107"/>
                  </a:lnTo>
                  <a:lnTo>
                    <a:pt x="2051347" y="571565"/>
                  </a:lnTo>
                  <a:lnTo>
                    <a:pt x="2053627" y="569974"/>
                  </a:lnTo>
                  <a:lnTo>
                    <a:pt x="2055298" y="567938"/>
                  </a:lnTo>
                  <a:lnTo>
                    <a:pt x="2059230" y="567851"/>
                  </a:lnTo>
                  <a:lnTo>
                    <a:pt x="2065317" y="572019"/>
                  </a:lnTo>
                  <a:lnTo>
                    <a:pt x="2071443" y="576161"/>
                  </a:lnTo>
                  <a:lnTo>
                    <a:pt x="2078366" y="576560"/>
                  </a:lnTo>
                  <a:lnTo>
                    <a:pt x="2081101" y="579246"/>
                  </a:lnTo>
                  <a:lnTo>
                    <a:pt x="2082037" y="579565"/>
                  </a:lnTo>
                  <a:lnTo>
                    <a:pt x="2083038" y="579005"/>
                  </a:lnTo>
                  <a:lnTo>
                    <a:pt x="2083946" y="577152"/>
                  </a:lnTo>
                  <a:lnTo>
                    <a:pt x="2084396" y="575555"/>
                  </a:lnTo>
                  <a:lnTo>
                    <a:pt x="2084504" y="574718"/>
                  </a:lnTo>
                  <a:lnTo>
                    <a:pt x="2084348" y="574210"/>
                  </a:lnTo>
                  <a:lnTo>
                    <a:pt x="2084010" y="573612"/>
                  </a:lnTo>
                  <a:lnTo>
                    <a:pt x="2083839" y="572612"/>
                  </a:lnTo>
                  <a:lnTo>
                    <a:pt x="2084308" y="571937"/>
                  </a:lnTo>
                  <a:lnTo>
                    <a:pt x="2085487" y="570909"/>
                  </a:lnTo>
                  <a:lnTo>
                    <a:pt x="2085596" y="571508"/>
                  </a:lnTo>
                  <a:lnTo>
                    <a:pt x="2085884" y="571429"/>
                  </a:lnTo>
                  <a:lnTo>
                    <a:pt x="2086611" y="570361"/>
                  </a:lnTo>
                  <a:lnTo>
                    <a:pt x="2086448" y="569525"/>
                  </a:lnTo>
                  <a:lnTo>
                    <a:pt x="2086208" y="568973"/>
                  </a:lnTo>
                  <a:lnTo>
                    <a:pt x="2085914" y="568704"/>
                  </a:lnTo>
                  <a:lnTo>
                    <a:pt x="2085591" y="568691"/>
                  </a:lnTo>
                  <a:lnTo>
                    <a:pt x="2086051" y="568157"/>
                  </a:lnTo>
                  <a:lnTo>
                    <a:pt x="2086502" y="567378"/>
                  </a:lnTo>
                  <a:lnTo>
                    <a:pt x="2085757" y="566401"/>
                  </a:lnTo>
                  <a:lnTo>
                    <a:pt x="2079558" y="565996"/>
                  </a:lnTo>
                  <a:lnTo>
                    <a:pt x="2073359" y="565563"/>
                  </a:lnTo>
                  <a:lnTo>
                    <a:pt x="2072768" y="564362"/>
                  </a:lnTo>
                  <a:lnTo>
                    <a:pt x="2074456" y="561883"/>
                  </a:lnTo>
                  <a:lnTo>
                    <a:pt x="2076164" y="560602"/>
                  </a:lnTo>
                  <a:lnTo>
                    <a:pt x="2085394" y="561321"/>
                  </a:lnTo>
                  <a:lnTo>
                    <a:pt x="2084904" y="558619"/>
                  </a:lnTo>
                  <a:lnTo>
                    <a:pt x="2084799" y="557476"/>
                  </a:lnTo>
                  <a:lnTo>
                    <a:pt x="2085695" y="556458"/>
                  </a:lnTo>
                  <a:lnTo>
                    <a:pt x="2086498" y="556107"/>
                  </a:lnTo>
                  <a:lnTo>
                    <a:pt x="2088902" y="556243"/>
                  </a:lnTo>
                  <a:lnTo>
                    <a:pt x="2089407" y="555748"/>
                  </a:lnTo>
                  <a:lnTo>
                    <a:pt x="2089724" y="554667"/>
                  </a:lnTo>
                  <a:lnTo>
                    <a:pt x="2089690" y="553523"/>
                  </a:lnTo>
                  <a:lnTo>
                    <a:pt x="2089002" y="553336"/>
                  </a:lnTo>
                  <a:lnTo>
                    <a:pt x="2088775" y="550487"/>
                  </a:lnTo>
                  <a:lnTo>
                    <a:pt x="2088016" y="549398"/>
                  </a:lnTo>
                  <a:lnTo>
                    <a:pt x="2086505" y="548759"/>
                  </a:lnTo>
                  <a:lnTo>
                    <a:pt x="2085799" y="549721"/>
                  </a:lnTo>
                  <a:lnTo>
                    <a:pt x="2084975" y="551684"/>
                  </a:lnTo>
                  <a:lnTo>
                    <a:pt x="2084199" y="553046"/>
                  </a:lnTo>
                  <a:lnTo>
                    <a:pt x="2083636" y="552228"/>
                  </a:lnTo>
                  <a:lnTo>
                    <a:pt x="2083798" y="551901"/>
                  </a:lnTo>
                  <a:lnTo>
                    <a:pt x="2084254" y="550743"/>
                  </a:lnTo>
                  <a:lnTo>
                    <a:pt x="2083806" y="550137"/>
                  </a:lnTo>
                  <a:lnTo>
                    <a:pt x="2083217" y="550192"/>
                  </a:lnTo>
                  <a:lnTo>
                    <a:pt x="2080504" y="552615"/>
                  </a:lnTo>
                  <a:lnTo>
                    <a:pt x="2079082" y="553137"/>
                  </a:lnTo>
                  <a:lnTo>
                    <a:pt x="2079777" y="551321"/>
                  </a:lnTo>
                  <a:lnTo>
                    <a:pt x="2080729" y="549632"/>
                  </a:lnTo>
                  <a:lnTo>
                    <a:pt x="2082414" y="547502"/>
                  </a:lnTo>
                  <a:lnTo>
                    <a:pt x="2082002" y="546288"/>
                  </a:lnTo>
                  <a:lnTo>
                    <a:pt x="2081325" y="546522"/>
                  </a:lnTo>
                  <a:lnTo>
                    <a:pt x="2080573" y="547177"/>
                  </a:lnTo>
                  <a:lnTo>
                    <a:pt x="2079932" y="547224"/>
                  </a:lnTo>
                  <a:lnTo>
                    <a:pt x="2079032" y="545653"/>
                  </a:lnTo>
                  <a:lnTo>
                    <a:pt x="2078471" y="545532"/>
                  </a:lnTo>
                  <a:lnTo>
                    <a:pt x="2077900" y="546993"/>
                  </a:lnTo>
                  <a:lnTo>
                    <a:pt x="2077958" y="547309"/>
                  </a:lnTo>
                  <a:lnTo>
                    <a:pt x="2077964" y="548022"/>
                  </a:lnTo>
                  <a:lnTo>
                    <a:pt x="2078003" y="548558"/>
                  </a:lnTo>
                  <a:lnTo>
                    <a:pt x="2076876" y="550106"/>
                  </a:lnTo>
                  <a:lnTo>
                    <a:pt x="2075582" y="550895"/>
                  </a:lnTo>
                  <a:lnTo>
                    <a:pt x="2074391" y="550756"/>
                  </a:lnTo>
                  <a:lnTo>
                    <a:pt x="2073577" y="549532"/>
                  </a:lnTo>
                  <a:lnTo>
                    <a:pt x="2073882" y="549568"/>
                  </a:lnTo>
                  <a:lnTo>
                    <a:pt x="2073553" y="548507"/>
                  </a:lnTo>
                  <a:lnTo>
                    <a:pt x="2071672" y="548338"/>
                  </a:lnTo>
                  <a:lnTo>
                    <a:pt x="2071082" y="547005"/>
                  </a:lnTo>
                  <a:lnTo>
                    <a:pt x="2073152" y="543324"/>
                  </a:lnTo>
                  <a:lnTo>
                    <a:pt x="2080121" y="537804"/>
                  </a:lnTo>
                  <a:lnTo>
                    <a:pt x="2080757" y="536912"/>
                  </a:lnTo>
                  <a:lnTo>
                    <a:pt x="2080922" y="535458"/>
                  </a:lnTo>
                  <a:lnTo>
                    <a:pt x="2080550" y="534367"/>
                  </a:lnTo>
                  <a:lnTo>
                    <a:pt x="2077368" y="530789"/>
                  </a:lnTo>
                  <a:lnTo>
                    <a:pt x="2077095" y="529783"/>
                  </a:lnTo>
                  <a:lnTo>
                    <a:pt x="2077112" y="528834"/>
                  </a:lnTo>
                  <a:lnTo>
                    <a:pt x="2077208" y="527889"/>
                  </a:lnTo>
                  <a:lnTo>
                    <a:pt x="2077173" y="526863"/>
                  </a:lnTo>
                  <a:lnTo>
                    <a:pt x="2076850" y="526148"/>
                  </a:lnTo>
                  <a:lnTo>
                    <a:pt x="2073454" y="524572"/>
                  </a:lnTo>
                  <a:lnTo>
                    <a:pt x="2072868" y="525196"/>
                  </a:lnTo>
                  <a:lnTo>
                    <a:pt x="2072485" y="526399"/>
                  </a:lnTo>
                  <a:lnTo>
                    <a:pt x="2072180" y="527739"/>
                  </a:lnTo>
                  <a:lnTo>
                    <a:pt x="2071831" y="528551"/>
                  </a:lnTo>
                  <a:lnTo>
                    <a:pt x="2070494" y="527269"/>
                  </a:lnTo>
                  <a:lnTo>
                    <a:pt x="2069529" y="527265"/>
                  </a:lnTo>
                  <a:lnTo>
                    <a:pt x="2068522" y="528333"/>
                  </a:lnTo>
                  <a:lnTo>
                    <a:pt x="2067583" y="530569"/>
                  </a:lnTo>
                  <a:lnTo>
                    <a:pt x="2066077" y="534993"/>
                  </a:lnTo>
                  <a:lnTo>
                    <a:pt x="2065294" y="536832"/>
                  </a:lnTo>
                  <a:lnTo>
                    <a:pt x="2064592" y="538038"/>
                  </a:lnTo>
                  <a:lnTo>
                    <a:pt x="2061995" y="539873"/>
                  </a:lnTo>
                  <a:lnTo>
                    <a:pt x="2059448" y="543327"/>
                  </a:lnTo>
                  <a:lnTo>
                    <a:pt x="2058247" y="544152"/>
                  </a:lnTo>
                  <a:lnTo>
                    <a:pt x="2055675" y="543994"/>
                  </a:lnTo>
                  <a:lnTo>
                    <a:pt x="2054747" y="542896"/>
                  </a:lnTo>
                  <a:lnTo>
                    <a:pt x="2054481" y="540785"/>
                  </a:lnTo>
                  <a:lnTo>
                    <a:pt x="2055232" y="538817"/>
                  </a:lnTo>
                  <a:lnTo>
                    <a:pt x="2058792" y="534318"/>
                  </a:lnTo>
                  <a:lnTo>
                    <a:pt x="2059093" y="533679"/>
                  </a:lnTo>
                  <a:lnTo>
                    <a:pt x="2059374" y="532944"/>
                  </a:lnTo>
                  <a:lnTo>
                    <a:pt x="2059657" y="532373"/>
                  </a:lnTo>
                  <a:lnTo>
                    <a:pt x="2059969" y="532170"/>
                  </a:lnTo>
                  <a:lnTo>
                    <a:pt x="2060720" y="529177"/>
                  </a:lnTo>
                  <a:lnTo>
                    <a:pt x="2062333" y="525799"/>
                  </a:lnTo>
                  <a:lnTo>
                    <a:pt x="2064660" y="521952"/>
                  </a:lnTo>
                  <a:lnTo>
                    <a:pt x="2064331" y="519739"/>
                  </a:lnTo>
                  <a:lnTo>
                    <a:pt x="2063674" y="518795"/>
                  </a:lnTo>
                  <a:lnTo>
                    <a:pt x="2059583" y="516641"/>
                  </a:lnTo>
                  <a:lnTo>
                    <a:pt x="2049620" y="519761"/>
                  </a:lnTo>
                  <a:lnTo>
                    <a:pt x="2046486" y="517896"/>
                  </a:lnTo>
                  <a:lnTo>
                    <a:pt x="2046092" y="516544"/>
                  </a:lnTo>
                  <a:lnTo>
                    <a:pt x="2046062" y="514622"/>
                  </a:lnTo>
                  <a:lnTo>
                    <a:pt x="2046700" y="512372"/>
                  </a:lnTo>
                  <a:lnTo>
                    <a:pt x="2046756" y="511514"/>
                  </a:lnTo>
                  <a:lnTo>
                    <a:pt x="2046882" y="510679"/>
                  </a:lnTo>
                  <a:lnTo>
                    <a:pt x="2046956" y="509970"/>
                  </a:lnTo>
                  <a:lnTo>
                    <a:pt x="2046854" y="509476"/>
                  </a:lnTo>
                  <a:lnTo>
                    <a:pt x="2047106" y="508766"/>
                  </a:lnTo>
                  <a:lnTo>
                    <a:pt x="2047118" y="507875"/>
                  </a:lnTo>
                  <a:lnTo>
                    <a:pt x="2047297" y="504131"/>
                  </a:lnTo>
                  <a:lnTo>
                    <a:pt x="2047427" y="502853"/>
                  </a:lnTo>
                  <a:lnTo>
                    <a:pt x="2047870" y="501362"/>
                  </a:lnTo>
                  <a:lnTo>
                    <a:pt x="2049035" y="498717"/>
                  </a:lnTo>
                  <a:lnTo>
                    <a:pt x="2049947" y="495521"/>
                  </a:lnTo>
                  <a:lnTo>
                    <a:pt x="2050752" y="494166"/>
                  </a:lnTo>
                  <a:lnTo>
                    <a:pt x="2052769" y="492212"/>
                  </a:lnTo>
                  <a:lnTo>
                    <a:pt x="2053107" y="491625"/>
                  </a:lnTo>
                  <a:lnTo>
                    <a:pt x="2053497" y="490610"/>
                  </a:lnTo>
                  <a:lnTo>
                    <a:pt x="2053675" y="489406"/>
                  </a:lnTo>
                  <a:lnTo>
                    <a:pt x="2053371" y="488821"/>
                  </a:lnTo>
                  <a:lnTo>
                    <a:pt x="2052588" y="488619"/>
                  </a:lnTo>
                  <a:lnTo>
                    <a:pt x="2053570" y="485801"/>
                  </a:lnTo>
                  <a:close/>
                  <a:moveTo>
                    <a:pt x="2695567" y="472895"/>
                  </a:moveTo>
                  <a:lnTo>
                    <a:pt x="2696910" y="473604"/>
                  </a:lnTo>
                  <a:lnTo>
                    <a:pt x="2701430" y="473600"/>
                  </a:lnTo>
                  <a:lnTo>
                    <a:pt x="2705608" y="475438"/>
                  </a:lnTo>
                  <a:lnTo>
                    <a:pt x="2705990" y="477824"/>
                  </a:lnTo>
                  <a:lnTo>
                    <a:pt x="2705654" y="479699"/>
                  </a:lnTo>
                  <a:lnTo>
                    <a:pt x="2704303" y="481561"/>
                  </a:lnTo>
                  <a:lnTo>
                    <a:pt x="2695294" y="479931"/>
                  </a:lnTo>
                  <a:lnTo>
                    <a:pt x="2694858" y="479489"/>
                  </a:lnTo>
                  <a:lnTo>
                    <a:pt x="2694482" y="478639"/>
                  </a:lnTo>
                  <a:lnTo>
                    <a:pt x="2694217" y="477364"/>
                  </a:lnTo>
                  <a:lnTo>
                    <a:pt x="2694261" y="477079"/>
                  </a:lnTo>
                  <a:lnTo>
                    <a:pt x="2694584" y="476760"/>
                  </a:lnTo>
                  <a:lnTo>
                    <a:pt x="2694651" y="476481"/>
                  </a:lnTo>
                  <a:lnTo>
                    <a:pt x="2694548" y="475854"/>
                  </a:lnTo>
                  <a:lnTo>
                    <a:pt x="2694153" y="474468"/>
                  </a:lnTo>
                  <a:lnTo>
                    <a:pt x="2693998" y="473846"/>
                  </a:lnTo>
                  <a:lnTo>
                    <a:pt x="2694084" y="473153"/>
                  </a:lnTo>
                  <a:close/>
                  <a:moveTo>
                    <a:pt x="2173474" y="408114"/>
                  </a:moveTo>
                  <a:lnTo>
                    <a:pt x="2177373" y="409226"/>
                  </a:lnTo>
                  <a:lnTo>
                    <a:pt x="2179519" y="412519"/>
                  </a:lnTo>
                  <a:lnTo>
                    <a:pt x="2180005" y="412702"/>
                  </a:lnTo>
                  <a:lnTo>
                    <a:pt x="2185847" y="410480"/>
                  </a:lnTo>
                  <a:lnTo>
                    <a:pt x="2186886" y="411436"/>
                  </a:lnTo>
                  <a:lnTo>
                    <a:pt x="2188720" y="414704"/>
                  </a:lnTo>
                  <a:lnTo>
                    <a:pt x="2190303" y="416022"/>
                  </a:lnTo>
                  <a:lnTo>
                    <a:pt x="2190691" y="417523"/>
                  </a:lnTo>
                  <a:lnTo>
                    <a:pt x="2190543" y="417807"/>
                  </a:lnTo>
                  <a:lnTo>
                    <a:pt x="2190255" y="418663"/>
                  </a:lnTo>
                  <a:lnTo>
                    <a:pt x="2190118" y="418978"/>
                  </a:lnTo>
                  <a:lnTo>
                    <a:pt x="2190513" y="420150"/>
                  </a:lnTo>
                  <a:lnTo>
                    <a:pt x="2191726" y="422717"/>
                  </a:lnTo>
                  <a:lnTo>
                    <a:pt x="2191854" y="423823"/>
                  </a:lnTo>
                  <a:lnTo>
                    <a:pt x="2191804" y="425432"/>
                  </a:lnTo>
                  <a:lnTo>
                    <a:pt x="2192189" y="426814"/>
                  </a:lnTo>
                  <a:lnTo>
                    <a:pt x="2193078" y="428711"/>
                  </a:lnTo>
                  <a:lnTo>
                    <a:pt x="2192681" y="429331"/>
                  </a:lnTo>
                  <a:lnTo>
                    <a:pt x="2192299" y="430316"/>
                  </a:lnTo>
                  <a:lnTo>
                    <a:pt x="2191967" y="431596"/>
                  </a:lnTo>
                  <a:lnTo>
                    <a:pt x="2191722" y="433093"/>
                  </a:lnTo>
                  <a:lnTo>
                    <a:pt x="2191521" y="435382"/>
                  </a:lnTo>
                  <a:lnTo>
                    <a:pt x="2191622" y="436382"/>
                  </a:lnTo>
                  <a:lnTo>
                    <a:pt x="2192379" y="437534"/>
                  </a:lnTo>
                  <a:lnTo>
                    <a:pt x="2192925" y="439412"/>
                  </a:lnTo>
                  <a:lnTo>
                    <a:pt x="2193304" y="441978"/>
                  </a:lnTo>
                  <a:lnTo>
                    <a:pt x="2193510" y="444829"/>
                  </a:lnTo>
                  <a:lnTo>
                    <a:pt x="2193526" y="447577"/>
                  </a:lnTo>
                  <a:lnTo>
                    <a:pt x="2193317" y="448800"/>
                  </a:lnTo>
                  <a:lnTo>
                    <a:pt x="2192885" y="450113"/>
                  </a:lnTo>
                  <a:lnTo>
                    <a:pt x="2192418" y="451157"/>
                  </a:lnTo>
                  <a:lnTo>
                    <a:pt x="2192113" y="451591"/>
                  </a:lnTo>
                  <a:lnTo>
                    <a:pt x="2191903" y="452270"/>
                  </a:lnTo>
                  <a:lnTo>
                    <a:pt x="2191631" y="453780"/>
                  </a:lnTo>
                  <a:lnTo>
                    <a:pt x="2191291" y="455284"/>
                  </a:lnTo>
                  <a:lnTo>
                    <a:pt x="2190885" y="455970"/>
                  </a:lnTo>
                  <a:lnTo>
                    <a:pt x="2190693" y="456530"/>
                  </a:lnTo>
                  <a:lnTo>
                    <a:pt x="2190308" y="459183"/>
                  </a:lnTo>
                  <a:lnTo>
                    <a:pt x="2190132" y="460029"/>
                  </a:lnTo>
                  <a:lnTo>
                    <a:pt x="2189693" y="460726"/>
                  </a:lnTo>
                  <a:lnTo>
                    <a:pt x="2189371" y="460650"/>
                  </a:lnTo>
                  <a:lnTo>
                    <a:pt x="2188659" y="459648"/>
                  </a:lnTo>
                  <a:lnTo>
                    <a:pt x="2188825" y="457563"/>
                  </a:lnTo>
                  <a:lnTo>
                    <a:pt x="2188644" y="456336"/>
                  </a:lnTo>
                  <a:lnTo>
                    <a:pt x="2187258" y="454287"/>
                  </a:lnTo>
                  <a:lnTo>
                    <a:pt x="2180694" y="450669"/>
                  </a:lnTo>
                  <a:lnTo>
                    <a:pt x="2180142" y="449690"/>
                  </a:lnTo>
                  <a:lnTo>
                    <a:pt x="2180601" y="447907"/>
                  </a:lnTo>
                  <a:lnTo>
                    <a:pt x="2180773" y="447502"/>
                  </a:lnTo>
                  <a:lnTo>
                    <a:pt x="2180610" y="447078"/>
                  </a:lnTo>
                  <a:lnTo>
                    <a:pt x="2180329" y="445960"/>
                  </a:lnTo>
                  <a:lnTo>
                    <a:pt x="2180215" y="445270"/>
                  </a:lnTo>
                  <a:lnTo>
                    <a:pt x="2180628" y="445102"/>
                  </a:lnTo>
                  <a:lnTo>
                    <a:pt x="2181044" y="444566"/>
                  </a:lnTo>
                  <a:lnTo>
                    <a:pt x="2181009" y="442698"/>
                  </a:lnTo>
                  <a:lnTo>
                    <a:pt x="2181014" y="441706"/>
                  </a:lnTo>
                  <a:lnTo>
                    <a:pt x="2180880" y="441077"/>
                  </a:lnTo>
                  <a:lnTo>
                    <a:pt x="2175859" y="435436"/>
                  </a:lnTo>
                  <a:lnTo>
                    <a:pt x="2175249" y="435417"/>
                  </a:lnTo>
                  <a:lnTo>
                    <a:pt x="2173435" y="436801"/>
                  </a:lnTo>
                  <a:lnTo>
                    <a:pt x="2166326" y="437187"/>
                  </a:lnTo>
                  <a:lnTo>
                    <a:pt x="2165826" y="436396"/>
                  </a:lnTo>
                  <a:lnTo>
                    <a:pt x="2164886" y="434016"/>
                  </a:lnTo>
                  <a:lnTo>
                    <a:pt x="2164409" y="433463"/>
                  </a:lnTo>
                  <a:lnTo>
                    <a:pt x="2164647" y="432250"/>
                  </a:lnTo>
                  <a:lnTo>
                    <a:pt x="2165282" y="430373"/>
                  </a:lnTo>
                  <a:lnTo>
                    <a:pt x="2165449" y="429393"/>
                  </a:lnTo>
                  <a:lnTo>
                    <a:pt x="2165505" y="428579"/>
                  </a:lnTo>
                  <a:lnTo>
                    <a:pt x="2165548" y="428107"/>
                  </a:lnTo>
                  <a:lnTo>
                    <a:pt x="2165579" y="427630"/>
                  </a:lnTo>
                  <a:lnTo>
                    <a:pt x="2165602" y="426752"/>
                  </a:lnTo>
                  <a:lnTo>
                    <a:pt x="2165581" y="426105"/>
                  </a:lnTo>
                  <a:lnTo>
                    <a:pt x="2165521" y="425614"/>
                  </a:lnTo>
                  <a:lnTo>
                    <a:pt x="2165474" y="425045"/>
                  </a:lnTo>
                  <a:lnTo>
                    <a:pt x="2165488" y="424202"/>
                  </a:lnTo>
                  <a:lnTo>
                    <a:pt x="2165366" y="422851"/>
                  </a:lnTo>
                  <a:lnTo>
                    <a:pt x="2165059" y="421675"/>
                  </a:lnTo>
                  <a:lnTo>
                    <a:pt x="2164909" y="420467"/>
                  </a:lnTo>
                  <a:lnTo>
                    <a:pt x="2165260" y="419027"/>
                  </a:lnTo>
                  <a:lnTo>
                    <a:pt x="2165533" y="418590"/>
                  </a:lnTo>
                  <a:lnTo>
                    <a:pt x="2166093" y="418097"/>
                  </a:lnTo>
                  <a:lnTo>
                    <a:pt x="2166386" y="417612"/>
                  </a:lnTo>
                  <a:lnTo>
                    <a:pt x="2166543" y="417102"/>
                  </a:lnTo>
                  <a:lnTo>
                    <a:pt x="2166859" y="415669"/>
                  </a:lnTo>
                  <a:lnTo>
                    <a:pt x="2167072" y="415039"/>
                  </a:lnTo>
                  <a:lnTo>
                    <a:pt x="2166889" y="415763"/>
                  </a:lnTo>
                  <a:lnTo>
                    <a:pt x="2167843" y="413727"/>
                  </a:lnTo>
                  <a:close/>
                  <a:moveTo>
                    <a:pt x="2253299" y="349115"/>
                  </a:moveTo>
                  <a:lnTo>
                    <a:pt x="2254299" y="350264"/>
                  </a:lnTo>
                  <a:lnTo>
                    <a:pt x="2258925" y="349888"/>
                  </a:lnTo>
                  <a:lnTo>
                    <a:pt x="2260685" y="351247"/>
                  </a:lnTo>
                  <a:lnTo>
                    <a:pt x="2260904" y="351635"/>
                  </a:lnTo>
                  <a:lnTo>
                    <a:pt x="2261171" y="352316"/>
                  </a:lnTo>
                  <a:lnTo>
                    <a:pt x="2261402" y="353121"/>
                  </a:lnTo>
                  <a:lnTo>
                    <a:pt x="2261510" y="353832"/>
                  </a:lnTo>
                  <a:lnTo>
                    <a:pt x="2262341" y="355395"/>
                  </a:lnTo>
                  <a:lnTo>
                    <a:pt x="2262569" y="356345"/>
                  </a:lnTo>
                  <a:lnTo>
                    <a:pt x="2258776" y="359274"/>
                  </a:lnTo>
                  <a:lnTo>
                    <a:pt x="2253387" y="357579"/>
                  </a:lnTo>
                  <a:lnTo>
                    <a:pt x="2250721" y="354678"/>
                  </a:lnTo>
                  <a:lnTo>
                    <a:pt x="2246716" y="355233"/>
                  </a:lnTo>
                  <a:lnTo>
                    <a:pt x="2241349" y="353896"/>
                  </a:lnTo>
                  <a:lnTo>
                    <a:pt x="2242041" y="351746"/>
                  </a:lnTo>
                  <a:lnTo>
                    <a:pt x="2243005" y="350880"/>
                  </a:lnTo>
                  <a:lnTo>
                    <a:pt x="2249020" y="350777"/>
                  </a:lnTo>
                  <a:lnTo>
                    <a:pt x="2248897" y="350109"/>
                  </a:lnTo>
                  <a:lnTo>
                    <a:pt x="2252326" y="350043"/>
                  </a:lnTo>
                  <a:close/>
                  <a:moveTo>
                    <a:pt x="2283887" y="274872"/>
                  </a:moveTo>
                  <a:lnTo>
                    <a:pt x="2288426" y="276095"/>
                  </a:lnTo>
                  <a:lnTo>
                    <a:pt x="2291280" y="278726"/>
                  </a:lnTo>
                  <a:lnTo>
                    <a:pt x="2296875" y="281587"/>
                  </a:lnTo>
                  <a:lnTo>
                    <a:pt x="2298106" y="283218"/>
                  </a:lnTo>
                  <a:lnTo>
                    <a:pt x="2301872" y="284682"/>
                  </a:lnTo>
                  <a:lnTo>
                    <a:pt x="2304023" y="286936"/>
                  </a:lnTo>
                  <a:lnTo>
                    <a:pt x="2306328" y="287550"/>
                  </a:lnTo>
                  <a:lnTo>
                    <a:pt x="2314046" y="297146"/>
                  </a:lnTo>
                  <a:lnTo>
                    <a:pt x="2314592" y="297392"/>
                  </a:lnTo>
                  <a:lnTo>
                    <a:pt x="2314472" y="298378"/>
                  </a:lnTo>
                  <a:lnTo>
                    <a:pt x="2314172" y="299945"/>
                  </a:lnTo>
                  <a:lnTo>
                    <a:pt x="2314080" y="301112"/>
                  </a:lnTo>
                  <a:lnTo>
                    <a:pt x="2314770" y="302432"/>
                  </a:lnTo>
                  <a:lnTo>
                    <a:pt x="2315117" y="303372"/>
                  </a:lnTo>
                  <a:lnTo>
                    <a:pt x="2315458" y="304693"/>
                  </a:lnTo>
                  <a:lnTo>
                    <a:pt x="2315049" y="305676"/>
                  </a:lnTo>
                  <a:lnTo>
                    <a:pt x="2313307" y="305605"/>
                  </a:lnTo>
                  <a:lnTo>
                    <a:pt x="2313369" y="306334"/>
                  </a:lnTo>
                  <a:lnTo>
                    <a:pt x="2317283" y="310268"/>
                  </a:lnTo>
                  <a:lnTo>
                    <a:pt x="2321027" y="316440"/>
                  </a:lnTo>
                  <a:lnTo>
                    <a:pt x="2321129" y="318019"/>
                  </a:lnTo>
                  <a:lnTo>
                    <a:pt x="2321170" y="319022"/>
                  </a:lnTo>
                  <a:lnTo>
                    <a:pt x="2321299" y="319838"/>
                  </a:lnTo>
                  <a:lnTo>
                    <a:pt x="2321666" y="320845"/>
                  </a:lnTo>
                  <a:lnTo>
                    <a:pt x="2322195" y="321943"/>
                  </a:lnTo>
                  <a:lnTo>
                    <a:pt x="2323344" y="323713"/>
                  </a:lnTo>
                  <a:lnTo>
                    <a:pt x="2324652" y="324602"/>
                  </a:lnTo>
                  <a:lnTo>
                    <a:pt x="2325457" y="326273"/>
                  </a:lnTo>
                  <a:lnTo>
                    <a:pt x="2327068" y="330737"/>
                  </a:lnTo>
                  <a:lnTo>
                    <a:pt x="2327510" y="331472"/>
                  </a:lnTo>
                  <a:lnTo>
                    <a:pt x="2328362" y="331835"/>
                  </a:lnTo>
                  <a:lnTo>
                    <a:pt x="2328806" y="332393"/>
                  </a:lnTo>
                  <a:lnTo>
                    <a:pt x="2329296" y="333545"/>
                  </a:lnTo>
                  <a:lnTo>
                    <a:pt x="2329375" y="334172"/>
                  </a:lnTo>
                  <a:lnTo>
                    <a:pt x="2329324" y="334824"/>
                  </a:lnTo>
                  <a:lnTo>
                    <a:pt x="2329419" y="336030"/>
                  </a:lnTo>
                  <a:lnTo>
                    <a:pt x="2330106" y="338701"/>
                  </a:lnTo>
                  <a:lnTo>
                    <a:pt x="2331010" y="340361"/>
                  </a:lnTo>
                  <a:lnTo>
                    <a:pt x="2338229" y="344572"/>
                  </a:lnTo>
                  <a:lnTo>
                    <a:pt x="2340488" y="349490"/>
                  </a:lnTo>
                  <a:lnTo>
                    <a:pt x="2340627" y="349697"/>
                  </a:lnTo>
                  <a:lnTo>
                    <a:pt x="2340893" y="349780"/>
                  </a:lnTo>
                  <a:lnTo>
                    <a:pt x="2340674" y="352063"/>
                  </a:lnTo>
                  <a:lnTo>
                    <a:pt x="2338750" y="356338"/>
                  </a:lnTo>
                  <a:lnTo>
                    <a:pt x="2338668" y="358289"/>
                  </a:lnTo>
                  <a:lnTo>
                    <a:pt x="2339408" y="359248"/>
                  </a:lnTo>
                  <a:lnTo>
                    <a:pt x="2340394" y="359389"/>
                  </a:lnTo>
                  <a:lnTo>
                    <a:pt x="2341041" y="358892"/>
                  </a:lnTo>
                  <a:lnTo>
                    <a:pt x="2342235" y="359195"/>
                  </a:lnTo>
                  <a:lnTo>
                    <a:pt x="2342317" y="358204"/>
                  </a:lnTo>
                  <a:lnTo>
                    <a:pt x="2342440" y="357640"/>
                  </a:lnTo>
                  <a:lnTo>
                    <a:pt x="2343756" y="359169"/>
                  </a:lnTo>
                  <a:lnTo>
                    <a:pt x="2352763" y="360541"/>
                  </a:lnTo>
                  <a:lnTo>
                    <a:pt x="2354214" y="363214"/>
                  </a:lnTo>
                  <a:lnTo>
                    <a:pt x="2354653" y="363770"/>
                  </a:lnTo>
                  <a:lnTo>
                    <a:pt x="2355050" y="363941"/>
                  </a:lnTo>
                  <a:lnTo>
                    <a:pt x="2357977" y="368401"/>
                  </a:lnTo>
                  <a:lnTo>
                    <a:pt x="2358513" y="367598"/>
                  </a:lnTo>
                  <a:lnTo>
                    <a:pt x="2358222" y="366377"/>
                  </a:lnTo>
                  <a:lnTo>
                    <a:pt x="2356642" y="363025"/>
                  </a:lnTo>
                  <a:lnTo>
                    <a:pt x="2356078" y="361544"/>
                  </a:lnTo>
                  <a:lnTo>
                    <a:pt x="2358072" y="360504"/>
                  </a:lnTo>
                  <a:lnTo>
                    <a:pt x="2359190" y="361047"/>
                  </a:lnTo>
                  <a:lnTo>
                    <a:pt x="2359665" y="360868"/>
                  </a:lnTo>
                  <a:lnTo>
                    <a:pt x="2359602" y="359661"/>
                  </a:lnTo>
                  <a:lnTo>
                    <a:pt x="2365121" y="359672"/>
                  </a:lnTo>
                  <a:lnTo>
                    <a:pt x="2370929" y="366443"/>
                  </a:lnTo>
                  <a:lnTo>
                    <a:pt x="2370526" y="368656"/>
                  </a:lnTo>
                  <a:lnTo>
                    <a:pt x="2370364" y="369184"/>
                  </a:lnTo>
                  <a:lnTo>
                    <a:pt x="2368567" y="372457"/>
                  </a:lnTo>
                  <a:lnTo>
                    <a:pt x="2368288" y="374251"/>
                  </a:lnTo>
                  <a:lnTo>
                    <a:pt x="2369166" y="374806"/>
                  </a:lnTo>
                  <a:lnTo>
                    <a:pt x="2370626" y="372809"/>
                  </a:lnTo>
                  <a:lnTo>
                    <a:pt x="2371553" y="373847"/>
                  </a:lnTo>
                  <a:lnTo>
                    <a:pt x="2371189" y="377111"/>
                  </a:lnTo>
                  <a:lnTo>
                    <a:pt x="2371231" y="378600"/>
                  </a:lnTo>
                  <a:lnTo>
                    <a:pt x="2371851" y="379819"/>
                  </a:lnTo>
                  <a:lnTo>
                    <a:pt x="2371618" y="381383"/>
                  </a:lnTo>
                  <a:lnTo>
                    <a:pt x="2371106" y="382614"/>
                  </a:lnTo>
                  <a:lnTo>
                    <a:pt x="2369574" y="384451"/>
                  </a:lnTo>
                  <a:lnTo>
                    <a:pt x="2369856" y="385928"/>
                  </a:lnTo>
                  <a:lnTo>
                    <a:pt x="2370460" y="387583"/>
                  </a:lnTo>
                  <a:lnTo>
                    <a:pt x="2372466" y="391828"/>
                  </a:lnTo>
                  <a:lnTo>
                    <a:pt x="2375236" y="395692"/>
                  </a:lnTo>
                  <a:lnTo>
                    <a:pt x="2384546" y="402676"/>
                  </a:lnTo>
                  <a:lnTo>
                    <a:pt x="2385300" y="403798"/>
                  </a:lnTo>
                  <a:lnTo>
                    <a:pt x="2386044" y="404584"/>
                  </a:lnTo>
                  <a:lnTo>
                    <a:pt x="2386910" y="404556"/>
                  </a:lnTo>
                  <a:lnTo>
                    <a:pt x="2387698" y="403963"/>
                  </a:lnTo>
                  <a:lnTo>
                    <a:pt x="2388203" y="402999"/>
                  </a:lnTo>
                  <a:lnTo>
                    <a:pt x="2386747" y="400561"/>
                  </a:lnTo>
                  <a:lnTo>
                    <a:pt x="2386390" y="399532"/>
                  </a:lnTo>
                  <a:lnTo>
                    <a:pt x="2388107" y="399635"/>
                  </a:lnTo>
                  <a:lnTo>
                    <a:pt x="2390635" y="401487"/>
                  </a:lnTo>
                  <a:lnTo>
                    <a:pt x="2391435" y="402998"/>
                  </a:lnTo>
                  <a:lnTo>
                    <a:pt x="2393444" y="403763"/>
                  </a:lnTo>
                  <a:lnTo>
                    <a:pt x="2393345" y="403108"/>
                  </a:lnTo>
                  <a:lnTo>
                    <a:pt x="2392631" y="402574"/>
                  </a:lnTo>
                  <a:lnTo>
                    <a:pt x="2389215" y="397561"/>
                  </a:lnTo>
                  <a:lnTo>
                    <a:pt x="2387463" y="396104"/>
                  </a:lnTo>
                  <a:lnTo>
                    <a:pt x="2386665" y="394295"/>
                  </a:lnTo>
                  <a:lnTo>
                    <a:pt x="2387578" y="394214"/>
                  </a:lnTo>
                  <a:lnTo>
                    <a:pt x="2388553" y="394705"/>
                  </a:lnTo>
                  <a:lnTo>
                    <a:pt x="2389465" y="395966"/>
                  </a:lnTo>
                  <a:lnTo>
                    <a:pt x="2389812" y="395910"/>
                  </a:lnTo>
                  <a:lnTo>
                    <a:pt x="2389962" y="394511"/>
                  </a:lnTo>
                  <a:lnTo>
                    <a:pt x="2388542" y="391955"/>
                  </a:lnTo>
                  <a:lnTo>
                    <a:pt x="2384706" y="391521"/>
                  </a:lnTo>
                  <a:lnTo>
                    <a:pt x="2382876" y="389862"/>
                  </a:lnTo>
                  <a:lnTo>
                    <a:pt x="2382248" y="388874"/>
                  </a:lnTo>
                  <a:lnTo>
                    <a:pt x="2381987" y="388297"/>
                  </a:lnTo>
                  <a:lnTo>
                    <a:pt x="2381654" y="387292"/>
                  </a:lnTo>
                  <a:lnTo>
                    <a:pt x="2381428" y="386751"/>
                  </a:lnTo>
                  <a:lnTo>
                    <a:pt x="2380679" y="385495"/>
                  </a:lnTo>
                  <a:lnTo>
                    <a:pt x="2379961" y="384647"/>
                  </a:lnTo>
                  <a:lnTo>
                    <a:pt x="2380411" y="381108"/>
                  </a:lnTo>
                  <a:lnTo>
                    <a:pt x="2380290" y="379252"/>
                  </a:lnTo>
                  <a:lnTo>
                    <a:pt x="2379393" y="376962"/>
                  </a:lnTo>
                  <a:lnTo>
                    <a:pt x="2379133" y="375208"/>
                  </a:lnTo>
                  <a:lnTo>
                    <a:pt x="2379516" y="373073"/>
                  </a:lnTo>
                  <a:lnTo>
                    <a:pt x="2380142" y="371241"/>
                  </a:lnTo>
                  <a:lnTo>
                    <a:pt x="2381009" y="370054"/>
                  </a:lnTo>
                  <a:lnTo>
                    <a:pt x="2381646" y="368432"/>
                  </a:lnTo>
                  <a:lnTo>
                    <a:pt x="2382039" y="368033"/>
                  </a:lnTo>
                  <a:lnTo>
                    <a:pt x="2389236" y="368523"/>
                  </a:lnTo>
                  <a:lnTo>
                    <a:pt x="2396447" y="368967"/>
                  </a:lnTo>
                  <a:lnTo>
                    <a:pt x="2397075" y="369837"/>
                  </a:lnTo>
                  <a:lnTo>
                    <a:pt x="2397653" y="371428"/>
                  </a:lnTo>
                  <a:lnTo>
                    <a:pt x="2398993" y="375728"/>
                  </a:lnTo>
                  <a:lnTo>
                    <a:pt x="2399503" y="377680"/>
                  </a:lnTo>
                  <a:lnTo>
                    <a:pt x="2400053" y="381788"/>
                  </a:lnTo>
                  <a:lnTo>
                    <a:pt x="2400533" y="384060"/>
                  </a:lnTo>
                  <a:lnTo>
                    <a:pt x="2401188" y="386013"/>
                  </a:lnTo>
                  <a:lnTo>
                    <a:pt x="2401620" y="386960"/>
                  </a:lnTo>
                  <a:lnTo>
                    <a:pt x="2401962" y="388258"/>
                  </a:lnTo>
                  <a:lnTo>
                    <a:pt x="2402340" y="391238"/>
                  </a:lnTo>
                  <a:lnTo>
                    <a:pt x="2402437" y="391552"/>
                  </a:lnTo>
                  <a:lnTo>
                    <a:pt x="2402599" y="391834"/>
                  </a:lnTo>
                  <a:lnTo>
                    <a:pt x="2402750" y="392260"/>
                  </a:lnTo>
                  <a:lnTo>
                    <a:pt x="2402818" y="393027"/>
                  </a:lnTo>
                  <a:lnTo>
                    <a:pt x="2402736" y="393443"/>
                  </a:lnTo>
                  <a:lnTo>
                    <a:pt x="2402541" y="393574"/>
                  </a:lnTo>
                  <a:lnTo>
                    <a:pt x="2402122" y="393504"/>
                  </a:lnTo>
                  <a:lnTo>
                    <a:pt x="2401795" y="393912"/>
                  </a:lnTo>
                  <a:lnTo>
                    <a:pt x="2401289" y="395572"/>
                  </a:lnTo>
                  <a:lnTo>
                    <a:pt x="2395051" y="399048"/>
                  </a:lnTo>
                  <a:lnTo>
                    <a:pt x="2394538" y="400567"/>
                  </a:lnTo>
                  <a:lnTo>
                    <a:pt x="2394979" y="401107"/>
                  </a:lnTo>
                  <a:lnTo>
                    <a:pt x="2395730" y="401276"/>
                  </a:lnTo>
                  <a:lnTo>
                    <a:pt x="2396168" y="401887"/>
                  </a:lnTo>
                  <a:lnTo>
                    <a:pt x="2396284" y="403250"/>
                  </a:lnTo>
                  <a:lnTo>
                    <a:pt x="2396491" y="403676"/>
                  </a:lnTo>
                  <a:lnTo>
                    <a:pt x="2396752" y="403742"/>
                  </a:lnTo>
                  <a:lnTo>
                    <a:pt x="2397029" y="403999"/>
                  </a:lnTo>
                  <a:lnTo>
                    <a:pt x="2397168" y="404404"/>
                  </a:lnTo>
                  <a:lnTo>
                    <a:pt x="2397354" y="405039"/>
                  </a:lnTo>
                  <a:lnTo>
                    <a:pt x="2397592" y="405737"/>
                  </a:lnTo>
                  <a:lnTo>
                    <a:pt x="2397886" y="406320"/>
                  </a:lnTo>
                  <a:lnTo>
                    <a:pt x="2398721" y="407144"/>
                  </a:lnTo>
                  <a:lnTo>
                    <a:pt x="2399393" y="407087"/>
                  </a:lnTo>
                  <a:lnTo>
                    <a:pt x="2401856" y="404486"/>
                  </a:lnTo>
                  <a:lnTo>
                    <a:pt x="2410937" y="404113"/>
                  </a:lnTo>
                  <a:lnTo>
                    <a:pt x="2412230" y="407312"/>
                  </a:lnTo>
                  <a:lnTo>
                    <a:pt x="2412685" y="408934"/>
                  </a:lnTo>
                  <a:lnTo>
                    <a:pt x="2413376" y="410497"/>
                  </a:lnTo>
                  <a:lnTo>
                    <a:pt x="2414570" y="412542"/>
                  </a:lnTo>
                  <a:lnTo>
                    <a:pt x="2416651" y="414552"/>
                  </a:lnTo>
                  <a:lnTo>
                    <a:pt x="2417413" y="415885"/>
                  </a:lnTo>
                  <a:lnTo>
                    <a:pt x="2417164" y="417486"/>
                  </a:lnTo>
                  <a:lnTo>
                    <a:pt x="2415979" y="417980"/>
                  </a:lnTo>
                  <a:lnTo>
                    <a:pt x="2414975" y="419352"/>
                  </a:lnTo>
                  <a:lnTo>
                    <a:pt x="2414362" y="419594"/>
                  </a:lnTo>
                  <a:lnTo>
                    <a:pt x="2413831" y="420206"/>
                  </a:lnTo>
                  <a:lnTo>
                    <a:pt x="2413390" y="424097"/>
                  </a:lnTo>
                  <a:lnTo>
                    <a:pt x="2413052" y="425265"/>
                  </a:lnTo>
                  <a:lnTo>
                    <a:pt x="2410864" y="426983"/>
                  </a:lnTo>
                  <a:lnTo>
                    <a:pt x="2410350" y="427851"/>
                  </a:lnTo>
                  <a:lnTo>
                    <a:pt x="2410310" y="429670"/>
                  </a:lnTo>
                  <a:lnTo>
                    <a:pt x="2411231" y="429530"/>
                  </a:lnTo>
                  <a:lnTo>
                    <a:pt x="2412938" y="428692"/>
                  </a:lnTo>
                  <a:lnTo>
                    <a:pt x="2417702" y="420300"/>
                  </a:lnTo>
                  <a:lnTo>
                    <a:pt x="2418431" y="419766"/>
                  </a:lnTo>
                  <a:lnTo>
                    <a:pt x="2419112" y="420485"/>
                  </a:lnTo>
                  <a:lnTo>
                    <a:pt x="2419434" y="423405"/>
                  </a:lnTo>
                  <a:lnTo>
                    <a:pt x="2419129" y="430611"/>
                  </a:lnTo>
                  <a:lnTo>
                    <a:pt x="2419228" y="432944"/>
                  </a:lnTo>
                  <a:lnTo>
                    <a:pt x="2419505" y="434684"/>
                  </a:lnTo>
                  <a:lnTo>
                    <a:pt x="2419910" y="436461"/>
                  </a:lnTo>
                  <a:lnTo>
                    <a:pt x="2420405" y="438954"/>
                  </a:lnTo>
                  <a:lnTo>
                    <a:pt x="2420445" y="440371"/>
                  </a:lnTo>
                  <a:lnTo>
                    <a:pt x="2420134" y="446118"/>
                  </a:lnTo>
                  <a:lnTo>
                    <a:pt x="2420179" y="446484"/>
                  </a:lnTo>
                  <a:lnTo>
                    <a:pt x="2420453" y="448003"/>
                  </a:lnTo>
                  <a:lnTo>
                    <a:pt x="2420467" y="448614"/>
                  </a:lnTo>
                  <a:lnTo>
                    <a:pt x="2420227" y="449826"/>
                  </a:lnTo>
                  <a:lnTo>
                    <a:pt x="2419819" y="451081"/>
                  </a:lnTo>
                  <a:lnTo>
                    <a:pt x="2416121" y="455743"/>
                  </a:lnTo>
                  <a:lnTo>
                    <a:pt x="2415772" y="458125"/>
                  </a:lnTo>
                  <a:lnTo>
                    <a:pt x="2416023" y="458994"/>
                  </a:lnTo>
                  <a:lnTo>
                    <a:pt x="2416121" y="459930"/>
                  </a:lnTo>
                  <a:lnTo>
                    <a:pt x="2416122" y="460854"/>
                  </a:lnTo>
                  <a:lnTo>
                    <a:pt x="2416086" y="461735"/>
                  </a:lnTo>
                  <a:lnTo>
                    <a:pt x="2417581" y="463531"/>
                  </a:lnTo>
                  <a:lnTo>
                    <a:pt x="2418936" y="464287"/>
                  </a:lnTo>
                  <a:lnTo>
                    <a:pt x="2420068" y="463682"/>
                  </a:lnTo>
                  <a:lnTo>
                    <a:pt x="2420886" y="461372"/>
                  </a:lnTo>
                  <a:lnTo>
                    <a:pt x="2421027" y="460162"/>
                  </a:lnTo>
                  <a:lnTo>
                    <a:pt x="2421179" y="457456"/>
                  </a:lnTo>
                  <a:lnTo>
                    <a:pt x="2421317" y="456452"/>
                  </a:lnTo>
                  <a:lnTo>
                    <a:pt x="2421789" y="455408"/>
                  </a:lnTo>
                  <a:lnTo>
                    <a:pt x="2424139" y="453065"/>
                  </a:lnTo>
                  <a:lnTo>
                    <a:pt x="2427200" y="453699"/>
                  </a:lnTo>
                  <a:lnTo>
                    <a:pt x="2427839" y="454584"/>
                  </a:lnTo>
                  <a:lnTo>
                    <a:pt x="2428050" y="456536"/>
                  </a:lnTo>
                  <a:lnTo>
                    <a:pt x="2428142" y="458297"/>
                  </a:lnTo>
                  <a:lnTo>
                    <a:pt x="2428524" y="458569"/>
                  </a:lnTo>
                  <a:lnTo>
                    <a:pt x="2428966" y="458043"/>
                  </a:lnTo>
                  <a:lnTo>
                    <a:pt x="2429237" y="457425"/>
                  </a:lnTo>
                  <a:lnTo>
                    <a:pt x="2429205" y="457190"/>
                  </a:lnTo>
                  <a:lnTo>
                    <a:pt x="2429028" y="456283"/>
                  </a:lnTo>
                  <a:lnTo>
                    <a:pt x="2428995" y="456044"/>
                  </a:lnTo>
                  <a:lnTo>
                    <a:pt x="2429116" y="455882"/>
                  </a:lnTo>
                  <a:lnTo>
                    <a:pt x="2430621" y="455778"/>
                  </a:lnTo>
                  <a:lnTo>
                    <a:pt x="2429830" y="453396"/>
                  </a:lnTo>
                  <a:lnTo>
                    <a:pt x="2428929" y="452288"/>
                  </a:lnTo>
                  <a:lnTo>
                    <a:pt x="2427289" y="451023"/>
                  </a:lnTo>
                  <a:lnTo>
                    <a:pt x="2428739" y="448052"/>
                  </a:lnTo>
                  <a:lnTo>
                    <a:pt x="2430494" y="446717"/>
                  </a:lnTo>
                  <a:lnTo>
                    <a:pt x="2436646" y="446114"/>
                  </a:lnTo>
                  <a:lnTo>
                    <a:pt x="2437851" y="446907"/>
                  </a:lnTo>
                  <a:lnTo>
                    <a:pt x="2440261" y="450149"/>
                  </a:lnTo>
                  <a:lnTo>
                    <a:pt x="2442381" y="452185"/>
                  </a:lnTo>
                  <a:lnTo>
                    <a:pt x="2443436" y="453603"/>
                  </a:lnTo>
                  <a:lnTo>
                    <a:pt x="2443264" y="454240"/>
                  </a:lnTo>
                  <a:lnTo>
                    <a:pt x="2443145" y="454328"/>
                  </a:lnTo>
                  <a:lnTo>
                    <a:pt x="2443440" y="455052"/>
                  </a:lnTo>
                  <a:lnTo>
                    <a:pt x="2443625" y="455448"/>
                  </a:lnTo>
                  <a:lnTo>
                    <a:pt x="2443847" y="455780"/>
                  </a:lnTo>
                  <a:lnTo>
                    <a:pt x="2443637" y="456629"/>
                  </a:lnTo>
                  <a:lnTo>
                    <a:pt x="2443217" y="457417"/>
                  </a:lnTo>
                  <a:lnTo>
                    <a:pt x="2442346" y="458215"/>
                  </a:lnTo>
                  <a:lnTo>
                    <a:pt x="2442481" y="458941"/>
                  </a:lnTo>
                  <a:lnTo>
                    <a:pt x="2442817" y="459012"/>
                  </a:lnTo>
                  <a:lnTo>
                    <a:pt x="2443734" y="459713"/>
                  </a:lnTo>
                  <a:lnTo>
                    <a:pt x="2444125" y="460221"/>
                  </a:lnTo>
                  <a:lnTo>
                    <a:pt x="2444202" y="460502"/>
                  </a:lnTo>
                  <a:lnTo>
                    <a:pt x="2444302" y="461011"/>
                  </a:lnTo>
                  <a:lnTo>
                    <a:pt x="2444431" y="461573"/>
                  </a:lnTo>
                  <a:lnTo>
                    <a:pt x="2444595" y="462013"/>
                  </a:lnTo>
                  <a:lnTo>
                    <a:pt x="2444835" y="462386"/>
                  </a:lnTo>
                  <a:lnTo>
                    <a:pt x="2445062" y="462664"/>
                  </a:lnTo>
                  <a:lnTo>
                    <a:pt x="2445272" y="462841"/>
                  </a:lnTo>
                  <a:lnTo>
                    <a:pt x="2445470" y="462914"/>
                  </a:lnTo>
                  <a:lnTo>
                    <a:pt x="2444919" y="463688"/>
                  </a:lnTo>
                  <a:lnTo>
                    <a:pt x="2443519" y="464262"/>
                  </a:lnTo>
                  <a:lnTo>
                    <a:pt x="2443157" y="465628"/>
                  </a:lnTo>
                  <a:lnTo>
                    <a:pt x="2444286" y="467154"/>
                  </a:lnTo>
                  <a:lnTo>
                    <a:pt x="2445588" y="467802"/>
                  </a:lnTo>
                  <a:lnTo>
                    <a:pt x="2446660" y="467288"/>
                  </a:lnTo>
                  <a:lnTo>
                    <a:pt x="2447099" y="465314"/>
                  </a:lnTo>
                  <a:lnTo>
                    <a:pt x="2447120" y="462596"/>
                  </a:lnTo>
                  <a:lnTo>
                    <a:pt x="2447236" y="461566"/>
                  </a:lnTo>
                  <a:lnTo>
                    <a:pt x="2447757" y="460532"/>
                  </a:lnTo>
                  <a:lnTo>
                    <a:pt x="2447570" y="459266"/>
                  </a:lnTo>
                  <a:lnTo>
                    <a:pt x="2446931" y="456660"/>
                  </a:lnTo>
                  <a:lnTo>
                    <a:pt x="2446490" y="450439"/>
                  </a:lnTo>
                  <a:lnTo>
                    <a:pt x="2447466" y="447589"/>
                  </a:lnTo>
                  <a:lnTo>
                    <a:pt x="2449168" y="447216"/>
                  </a:lnTo>
                  <a:lnTo>
                    <a:pt x="2450915" y="448453"/>
                  </a:lnTo>
                  <a:lnTo>
                    <a:pt x="2452601" y="450787"/>
                  </a:lnTo>
                  <a:lnTo>
                    <a:pt x="2453112" y="451869"/>
                  </a:lnTo>
                  <a:lnTo>
                    <a:pt x="2453507" y="453092"/>
                  </a:lnTo>
                  <a:lnTo>
                    <a:pt x="2453734" y="454012"/>
                  </a:lnTo>
                  <a:lnTo>
                    <a:pt x="2453980" y="454811"/>
                  </a:lnTo>
                  <a:lnTo>
                    <a:pt x="2454426" y="455681"/>
                  </a:lnTo>
                  <a:lnTo>
                    <a:pt x="2456338" y="458168"/>
                  </a:lnTo>
                  <a:lnTo>
                    <a:pt x="2457378" y="460006"/>
                  </a:lnTo>
                  <a:lnTo>
                    <a:pt x="2458169" y="462529"/>
                  </a:lnTo>
                  <a:lnTo>
                    <a:pt x="2458599" y="463576"/>
                  </a:lnTo>
                  <a:lnTo>
                    <a:pt x="2460308" y="464935"/>
                  </a:lnTo>
                  <a:lnTo>
                    <a:pt x="2460911" y="465869"/>
                  </a:lnTo>
                  <a:lnTo>
                    <a:pt x="2462162" y="468184"/>
                  </a:lnTo>
                  <a:lnTo>
                    <a:pt x="2462730" y="468990"/>
                  </a:lnTo>
                  <a:lnTo>
                    <a:pt x="2466127" y="471113"/>
                  </a:lnTo>
                  <a:lnTo>
                    <a:pt x="2467409" y="472524"/>
                  </a:lnTo>
                  <a:lnTo>
                    <a:pt x="2469097" y="475138"/>
                  </a:lnTo>
                  <a:lnTo>
                    <a:pt x="2470896" y="477331"/>
                  </a:lnTo>
                  <a:lnTo>
                    <a:pt x="2471490" y="478439"/>
                  </a:lnTo>
                  <a:lnTo>
                    <a:pt x="2472168" y="481091"/>
                  </a:lnTo>
                  <a:lnTo>
                    <a:pt x="2471686" y="482353"/>
                  </a:lnTo>
                  <a:lnTo>
                    <a:pt x="2467255" y="486076"/>
                  </a:lnTo>
                  <a:lnTo>
                    <a:pt x="2466506" y="487721"/>
                  </a:lnTo>
                  <a:lnTo>
                    <a:pt x="2466045" y="490439"/>
                  </a:lnTo>
                  <a:lnTo>
                    <a:pt x="2465706" y="490946"/>
                  </a:lnTo>
                  <a:lnTo>
                    <a:pt x="2463950" y="491461"/>
                  </a:lnTo>
                  <a:lnTo>
                    <a:pt x="2463252" y="493295"/>
                  </a:lnTo>
                  <a:lnTo>
                    <a:pt x="2462316" y="494447"/>
                  </a:lnTo>
                  <a:lnTo>
                    <a:pt x="2459896" y="495287"/>
                  </a:lnTo>
                  <a:lnTo>
                    <a:pt x="2459278" y="496821"/>
                  </a:lnTo>
                  <a:lnTo>
                    <a:pt x="2451641" y="502622"/>
                  </a:lnTo>
                  <a:lnTo>
                    <a:pt x="2443931" y="508378"/>
                  </a:lnTo>
                  <a:lnTo>
                    <a:pt x="2443092" y="510675"/>
                  </a:lnTo>
                  <a:lnTo>
                    <a:pt x="2443489" y="511608"/>
                  </a:lnTo>
                  <a:lnTo>
                    <a:pt x="2443565" y="512916"/>
                  </a:lnTo>
                  <a:lnTo>
                    <a:pt x="2443421" y="515111"/>
                  </a:lnTo>
                  <a:lnTo>
                    <a:pt x="2443474" y="515797"/>
                  </a:lnTo>
                  <a:lnTo>
                    <a:pt x="2443677" y="517462"/>
                  </a:lnTo>
                  <a:lnTo>
                    <a:pt x="2443681" y="518130"/>
                  </a:lnTo>
                  <a:lnTo>
                    <a:pt x="2443437" y="518813"/>
                  </a:lnTo>
                  <a:lnTo>
                    <a:pt x="2440976" y="520875"/>
                  </a:lnTo>
                  <a:lnTo>
                    <a:pt x="2440281" y="520641"/>
                  </a:lnTo>
                  <a:lnTo>
                    <a:pt x="2439386" y="519583"/>
                  </a:lnTo>
                  <a:lnTo>
                    <a:pt x="2436423" y="514982"/>
                  </a:lnTo>
                  <a:lnTo>
                    <a:pt x="2435964" y="513747"/>
                  </a:lnTo>
                  <a:lnTo>
                    <a:pt x="2435049" y="510900"/>
                  </a:lnTo>
                  <a:lnTo>
                    <a:pt x="2434770" y="510477"/>
                  </a:lnTo>
                  <a:lnTo>
                    <a:pt x="2434444" y="510418"/>
                  </a:lnTo>
                  <a:lnTo>
                    <a:pt x="2434219" y="510806"/>
                  </a:lnTo>
                  <a:lnTo>
                    <a:pt x="2434259" y="511775"/>
                  </a:lnTo>
                  <a:lnTo>
                    <a:pt x="2434673" y="514398"/>
                  </a:lnTo>
                  <a:lnTo>
                    <a:pt x="2434689" y="514289"/>
                  </a:lnTo>
                  <a:lnTo>
                    <a:pt x="2434928" y="517296"/>
                  </a:lnTo>
                  <a:lnTo>
                    <a:pt x="2435115" y="518425"/>
                  </a:lnTo>
                  <a:lnTo>
                    <a:pt x="2435831" y="520716"/>
                  </a:lnTo>
                  <a:lnTo>
                    <a:pt x="2435971" y="521482"/>
                  </a:lnTo>
                  <a:lnTo>
                    <a:pt x="2436062" y="522131"/>
                  </a:lnTo>
                  <a:lnTo>
                    <a:pt x="2436189" y="522676"/>
                  </a:lnTo>
                  <a:lnTo>
                    <a:pt x="2436551" y="523554"/>
                  </a:lnTo>
                  <a:lnTo>
                    <a:pt x="2437302" y="524930"/>
                  </a:lnTo>
                  <a:lnTo>
                    <a:pt x="2437687" y="525835"/>
                  </a:lnTo>
                  <a:lnTo>
                    <a:pt x="2436482" y="530856"/>
                  </a:lnTo>
                  <a:lnTo>
                    <a:pt x="2433522" y="537094"/>
                  </a:lnTo>
                  <a:lnTo>
                    <a:pt x="2431885" y="538705"/>
                  </a:lnTo>
                  <a:lnTo>
                    <a:pt x="2431540" y="540564"/>
                  </a:lnTo>
                  <a:lnTo>
                    <a:pt x="2431121" y="544927"/>
                  </a:lnTo>
                  <a:lnTo>
                    <a:pt x="2429658" y="549807"/>
                  </a:lnTo>
                  <a:lnTo>
                    <a:pt x="2429256" y="551856"/>
                  </a:lnTo>
                  <a:lnTo>
                    <a:pt x="2429284" y="552252"/>
                  </a:lnTo>
                  <a:lnTo>
                    <a:pt x="2429378" y="552878"/>
                  </a:lnTo>
                  <a:lnTo>
                    <a:pt x="2429461" y="553560"/>
                  </a:lnTo>
                  <a:lnTo>
                    <a:pt x="2429458" y="554134"/>
                  </a:lnTo>
                  <a:lnTo>
                    <a:pt x="2429237" y="554991"/>
                  </a:lnTo>
                  <a:lnTo>
                    <a:pt x="2428083" y="557164"/>
                  </a:lnTo>
                  <a:lnTo>
                    <a:pt x="2427536" y="557543"/>
                  </a:lnTo>
                  <a:lnTo>
                    <a:pt x="2426988" y="557277"/>
                  </a:lnTo>
                  <a:lnTo>
                    <a:pt x="2422218" y="552894"/>
                  </a:lnTo>
                  <a:lnTo>
                    <a:pt x="2421367" y="551510"/>
                  </a:lnTo>
                  <a:lnTo>
                    <a:pt x="2420434" y="549485"/>
                  </a:lnTo>
                  <a:lnTo>
                    <a:pt x="2417892" y="542576"/>
                  </a:lnTo>
                  <a:lnTo>
                    <a:pt x="2417317" y="540654"/>
                  </a:lnTo>
                  <a:lnTo>
                    <a:pt x="2416935" y="538537"/>
                  </a:lnTo>
                  <a:lnTo>
                    <a:pt x="2416744" y="535725"/>
                  </a:lnTo>
                  <a:lnTo>
                    <a:pt x="2416636" y="530353"/>
                  </a:lnTo>
                  <a:lnTo>
                    <a:pt x="2416191" y="527969"/>
                  </a:lnTo>
                  <a:lnTo>
                    <a:pt x="2415068" y="524784"/>
                  </a:lnTo>
                  <a:lnTo>
                    <a:pt x="2415082" y="524263"/>
                  </a:lnTo>
                  <a:lnTo>
                    <a:pt x="2415146" y="524014"/>
                  </a:lnTo>
                  <a:lnTo>
                    <a:pt x="2415231" y="523944"/>
                  </a:lnTo>
                  <a:lnTo>
                    <a:pt x="2415528" y="523293"/>
                  </a:lnTo>
                  <a:lnTo>
                    <a:pt x="2416821" y="522094"/>
                  </a:lnTo>
                  <a:lnTo>
                    <a:pt x="2418261" y="519033"/>
                  </a:lnTo>
                  <a:lnTo>
                    <a:pt x="2417953" y="518291"/>
                  </a:lnTo>
                  <a:lnTo>
                    <a:pt x="2417649" y="517709"/>
                  </a:lnTo>
                  <a:lnTo>
                    <a:pt x="2417353" y="517272"/>
                  </a:lnTo>
                  <a:lnTo>
                    <a:pt x="2417070" y="516971"/>
                  </a:lnTo>
                  <a:lnTo>
                    <a:pt x="2417458" y="515657"/>
                  </a:lnTo>
                  <a:lnTo>
                    <a:pt x="2418022" y="514602"/>
                  </a:lnTo>
                  <a:lnTo>
                    <a:pt x="2418447" y="513180"/>
                  </a:lnTo>
                  <a:lnTo>
                    <a:pt x="2418428" y="510810"/>
                  </a:lnTo>
                  <a:lnTo>
                    <a:pt x="2417602" y="510327"/>
                  </a:lnTo>
                  <a:lnTo>
                    <a:pt x="2416904" y="511473"/>
                  </a:lnTo>
                  <a:lnTo>
                    <a:pt x="2415954" y="515302"/>
                  </a:lnTo>
                  <a:lnTo>
                    <a:pt x="2415853" y="516503"/>
                  </a:lnTo>
                  <a:lnTo>
                    <a:pt x="2415889" y="517604"/>
                  </a:lnTo>
                  <a:lnTo>
                    <a:pt x="2415847" y="518552"/>
                  </a:lnTo>
                  <a:lnTo>
                    <a:pt x="2415518" y="519323"/>
                  </a:lnTo>
                  <a:lnTo>
                    <a:pt x="2411476" y="520266"/>
                  </a:lnTo>
                  <a:lnTo>
                    <a:pt x="2410635" y="521476"/>
                  </a:lnTo>
                  <a:lnTo>
                    <a:pt x="2410273" y="523968"/>
                  </a:lnTo>
                  <a:lnTo>
                    <a:pt x="2410425" y="526167"/>
                  </a:lnTo>
                  <a:lnTo>
                    <a:pt x="2410827" y="527753"/>
                  </a:lnTo>
                  <a:lnTo>
                    <a:pt x="2411334" y="529263"/>
                  </a:lnTo>
                  <a:lnTo>
                    <a:pt x="2411807" y="531199"/>
                  </a:lnTo>
                  <a:lnTo>
                    <a:pt x="2412065" y="533468"/>
                  </a:lnTo>
                  <a:lnTo>
                    <a:pt x="2412050" y="537305"/>
                  </a:lnTo>
                  <a:lnTo>
                    <a:pt x="2412141" y="539344"/>
                  </a:lnTo>
                  <a:lnTo>
                    <a:pt x="2412528" y="542061"/>
                  </a:lnTo>
                  <a:lnTo>
                    <a:pt x="2413062" y="544340"/>
                  </a:lnTo>
                  <a:lnTo>
                    <a:pt x="2413683" y="546296"/>
                  </a:lnTo>
                  <a:lnTo>
                    <a:pt x="2415891" y="552258"/>
                  </a:lnTo>
                  <a:lnTo>
                    <a:pt x="2416382" y="554356"/>
                  </a:lnTo>
                  <a:lnTo>
                    <a:pt x="2416005" y="555337"/>
                  </a:lnTo>
                  <a:lnTo>
                    <a:pt x="2412610" y="556371"/>
                  </a:lnTo>
                  <a:lnTo>
                    <a:pt x="2412081" y="558117"/>
                  </a:lnTo>
                  <a:lnTo>
                    <a:pt x="2412496" y="558430"/>
                  </a:lnTo>
                  <a:lnTo>
                    <a:pt x="2412648" y="558337"/>
                  </a:lnTo>
                  <a:lnTo>
                    <a:pt x="2412801" y="558019"/>
                  </a:lnTo>
                  <a:lnTo>
                    <a:pt x="2412897" y="558676"/>
                  </a:lnTo>
                  <a:lnTo>
                    <a:pt x="2413714" y="557125"/>
                  </a:lnTo>
                  <a:lnTo>
                    <a:pt x="2418247" y="556715"/>
                  </a:lnTo>
                  <a:lnTo>
                    <a:pt x="2419350" y="557465"/>
                  </a:lnTo>
                  <a:lnTo>
                    <a:pt x="2420515" y="558925"/>
                  </a:lnTo>
                  <a:lnTo>
                    <a:pt x="2421859" y="561221"/>
                  </a:lnTo>
                  <a:lnTo>
                    <a:pt x="2422781" y="563373"/>
                  </a:lnTo>
                  <a:lnTo>
                    <a:pt x="2423322" y="565681"/>
                  </a:lnTo>
                  <a:lnTo>
                    <a:pt x="2423442" y="568038"/>
                  </a:lnTo>
                  <a:lnTo>
                    <a:pt x="2422285" y="574616"/>
                  </a:lnTo>
                  <a:lnTo>
                    <a:pt x="2421765" y="576263"/>
                  </a:lnTo>
                  <a:lnTo>
                    <a:pt x="2417958" y="578516"/>
                  </a:lnTo>
                  <a:lnTo>
                    <a:pt x="2416704" y="577264"/>
                  </a:lnTo>
                  <a:lnTo>
                    <a:pt x="2409146" y="565966"/>
                  </a:lnTo>
                  <a:lnTo>
                    <a:pt x="2408978" y="565513"/>
                  </a:lnTo>
                  <a:lnTo>
                    <a:pt x="2408716" y="564275"/>
                  </a:lnTo>
                  <a:lnTo>
                    <a:pt x="2408537" y="563802"/>
                  </a:lnTo>
                  <a:lnTo>
                    <a:pt x="2408244" y="563584"/>
                  </a:lnTo>
                  <a:lnTo>
                    <a:pt x="2407354" y="563959"/>
                  </a:lnTo>
                  <a:lnTo>
                    <a:pt x="2403899" y="563560"/>
                  </a:lnTo>
                  <a:lnTo>
                    <a:pt x="2403505" y="563807"/>
                  </a:lnTo>
                  <a:lnTo>
                    <a:pt x="2403210" y="564501"/>
                  </a:lnTo>
                  <a:lnTo>
                    <a:pt x="2404258" y="565651"/>
                  </a:lnTo>
                  <a:lnTo>
                    <a:pt x="2404547" y="566629"/>
                  </a:lnTo>
                  <a:lnTo>
                    <a:pt x="2404309" y="568084"/>
                  </a:lnTo>
                  <a:lnTo>
                    <a:pt x="2404651" y="568319"/>
                  </a:lnTo>
                  <a:lnTo>
                    <a:pt x="2404938" y="568818"/>
                  </a:lnTo>
                  <a:lnTo>
                    <a:pt x="2405126" y="569672"/>
                  </a:lnTo>
                  <a:lnTo>
                    <a:pt x="2405171" y="570943"/>
                  </a:lnTo>
                  <a:lnTo>
                    <a:pt x="2409947" y="580068"/>
                  </a:lnTo>
                  <a:lnTo>
                    <a:pt x="2410640" y="581352"/>
                  </a:lnTo>
                  <a:lnTo>
                    <a:pt x="2411390" y="582766"/>
                  </a:lnTo>
                  <a:lnTo>
                    <a:pt x="2411877" y="584436"/>
                  </a:lnTo>
                  <a:lnTo>
                    <a:pt x="2411885" y="587253"/>
                  </a:lnTo>
                  <a:lnTo>
                    <a:pt x="2411754" y="588412"/>
                  </a:lnTo>
                  <a:lnTo>
                    <a:pt x="2410366" y="594906"/>
                  </a:lnTo>
                  <a:lnTo>
                    <a:pt x="2410379" y="595623"/>
                  </a:lnTo>
                  <a:lnTo>
                    <a:pt x="2410548" y="597624"/>
                  </a:lnTo>
                  <a:lnTo>
                    <a:pt x="2410577" y="598597"/>
                  </a:lnTo>
                  <a:lnTo>
                    <a:pt x="2410502" y="599414"/>
                  </a:lnTo>
                  <a:lnTo>
                    <a:pt x="2410390" y="600094"/>
                  </a:lnTo>
                  <a:lnTo>
                    <a:pt x="2410334" y="600878"/>
                  </a:lnTo>
                  <a:lnTo>
                    <a:pt x="2410590" y="604226"/>
                  </a:lnTo>
                  <a:lnTo>
                    <a:pt x="2410565" y="606492"/>
                  </a:lnTo>
                  <a:lnTo>
                    <a:pt x="2410280" y="609880"/>
                  </a:lnTo>
                  <a:lnTo>
                    <a:pt x="2409655" y="612152"/>
                  </a:lnTo>
                  <a:lnTo>
                    <a:pt x="2408770" y="612852"/>
                  </a:lnTo>
                  <a:lnTo>
                    <a:pt x="2405402" y="612287"/>
                  </a:lnTo>
                  <a:lnTo>
                    <a:pt x="2404078" y="611087"/>
                  </a:lnTo>
                  <a:lnTo>
                    <a:pt x="2398569" y="603007"/>
                  </a:lnTo>
                  <a:lnTo>
                    <a:pt x="2397223" y="599599"/>
                  </a:lnTo>
                  <a:lnTo>
                    <a:pt x="2396386" y="598193"/>
                  </a:lnTo>
                  <a:lnTo>
                    <a:pt x="2395950" y="597125"/>
                  </a:lnTo>
                  <a:lnTo>
                    <a:pt x="2395503" y="595845"/>
                  </a:lnTo>
                  <a:lnTo>
                    <a:pt x="2395148" y="595042"/>
                  </a:lnTo>
                  <a:lnTo>
                    <a:pt x="2394377" y="593938"/>
                  </a:lnTo>
                  <a:lnTo>
                    <a:pt x="2391589" y="591505"/>
                  </a:lnTo>
                  <a:lnTo>
                    <a:pt x="2391152" y="590733"/>
                  </a:lnTo>
                  <a:lnTo>
                    <a:pt x="2390289" y="588761"/>
                  </a:lnTo>
                  <a:lnTo>
                    <a:pt x="2389777" y="587861"/>
                  </a:lnTo>
                  <a:lnTo>
                    <a:pt x="2387963" y="585910"/>
                  </a:lnTo>
                  <a:lnTo>
                    <a:pt x="2387429" y="585769"/>
                  </a:lnTo>
                  <a:lnTo>
                    <a:pt x="2387118" y="585464"/>
                  </a:lnTo>
                  <a:lnTo>
                    <a:pt x="2383014" y="578518"/>
                  </a:lnTo>
                  <a:lnTo>
                    <a:pt x="2382648" y="577527"/>
                  </a:lnTo>
                  <a:lnTo>
                    <a:pt x="2381885" y="574852"/>
                  </a:lnTo>
                  <a:lnTo>
                    <a:pt x="2381475" y="573982"/>
                  </a:lnTo>
                  <a:lnTo>
                    <a:pt x="2380167" y="572548"/>
                  </a:lnTo>
                  <a:lnTo>
                    <a:pt x="2378532" y="568881"/>
                  </a:lnTo>
                  <a:lnTo>
                    <a:pt x="2378593" y="568131"/>
                  </a:lnTo>
                  <a:lnTo>
                    <a:pt x="2377954" y="567325"/>
                  </a:lnTo>
                  <a:lnTo>
                    <a:pt x="2377225" y="567215"/>
                  </a:lnTo>
                  <a:lnTo>
                    <a:pt x="2376534" y="567583"/>
                  </a:lnTo>
                  <a:lnTo>
                    <a:pt x="2376019" y="568240"/>
                  </a:lnTo>
                  <a:lnTo>
                    <a:pt x="2375759" y="569604"/>
                  </a:lnTo>
                  <a:lnTo>
                    <a:pt x="2376133" y="572324"/>
                  </a:lnTo>
                  <a:lnTo>
                    <a:pt x="2375855" y="573022"/>
                  </a:lnTo>
                  <a:lnTo>
                    <a:pt x="2376163" y="574258"/>
                  </a:lnTo>
                  <a:lnTo>
                    <a:pt x="2376541" y="575154"/>
                  </a:lnTo>
                  <a:lnTo>
                    <a:pt x="2377326" y="576502"/>
                  </a:lnTo>
                  <a:lnTo>
                    <a:pt x="2377203" y="577622"/>
                  </a:lnTo>
                  <a:lnTo>
                    <a:pt x="2377399" y="578560"/>
                  </a:lnTo>
                  <a:lnTo>
                    <a:pt x="2378356" y="580894"/>
                  </a:lnTo>
                  <a:lnTo>
                    <a:pt x="2378765" y="581291"/>
                  </a:lnTo>
                  <a:lnTo>
                    <a:pt x="2378964" y="581588"/>
                  </a:lnTo>
                  <a:lnTo>
                    <a:pt x="2379100" y="582148"/>
                  </a:lnTo>
                  <a:lnTo>
                    <a:pt x="2379187" y="582797"/>
                  </a:lnTo>
                  <a:lnTo>
                    <a:pt x="2379326" y="583194"/>
                  </a:lnTo>
                  <a:lnTo>
                    <a:pt x="2379612" y="583003"/>
                  </a:lnTo>
                  <a:lnTo>
                    <a:pt x="2379687" y="584893"/>
                  </a:lnTo>
                  <a:lnTo>
                    <a:pt x="2380078" y="585854"/>
                  </a:lnTo>
                  <a:lnTo>
                    <a:pt x="2384760" y="589797"/>
                  </a:lnTo>
                  <a:lnTo>
                    <a:pt x="2390405" y="601463"/>
                  </a:lnTo>
                  <a:lnTo>
                    <a:pt x="2390749" y="602406"/>
                  </a:lnTo>
                  <a:lnTo>
                    <a:pt x="2391740" y="606552"/>
                  </a:lnTo>
                  <a:lnTo>
                    <a:pt x="2392542" y="608327"/>
                  </a:lnTo>
                  <a:lnTo>
                    <a:pt x="2394573" y="611756"/>
                  </a:lnTo>
                  <a:lnTo>
                    <a:pt x="2395245" y="614038"/>
                  </a:lnTo>
                  <a:lnTo>
                    <a:pt x="2394452" y="615049"/>
                  </a:lnTo>
                  <a:lnTo>
                    <a:pt x="2393609" y="615537"/>
                  </a:lnTo>
                  <a:lnTo>
                    <a:pt x="2392698" y="615431"/>
                  </a:lnTo>
                  <a:lnTo>
                    <a:pt x="2391699" y="614635"/>
                  </a:lnTo>
                  <a:lnTo>
                    <a:pt x="2391371" y="614146"/>
                  </a:lnTo>
                  <a:lnTo>
                    <a:pt x="2391042" y="613409"/>
                  </a:lnTo>
                  <a:lnTo>
                    <a:pt x="2390748" y="612424"/>
                  </a:lnTo>
                  <a:lnTo>
                    <a:pt x="2390529" y="611183"/>
                  </a:lnTo>
                  <a:lnTo>
                    <a:pt x="2390246" y="609789"/>
                  </a:lnTo>
                  <a:lnTo>
                    <a:pt x="2389875" y="609004"/>
                  </a:lnTo>
                  <a:lnTo>
                    <a:pt x="2389073" y="608220"/>
                  </a:lnTo>
                  <a:lnTo>
                    <a:pt x="2388644" y="608096"/>
                  </a:lnTo>
                  <a:lnTo>
                    <a:pt x="2384515" y="609102"/>
                  </a:lnTo>
                  <a:lnTo>
                    <a:pt x="2383635" y="608376"/>
                  </a:lnTo>
                  <a:lnTo>
                    <a:pt x="2382913" y="606845"/>
                  </a:lnTo>
                  <a:lnTo>
                    <a:pt x="2382718" y="604260"/>
                  </a:lnTo>
                  <a:lnTo>
                    <a:pt x="2380228" y="600497"/>
                  </a:lnTo>
                  <a:lnTo>
                    <a:pt x="2377926" y="598503"/>
                  </a:lnTo>
                  <a:lnTo>
                    <a:pt x="2373511" y="597763"/>
                  </a:lnTo>
                  <a:lnTo>
                    <a:pt x="2369102" y="599697"/>
                  </a:lnTo>
                  <a:lnTo>
                    <a:pt x="2365253" y="598701"/>
                  </a:lnTo>
                  <a:lnTo>
                    <a:pt x="2364395" y="600164"/>
                  </a:lnTo>
                  <a:lnTo>
                    <a:pt x="2365615" y="601891"/>
                  </a:lnTo>
                  <a:lnTo>
                    <a:pt x="2368217" y="603211"/>
                  </a:lnTo>
                  <a:lnTo>
                    <a:pt x="2373197" y="603106"/>
                  </a:lnTo>
                  <a:lnTo>
                    <a:pt x="2374402" y="604410"/>
                  </a:lnTo>
                  <a:lnTo>
                    <a:pt x="2373812" y="605532"/>
                  </a:lnTo>
                  <a:lnTo>
                    <a:pt x="2373618" y="606455"/>
                  </a:lnTo>
                  <a:lnTo>
                    <a:pt x="2373739" y="608127"/>
                  </a:lnTo>
                  <a:lnTo>
                    <a:pt x="2374145" y="609535"/>
                  </a:lnTo>
                  <a:lnTo>
                    <a:pt x="2374737" y="610571"/>
                  </a:lnTo>
                  <a:lnTo>
                    <a:pt x="2375809" y="611830"/>
                  </a:lnTo>
                  <a:lnTo>
                    <a:pt x="2376567" y="613736"/>
                  </a:lnTo>
                  <a:lnTo>
                    <a:pt x="2376528" y="615815"/>
                  </a:lnTo>
                  <a:lnTo>
                    <a:pt x="2376012" y="617550"/>
                  </a:lnTo>
                  <a:lnTo>
                    <a:pt x="2375347" y="618416"/>
                  </a:lnTo>
                  <a:lnTo>
                    <a:pt x="2369595" y="617993"/>
                  </a:lnTo>
                  <a:lnTo>
                    <a:pt x="2363388" y="619607"/>
                  </a:lnTo>
                  <a:lnTo>
                    <a:pt x="2356300" y="616916"/>
                  </a:lnTo>
                  <a:lnTo>
                    <a:pt x="2346717" y="616077"/>
                  </a:lnTo>
                  <a:lnTo>
                    <a:pt x="2342719" y="612091"/>
                  </a:lnTo>
                  <a:lnTo>
                    <a:pt x="2341459" y="611641"/>
                  </a:lnTo>
                  <a:lnTo>
                    <a:pt x="2340501" y="610835"/>
                  </a:lnTo>
                  <a:lnTo>
                    <a:pt x="2338150" y="612432"/>
                  </a:lnTo>
                  <a:lnTo>
                    <a:pt x="2337770" y="613864"/>
                  </a:lnTo>
                  <a:lnTo>
                    <a:pt x="2337538" y="614429"/>
                  </a:lnTo>
                  <a:lnTo>
                    <a:pt x="2337105" y="614701"/>
                  </a:lnTo>
                  <a:lnTo>
                    <a:pt x="2336121" y="614251"/>
                  </a:lnTo>
                  <a:lnTo>
                    <a:pt x="2334905" y="613103"/>
                  </a:lnTo>
                  <a:lnTo>
                    <a:pt x="2332822" y="609537"/>
                  </a:lnTo>
                  <a:lnTo>
                    <a:pt x="2332884" y="607840"/>
                  </a:lnTo>
                  <a:lnTo>
                    <a:pt x="2332527" y="607257"/>
                  </a:lnTo>
                  <a:lnTo>
                    <a:pt x="2330145" y="607388"/>
                  </a:lnTo>
                  <a:lnTo>
                    <a:pt x="2329682" y="606804"/>
                  </a:lnTo>
                  <a:lnTo>
                    <a:pt x="2330257" y="605083"/>
                  </a:lnTo>
                  <a:lnTo>
                    <a:pt x="2332074" y="604566"/>
                  </a:lnTo>
                  <a:lnTo>
                    <a:pt x="2332815" y="603682"/>
                  </a:lnTo>
                  <a:lnTo>
                    <a:pt x="2331689" y="601931"/>
                  </a:lnTo>
                  <a:lnTo>
                    <a:pt x="2330415" y="602439"/>
                  </a:lnTo>
                  <a:lnTo>
                    <a:pt x="2328136" y="604763"/>
                  </a:lnTo>
                  <a:lnTo>
                    <a:pt x="2325543" y="604438"/>
                  </a:lnTo>
                  <a:lnTo>
                    <a:pt x="2322903" y="602106"/>
                  </a:lnTo>
                  <a:lnTo>
                    <a:pt x="2322962" y="600423"/>
                  </a:lnTo>
                  <a:lnTo>
                    <a:pt x="2323032" y="599876"/>
                  </a:lnTo>
                  <a:lnTo>
                    <a:pt x="2322451" y="599043"/>
                  </a:lnTo>
                  <a:lnTo>
                    <a:pt x="2321233" y="598754"/>
                  </a:lnTo>
                  <a:lnTo>
                    <a:pt x="2317799" y="595383"/>
                  </a:lnTo>
                  <a:lnTo>
                    <a:pt x="2316702" y="595052"/>
                  </a:lnTo>
                  <a:lnTo>
                    <a:pt x="2314656" y="591775"/>
                  </a:lnTo>
                  <a:lnTo>
                    <a:pt x="2313599" y="588655"/>
                  </a:lnTo>
                  <a:lnTo>
                    <a:pt x="2313920" y="586099"/>
                  </a:lnTo>
                  <a:lnTo>
                    <a:pt x="2314610" y="585246"/>
                  </a:lnTo>
                  <a:lnTo>
                    <a:pt x="2315928" y="585277"/>
                  </a:lnTo>
                  <a:lnTo>
                    <a:pt x="2315808" y="584933"/>
                  </a:lnTo>
                  <a:lnTo>
                    <a:pt x="2315702" y="584094"/>
                  </a:lnTo>
                  <a:lnTo>
                    <a:pt x="2321362" y="585130"/>
                  </a:lnTo>
                  <a:lnTo>
                    <a:pt x="2321199" y="585141"/>
                  </a:lnTo>
                  <a:lnTo>
                    <a:pt x="2322874" y="585081"/>
                  </a:lnTo>
                  <a:lnTo>
                    <a:pt x="2323704" y="584402"/>
                  </a:lnTo>
                  <a:lnTo>
                    <a:pt x="2324206" y="582719"/>
                  </a:lnTo>
                  <a:lnTo>
                    <a:pt x="2322499" y="582167"/>
                  </a:lnTo>
                  <a:lnTo>
                    <a:pt x="2322971" y="581412"/>
                  </a:lnTo>
                  <a:lnTo>
                    <a:pt x="2323494" y="581390"/>
                  </a:lnTo>
                  <a:lnTo>
                    <a:pt x="2324603" y="582022"/>
                  </a:lnTo>
                  <a:lnTo>
                    <a:pt x="2331326" y="579954"/>
                  </a:lnTo>
                  <a:lnTo>
                    <a:pt x="2338030" y="577852"/>
                  </a:lnTo>
                  <a:lnTo>
                    <a:pt x="2340698" y="578797"/>
                  </a:lnTo>
                  <a:lnTo>
                    <a:pt x="2341383" y="579389"/>
                  </a:lnTo>
                  <a:lnTo>
                    <a:pt x="2342364" y="579679"/>
                  </a:lnTo>
                  <a:lnTo>
                    <a:pt x="2342536" y="577865"/>
                  </a:lnTo>
                  <a:lnTo>
                    <a:pt x="2342131" y="575886"/>
                  </a:lnTo>
                  <a:lnTo>
                    <a:pt x="2341385" y="575701"/>
                  </a:lnTo>
                  <a:lnTo>
                    <a:pt x="2340266" y="576640"/>
                  </a:lnTo>
                  <a:lnTo>
                    <a:pt x="2330036" y="574597"/>
                  </a:lnTo>
                  <a:lnTo>
                    <a:pt x="2319845" y="572477"/>
                  </a:lnTo>
                  <a:lnTo>
                    <a:pt x="2318038" y="570685"/>
                  </a:lnTo>
                  <a:lnTo>
                    <a:pt x="2316277" y="569874"/>
                  </a:lnTo>
                  <a:lnTo>
                    <a:pt x="2315449" y="570210"/>
                  </a:lnTo>
                  <a:lnTo>
                    <a:pt x="2314248" y="571426"/>
                  </a:lnTo>
                  <a:lnTo>
                    <a:pt x="2313809" y="571582"/>
                  </a:lnTo>
                  <a:lnTo>
                    <a:pt x="2313679" y="571765"/>
                  </a:lnTo>
                  <a:lnTo>
                    <a:pt x="2313684" y="572188"/>
                  </a:lnTo>
                  <a:lnTo>
                    <a:pt x="2313706" y="572688"/>
                  </a:lnTo>
                  <a:lnTo>
                    <a:pt x="2313615" y="573064"/>
                  </a:lnTo>
                  <a:lnTo>
                    <a:pt x="2312933" y="573740"/>
                  </a:lnTo>
                  <a:lnTo>
                    <a:pt x="2307829" y="575639"/>
                  </a:lnTo>
                  <a:lnTo>
                    <a:pt x="2306370" y="575168"/>
                  </a:lnTo>
                  <a:lnTo>
                    <a:pt x="2304866" y="573777"/>
                  </a:lnTo>
                  <a:lnTo>
                    <a:pt x="2301883" y="569243"/>
                  </a:lnTo>
                  <a:lnTo>
                    <a:pt x="2301845" y="568581"/>
                  </a:lnTo>
                  <a:lnTo>
                    <a:pt x="2302446" y="568536"/>
                  </a:lnTo>
                  <a:lnTo>
                    <a:pt x="2303911" y="567254"/>
                  </a:lnTo>
                  <a:lnTo>
                    <a:pt x="2304400" y="566223"/>
                  </a:lnTo>
                  <a:lnTo>
                    <a:pt x="2303772" y="565189"/>
                  </a:lnTo>
                  <a:lnTo>
                    <a:pt x="2300624" y="566609"/>
                  </a:lnTo>
                  <a:lnTo>
                    <a:pt x="2300257" y="566448"/>
                  </a:lnTo>
                  <a:lnTo>
                    <a:pt x="2299915" y="565950"/>
                  </a:lnTo>
                  <a:lnTo>
                    <a:pt x="2299221" y="564574"/>
                  </a:lnTo>
                  <a:lnTo>
                    <a:pt x="2297649" y="563295"/>
                  </a:lnTo>
                  <a:lnTo>
                    <a:pt x="2295073" y="558496"/>
                  </a:lnTo>
                  <a:lnTo>
                    <a:pt x="2293845" y="557108"/>
                  </a:lnTo>
                  <a:lnTo>
                    <a:pt x="2294525" y="555465"/>
                  </a:lnTo>
                  <a:lnTo>
                    <a:pt x="2299028" y="554846"/>
                  </a:lnTo>
                  <a:lnTo>
                    <a:pt x="2307977" y="559368"/>
                  </a:lnTo>
                  <a:lnTo>
                    <a:pt x="2310064" y="559032"/>
                  </a:lnTo>
                  <a:lnTo>
                    <a:pt x="2310345" y="558588"/>
                  </a:lnTo>
                  <a:lnTo>
                    <a:pt x="2310471" y="557881"/>
                  </a:lnTo>
                  <a:lnTo>
                    <a:pt x="2310337" y="556947"/>
                  </a:lnTo>
                  <a:lnTo>
                    <a:pt x="2310448" y="556205"/>
                  </a:lnTo>
                  <a:lnTo>
                    <a:pt x="2309459" y="555116"/>
                  </a:lnTo>
                  <a:lnTo>
                    <a:pt x="2304473" y="552619"/>
                  </a:lnTo>
                  <a:lnTo>
                    <a:pt x="2303068" y="550933"/>
                  </a:lnTo>
                  <a:lnTo>
                    <a:pt x="2299121" y="549187"/>
                  </a:lnTo>
                  <a:lnTo>
                    <a:pt x="2294350" y="550221"/>
                  </a:lnTo>
                  <a:lnTo>
                    <a:pt x="2292166" y="550031"/>
                  </a:lnTo>
                  <a:lnTo>
                    <a:pt x="2291428" y="548667"/>
                  </a:lnTo>
                  <a:lnTo>
                    <a:pt x="2290795" y="546523"/>
                  </a:lnTo>
                  <a:lnTo>
                    <a:pt x="2290077" y="544797"/>
                  </a:lnTo>
                  <a:lnTo>
                    <a:pt x="2289330" y="543652"/>
                  </a:lnTo>
                  <a:lnTo>
                    <a:pt x="2287806" y="542850"/>
                  </a:lnTo>
                  <a:lnTo>
                    <a:pt x="2283067" y="535924"/>
                  </a:lnTo>
                  <a:lnTo>
                    <a:pt x="2282516" y="533928"/>
                  </a:lnTo>
                  <a:lnTo>
                    <a:pt x="2284166" y="531618"/>
                  </a:lnTo>
                  <a:lnTo>
                    <a:pt x="2288045" y="529419"/>
                  </a:lnTo>
                  <a:lnTo>
                    <a:pt x="2289825" y="527504"/>
                  </a:lnTo>
                  <a:lnTo>
                    <a:pt x="2292422" y="526906"/>
                  </a:lnTo>
                  <a:lnTo>
                    <a:pt x="2294864" y="525493"/>
                  </a:lnTo>
                  <a:lnTo>
                    <a:pt x="2295749" y="526055"/>
                  </a:lnTo>
                  <a:lnTo>
                    <a:pt x="2296137" y="526040"/>
                  </a:lnTo>
                  <a:lnTo>
                    <a:pt x="2296494" y="525723"/>
                  </a:lnTo>
                  <a:lnTo>
                    <a:pt x="2296778" y="525083"/>
                  </a:lnTo>
                  <a:lnTo>
                    <a:pt x="2297028" y="522765"/>
                  </a:lnTo>
                  <a:lnTo>
                    <a:pt x="2299010" y="518759"/>
                  </a:lnTo>
                  <a:lnTo>
                    <a:pt x="2299016" y="516783"/>
                  </a:lnTo>
                  <a:lnTo>
                    <a:pt x="2299551" y="514793"/>
                  </a:lnTo>
                  <a:lnTo>
                    <a:pt x="2300513" y="513650"/>
                  </a:lnTo>
                  <a:lnTo>
                    <a:pt x="2301579" y="513115"/>
                  </a:lnTo>
                  <a:lnTo>
                    <a:pt x="2303674" y="512970"/>
                  </a:lnTo>
                  <a:lnTo>
                    <a:pt x="2306795" y="514775"/>
                  </a:lnTo>
                  <a:lnTo>
                    <a:pt x="2308471" y="513952"/>
                  </a:lnTo>
                  <a:lnTo>
                    <a:pt x="2311902" y="515286"/>
                  </a:lnTo>
                  <a:lnTo>
                    <a:pt x="2312354" y="514844"/>
                  </a:lnTo>
                  <a:lnTo>
                    <a:pt x="2313149" y="513459"/>
                  </a:lnTo>
                  <a:lnTo>
                    <a:pt x="2313603" y="513029"/>
                  </a:lnTo>
                  <a:lnTo>
                    <a:pt x="2318209" y="512429"/>
                  </a:lnTo>
                  <a:lnTo>
                    <a:pt x="2323231" y="513659"/>
                  </a:lnTo>
                  <a:lnTo>
                    <a:pt x="2331596" y="511890"/>
                  </a:lnTo>
                  <a:lnTo>
                    <a:pt x="2337758" y="509561"/>
                  </a:lnTo>
                  <a:lnTo>
                    <a:pt x="2341720" y="507633"/>
                  </a:lnTo>
                  <a:lnTo>
                    <a:pt x="2344547" y="507616"/>
                  </a:lnTo>
                  <a:lnTo>
                    <a:pt x="2349959" y="505750"/>
                  </a:lnTo>
                  <a:lnTo>
                    <a:pt x="2355355" y="503863"/>
                  </a:lnTo>
                  <a:lnTo>
                    <a:pt x="2358859" y="503287"/>
                  </a:lnTo>
                  <a:lnTo>
                    <a:pt x="2361506" y="500909"/>
                  </a:lnTo>
                  <a:lnTo>
                    <a:pt x="2361848" y="500009"/>
                  </a:lnTo>
                  <a:lnTo>
                    <a:pt x="2361709" y="500023"/>
                  </a:lnTo>
                  <a:lnTo>
                    <a:pt x="2360664" y="498691"/>
                  </a:lnTo>
                  <a:lnTo>
                    <a:pt x="2353711" y="500621"/>
                  </a:lnTo>
                  <a:lnTo>
                    <a:pt x="2347933" y="500933"/>
                  </a:lnTo>
                  <a:lnTo>
                    <a:pt x="2341795" y="503829"/>
                  </a:lnTo>
                  <a:lnTo>
                    <a:pt x="2333904" y="505887"/>
                  </a:lnTo>
                  <a:lnTo>
                    <a:pt x="2330991" y="505804"/>
                  </a:lnTo>
                  <a:lnTo>
                    <a:pt x="2326985" y="507648"/>
                  </a:lnTo>
                  <a:lnTo>
                    <a:pt x="2321251" y="505938"/>
                  </a:lnTo>
                  <a:lnTo>
                    <a:pt x="2315535" y="504202"/>
                  </a:lnTo>
                  <a:lnTo>
                    <a:pt x="2314581" y="503395"/>
                  </a:lnTo>
                  <a:lnTo>
                    <a:pt x="2313961" y="501931"/>
                  </a:lnTo>
                  <a:lnTo>
                    <a:pt x="2314464" y="501118"/>
                  </a:lnTo>
                  <a:lnTo>
                    <a:pt x="2315623" y="497845"/>
                  </a:lnTo>
                  <a:lnTo>
                    <a:pt x="2316313" y="497124"/>
                  </a:lnTo>
                  <a:lnTo>
                    <a:pt x="2325150" y="497375"/>
                  </a:lnTo>
                  <a:lnTo>
                    <a:pt x="2325085" y="496573"/>
                  </a:lnTo>
                  <a:lnTo>
                    <a:pt x="2324553" y="495979"/>
                  </a:lnTo>
                  <a:lnTo>
                    <a:pt x="2324290" y="495884"/>
                  </a:lnTo>
                  <a:lnTo>
                    <a:pt x="2324043" y="495978"/>
                  </a:lnTo>
                  <a:lnTo>
                    <a:pt x="2324348" y="495506"/>
                  </a:lnTo>
                  <a:lnTo>
                    <a:pt x="2324822" y="495351"/>
                  </a:lnTo>
                  <a:lnTo>
                    <a:pt x="2325317" y="495569"/>
                  </a:lnTo>
                  <a:lnTo>
                    <a:pt x="2326155" y="497144"/>
                  </a:lnTo>
                  <a:lnTo>
                    <a:pt x="2326637" y="497416"/>
                  </a:lnTo>
                  <a:lnTo>
                    <a:pt x="2329633" y="497029"/>
                  </a:lnTo>
                  <a:lnTo>
                    <a:pt x="2330872" y="495530"/>
                  </a:lnTo>
                  <a:lnTo>
                    <a:pt x="2331317" y="495415"/>
                  </a:lnTo>
                  <a:lnTo>
                    <a:pt x="2331179" y="495426"/>
                  </a:lnTo>
                  <a:lnTo>
                    <a:pt x="2334539" y="493014"/>
                  </a:lnTo>
                  <a:lnTo>
                    <a:pt x="2337861" y="492752"/>
                  </a:lnTo>
                  <a:lnTo>
                    <a:pt x="2344272" y="490131"/>
                  </a:lnTo>
                  <a:lnTo>
                    <a:pt x="2344624" y="489032"/>
                  </a:lnTo>
                  <a:lnTo>
                    <a:pt x="2344701" y="489827"/>
                  </a:lnTo>
                  <a:lnTo>
                    <a:pt x="2344710" y="489562"/>
                  </a:lnTo>
                  <a:lnTo>
                    <a:pt x="2344699" y="489188"/>
                  </a:lnTo>
                  <a:lnTo>
                    <a:pt x="2344739" y="488933"/>
                  </a:lnTo>
                  <a:lnTo>
                    <a:pt x="2344901" y="489007"/>
                  </a:lnTo>
                  <a:lnTo>
                    <a:pt x="2344795" y="488690"/>
                  </a:lnTo>
                  <a:lnTo>
                    <a:pt x="2344590" y="487941"/>
                  </a:lnTo>
                  <a:lnTo>
                    <a:pt x="2344486" y="487633"/>
                  </a:lnTo>
                  <a:lnTo>
                    <a:pt x="2344776" y="486372"/>
                  </a:lnTo>
                  <a:lnTo>
                    <a:pt x="2344887" y="486044"/>
                  </a:lnTo>
                  <a:lnTo>
                    <a:pt x="2343986" y="485654"/>
                  </a:lnTo>
                  <a:lnTo>
                    <a:pt x="2340784" y="487710"/>
                  </a:lnTo>
                  <a:lnTo>
                    <a:pt x="2338109" y="487944"/>
                  </a:lnTo>
                  <a:lnTo>
                    <a:pt x="2332543" y="490077"/>
                  </a:lnTo>
                  <a:lnTo>
                    <a:pt x="2331422" y="492168"/>
                  </a:lnTo>
                  <a:lnTo>
                    <a:pt x="2330981" y="492485"/>
                  </a:lnTo>
                  <a:lnTo>
                    <a:pt x="2326396" y="491673"/>
                  </a:lnTo>
                  <a:lnTo>
                    <a:pt x="2324025" y="492029"/>
                  </a:lnTo>
                  <a:lnTo>
                    <a:pt x="2319199" y="490359"/>
                  </a:lnTo>
                  <a:lnTo>
                    <a:pt x="2317280" y="491102"/>
                  </a:lnTo>
                  <a:lnTo>
                    <a:pt x="2316191" y="490834"/>
                  </a:lnTo>
                  <a:lnTo>
                    <a:pt x="2315401" y="489140"/>
                  </a:lnTo>
                  <a:lnTo>
                    <a:pt x="2315728" y="488387"/>
                  </a:lnTo>
                  <a:lnTo>
                    <a:pt x="2316959" y="487493"/>
                  </a:lnTo>
                  <a:lnTo>
                    <a:pt x="2318322" y="485372"/>
                  </a:lnTo>
                  <a:lnTo>
                    <a:pt x="2318774" y="485067"/>
                  </a:lnTo>
                  <a:lnTo>
                    <a:pt x="2319763" y="485234"/>
                  </a:lnTo>
                  <a:lnTo>
                    <a:pt x="2321110" y="483842"/>
                  </a:lnTo>
                  <a:lnTo>
                    <a:pt x="2322086" y="483493"/>
                  </a:lnTo>
                  <a:lnTo>
                    <a:pt x="2321549" y="481697"/>
                  </a:lnTo>
                  <a:lnTo>
                    <a:pt x="2320723" y="480895"/>
                  </a:lnTo>
                  <a:lnTo>
                    <a:pt x="2314359" y="482086"/>
                  </a:lnTo>
                  <a:lnTo>
                    <a:pt x="2309786" y="486492"/>
                  </a:lnTo>
                  <a:lnTo>
                    <a:pt x="2308213" y="486231"/>
                  </a:lnTo>
                  <a:lnTo>
                    <a:pt x="2307454" y="485301"/>
                  </a:lnTo>
                  <a:lnTo>
                    <a:pt x="2305141" y="479482"/>
                  </a:lnTo>
                  <a:lnTo>
                    <a:pt x="2304822" y="478947"/>
                  </a:lnTo>
                  <a:lnTo>
                    <a:pt x="2304426" y="478773"/>
                  </a:lnTo>
                  <a:lnTo>
                    <a:pt x="2303807" y="478942"/>
                  </a:lnTo>
                  <a:lnTo>
                    <a:pt x="2303494" y="479277"/>
                  </a:lnTo>
                  <a:lnTo>
                    <a:pt x="2303319" y="479908"/>
                  </a:lnTo>
                  <a:lnTo>
                    <a:pt x="2303357" y="481093"/>
                  </a:lnTo>
                  <a:lnTo>
                    <a:pt x="2303626" y="481869"/>
                  </a:lnTo>
                  <a:lnTo>
                    <a:pt x="2304193" y="482812"/>
                  </a:lnTo>
                  <a:lnTo>
                    <a:pt x="2304818" y="484423"/>
                  </a:lnTo>
                  <a:lnTo>
                    <a:pt x="2306212" y="487173"/>
                  </a:lnTo>
                  <a:lnTo>
                    <a:pt x="2306746" y="488961"/>
                  </a:lnTo>
                  <a:lnTo>
                    <a:pt x="2305119" y="491303"/>
                  </a:lnTo>
                  <a:lnTo>
                    <a:pt x="2299280" y="494629"/>
                  </a:lnTo>
                  <a:lnTo>
                    <a:pt x="2299555" y="493343"/>
                  </a:lnTo>
                  <a:lnTo>
                    <a:pt x="2300588" y="490871"/>
                  </a:lnTo>
                  <a:lnTo>
                    <a:pt x="2301401" y="487487"/>
                  </a:lnTo>
                  <a:lnTo>
                    <a:pt x="2301919" y="486375"/>
                  </a:lnTo>
                  <a:lnTo>
                    <a:pt x="2301723" y="485054"/>
                  </a:lnTo>
                  <a:lnTo>
                    <a:pt x="2301318" y="483661"/>
                  </a:lnTo>
                  <a:lnTo>
                    <a:pt x="2300935" y="482843"/>
                  </a:lnTo>
                  <a:lnTo>
                    <a:pt x="2300395" y="482544"/>
                  </a:lnTo>
                  <a:lnTo>
                    <a:pt x="2299946" y="482824"/>
                  </a:lnTo>
                  <a:lnTo>
                    <a:pt x="2299568" y="483553"/>
                  </a:lnTo>
                  <a:lnTo>
                    <a:pt x="2298956" y="485227"/>
                  </a:lnTo>
                  <a:lnTo>
                    <a:pt x="2298310" y="486450"/>
                  </a:lnTo>
                  <a:lnTo>
                    <a:pt x="2298095" y="487588"/>
                  </a:lnTo>
                  <a:lnTo>
                    <a:pt x="2297939" y="488933"/>
                  </a:lnTo>
                  <a:lnTo>
                    <a:pt x="2297762" y="489989"/>
                  </a:lnTo>
                  <a:lnTo>
                    <a:pt x="2297005" y="492914"/>
                  </a:lnTo>
                  <a:lnTo>
                    <a:pt x="2296807" y="493285"/>
                  </a:lnTo>
                  <a:lnTo>
                    <a:pt x="2296493" y="493509"/>
                  </a:lnTo>
                  <a:lnTo>
                    <a:pt x="2295440" y="493357"/>
                  </a:lnTo>
                  <a:lnTo>
                    <a:pt x="2294296" y="492489"/>
                  </a:lnTo>
                  <a:lnTo>
                    <a:pt x="2293728" y="492399"/>
                  </a:lnTo>
                  <a:lnTo>
                    <a:pt x="2293336" y="493465"/>
                  </a:lnTo>
                  <a:lnTo>
                    <a:pt x="2293667" y="494187"/>
                  </a:lnTo>
                  <a:lnTo>
                    <a:pt x="2293535" y="494321"/>
                  </a:lnTo>
                  <a:lnTo>
                    <a:pt x="2293264" y="494946"/>
                  </a:lnTo>
                  <a:lnTo>
                    <a:pt x="2293581" y="495374"/>
                  </a:lnTo>
                  <a:lnTo>
                    <a:pt x="2293894" y="495622"/>
                  </a:lnTo>
                  <a:lnTo>
                    <a:pt x="2294203" y="496068"/>
                  </a:lnTo>
                  <a:lnTo>
                    <a:pt x="2294510" y="497094"/>
                  </a:lnTo>
                  <a:lnTo>
                    <a:pt x="2293957" y="498283"/>
                  </a:lnTo>
                  <a:lnTo>
                    <a:pt x="2292719" y="499387"/>
                  </a:lnTo>
                  <a:lnTo>
                    <a:pt x="2291538" y="501793"/>
                  </a:lnTo>
                  <a:lnTo>
                    <a:pt x="2288707" y="504240"/>
                  </a:lnTo>
                  <a:lnTo>
                    <a:pt x="2286302" y="504130"/>
                  </a:lnTo>
                  <a:lnTo>
                    <a:pt x="2284391" y="502191"/>
                  </a:lnTo>
                  <a:lnTo>
                    <a:pt x="2284022" y="502067"/>
                  </a:lnTo>
                  <a:lnTo>
                    <a:pt x="2282859" y="502801"/>
                  </a:lnTo>
                  <a:lnTo>
                    <a:pt x="2283101" y="502000"/>
                  </a:lnTo>
                  <a:lnTo>
                    <a:pt x="2283504" y="501253"/>
                  </a:lnTo>
                  <a:lnTo>
                    <a:pt x="2283766" y="500258"/>
                  </a:lnTo>
                  <a:lnTo>
                    <a:pt x="2283582" y="498684"/>
                  </a:lnTo>
                  <a:lnTo>
                    <a:pt x="2283542" y="497305"/>
                  </a:lnTo>
                  <a:lnTo>
                    <a:pt x="2283921" y="496063"/>
                  </a:lnTo>
                  <a:lnTo>
                    <a:pt x="2286474" y="492096"/>
                  </a:lnTo>
                  <a:lnTo>
                    <a:pt x="2289127" y="489899"/>
                  </a:lnTo>
                  <a:lnTo>
                    <a:pt x="2289797" y="489885"/>
                  </a:lnTo>
                  <a:lnTo>
                    <a:pt x="2289756" y="489087"/>
                  </a:lnTo>
                  <a:lnTo>
                    <a:pt x="2284707" y="490096"/>
                  </a:lnTo>
                  <a:lnTo>
                    <a:pt x="2276680" y="486656"/>
                  </a:lnTo>
                  <a:lnTo>
                    <a:pt x="2276054" y="487452"/>
                  </a:lnTo>
                  <a:lnTo>
                    <a:pt x="2276345" y="488114"/>
                  </a:lnTo>
                  <a:lnTo>
                    <a:pt x="2276559" y="489002"/>
                  </a:lnTo>
                  <a:lnTo>
                    <a:pt x="2276631" y="490054"/>
                  </a:lnTo>
                  <a:lnTo>
                    <a:pt x="2276493" y="491188"/>
                  </a:lnTo>
                  <a:lnTo>
                    <a:pt x="2276798" y="491735"/>
                  </a:lnTo>
                  <a:lnTo>
                    <a:pt x="2277028" y="491406"/>
                  </a:lnTo>
                  <a:lnTo>
                    <a:pt x="2277242" y="490769"/>
                  </a:lnTo>
                  <a:lnTo>
                    <a:pt x="2277502" y="490412"/>
                  </a:lnTo>
                  <a:lnTo>
                    <a:pt x="2277811" y="490602"/>
                  </a:lnTo>
                  <a:lnTo>
                    <a:pt x="2278149" y="491103"/>
                  </a:lnTo>
                  <a:lnTo>
                    <a:pt x="2278785" y="492581"/>
                  </a:lnTo>
                  <a:lnTo>
                    <a:pt x="2277871" y="493140"/>
                  </a:lnTo>
                  <a:lnTo>
                    <a:pt x="2276034" y="495770"/>
                  </a:lnTo>
                  <a:lnTo>
                    <a:pt x="2267425" y="501552"/>
                  </a:lnTo>
                  <a:lnTo>
                    <a:pt x="2267040" y="503685"/>
                  </a:lnTo>
                  <a:lnTo>
                    <a:pt x="2266654" y="504184"/>
                  </a:lnTo>
                  <a:lnTo>
                    <a:pt x="2264207" y="502707"/>
                  </a:lnTo>
                  <a:lnTo>
                    <a:pt x="2262329" y="502840"/>
                  </a:lnTo>
                  <a:lnTo>
                    <a:pt x="2261738" y="502038"/>
                  </a:lnTo>
                  <a:lnTo>
                    <a:pt x="2261926" y="501124"/>
                  </a:lnTo>
                  <a:lnTo>
                    <a:pt x="2262146" y="500459"/>
                  </a:lnTo>
                  <a:lnTo>
                    <a:pt x="2262392" y="499996"/>
                  </a:lnTo>
                  <a:lnTo>
                    <a:pt x="2262652" y="499735"/>
                  </a:lnTo>
                  <a:lnTo>
                    <a:pt x="2262633" y="499063"/>
                  </a:lnTo>
                  <a:lnTo>
                    <a:pt x="2261997" y="499172"/>
                  </a:lnTo>
                  <a:lnTo>
                    <a:pt x="2261261" y="498887"/>
                  </a:lnTo>
                  <a:lnTo>
                    <a:pt x="2260532" y="498128"/>
                  </a:lnTo>
                  <a:lnTo>
                    <a:pt x="2259911" y="496852"/>
                  </a:lnTo>
                  <a:lnTo>
                    <a:pt x="2260373" y="496314"/>
                  </a:lnTo>
                  <a:lnTo>
                    <a:pt x="2260831" y="496276"/>
                  </a:lnTo>
                  <a:lnTo>
                    <a:pt x="2261296" y="496660"/>
                  </a:lnTo>
                  <a:lnTo>
                    <a:pt x="2261780" y="497350"/>
                  </a:lnTo>
                  <a:lnTo>
                    <a:pt x="2262129" y="497482"/>
                  </a:lnTo>
                  <a:lnTo>
                    <a:pt x="2262459" y="496933"/>
                  </a:lnTo>
                  <a:lnTo>
                    <a:pt x="2263087" y="495366"/>
                  </a:lnTo>
                  <a:lnTo>
                    <a:pt x="2262708" y="494634"/>
                  </a:lnTo>
                  <a:lnTo>
                    <a:pt x="2260682" y="494584"/>
                  </a:lnTo>
                  <a:lnTo>
                    <a:pt x="2260476" y="494141"/>
                  </a:lnTo>
                  <a:lnTo>
                    <a:pt x="2260649" y="493158"/>
                  </a:lnTo>
                  <a:lnTo>
                    <a:pt x="2260537" y="492212"/>
                  </a:lnTo>
                  <a:lnTo>
                    <a:pt x="2260397" y="491517"/>
                  </a:lnTo>
                  <a:lnTo>
                    <a:pt x="2260229" y="491100"/>
                  </a:lnTo>
                  <a:lnTo>
                    <a:pt x="2260036" y="490955"/>
                  </a:lnTo>
                  <a:lnTo>
                    <a:pt x="2260186" y="490666"/>
                  </a:lnTo>
                  <a:lnTo>
                    <a:pt x="2260552" y="489471"/>
                  </a:lnTo>
                  <a:lnTo>
                    <a:pt x="2259092" y="489348"/>
                  </a:lnTo>
                  <a:lnTo>
                    <a:pt x="2258425" y="490101"/>
                  </a:lnTo>
                  <a:lnTo>
                    <a:pt x="2258398" y="492539"/>
                  </a:lnTo>
                  <a:lnTo>
                    <a:pt x="2254784" y="491080"/>
                  </a:lnTo>
                  <a:lnTo>
                    <a:pt x="2253163" y="490813"/>
                  </a:lnTo>
                  <a:lnTo>
                    <a:pt x="2252643" y="489970"/>
                  </a:lnTo>
                  <a:lnTo>
                    <a:pt x="2252082" y="489445"/>
                  </a:lnTo>
                  <a:lnTo>
                    <a:pt x="2250919" y="489562"/>
                  </a:lnTo>
                  <a:lnTo>
                    <a:pt x="2250394" y="488139"/>
                  </a:lnTo>
                  <a:lnTo>
                    <a:pt x="2250543" y="488045"/>
                  </a:lnTo>
                  <a:lnTo>
                    <a:pt x="2250934" y="487458"/>
                  </a:lnTo>
                  <a:lnTo>
                    <a:pt x="2250512" y="486846"/>
                  </a:lnTo>
                  <a:lnTo>
                    <a:pt x="2250368" y="486730"/>
                  </a:lnTo>
                  <a:lnTo>
                    <a:pt x="2250910" y="486076"/>
                  </a:lnTo>
                  <a:lnTo>
                    <a:pt x="2252033" y="485889"/>
                  </a:lnTo>
                  <a:lnTo>
                    <a:pt x="2252560" y="485151"/>
                  </a:lnTo>
                  <a:lnTo>
                    <a:pt x="2251769" y="483229"/>
                  </a:lnTo>
                  <a:lnTo>
                    <a:pt x="2251540" y="482965"/>
                  </a:lnTo>
                  <a:lnTo>
                    <a:pt x="2251252" y="482869"/>
                  </a:lnTo>
                  <a:lnTo>
                    <a:pt x="2250560" y="482147"/>
                  </a:lnTo>
                  <a:lnTo>
                    <a:pt x="2250275" y="481512"/>
                  </a:lnTo>
                  <a:lnTo>
                    <a:pt x="2250692" y="481469"/>
                  </a:lnTo>
                  <a:lnTo>
                    <a:pt x="2251092" y="481006"/>
                  </a:lnTo>
                  <a:lnTo>
                    <a:pt x="2251448" y="480073"/>
                  </a:lnTo>
                  <a:lnTo>
                    <a:pt x="2251732" y="478607"/>
                  </a:lnTo>
                  <a:lnTo>
                    <a:pt x="2251335" y="477042"/>
                  </a:lnTo>
                  <a:lnTo>
                    <a:pt x="2251126" y="476036"/>
                  </a:lnTo>
                  <a:lnTo>
                    <a:pt x="2250977" y="474866"/>
                  </a:lnTo>
                  <a:lnTo>
                    <a:pt x="2251815" y="474720"/>
                  </a:lnTo>
                  <a:lnTo>
                    <a:pt x="2253494" y="473029"/>
                  </a:lnTo>
                  <a:lnTo>
                    <a:pt x="2262248" y="470052"/>
                  </a:lnTo>
                  <a:lnTo>
                    <a:pt x="2270957" y="467014"/>
                  </a:lnTo>
                  <a:lnTo>
                    <a:pt x="2272668" y="464184"/>
                  </a:lnTo>
                  <a:lnTo>
                    <a:pt x="2278303" y="458572"/>
                  </a:lnTo>
                  <a:lnTo>
                    <a:pt x="2278498" y="457404"/>
                  </a:lnTo>
                  <a:lnTo>
                    <a:pt x="2278371" y="456474"/>
                  </a:lnTo>
                  <a:lnTo>
                    <a:pt x="2277861" y="454452"/>
                  </a:lnTo>
                  <a:lnTo>
                    <a:pt x="2277668" y="453419"/>
                  </a:lnTo>
                  <a:lnTo>
                    <a:pt x="2278623" y="451914"/>
                  </a:lnTo>
                  <a:lnTo>
                    <a:pt x="2278893" y="450721"/>
                  </a:lnTo>
                  <a:lnTo>
                    <a:pt x="2278682" y="448951"/>
                  </a:lnTo>
                  <a:lnTo>
                    <a:pt x="2278274" y="448032"/>
                  </a:lnTo>
                  <a:lnTo>
                    <a:pt x="2277749" y="447671"/>
                  </a:lnTo>
                  <a:lnTo>
                    <a:pt x="2277258" y="447967"/>
                  </a:lnTo>
                  <a:lnTo>
                    <a:pt x="2276957" y="449019"/>
                  </a:lnTo>
                  <a:lnTo>
                    <a:pt x="2277065" y="449160"/>
                  </a:lnTo>
                  <a:lnTo>
                    <a:pt x="2277378" y="449750"/>
                  </a:lnTo>
                  <a:lnTo>
                    <a:pt x="2276508" y="451448"/>
                  </a:lnTo>
                  <a:lnTo>
                    <a:pt x="2273462" y="452615"/>
                  </a:lnTo>
                  <a:lnTo>
                    <a:pt x="2273205" y="453314"/>
                  </a:lnTo>
                  <a:lnTo>
                    <a:pt x="2272980" y="455320"/>
                  </a:lnTo>
                  <a:lnTo>
                    <a:pt x="2272773" y="456008"/>
                  </a:lnTo>
                  <a:lnTo>
                    <a:pt x="2271248" y="456658"/>
                  </a:lnTo>
                  <a:lnTo>
                    <a:pt x="2270797" y="457293"/>
                  </a:lnTo>
                  <a:lnTo>
                    <a:pt x="2269839" y="459323"/>
                  </a:lnTo>
                  <a:lnTo>
                    <a:pt x="2262532" y="462311"/>
                  </a:lnTo>
                  <a:lnTo>
                    <a:pt x="2261586" y="463310"/>
                  </a:lnTo>
                  <a:lnTo>
                    <a:pt x="2255034" y="463193"/>
                  </a:lnTo>
                  <a:lnTo>
                    <a:pt x="2248484" y="463042"/>
                  </a:lnTo>
                  <a:lnTo>
                    <a:pt x="2242826" y="453965"/>
                  </a:lnTo>
                  <a:lnTo>
                    <a:pt x="2241936" y="453501"/>
                  </a:lnTo>
                  <a:lnTo>
                    <a:pt x="2241147" y="453693"/>
                  </a:lnTo>
                  <a:lnTo>
                    <a:pt x="2240769" y="453324"/>
                  </a:lnTo>
                  <a:lnTo>
                    <a:pt x="2240466" y="452115"/>
                  </a:lnTo>
                  <a:lnTo>
                    <a:pt x="2240498" y="450632"/>
                  </a:lnTo>
                  <a:lnTo>
                    <a:pt x="2240493" y="449421"/>
                  </a:lnTo>
                  <a:lnTo>
                    <a:pt x="2240430" y="448430"/>
                  </a:lnTo>
                  <a:lnTo>
                    <a:pt x="2240167" y="447370"/>
                  </a:lnTo>
                  <a:lnTo>
                    <a:pt x="2239782" y="446531"/>
                  </a:lnTo>
                  <a:lnTo>
                    <a:pt x="2237391" y="443771"/>
                  </a:lnTo>
                  <a:lnTo>
                    <a:pt x="2235701" y="443241"/>
                  </a:lnTo>
                  <a:lnTo>
                    <a:pt x="2236150" y="442019"/>
                  </a:lnTo>
                  <a:lnTo>
                    <a:pt x="2237194" y="441258"/>
                  </a:lnTo>
                  <a:lnTo>
                    <a:pt x="2237686" y="440290"/>
                  </a:lnTo>
                  <a:lnTo>
                    <a:pt x="2236763" y="439760"/>
                  </a:lnTo>
                  <a:lnTo>
                    <a:pt x="2234732" y="442044"/>
                  </a:lnTo>
                  <a:lnTo>
                    <a:pt x="2233833" y="441104"/>
                  </a:lnTo>
                  <a:lnTo>
                    <a:pt x="2233962" y="440310"/>
                  </a:lnTo>
                  <a:lnTo>
                    <a:pt x="2233806" y="439577"/>
                  </a:lnTo>
                  <a:lnTo>
                    <a:pt x="2233640" y="438946"/>
                  </a:lnTo>
                  <a:lnTo>
                    <a:pt x="2233464" y="438450"/>
                  </a:lnTo>
                  <a:lnTo>
                    <a:pt x="2233291" y="438101"/>
                  </a:lnTo>
                  <a:lnTo>
                    <a:pt x="2233615" y="436915"/>
                  </a:lnTo>
                  <a:lnTo>
                    <a:pt x="2233968" y="436229"/>
                  </a:lnTo>
                  <a:lnTo>
                    <a:pt x="2234345" y="435929"/>
                  </a:lnTo>
                  <a:lnTo>
                    <a:pt x="2235392" y="435727"/>
                  </a:lnTo>
                  <a:lnTo>
                    <a:pt x="2235921" y="435211"/>
                  </a:lnTo>
                  <a:lnTo>
                    <a:pt x="2237335" y="435028"/>
                  </a:lnTo>
                  <a:lnTo>
                    <a:pt x="2237905" y="435923"/>
                  </a:lnTo>
                  <a:lnTo>
                    <a:pt x="2237670" y="438079"/>
                  </a:lnTo>
                  <a:lnTo>
                    <a:pt x="2238202" y="437895"/>
                  </a:lnTo>
                  <a:lnTo>
                    <a:pt x="2239236" y="436255"/>
                  </a:lnTo>
                  <a:lnTo>
                    <a:pt x="2239773" y="435852"/>
                  </a:lnTo>
                  <a:lnTo>
                    <a:pt x="2241908" y="436024"/>
                  </a:lnTo>
                  <a:lnTo>
                    <a:pt x="2242547" y="435157"/>
                  </a:lnTo>
                  <a:lnTo>
                    <a:pt x="2241159" y="432794"/>
                  </a:lnTo>
                  <a:lnTo>
                    <a:pt x="2234389" y="431244"/>
                  </a:lnTo>
                  <a:lnTo>
                    <a:pt x="2233658" y="429996"/>
                  </a:lnTo>
                  <a:lnTo>
                    <a:pt x="2233243" y="428580"/>
                  </a:lnTo>
                  <a:lnTo>
                    <a:pt x="2232533" y="425477"/>
                  </a:lnTo>
                  <a:lnTo>
                    <a:pt x="2232067" y="424048"/>
                  </a:lnTo>
                  <a:lnTo>
                    <a:pt x="2232705" y="422722"/>
                  </a:lnTo>
                  <a:lnTo>
                    <a:pt x="2237541" y="420409"/>
                  </a:lnTo>
                  <a:lnTo>
                    <a:pt x="2234213" y="420072"/>
                  </a:lnTo>
                  <a:lnTo>
                    <a:pt x="2233099" y="420922"/>
                  </a:lnTo>
                  <a:lnTo>
                    <a:pt x="2232297" y="420973"/>
                  </a:lnTo>
                  <a:lnTo>
                    <a:pt x="2231224" y="419869"/>
                  </a:lnTo>
                  <a:lnTo>
                    <a:pt x="2230236" y="417870"/>
                  </a:lnTo>
                  <a:lnTo>
                    <a:pt x="2229690" y="415216"/>
                  </a:lnTo>
                  <a:lnTo>
                    <a:pt x="2230050" y="414874"/>
                  </a:lnTo>
                  <a:lnTo>
                    <a:pt x="2230269" y="413453"/>
                  </a:lnTo>
                  <a:lnTo>
                    <a:pt x="2230453" y="411765"/>
                  </a:lnTo>
                  <a:lnTo>
                    <a:pt x="2230705" y="410607"/>
                  </a:lnTo>
                  <a:lnTo>
                    <a:pt x="2231411" y="409737"/>
                  </a:lnTo>
                  <a:lnTo>
                    <a:pt x="2237965" y="410423"/>
                  </a:lnTo>
                  <a:lnTo>
                    <a:pt x="2244597" y="417849"/>
                  </a:lnTo>
                  <a:lnTo>
                    <a:pt x="2250615" y="419389"/>
                  </a:lnTo>
                  <a:lnTo>
                    <a:pt x="2251277" y="420236"/>
                  </a:lnTo>
                  <a:lnTo>
                    <a:pt x="2251134" y="420239"/>
                  </a:lnTo>
                  <a:lnTo>
                    <a:pt x="2255147" y="420251"/>
                  </a:lnTo>
                  <a:lnTo>
                    <a:pt x="2260874" y="421627"/>
                  </a:lnTo>
                  <a:lnTo>
                    <a:pt x="2264862" y="420234"/>
                  </a:lnTo>
                  <a:lnTo>
                    <a:pt x="2267012" y="420221"/>
                  </a:lnTo>
                  <a:lnTo>
                    <a:pt x="2275359" y="426740"/>
                  </a:lnTo>
                  <a:lnTo>
                    <a:pt x="2276112" y="426088"/>
                  </a:lnTo>
                  <a:lnTo>
                    <a:pt x="2275219" y="424125"/>
                  </a:lnTo>
                  <a:lnTo>
                    <a:pt x="2274729" y="423459"/>
                  </a:lnTo>
                  <a:lnTo>
                    <a:pt x="2273691" y="422764"/>
                  </a:lnTo>
                  <a:lnTo>
                    <a:pt x="2272462" y="420791"/>
                  </a:lnTo>
                  <a:lnTo>
                    <a:pt x="2270809" y="419489"/>
                  </a:lnTo>
                  <a:lnTo>
                    <a:pt x="2268639" y="415814"/>
                  </a:lnTo>
                  <a:lnTo>
                    <a:pt x="2267573" y="415340"/>
                  </a:lnTo>
                  <a:lnTo>
                    <a:pt x="2267547" y="414603"/>
                  </a:lnTo>
                  <a:lnTo>
                    <a:pt x="2272257" y="407933"/>
                  </a:lnTo>
                  <a:lnTo>
                    <a:pt x="2280786" y="405194"/>
                  </a:lnTo>
                  <a:lnTo>
                    <a:pt x="2280386" y="404434"/>
                  </a:lnTo>
                  <a:lnTo>
                    <a:pt x="2273054" y="402562"/>
                  </a:lnTo>
                  <a:lnTo>
                    <a:pt x="2272800" y="401264"/>
                  </a:lnTo>
                  <a:lnTo>
                    <a:pt x="2272062" y="400620"/>
                  </a:lnTo>
                  <a:lnTo>
                    <a:pt x="2271217" y="400558"/>
                  </a:lnTo>
                  <a:lnTo>
                    <a:pt x="2270644" y="400987"/>
                  </a:lnTo>
                  <a:lnTo>
                    <a:pt x="2269350" y="404740"/>
                  </a:lnTo>
                  <a:lnTo>
                    <a:pt x="2264500" y="409849"/>
                  </a:lnTo>
                  <a:lnTo>
                    <a:pt x="2256195" y="411752"/>
                  </a:lnTo>
                  <a:lnTo>
                    <a:pt x="2251272" y="406432"/>
                  </a:lnTo>
                  <a:lnTo>
                    <a:pt x="2250470" y="406130"/>
                  </a:lnTo>
                  <a:lnTo>
                    <a:pt x="2250855" y="404755"/>
                  </a:lnTo>
                  <a:lnTo>
                    <a:pt x="2253015" y="402832"/>
                  </a:lnTo>
                  <a:lnTo>
                    <a:pt x="2257185" y="402806"/>
                  </a:lnTo>
                  <a:lnTo>
                    <a:pt x="2258197" y="401716"/>
                  </a:lnTo>
                  <a:lnTo>
                    <a:pt x="2259064" y="399325"/>
                  </a:lnTo>
                  <a:lnTo>
                    <a:pt x="2258445" y="398297"/>
                  </a:lnTo>
                  <a:lnTo>
                    <a:pt x="2257730" y="398867"/>
                  </a:lnTo>
                  <a:lnTo>
                    <a:pt x="2256407" y="400854"/>
                  </a:lnTo>
                  <a:lnTo>
                    <a:pt x="2252907" y="400930"/>
                  </a:lnTo>
                  <a:lnTo>
                    <a:pt x="2252659" y="400602"/>
                  </a:lnTo>
                  <a:lnTo>
                    <a:pt x="2252228" y="399084"/>
                  </a:lnTo>
                  <a:lnTo>
                    <a:pt x="2251930" y="398748"/>
                  </a:lnTo>
                  <a:lnTo>
                    <a:pt x="2246964" y="403981"/>
                  </a:lnTo>
                  <a:lnTo>
                    <a:pt x="2245333" y="403895"/>
                  </a:lnTo>
                  <a:lnTo>
                    <a:pt x="2238655" y="397472"/>
                  </a:lnTo>
                  <a:lnTo>
                    <a:pt x="2234041" y="395942"/>
                  </a:lnTo>
                  <a:lnTo>
                    <a:pt x="2234164" y="395271"/>
                  </a:lnTo>
                  <a:lnTo>
                    <a:pt x="2235638" y="392239"/>
                  </a:lnTo>
                  <a:lnTo>
                    <a:pt x="2235932" y="390856"/>
                  </a:lnTo>
                  <a:lnTo>
                    <a:pt x="2235444" y="390197"/>
                  </a:lnTo>
                  <a:lnTo>
                    <a:pt x="2233894" y="390129"/>
                  </a:lnTo>
                  <a:lnTo>
                    <a:pt x="2231848" y="388662"/>
                  </a:lnTo>
                  <a:lnTo>
                    <a:pt x="2232819" y="386423"/>
                  </a:lnTo>
                  <a:lnTo>
                    <a:pt x="2233886" y="386818"/>
                  </a:lnTo>
                  <a:lnTo>
                    <a:pt x="2234983" y="388138"/>
                  </a:lnTo>
                  <a:lnTo>
                    <a:pt x="2236032" y="388646"/>
                  </a:lnTo>
                  <a:lnTo>
                    <a:pt x="2236126" y="387172"/>
                  </a:lnTo>
                  <a:lnTo>
                    <a:pt x="2236693" y="387278"/>
                  </a:lnTo>
                  <a:lnTo>
                    <a:pt x="2238433" y="389046"/>
                  </a:lnTo>
                  <a:lnTo>
                    <a:pt x="2239947" y="389384"/>
                  </a:lnTo>
                  <a:lnTo>
                    <a:pt x="2240483" y="388612"/>
                  </a:lnTo>
                  <a:lnTo>
                    <a:pt x="2239626" y="386782"/>
                  </a:lnTo>
                  <a:lnTo>
                    <a:pt x="2239323" y="386412"/>
                  </a:lnTo>
                  <a:lnTo>
                    <a:pt x="2239785" y="385360"/>
                  </a:lnTo>
                  <a:lnTo>
                    <a:pt x="2241437" y="384160"/>
                  </a:lnTo>
                  <a:lnTo>
                    <a:pt x="2241882" y="384493"/>
                  </a:lnTo>
                  <a:lnTo>
                    <a:pt x="2242578" y="383644"/>
                  </a:lnTo>
                  <a:lnTo>
                    <a:pt x="2245405" y="383398"/>
                  </a:lnTo>
                  <a:lnTo>
                    <a:pt x="2248009" y="385740"/>
                  </a:lnTo>
                  <a:lnTo>
                    <a:pt x="2250618" y="385458"/>
                  </a:lnTo>
                  <a:lnTo>
                    <a:pt x="2252587" y="387485"/>
                  </a:lnTo>
                  <a:lnTo>
                    <a:pt x="2254957" y="388382"/>
                  </a:lnTo>
                  <a:lnTo>
                    <a:pt x="2254768" y="387444"/>
                  </a:lnTo>
                  <a:lnTo>
                    <a:pt x="2254390" y="386132"/>
                  </a:lnTo>
                  <a:lnTo>
                    <a:pt x="2254243" y="385385"/>
                  </a:lnTo>
                  <a:lnTo>
                    <a:pt x="2254341" y="385238"/>
                  </a:lnTo>
                  <a:lnTo>
                    <a:pt x="2254603" y="384641"/>
                  </a:lnTo>
                  <a:lnTo>
                    <a:pt x="2253981" y="383417"/>
                  </a:lnTo>
                  <a:lnTo>
                    <a:pt x="2252503" y="383439"/>
                  </a:lnTo>
                  <a:lnTo>
                    <a:pt x="2250222" y="381948"/>
                  </a:lnTo>
                  <a:lnTo>
                    <a:pt x="2249393" y="380770"/>
                  </a:lnTo>
                  <a:lnTo>
                    <a:pt x="2248179" y="376910"/>
                  </a:lnTo>
                  <a:lnTo>
                    <a:pt x="2243254" y="373688"/>
                  </a:lnTo>
                  <a:lnTo>
                    <a:pt x="2242444" y="372334"/>
                  </a:lnTo>
                  <a:lnTo>
                    <a:pt x="2244930" y="370698"/>
                  </a:lnTo>
                  <a:lnTo>
                    <a:pt x="2245109" y="370332"/>
                  </a:lnTo>
                  <a:lnTo>
                    <a:pt x="2245399" y="369294"/>
                  </a:lnTo>
                  <a:lnTo>
                    <a:pt x="2245485" y="367898"/>
                  </a:lnTo>
                  <a:lnTo>
                    <a:pt x="2245651" y="367137"/>
                  </a:lnTo>
                  <a:lnTo>
                    <a:pt x="2245984" y="367080"/>
                  </a:lnTo>
                  <a:lnTo>
                    <a:pt x="2244704" y="366006"/>
                  </a:lnTo>
                  <a:lnTo>
                    <a:pt x="2244068" y="364822"/>
                  </a:lnTo>
                  <a:lnTo>
                    <a:pt x="2243683" y="362693"/>
                  </a:lnTo>
                  <a:lnTo>
                    <a:pt x="2250907" y="361763"/>
                  </a:lnTo>
                  <a:lnTo>
                    <a:pt x="2256882" y="362049"/>
                  </a:lnTo>
                  <a:lnTo>
                    <a:pt x="2261184" y="360348"/>
                  </a:lnTo>
                  <a:lnTo>
                    <a:pt x="2262507" y="360161"/>
                  </a:lnTo>
                  <a:lnTo>
                    <a:pt x="2266602" y="363752"/>
                  </a:lnTo>
                  <a:lnTo>
                    <a:pt x="2270020" y="365130"/>
                  </a:lnTo>
                  <a:lnTo>
                    <a:pt x="2275206" y="363724"/>
                  </a:lnTo>
                  <a:lnTo>
                    <a:pt x="2279907" y="365445"/>
                  </a:lnTo>
                  <a:lnTo>
                    <a:pt x="2280180" y="364981"/>
                  </a:lnTo>
                  <a:lnTo>
                    <a:pt x="2280379" y="364432"/>
                  </a:lnTo>
                  <a:lnTo>
                    <a:pt x="2280681" y="364392"/>
                  </a:lnTo>
                  <a:lnTo>
                    <a:pt x="2281001" y="364720"/>
                  </a:lnTo>
                  <a:lnTo>
                    <a:pt x="2281249" y="365274"/>
                  </a:lnTo>
                  <a:lnTo>
                    <a:pt x="2281038" y="366021"/>
                  </a:lnTo>
                  <a:lnTo>
                    <a:pt x="2281812" y="368250"/>
                  </a:lnTo>
                  <a:lnTo>
                    <a:pt x="2282751" y="368360"/>
                  </a:lnTo>
                  <a:lnTo>
                    <a:pt x="2284480" y="367329"/>
                  </a:lnTo>
                  <a:lnTo>
                    <a:pt x="2284437" y="366523"/>
                  </a:lnTo>
                  <a:lnTo>
                    <a:pt x="2280164" y="360835"/>
                  </a:lnTo>
                  <a:lnTo>
                    <a:pt x="2273371" y="358314"/>
                  </a:lnTo>
                  <a:lnTo>
                    <a:pt x="2270802" y="359759"/>
                  </a:lnTo>
                  <a:lnTo>
                    <a:pt x="2270398" y="359453"/>
                  </a:lnTo>
                  <a:lnTo>
                    <a:pt x="2270032" y="358694"/>
                  </a:lnTo>
                  <a:lnTo>
                    <a:pt x="2269683" y="357277"/>
                  </a:lnTo>
                  <a:lnTo>
                    <a:pt x="2269212" y="355838"/>
                  </a:lnTo>
                  <a:lnTo>
                    <a:pt x="2268180" y="354774"/>
                  </a:lnTo>
                  <a:lnTo>
                    <a:pt x="2267747" y="353302"/>
                  </a:lnTo>
                  <a:lnTo>
                    <a:pt x="2268097" y="351356"/>
                  </a:lnTo>
                  <a:lnTo>
                    <a:pt x="2268652" y="350297"/>
                  </a:lnTo>
                  <a:lnTo>
                    <a:pt x="2273498" y="349361"/>
                  </a:lnTo>
                  <a:lnTo>
                    <a:pt x="2278335" y="348403"/>
                  </a:lnTo>
                  <a:lnTo>
                    <a:pt x="2277251" y="346209"/>
                  </a:lnTo>
                  <a:lnTo>
                    <a:pt x="2275029" y="346843"/>
                  </a:lnTo>
                  <a:lnTo>
                    <a:pt x="2273961" y="346448"/>
                  </a:lnTo>
                  <a:lnTo>
                    <a:pt x="2273926" y="345641"/>
                  </a:lnTo>
                  <a:lnTo>
                    <a:pt x="2273933" y="344449"/>
                  </a:lnTo>
                  <a:lnTo>
                    <a:pt x="2273495" y="344062"/>
                  </a:lnTo>
                  <a:lnTo>
                    <a:pt x="2272528" y="344223"/>
                  </a:lnTo>
                  <a:lnTo>
                    <a:pt x="2271076" y="346104"/>
                  </a:lnTo>
                  <a:lnTo>
                    <a:pt x="2270759" y="345764"/>
                  </a:lnTo>
                  <a:lnTo>
                    <a:pt x="2270408" y="346734"/>
                  </a:lnTo>
                  <a:lnTo>
                    <a:pt x="2267151" y="345964"/>
                  </a:lnTo>
                  <a:lnTo>
                    <a:pt x="2261165" y="342132"/>
                  </a:lnTo>
                  <a:lnTo>
                    <a:pt x="2260855" y="340944"/>
                  </a:lnTo>
                  <a:lnTo>
                    <a:pt x="2263335" y="339432"/>
                  </a:lnTo>
                  <a:lnTo>
                    <a:pt x="2264016" y="337903"/>
                  </a:lnTo>
                  <a:lnTo>
                    <a:pt x="2263423" y="336856"/>
                  </a:lnTo>
                  <a:lnTo>
                    <a:pt x="2262701" y="336848"/>
                  </a:lnTo>
                  <a:lnTo>
                    <a:pt x="2259057" y="339407"/>
                  </a:lnTo>
                  <a:lnTo>
                    <a:pt x="2252660" y="338403"/>
                  </a:lnTo>
                  <a:lnTo>
                    <a:pt x="2252024" y="336681"/>
                  </a:lnTo>
                  <a:lnTo>
                    <a:pt x="2252258" y="335940"/>
                  </a:lnTo>
                  <a:lnTo>
                    <a:pt x="2252113" y="335277"/>
                  </a:lnTo>
                  <a:lnTo>
                    <a:pt x="2252893" y="333950"/>
                  </a:lnTo>
                  <a:lnTo>
                    <a:pt x="2257891" y="331346"/>
                  </a:lnTo>
                  <a:lnTo>
                    <a:pt x="2258590" y="329908"/>
                  </a:lnTo>
                  <a:lnTo>
                    <a:pt x="2253591" y="329724"/>
                  </a:lnTo>
                  <a:lnTo>
                    <a:pt x="2252672" y="327842"/>
                  </a:lnTo>
                  <a:lnTo>
                    <a:pt x="2255801" y="323212"/>
                  </a:lnTo>
                  <a:lnTo>
                    <a:pt x="2256249" y="321755"/>
                  </a:lnTo>
                  <a:lnTo>
                    <a:pt x="2256773" y="315980"/>
                  </a:lnTo>
                  <a:lnTo>
                    <a:pt x="2257834" y="314467"/>
                  </a:lnTo>
                  <a:lnTo>
                    <a:pt x="2260040" y="313748"/>
                  </a:lnTo>
                  <a:lnTo>
                    <a:pt x="2262274" y="310615"/>
                  </a:lnTo>
                  <a:lnTo>
                    <a:pt x="2262954" y="310497"/>
                  </a:lnTo>
                  <a:lnTo>
                    <a:pt x="2268538" y="313682"/>
                  </a:lnTo>
                  <a:lnTo>
                    <a:pt x="2268898" y="314471"/>
                  </a:lnTo>
                  <a:lnTo>
                    <a:pt x="2269215" y="314893"/>
                  </a:lnTo>
                  <a:lnTo>
                    <a:pt x="2269828" y="314853"/>
                  </a:lnTo>
                  <a:lnTo>
                    <a:pt x="2270136" y="315556"/>
                  </a:lnTo>
                  <a:lnTo>
                    <a:pt x="2269388" y="317526"/>
                  </a:lnTo>
                  <a:lnTo>
                    <a:pt x="2269301" y="318533"/>
                  </a:lnTo>
                  <a:lnTo>
                    <a:pt x="2269486" y="319522"/>
                  </a:lnTo>
                  <a:lnTo>
                    <a:pt x="2269855" y="320196"/>
                  </a:lnTo>
                  <a:lnTo>
                    <a:pt x="2270525" y="320692"/>
                  </a:lnTo>
                  <a:lnTo>
                    <a:pt x="2271190" y="320487"/>
                  </a:lnTo>
                  <a:lnTo>
                    <a:pt x="2271816" y="319844"/>
                  </a:lnTo>
                  <a:lnTo>
                    <a:pt x="2272395" y="318681"/>
                  </a:lnTo>
                  <a:lnTo>
                    <a:pt x="2272910" y="316920"/>
                  </a:lnTo>
                  <a:lnTo>
                    <a:pt x="2272861" y="315699"/>
                  </a:lnTo>
                  <a:lnTo>
                    <a:pt x="2273207" y="315171"/>
                  </a:lnTo>
                  <a:lnTo>
                    <a:pt x="2273673" y="315231"/>
                  </a:lnTo>
                  <a:lnTo>
                    <a:pt x="2274356" y="316417"/>
                  </a:lnTo>
                  <a:lnTo>
                    <a:pt x="2274925" y="316415"/>
                  </a:lnTo>
                  <a:lnTo>
                    <a:pt x="2275479" y="315975"/>
                  </a:lnTo>
                  <a:lnTo>
                    <a:pt x="2275799" y="315325"/>
                  </a:lnTo>
                  <a:lnTo>
                    <a:pt x="2276136" y="313666"/>
                  </a:lnTo>
                  <a:lnTo>
                    <a:pt x="2279077" y="314376"/>
                  </a:lnTo>
                  <a:lnTo>
                    <a:pt x="2279044" y="313711"/>
                  </a:lnTo>
                  <a:lnTo>
                    <a:pt x="2276611" y="312348"/>
                  </a:lnTo>
                  <a:lnTo>
                    <a:pt x="2277161" y="311271"/>
                  </a:lnTo>
                  <a:lnTo>
                    <a:pt x="2279439" y="312219"/>
                  </a:lnTo>
                  <a:lnTo>
                    <a:pt x="2278309" y="310605"/>
                  </a:lnTo>
                  <a:lnTo>
                    <a:pt x="2274849" y="310153"/>
                  </a:lnTo>
                  <a:lnTo>
                    <a:pt x="2274644" y="309929"/>
                  </a:lnTo>
                  <a:lnTo>
                    <a:pt x="2274213" y="308935"/>
                  </a:lnTo>
                  <a:lnTo>
                    <a:pt x="2273649" y="308502"/>
                  </a:lnTo>
                  <a:lnTo>
                    <a:pt x="2272988" y="307513"/>
                  </a:lnTo>
                  <a:lnTo>
                    <a:pt x="2271703" y="306574"/>
                  </a:lnTo>
                  <a:lnTo>
                    <a:pt x="2271404" y="305876"/>
                  </a:lnTo>
                  <a:lnTo>
                    <a:pt x="2271691" y="305132"/>
                  </a:lnTo>
                  <a:lnTo>
                    <a:pt x="2272302" y="303902"/>
                  </a:lnTo>
                  <a:lnTo>
                    <a:pt x="2274927" y="306471"/>
                  </a:lnTo>
                  <a:lnTo>
                    <a:pt x="2280564" y="305474"/>
                  </a:lnTo>
                  <a:lnTo>
                    <a:pt x="2286449" y="308919"/>
                  </a:lnTo>
                  <a:lnTo>
                    <a:pt x="2286402" y="308124"/>
                  </a:lnTo>
                  <a:lnTo>
                    <a:pt x="2286231" y="307975"/>
                  </a:lnTo>
                  <a:lnTo>
                    <a:pt x="2286119" y="307722"/>
                  </a:lnTo>
                  <a:lnTo>
                    <a:pt x="2285851" y="306683"/>
                  </a:lnTo>
                  <a:lnTo>
                    <a:pt x="2289389" y="306959"/>
                  </a:lnTo>
                  <a:lnTo>
                    <a:pt x="2292010" y="305600"/>
                  </a:lnTo>
                  <a:lnTo>
                    <a:pt x="2291756" y="305375"/>
                  </a:lnTo>
                  <a:lnTo>
                    <a:pt x="2291625" y="305136"/>
                  </a:lnTo>
                  <a:lnTo>
                    <a:pt x="2291492" y="304828"/>
                  </a:lnTo>
                  <a:lnTo>
                    <a:pt x="2291718" y="304324"/>
                  </a:lnTo>
                  <a:lnTo>
                    <a:pt x="2292212" y="303821"/>
                  </a:lnTo>
                  <a:lnTo>
                    <a:pt x="2292450" y="303367"/>
                  </a:lnTo>
                  <a:lnTo>
                    <a:pt x="2292157" y="302384"/>
                  </a:lnTo>
                  <a:lnTo>
                    <a:pt x="2291867" y="301910"/>
                  </a:lnTo>
                  <a:lnTo>
                    <a:pt x="2291584" y="301786"/>
                  </a:lnTo>
                  <a:lnTo>
                    <a:pt x="2291306" y="301890"/>
                  </a:lnTo>
                  <a:lnTo>
                    <a:pt x="2291611" y="300512"/>
                  </a:lnTo>
                  <a:lnTo>
                    <a:pt x="2292187" y="300008"/>
                  </a:lnTo>
                  <a:lnTo>
                    <a:pt x="2292553" y="299249"/>
                  </a:lnTo>
                  <a:lnTo>
                    <a:pt x="2292224" y="297084"/>
                  </a:lnTo>
                  <a:lnTo>
                    <a:pt x="2291564" y="295565"/>
                  </a:lnTo>
                  <a:lnTo>
                    <a:pt x="2290331" y="295690"/>
                  </a:lnTo>
                  <a:lnTo>
                    <a:pt x="2289680" y="294692"/>
                  </a:lnTo>
                  <a:lnTo>
                    <a:pt x="2290037" y="293408"/>
                  </a:lnTo>
                  <a:lnTo>
                    <a:pt x="2290172" y="293124"/>
                  </a:lnTo>
                  <a:lnTo>
                    <a:pt x="2284014" y="292437"/>
                  </a:lnTo>
                  <a:lnTo>
                    <a:pt x="2280781" y="294429"/>
                  </a:lnTo>
                  <a:lnTo>
                    <a:pt x="2278338" y="294283"/>
                  </a:lnTo>
                  <a:lnTo>
                    <a:pt x="2274121" y="292999"/>
                  </a:lnTo>
                  <a:lnTo>
                    <a:pt x="2271203" y="290897"/>
                  </a:lnTo>
                  <a:lnTo>
                    <a:pt x="2270077" y="289018"/>
                  </a:lnTo>
                  <a:lnTo>
                    <a:pt x="2270257" y="286938"/>
                  </a:lnTo>
                  <a:lnTo>
                    <a:pt x="2270530" y="285638"/>
                  </a:lnTo>
                  <a:lnTo>
                    <a:pt x="2272226" y="282388"/>
                  </a:lnTo>
                  <a:lnTo>
                    <a:pt x="2272287" y="281653"/>
                  </a:lnTo>
                  <a:lnTo>
                    <a:pt x="2272091" y="280895"/>
                  </a:lnTo>
                  <a:lnTo>
                    <a:pt x="2271815" y="280301"/>
                  </a:lnTo>
                  <a:lnTo>
                    <a:pt x="2271631" y="280068"/>
                  </a:lnTo>
                  <a:lnTo>
                    <a:pt x="2272167" y="278262"/>
                  </a:lnTo>
                  <a:lnTo>
                    <a:pt x="2273040" y="277595"/>
                  </a:lnTo>
                  <a:lnTo>
                    <a:pt x="2277402" y="278272"/>
                  </a:lnTo>
                  <a:lnTo>
                    <a:pt x="2281893" y="280115"/>
                  </a:lnTo>
                  <a:lnTo>
                    <a:pt x="2283173" y="282469"/>
                  </a:lnTo>
                  <a:lnTo>
                    <a:pt x="2283810" y="283173"/>
                  </a:lnTo>
                  <a:lnTo>
                    <a:pt x="2283738" y="283913"/>
                  </a:lnTo>
                  <a:lnTo>
                    <a:pt x="2283934" y="283363"/>
                  </a:lnTo>
                  <a:lnTo>
                    <a:pt x="2284390" y="282537"/>
                  </a:lnTo>
                  <a:lnTo>
                    <a:pt x="2284621" y="282393"/>
                  </a:lnTo>
                  <a:lnTo>
                    <a:pt x="2284799" y="282028"/>
                  </a:lnTo>
                  <a:lnTo>
                    <a:pt x="2284907" y="281246"/>
                  </a:lnTo>
                  <a:lnTo>
                    <a:pt x="2284896" y="280457"/>
                  </a:lnTo>
                  <a:lnTo>
                    <a:pt x="2284717" y="280112"/>
                  </a:lnTo>
                  <a:lnTo>
                    <a:pt x="2284378" y="279739"/>
                  </a:lnTo>
                  <a:lnTo>
                    <a:pt x="2283990" y="278734"/>
                  </a:lnTo>
                  <a:lnTo>
                    <a:pt x="2283607" y="277342"/>
                  </a:lnTo>
                  <a:lnTo>
                    <a:pt x="2283275" y="275772"/>
                  </a:lnTo>
                  <a:lnTo>
                    <a:pt x="2283551" y="275118"/>
                  </a:lnTo>
                  <a:close/>
                  <a:moveTo>
                    <a:pt x="2666740" y="0"/>
                  </a:moveTo>
                  <a:lnTo>
                    <a:pt x="2667707" y="496"/>
                  </a:lnTo>
                  <a:lnTo>
                    <a:pt x="2668906" y="1633"/>
                  </a:lnTo>
                  <a:lnTo>
                    <a:pt x="2669263" y="2397"/>
                  </a:lnTo>
                  <a:lnTo>
                    <a:pt x="2669740" y="3185"/>
                  </a:lnTo>
                  <a:lnTo>
                    <a:pt x="2670311" y="3968"/>
                  </a:lnTo>
                  <a:lnTo>
                    <a:pt x="2670927" y="4683"/>
                  </a:lnTo>
                  <a:lnTo>
                    <a:pt x="2671417" y="6751"/>
                  </a:lnTo>
                  <a:lnTo>
                    <a:pt x="2671382" y="8101"/>
                  </a:lnTo>
                  <a:lnTo>
                    <a:pt x="2668245" y="12465"/>
                  </a:lnTo>
                  <a:lnTo>
                    <a:pt x="2670866" y="11378"/>
                  </a:lnTo>
                  <a:lnTo>
                    <a:pt x="2672667" y="12236"/>
                  </a:lnTo>
                  <a:lnTo>
                    <a:pt x="2673201" y="12078"/>
                  </a:lnTo>
                  <a:lnTo>
                    <a:pt x="2673414" y="12540"/>
                  </a:lnTo>
                  <a:lnTo>
                    <a:pt x="2673964" y="13622"/>
                  </a:lnTo>
                  <a:lnTo>
                    <a:pt x="2674186" y="14093"/>
                  </a:lnTo>
                  <a:lnTo>
                    <a:pt x="2674711" y="14397"/>
                  </a:lnTo>
                  <a:lnTo>
                    <a:pt x="2675086" y="13546"/>
                  </a:lnTo>
                  <a:lnTo>
                    <a:pt x="2675422" y="13581"/>
                  </a:lnTo>
                  <a:lnTo>
                    <a:pt x="2676382" y="14221"/>
                  </a:lnTo>
                  <a:lnTo>
                    <a:pt x="2678111" y="14043"/>
                  </a:lnTo>
                  <a:lnTo>
                    <a:pt x="2680154" y="14803"/>
                  </a:lnTo>
                  <a:lnTo>
                    <a:pt x="2680802" y="16600"/>
                  </a:lnTo>
                  <a:lnTo>
                    <a:pt x="2680675" y="17411"/>
                  </a:lnTo>
                  <a:lnTo>
                    <a:pt x="2679630" y="17832"/>
                  </a:lnTo>
                  <a:lnTo>
                    <a:pt x="2680569" y="18993"/>
                  </a:lnTo>
                  <a:lnTo>
                    <a:pt x="2686560" y="17644"/>
                  </a:lnTo>
                  <a:lnTo>
                    <a:pt x="2688353" y="19444"/>
                  </a:lnTo>
                  <a:lnTo>
                    <a:pt x="2688034" y="19768"/>
                  </a:lnTo>
                  <a:lnTo>
                    <a:pt x="2687921" y="20635"/>
                  </a:lnTo>
                  <a:lnTo>
                    <a:pt x="2688123" y="21923"/>
                  </a:lnTo>
                  <a:lnTo>
                    <a:pt x="2688737" y="23499"/>
                  </a:lnTo>
                  <a:lnTo>
                    <a:pt x="2689156" y="24157"/>
                  </a:lnTo>
                  <a:lnTo>
                    <a:pt x="2689622" y="24750"/>
                  </a:lnTo>
                  <a:lnTo>
                    <a:pt x="2690101" y="25439"/>
                  </a:lnTo>
                  <a:lnTo>
                    <a:pt x="2690934" y="27219"/>
                  </a:lnTo>
                  <a:lnTo>
                    <a:pt x="2691371" y="28059"/>
                  </a:lnTo>
                  <a:lnTo>
                    <a:pt x="2691612" y="28692"/>
                  </a:lnTo>
                  <a:lnTo>
                    <a:pt x="2691416" y="28922"/>
                  </a:lnTo>
                  <a:lnTo>
                    <a:pt x="2691792" y="29487"/>
                  </a:lnTo>
                  <a:lnTo>
                    <a:pt x="2692125" y="29282"/>
                  </a:lnTo>
                  <a:lnTo>
                    <a:pt x="2692576" y="29957"/>
                  </a:lnTo>
                  <a:lnTo>
                    <a:pt x="2690389" y="32254"/>
                  </a:lnTo>
                  <a:lnTo>
                    <a:pt x="2690278" y="33059"/>
                  </a:lnTo>
                  <a:lnTo>
                    <a:pt x="2690804" y="34541"/>
                  </a:lnTo>
                  <a:lnTo>
                    <a:pt x="2693993" y="30573"/>
                  </a:lnTo>
                  <a:lnTo>
                    <a:pt x="2693838" y="29178"/>
                  </a:lnTo>
                  <a:lnTo>
                    <a:pt x="2692288" y="24612"/>
                  </a:lnTo>
                  <a:lnTo>
                    <a:pt x="2692344" y="23893"/>
                  </a:lnTo>
                  <a:lnTo>
                    <a:pt x="2692608" y="23551"/>
                  </a:lnTo>
                  <a:lnTo>
                    <a:pt x="2692793" y="23613"/>
                  </a:lnTo>
                  <a:lnTo>
                    <a:pt x="2693106" y="23951"/>
                  </a:lnTo>
                  <a:lnTo>
                    <a:pt x="2693874" y="25004"/>
                  </a:lnTo>
                  <a:lnTo>
                    <a:pt x="2694200" y="25365"/>
                  </a:lnTo>
                  <a:lnTo>
                    <a:pt x="2694844" y="25763"/>
                  </a:lnTo>
                  <a:lnTo>
                    <a:pt x="2695751" y="25354"/>
                  </a:lnTo>
                  <a:lnTo>
                    <a:pt x="2695169" y="24666"/>
                  </a:lnTo>
                  <a:lnTo>
                    <a:pt x="2694708" y="24190"/>
                  </a:lnTo>
                  <a:lnTo>
                    <a:pt x="2694333" y="23875"/>
                  </a:lnTo>
                  <a:lnTo>
                    <a:pt x="2694035" y="23717"/>
                  </a:lnTo>
                  <a:lnTo>
                    <a:pt x="2693514" y="22311"/>
                  </a:lnTo>
                  <a:lnTo>
                    <a:pt x="2696711" y="19887"/>
                  </a:lnTo>
                  <a:lnTo>
                    <a:pt x="2699893" y="17451"/>
                  </a:lnTo>
                  <a:lnTo>
                    <a:pt x="2700280" y="18010"/>
                  </a:lnTo>
                  <a:lnTo>
                    <a:pt x="2698914" y="19191"/>
                  </a:lnTo>
                  <a:lnTo>
                    <a:pt x="2699243" y="20437"/>
                  </a:lnTo>
                  <a:lnTo>
                    <a:pt x="2699778" y="21059"/>
                  </a:lnTo>
                  <a:lnTo>
                    <a:pt x="2699929" y="21510"/>
                  </a:lnTo>
                  <a:lnTo>
                    <a:pt x="2700140" y="21991"/>
                  </a:lnTo>
                  <a:lnTo>
                    <a:pt x="2700721" y="23105"/>
                  </a:lnTo>
                  <a:lnTo>
                    <a:pt x="2701391" y="21690"/>
                  </a:lnTo>
                  <a:lnTo>
                    <a:pt x="2700844" y="20381"/>
                  </a:lnTo>
                  <a:lnTo>
                    <a:pt x="2700675" y="20295"/>
                  </a:lnTo>
                  <a:lnTo>
                    <a:pt x="2700138" y="19869"/>
                  </a:lnTo>
                  <a:lnTo>
                    <a:pt x="2702035" y="18657"/>
                  </a:lnTo>
                  <a:lnTo>
                    <a:pt x="2702240" y="19016"/>
                  </a:lnTo>
                  <a:lnTo>
                    <a:pt x="2702801" y="19933"/>
                  </a:lnTo>
                  <a:lnTo>
                    <a:pt x="2706191" y="18235"/>
                  </a:lnTo>
                  <a:lnTo>
                    <a:pt x="2709575" y="16522"/>
                  </a:lnTo>
                  <a:lnTo>
                    <a:pt x="2709916" y="16792"/>
                  </a:lnTo>
                  <a:lnTo>
                    <a:pt x="2714860" y="18107"/>
                  </a:lnTo>
                  <a:lnTo>
                    <a:pt x="2721621" y="22518"/>
                  </a:lnTo>
                  <a:lnTo>
                    <a:pt x="2723328" y="24121"/>
                  </a:lnTo>
                  <a:lnTo>
                    <a:pt x="2725501" y="26645"/>
                  </a:lnTo>
                  <a:lnTo>
                    <a:pt x="2727025" y="28785"/>
                  </a:lnTo>
                  <a:lnTo>
                    <a:pt x="2728583" y="31275"/>
                  </a:lnTo>
                  <a:lnTo>
                    <a:pt x="2729732" y="33375"/>
                  </a:lnTo>
                  <a:lnTo>
                    <a:pt x="2730046" y="34361"/>
                  </a:lnTo>
                  <a:lnTo>
                    <a:pt x="2730010" y="34817"/>
                  </a:lnTo>
                  <a:lnTo>
                    <a:pt x="2731233" y="40387"/>
                  </a:lnTo>
                  <a:lnTo>
                    <a:pt x="2728594" y="45884"/>
                  </a:lnTo>
                  <a:lnTo>
                    <a:pt x="2725905" y="51376"/>
                  </a:lnTo>
                  <a:lnTo>
                    <a:pt x="2727010" y="51965"/>
                  </a:lnTo>
                  <a:lnTo>
                    <a:pt x="2728361" y="51761"/>
                  </a:lnTo>
                  <a:lnTo>
                    <a:pt x="2729554" y="52487"/>
                  </a:lnTo>
                  <a:lnTo>
                    <a:pt x="2729973" y="54150"/>
                  </a:lnTo>
                  <a:lnTo>
                    <a:pt x="2729550" y="55874"/>
                  </a:lnTo>
                  <a:lnTo>
                    <a:pt x="2730170" y="58978"/>
                  </a:lnTo>
                  <a:lnTo>
                    <a:pt x="2730219" y="63618"/>
                  </a:lnTo>
                  <a:lnTo>
                    <a:pt x="2728996" y="65388"/>
                  </a:lnTo>
                  <a:lnTo>
                    <a:pt x="2727477" y="65454"/>
                  </a:lnTo>
                  <a:lnTo>
                    <a:pt x="2727387" y="65915"/>
                  </a:lnTo>
                  <a:lnTo>
                    <a:pt x="2727630" y="66659"/>
                  </a:lnTo>
                  <a:lnTo>
                    <a:pt x="2728053" y="67274"/>
                  </a:lnTo>
                  <a:lnTo>
                    <a:pt x="2728516" y="67365"/>
                  </a:lnTo>
                  <a:lnTo>
                    <a:pt x="2729170" y="68994"/>
                  </a:lnTo>
                  <a:lnTo>
                    <a:pt x="2727994" y="74463"/>
                  </a:lnTo>
                  <a:lnTo>
                    <a:pt x="2726777" y="79936"/>
                  </a:lnTo>
                  <a:lnTo>
                    <a:pt x="2726867" y="79881"/>
                  </a:lnTo>
                  <a:lnTo>
                    <a:pt x="2725969" y="80716"/>
                  </a:lnTo>
                  <a:lnTo>
                    <a:pt x="2724070" y="89071"/>
                  </a:lnTo>
                  <a:lnTo>
                    <a:pt x="2722074" y="97436"/>
                  </a:lnTo>
                  <a:lnTo>
                    <a:pt x="2719096" y="98638"/>
                  </a:lnTo>
                  <a:lnTo>
                    <a:pt x="2715273" y="97353"/>
                  </a:lnTo>
                  <a:lnTo>
                    <a:pt x="2714752" y="97690"/>
                  </a:lnTo>
                  <a:lnTo>
                    <a:pt x="2715656" y="98599"/>
                  </a:lnTo>
                  <a:lnTo>
                    <a:pt x="2721107" y="101715"/>
                  </a:lnTo>
                  <a:lnTo>
                    <a:pt x="2721717" y="103410"/>
                  </a:lnTo>
                  <a:lnTo>
                    <a:pt x="2721656" y="104492"/>
                  </a:lnTo>
                  <a:lnTo>
                    <a:pt x="2720481" y="106009"/>
                  </a:lnTo>
                  <a:lnTo>
                    <a:pt x="2720310" y="107816"/>
                  </a:lnTo>
                  <a:lnTo>
                    <a:pt x="2714418" y="110481"/>
                  </a:lnTo>
                  <a:lnTo>
                    <a:pt x="2711750" y="109178"/>
                  </a:lnTo>
                  <a:lnTo>
                    <a:pt x="2710945" y="109099"/>
                  </a:lnTo>
                  <a:lnTo>
                    <a:pt x="2709768" y="110892"/>
                  </a:lnTo>
                  <a:lnTo>
                    <a:pt x="2704511" y="112166"/>
                  </a:lnTo>
                  <a:lnTo>
                    <a:pt x="2704814" y="112361"/>
                  </a:lnTo>
                  <a:lnTo>
                    <a:pt x="2705188" y="112704"/>
                  </a:lnTo>
                  <a:lnTo>
                    <a:pt x="2705649" y="113218"/>
                  </a:lnTo>
                  <a:lnTo>
                    <a:pt x="2706175" y="113867"/>
                  </a:lnTo>
                  <a:lnTo>
                    <a:pt x="2706305" y="114694"/>
                  </a:lnTo>
                  <a:lnTo>
                    <a:pt x="2702730" y="119192"/>
                  </a:lnTo>
                  <a:lnTo>
                    <a:pt x="2699117" y="123677"/>
                  </a:lnTo>
                  <a:lnTo>
                    <a:pt x="2700319" y="124437"/>
                  </a:lnTo>
                  <a:lnTo>
                    <a:pt x="2701577" y="122320"/>
                  </a:lnTo>
                  <a:lnTo>
                    <a:pt x="2704605" y="122418"/>
                  </a:lnTo>
                  <a:lnTo>
                    <a:pt x="2708851" y="118254"/>
                  </a:lnTo>
                  <a:lnTo>
                    <a:pt x="2709181" y="119803"/>
                  </a:lnTo>
                  <a:lnTo>
                    <a:pt x="2705475" y="128517"/>
                  </a:lnTo>
                  <a:lnTo>
                    <a:pt x="2703778" y="127902"/>
                  </a:lnTo>
                  <a:lnTo>
                    <a:pt x="2702765" y="126700"/>
                  </a:lnTo>
                  <a:lnTo>
                    <a:pt x="2701994" y="127069"/>
                  </a:lnTo>
                  <a:lnTo>
                    <a:pt x="2701361" y="130705"/>
                  </a:lnTo>
                  <a:lnTo>
                    <a:pt x="2698432" y="133233"/>
                  </a:lnTo>
                  <a:lnTo>
                    <a:pt x="2694997" y="134774"/>
                  </a:lnTo>
                  <a:lnTo>
                    <a:pt x="2689338" y="139245"/>
                  </a:lnTo>
                  <a:lnTo>
                    <a:pt x="2685563" y="142307"/>
                  </a:lnTo>
                  <a:lnTo>
                    <a:pt x="2681768" y="145354"/>
                  </a:lnTo>
                  <a:lnTo>
                    <a:pt x="2678711" y="148759"/>
                  </a:lnTo>
                  <a:lnTo>
                    <a:pt x="2675632" y="152155"/>
                  </a:lnTo>
                  <a:lnTo>
                    <a:pt x="2667674" y="149713"/>
                  </a:lnTo>
                  <a:lnTo>
                    <a:pt x="2659764" y="147209"/>
                  </a:lnTo>
                  <a:lnTo>
                    <a:pt x="2651901" y="144644"/>
                  </a:lnTo>
                  <a:lnTo>
                    <a:pt x="2653785" y="146312"/>
                  </a:lnTo>
                  <a:lnTo>
                    <a:pt x="2663319" y="149749"/>
                  </a:lnTo>
                  <a:lnTo>
                    <a:pt x="2672925" y="153096"/>
                  </a:lnTo>
                  <a:lnTo>
                    <a:pt x="2674626" y="155124"/>
                  </a:lnTo>
                  <a:lnTo>
                    <a:pt x="2667038" y="157982"/>
                  </a:lnTo>
                  <a:lnTo>
                    <a:pt x="2667415" y="158694"/>
                  </a:lnTo>
                  <a:lnTo>
                    <a:pt x="2672771" y="159308"/>
                  </a:lnTo>
                  <a:lnTo>
                    <a:pt x="2678128" y="154389"/>
                  </a:lnTo>
                  <a:lnTo>
                    <a:pt x="2683433" y="149438"/>
                  </a:lnTo>
                  <a:lnTo>
                    <a:pt x="2688685" y="144457"/>
                  </a:lnTo>
                  <a:lnTo>
                    <a:pt x="2694097" y="144077"/>
                  </a:lnTo>
                  <a:lnTo>
                    <a:pt x="2699517" y="143666"/>
                  </a:lnTo>
                  <a:lnTo>
                    <a:pt x="2701055" y="144695"/>
                  </a:lnTo>
                  <a:lnTo>
                    <a:pt x="2701297" y="146585"/>
                  </a:lnTo>
                  <a:lnTo>
                    <a:pt x="2698400" y="151114"/>
                  </a:lnTo>
                  <a:lnTo>
                    <a:pt x="2696671" y="153479"/>
                  </a:lnTo>
                  <a:lnTo>
                    <a:pt x="2695360" y="156791"/>
                  </a:lnTo>
                  <a:lnTo>
                    <a:pt x="2691690" y="162929"/>
                  </a:lnTo>
                  <a:lnTo>
                    <a:pt x="2687958" y="169055"/>
                  </a:lnTo>
                  <a:lnTo>
                    <a:pt x="2687669" y="171963"/>
                  </a:lnTo>
                  <a:lnTo>
                    <a:pt x="2686368" y="173361"/>
                  </a:lnTo>
                  <a:lnTo>
                    <a:pt x="2685345" y="177913"/>
                  </a:lnTo>
                  <a:lnTo>
                    <a:pt x="2683763" y="179672"/>
                  </a:lnTo>
                  <a:lnTo>
                    <a:pt x="2683864" y="179622"/>
                  </a:lnTo>
                  <a:lnTo>
                    <a:pt x="2683551" y="180908"/>
                  </a:lnTo>
                  <a:lnTo>
                    <a:pt x="2681992" y="181924"/>
                  </a:lnTo>
                  <a:lnTo>
                    <a:pt x="2681562" y="184046"/>
                  </a:lnTo>
                  <a:lnTo>
                    <a:pt x="2680491" y="184256"/>
                  </a:lnTo>
                  <a:lnTo>
                    <a:pt x="2680210" y="185723"/>
                  </a:lnTo>
                  <a:lnTo>
                    <a:pt x="2679248" y="186919"/>
                  </a:lnTo>
                  <a:lnTo>
                    <a:pt x="2672438" y="188401"/>
                  </a:lnTo>
                  <a:lnTo>
                    <a:pt x="2672457" y="190189"/>
                  </a:lnTo>
                  <a:lnTo>
                    <a:pt x="2673517" y="190899"/>
                  </a:lnTo>
                  <a:lnTo>
                    <a:pt x="2674782" y="190279"/>
                  </a:lnTo>
                  <a:lnTo>
                    <a:pt x="2675825" y="190970"/>
                  </a:lnTo>
                  <a:lnTo>
                    <a:pt x="2675122" y="191483"/>
                  </a:lnTo>
                  <a:lnTo>
                    <a:pt x="2673327" y="195778"/>
                  </a:lnTo>
                  <a:lnTo>
                    <a:pt x="2671507" y="196626"/>
                  </a:lnTo>
                  <a:lnTo>
                    <a:pt x="2669286" y="200531"/>
                  </a:lnTo>
                  <a:lnTo>
                    <a:pt x="2665349" y="201701"/>
                  </a:lnTo>
                  <a:lnTo>
                    <a:pt x="2665282" y="203387"/>
                  </a:lnTo>
                  <a:lnTo>
                    <a:pt x="2668318" y="204114"/>
                  </a:lnTo>
                  <a:lnTo>
                    <a:pt x="2674046" y="199288"/>
                  </a:lnTo>
                  <a:lnTo>
                    <a:pt x="2674086" y="200247"/>
                  </a:lnTo>
                  <a:lnTo>
                    <a:pt x="2673410" y="201843"/>
                  </a:lnTo>
                  <a:lnTo>
                    <a:pt x="2673208" y="204327"/>
                  </a:lnTo>
                  <a:lnTo>
                    <a:pt x="2671647" y="208064"/>
                  </a:lnTo>
                  <a:lnTo>
                    <a:pt x="2671832" y="209202"/>
                  </a:lnTo>
                  <a:lnTo>
                    <a:pt x="2676160" y="203243"/>
                  </a:lnTo>
                  <a:lnTo>
                    <a:pt x="2675874" y="199062"/>
                  </a:lnTo>
                  <a:lnTo>
                    <a:pt x="2676153" y="197695"/>
                  </a:lnTo>
                  <a:lnTo>
                    <a:pt x="2680895" y="191428"/>
                  </a:lnTo>
                  <a:lnTo>
                    <a:pt x="2685566" y="185140"/>
                  </a:lnTo>
                  <a:lnTo>
                    <a:pt x="2690165" y="178832"/>
                  </a:lnTo>
                  <a:lnTo>
                    <a:pt x="2694694" y="172504"/>
                  </a:lnTo>
                  <a:lnTo>
                    <a:pt x="2694578" y="172030"/>
                  </a:lnTo>
                  <a:lnTo>
                    <a:pt x="2697377" y="167278"/>
                  </a:lnTo>
                  <a:lnTo>
                    <a:pt x="2700138" y="162519"/>
                  </a:lnTo>
                  <a:lnTo>
                    <a:pt x="2704280" y="157723"/>
                  </a:lnTo>
                  <a:lnTo>
                    <a:pt x="2707386" y="153006"/>
                  </a:lnTo>
                  <a:lnTo>
                    <a:pt x="2710454" y="148280"/>
                  </a:lnTo>
                  <a:lnTo>
                    <a:pt x="2713163" y="144597"/>
                  </a:lnTo>
                  <a:lnTo>
                    <a:pt x="2714690" y="140091"/>
                  </a:lnTo>
                  <a:lnTo>
                    <a:pt x="2720575" y="134581"/>
                  </a:lnTo>
                  <a:lnTo>
                    <a:pt x="2723593" y="129901"/>
                  </a:lnTo>
                  <a:lnTo>
                    <a:pt x="2728087" y="125311"/>
                  </a:lnTo>
                  <a:lnTo>
                    <a:pt x="2728502" y="125511"/>
                  </a:lnTo>
                  <a:lnTo>
                    <a:pt x="2729133" y="126206"/>
                  </a:lnTo>
                  <a:lnTo>
                    <a:pt x="2729854" y="127064"/>
                  </a:lnTo>
                  <a:lnTo>
                    <a:pt x="2730559" y="127782"/>
                  </a:lnTo>
                  <a:lnTo>
                    <a:pt x="2731838" y="128730"/>
                  </a:lnTo>
                  <a:lnTo>
                    <a:pt x="2732581" y="129462"/>
                  </a:lnTo>
                  <a:lnTo>
                    <a:pt x="2733617" y="130772"/>
                  </a:lnTo>
                  <a:lnTo>
                    <a:pt x="2734074" y="131893"/>
                  </a:lnTo>
                  <a:lnTo>
                    <a:pt x="2734335" y="132891"/>
                  </a:lnTo>
                  <a:lnTo>
                    <a:pt x="2735272" y="141247"/>
                  </a:lnTo>
                  <a:lnTo>
                    <a:pt x="2732565" y="150087"/>
                  </a:lnTo>
                  <a:lnTo>
                    <a:pt x="2732082" y="158289"/>
                  </a:lnTo>
                  <a:lnTo>
                    <a:pt x="2730522" y="161375"/>
                  </a:lnTo>
                  <a:lnTo>
                    <a:pt x="2728861" y="161647"/>
                  </a:lnTo>
                  <a:lnTo>
                    <a:pt x="2727482" y="165834"/>
                  </a:lnTo>
                  <a:lnTo>
                    <a:pt x="2725842" y="166905"/>
                  </a:lnTo>
                  <a:lnTo>
                    <a:pt x="2725829" y="170733"/>
                  </a:lnTo>
                  <a:lnTo>
                    <a:pt x="2724818" y="173683"/>
                  </a:lnTo>
                  <a:lnTo>
                    <a:pt x="2725307" y="175335"/>
                  </a:lnTo>
                  <a:lnTo>
                    <a:pt x="2725501" y="176470"/>
                  </a:lnTo>
                  <a:lnTo>
                    <a:pt x="2724734" y="180740"/>
                  </a:lnTo>
                  <a:lnTo>
                    <a:pt x="2724970" y="181705"/>
                  </a:lnTo>
                  <a:lnTo>
                    <a:pt x="2725687" y="184001"/>
                  </a:lnTo>
                  <a:lnTo>
                    <a:pt x="2725889" y="184954"/>
                  </a:lnTo>
                  <a:lnTo>
                    <a:pt x="2726085" y="190114"/>
                  </a:lnTo>
                  <a:lnTo>
                    <a:pt x="2724504" y="194189"/>
                  </a:lnTo>
                  <a:lnTo>
                    <a:pt x="2722926" y="204023"/>
                  </a:lnTo>
                  <a:lnTo>
                    <a:pt x="2717623" y="206104"/>
                  </a:lnTo>
                  <a:lnTo>
                    <a:pt x="2717586" y="207663"/>
                  </a:lnTo>
                  <a:lnTo>
                    <a:pt x="2718405" y="208526"/>
                  </a:lnTo>
                  <a:lnTo>
                    <a:pt x="2720584" y="210372"/>
                  </a:lnTo>
                  <a:lnTo>
                    <a:pt x="2720865" y="212071"/>
                  </a:lnTo>
                  <a:lnTo>
                    <a:pt x="2720919" y="213563"/>
                  </a:lnTo>
                  <a:lnTo>
                    <a:pt x="2720426" y="215475"/>
                  </a:lnTo>
                  <a:lnTo>
                    <a:pt x="2718863" y="216126"/>
                  </a:lnTo>
                  <a:lnTo>
                    <a:pt x="2718319" y="217005"/>
                  </a:lnTo>
                  <a:lnTo>
                    <a:pt x="2718730" y="218839"/>
                  </a:lnTo>
                  <a:lnTo>
                    <a:pt x="2719445" y="219439"/>
                  </a:lnTo>
                  <a:lnTo>
                    <a:pt x="2719624" y="220142"/>
                  </a:lnTo>
                  <a:lnTo>
                    <a:pt x="2718961" y="221643"/>
                  </a:lnTo>
                  <a:lnTo>
                    <a:pt x="2718959" y="223700"/>
                  </a:lnTo>
                  <a:lnTo>
                    <a:pt x="2716251" y="229522"/>
                  </a:lnTo>
                  <a:lnTo>
                    <a:pt x="2716293" y="234207"/>
                  </a:lnTo>
                  <a:lnTo>
                    <a:pt x="2715683" y="235786"/>
                  </a:lnTo>
                  <a:lnTo>
                    <a:pt x="2715390" y="239311"/>
                  </a:lnTo>
                  <a:lnTo>
                    <a:pt x="2714640" y="240496"/>
                  </a:lnTo>
                  <a:lnTo>
                    <a:pt x="2714607" y="244986"/>
                  </a:lnTo>
                  <a:lnTo>
                    <a:pt x="2712517" y="248637"/>
                  </a:lnTo>
                  <a:lnTo>
                    <a:pt x="2713315" y="249445"/>
                  </a:lnTo>
                  <a:lnTo>
                    <a:pt x="2713824" y="249636"/>
                  </a:lnTo>
                  <a:lnTo>
                    <a:pt x="2714490" y="249252"/>
                  </a:lnTo>
                  <a:lnTo>
                    <a:pt x="2714989" y="251565"/>
                  </a:lnTo>
                  <a:lnTo>
                    <a:pt x="2714020" y="257731"/>
                  </a:lnTo>
                  <a:lnTo>
                    <a:pt x="2714160" y="259374"/>
                  </a:lnTo>
                  <a:lnTo>
                    <a:pt x="2715029" y="262939"/>
                  </a:lnTo>
                  <a:lnTo>
                    <a:pt x="2715103" y="265084"/>
                  </a:lnTo>
                  <a:lnTo>
                    <a:pt x="2715359" y="266061"/>
                  </a:lnTo>
                  <a:lnTo>
                    <a:pt x="2715790" y="267165"/>
                  </a:lnTo>
                  <a:lnTo>
                    <a:pt x="2716262" y="268279"/>
                  </a:lnTo>
                  <a:lnTo>
                    <a:pt x="2716645" y="269288"/>
                  </a:lnTo>
                  <a:lnTo>
                    <a:pt x="2717139" y="271598"/>
                  </a:lnTo>
                  <a:lnTo>
                    <a:pt x="2717014" y="273046"/>
                  </a:lnTo>
                  <a:lnTo>
                    <a:pt x="2714280" y="279426"/>
                  </a:lnTo>
                  <a:lnTo>
                    <a:pt x="2708870" y="281793"/>
                  </a:lnTo>
                  <a:lnTo>
                    <a:pt x="2703448" y="284131"/>
                  </a:lnTo>
                  <a:lnTo>
                    <a:pt x="2702892" y="282405"/>
                  </a:lnTo>
                  <a:lnTo>
                    <a:pt x="2702453" y="279175"/>
                  </a:lnTo>
                  <a:lnTo>
                    <a:pt x="2701977" y="277451"/>
                  </a:lnTo>
                  <a:lnTo>
                    <a:pt x="2699511" y="274520"/>
                  </a:lnTo>
                  <a:lnTo>
                    <a:pt x="2697338" y="272759"/>
                  </a:lnTo>
                  <a:lnTo>
                    <a:pt x="2685395" y="266969"/>
                  </a:lnTo>
                  <a:lnTo>
                    <a:pt x="2685060" y="267076"/>
                  </a:lnTo>
                  <a:lnTo>
                    <a:pt x="2684970" y="267582"/>
                  </a:lnTo>
                  <a:lnTo>
                    <a:pt x="2685403" y="268691"/>
                  </a:lnTo>
                  <a:lnTo>
                    <a:pt x="2685907" y="269298"/>
                  </a:lnTo>
                  <a:lnTo>
                    <a:pt x="2687134" y="270007"/>
                  </a:lnTo>
                  <a:lnTo>
                    <a:pt x="2688223" y="270070"/>
                  </a:lnTo>
                  <a:lnTo>
                    <a:pt x="2689244" y="270569"/>
                  </a:lnTo>
                  <a:lnTo>
                    <a:pt x="2692789" y="273556"/>
                  </a:lnTo>
                  <a:lnTo>
                    <a:pt x="2694567" y="274390"/>
                  </a:lnTo>
                  <a:lnTo>
                    <a:pt x="2695700" y="275434"/>
                  </a:lnTo>
                  <a:lnTo>
                    <a:pt x="2697271" y="277590"/>
                  </a:lnTo>
                  <a:lnTo>
                    <a:pt x="2697574" y="277845"/>
                  </a:lnTo>
                  <a:lnTo>
                    <a:pt x="2697964" y="277915"/>
                  </a:lnTo>
                  <a:lnTo>
                    <a:pt x="2699808" y="279265"/>
                  </a:lnTo>
                  <a:lnTo>
                    <a:pt x="2699379" y="281270"/>
                  </a:lnTo>
                  <a:lnTo>
                    <a:pt x="2699645" y="282607"/>
                  </a:lnTo>
                  <a:lnTo>
                    <a:pt x="2700130" y="283986"/>
                  </a:lnTo>
                  <a:lnTo>
                    <a:pt x="2700710" y="285282"/>
                  </a:lnTo>
                  <a:lnTo>
                    <a:pt x="2701305" y="286221"/>
                  </a:lnTo>
                  <a:lnTo>
                    <a:pt x="2701855" y="286568"/>
                  </a:lnTo>
                  <a:lnTo>
                    <a:pt x="2701741" y="286620"/>
                  </a:lnTo>
                  <a:lnTo>
                    <a:pt x="2711907" y="289025"/>
                  </a:lnTo>
                  <a:lnTo>
                    <a:pt x="2713958" y="290794"/>
                  </a:lnTo>
                  <a:lnTo>
                    <a:pt x="2714194" y="292836"/>
                  </a:lnTo>
                  <a:lnTo>
                    <a:pt x="2713416" y="294793"/>
                  </a:lnTo>
                  <a:lnTo>
                    <a:pt x="2713959" y="299105"/>
                  </a:lnTo>
                  <a:lnTo>
                    <a:pt x="2713293" y="299929"/>
                  </a:lnTo>
                  <a:lnTo>
                    <a:pt x="2708285" y="301085"/>
                  </a:lnTo>
                  <a:lnTo>
                    <a:pt x="2703276" y="302217"/>
                  </a:lnTo>
                  <a:lnTo>
                    <a:pt x="2698271" y="306976"/>
                  </a:lnTo>
                  <a:lnTo>
                    <a:pt x="2695504" y="312201"/>
                  </a:lnTo>
                  <a:lnTo>
                    <a:pt x="2694409" y="316356"/>
                  </a:lnTo>
                  <a:lnTo>
                    <a:pt x="2690533" y="318439"/>
                  </a:lnTo>
                  <a:lnTo>
                    <a:pt x="2687771" y="317210"/>
                  </a:lnTo>
                  <a:lnTo>
                    <a:pt x="2687339" y="316847"/>
                  </a:lnTo>
                  <a:lnTo>
                    <a:pt x="2685107" y="314312"/>
                  </a:lnTo>
                  <a:lnTo>
                    <a:pt x="2684185" y="313643"/>
                  </a:lnTo>
                  <a:lnTo>
                    <a:pt x="2682649" y="313097"/>
                  </a:lnTo>
                  <a:lnTo>
                    <a:pt x="2679654" y="314026"/>
                  </a:lnTo>
                  <a:lnTo>
                    <a:pt x="2675183" y="311746"/>
                  </a:lnTo>
                  <a:lnTo>
                    <a:pt x="2674476" y="312286"/>
                  </a:lnTo>
                  <a:lnTo>
                    <a:pt x="2674420" y="313995"/>
                  </a:lnTo>
                  <a:lnTo>
                    <a:pt x="2684048" y="317314"/>
                  </a:lnTo>
                  <a:lnTo>
                    <a:pt x="2686993" y="319505"/>
                  </a:lnTo>
                  <a:lnTo>
                    <a:pt x="2687702" y="319653"/>
                  </a:lnTo>
                  <a:lnTo>
                    <a:pt x="2688012" y="320328"/>
                  </a:lnTo>
                  <a:lnTo>
                    <a:pt x="2685526" y="324350"/>
                  </a:lnTo>
                  <a:lnTo>
                    <a:pt x="2680374" y="325975"/>
                  </a:lnTo>
                  <a:lnTo>
                    <a:pt x="2680678" y="326653"/>
                  </a:lnTo>
                  <a:lnTo>
                    <a:pt x="2681866" y="326156"/>
                  </a:lnTo>
                  <a:lnTo>
                    <a:pt x="2682026" y="327225"/>
                  </a:lnTo>
                  <a:lnTo>
                    <a:pt x="2682008" y="327544"/>
                  </a:lnTo>
                  <a:lnTo>
                    <a:pt x="2681890" y="327751"/>
                  </a:lnTo>
                  <a:lnTo>
                    <a:pt x="2682487" y="328383"/>
                  </a:lnTo>
                  <a:lnTo>
                    <a:pt x="2685797" y="327710"/>
                  </a:lnTo>
                  <a:lnTo>
                    <a:pt x="2691195" y="324717"/>
                  </a:lnTo>
                  <a:lnTo>
                    <a:pt x="2692910" y="322595"/>
                  </a:lnTo>
                  <a:lnTo>
                    <a:pt x="2696444" y="321758"/>
                  </a:lnTo>
                  <a:lnTo>
                    <a:pt x="2698818" y="317928"/>
                  </a:lnTo>
                  <a:lnTo>
                    <a:pt x="2702848" y="312497"/>
                  </a:lnTo>
                  <a:lnTo>
                    <a:pt x="2708022" y="307748"/>
                  </a:lnTo>
                  <a:lnTo>
                    <a:pt x="2709412" y="308848"/>
                  </a:lnTo>
                  <a:lnTo>
                    <a:pt x="2710202" y="309699"/>
                  </a:lnTo>
                  <a:lnTo>
                    <a:pt x="2711013" y="310268"/>
                  </a:lnTo>
                  <a:lnTo>
                    <a:pt x="2711717" y="310557"/>
                  </a:lnTo>
                  <a:lnTo>
                    <a:pt x="2712187" y="310561"/>
                  </a:lnTo>
                  <a:lnTo>
                    <a:pt x="2712618" y="310978"/>
                  </a:lnTo>
                  <a:lnTo>
                    <a:pt x="2713953" y="313433"/>
                  </a:lnTo>
                  <a:lnTo>
                    <a:pt x="2714609" y="314345"/>
                  </a:lnTo>
                  <a:lnTo>
                    <a:pt x="2714774" y="316505"/>
                  </a:lnTo>
                  <a:lnTo>
                    <a:pt x="2713113" y="317691"/>
                  </a:lnTo>
                  <a:lnTo>
                    <a:pt x="2713546" y="320456"/>
                  </a:lnTo>
                  <a:lnTo>
                    <a:pt x="2713989" y="321072"/>
                  </a:lnTo>
                  <a:lnTo>
                    <a:pt x="2714218" y="323002"/>
                  </a:lnTo>
                  <a:lnTo>
                    <a:pt x="2709547" y="328024"/>
                  </a:lnTo>
                  <a:lnTo>
                    <a:pt x="2704833" y="333026"/>
                  </a:lnTo>
                  <a:lnTo>
                    <a:pt x="2704659" y="334402"/>
                  </a:lnTo>
                  <a:lnTo>
                    <a:pt x="2704768" y="336168"/>
                  </a:lnTo>
                  <a:lnTo>
                    <a:pt x="2705376" y="337958"/>
                  </a:lnTo>
                  <a:lnTo>
                    <a:pt x="2706426" y="338803"/>
                  </a:lnTo>
                  <a:lnTo>
                    <a:pt x="2709499" y="334059"/>
                  </a:lnTo>
                  <a:lnTo>
                    <a:pt x="2715293" y="334318"/>
                  </a:lnTo>
                  <a:lnTo>
                    <a:pt x="2715504" y="335721"/>
                  </a:lnTo>
                  <a:lnTo>
                    <a:pt x="2715655" y="338550"/>
                  </a:lnTo>
                  <a:lnTo>
                    <a:pt x="2716156" y="340109"/>
                  </a:lnTo>
                  <a:lnTo>
                    <a:pt x="2716671" y="341991"/>
                  </a:lnTo>
                  <a:lnTo>
                    <a:pt x="2715787" y="343255"/>
                  </a:lnTo>
                  <a:lnTo>
                    <a:pt x="2716392" y="344622"/>
                  </a:lnTo>
                  <a:lnTo>
                    <a:pt x="2716045" y="346246"/>
                  </a:lnTo>
                  <a:lnTo>
                    <a:pt x="2713001" y="350730"/>
                  </a:lnTo>
                  <a:lnTo>
                    <a:pt x="2712379" y="353994"/>
                  </a:lnTo>
                  <a:lnTo>
                    <a:pt x="2705793" y="361064"/>
                  </a:lnTo>
                  <a:lnTo>
                    <a:pt x="2705164" y="363379"/>
                  </a:lnTo>
                  <a:lnTo>
                    <a:pt x="2703391" y="364605"/>
                  </a:lnTo>
                  <a:lnTo>
                    <a:pt x="2702306" y="367193"/>
                  </a:lnTo>
                  <a:lnTo>
                    <a:pt x="2698342" y="366040"/>
                  </a:lnTo>
                  <a:lnTo>
                    <a:pt x="2694386" y="368559"/>
                  </a:lnTo>
                  <a:lnTo>
                    <a:pt x="2687758" y="367689"/>
                  </a:lnTo>
                  <a:lnTo>
                    <a:pt x="2686688" y="366712"/>
                  </a:lnTo>
                  <a:lnTo>
                    <a:pt x="2685869" y="364693"/>
                  </a:lnTo>
                  <a:lnTo>
                    <a:pt x="2685138" y="363716"/>
                  </a:lnTo>
                  <a:lnTo>
                    <a:pt x="2684070" y="363067"/>
                  </a:lnTo>
                  <a:lnTo>
                    <a:pt x="2683477" y="362535"/>
                  </a:lnTo>
                  <a:lnTo>
                    <a:pt x="2682801" y="361574"/>
                  </a:lnTo>
                  <a:lnTo>
                    <a:pt x="2682170" y="360543"/>
                  </a:lnTo>
                  <a:lnTo>
                    <a:pt x="2681617" y="359770"/>
                  </a:lnTo>
                  <a:lnTo>
                    <a:pt x="2681165" y="359548"/>
                  </a:lnTo>
                  <a:lnTo>
                    <a:pt x="2680842" y="358806"/>
                  </a:lnTo>
                  <a:lnTo>
                    <a:pt x="2683044" y="358013"/>
                  </a:lnTo>
                  <a:lnTo>
                    <a:pt x="2683377" y="356975"/>
                  </a:lnTo>
                  <a:lnTo>
                    <a:pt x="2682601" y="356418"/>
                  </a:lnTo>
                  <a:lnTo>
                    <a:pt x="2677952" y="358343"/>
                  </a:lnTo>
                  <a:lnTo>
                    <a:pt x="2673803" y="358205"/>
                  </a:lnTo>
                  <a:lnTo>
                    <a:pt x="2666785" y="362873"/>
                  </a:lnTo>
                  <a:lnTo>
                    <a:pt x="2665218" y="361745"/>
                  </a:lnTo>
                  <a:lnTo>
                    <a:pt x="2665341" y="360606"/>
                  </a:lnTo>
                  <a:lnTo>
                    <a:pt x="2665759" y="360017"/>
                  </a:lnTo>
                  <a:lnTo>
                    <a:pt x="2666893" y="359568"/>
                  </a:lnTo>
                  <a:lnTo>
                    <a:pt x="2665797" y="358289"/>
                  </a:lnTo>
                  <a:lnTo>
                    <a:pt x="2656267" y="358403"/>
                  </a:lnTo>
                  <a:lnTo>
                    <a:pt x="2655375" y="361211"/>
                  </a:lnTo>
                  <a:lnTo>
                    <a:pt x="2651187" y="364195"/>
                  </a:lnTo>
                  <a:lnTo>
                    <a:pt x="2646980" y="367165"/>
                  </a:lnTo>
                  <a:lnTo>
                    <a:pt x="2648185" y="367428"/>
                  </a:lnTo>
                  <a:lnTo>
                    <a:pt x="2648875" y="367930"/>
                  </a:lnTo>
                  <a:lnTo>
                    <a:pt x="2649408" y="369356"/>
                  </a:lnTo>
                  <a:lnTo>
                    <a:pt x="2651765" y="371389"/>
                  </a:lnTo>
                  <a:lnTo>
                    <a:pt x="2652356" y="371484"/>
                  </a:lnTo>
                  <a:lnTo>
                    <a:pt x="2657580" y="367936"/>
                  </a:lnTo>
                  <a:lnTo>
                    <a:pt x="2665541" y="367690"/>
                  </a:lnTo>
                  <a:lnTo>
                    <a:pt x="2673515" y="367388"/>
                  </a:lnTo>
                  <a:lnTo>
                    <a:pt x="2675370" y="366654"/>
                  </a:lnTo>
                  <a:lnTo>
                    <a:pt x="2676528" y="364482"/>
                  </a:lnTo>
                  <a:lnTo>
                    <a:pt x="2677413" y="364975"/>
                  </a:lnTo>
                  <a:lnTo>
                    <a:pt x="2677446" y="366313"/>
                  </a:lnTo>
                  <a:lnTo>
                    <a:pt x="2677368" y="366591"/>
                  </a:lnTo>
                  <a:lnTo>
                    <a:pt x="2677799" y="367329"/>
                  </a:lnTo>
                  <a:lnTo>
                    <a:pt x="2678607" y="368433"/>
                  </a:lnTo>
                  <a:lnTo>
                    <a:pt x="2679042" y="369116"/>
                  </a:lnTo>
                  <a:lnTo>
                    <a:pt x="2679450" y="370152"/>
                  </a:lnTo>
                  <a:lnTo>
                    <a:pt x="2680118" y="370685"/>
                  </a:lnTo>
                  <a:lnTo>
                    <a:pt x="2681427" y="371290"/>
                  </a:lnTo>
                  <a:lnTo>
                    <a:pt x="2681631" y="372069"/>
                  </a:lnTo>
                  <a:lnTo>
                    <a:pt x="2682627" y="372923"/>
                  </a:lnTo>
                  <a:lnTo>
                    <a:pt x="2684349" y="373631"/>
                  </a:lnTo>
                  <a:lnTo>
                    <a:pt x="2685363" y="374638"/>
                  </a:lnTo>
                  <a:lnTo>
                    <a:pt x="2686137" y="375956"/>
                  </a:lnTo>
                  <a:lnTo>
                    <a:pt x="2686965" y="377781"/>
                  </a:lnTo>
                  <a:lnTo>
                    <a:pt x="2687588" y="379588"/>
                  </a:lnTo>
                  <a:lnTo>
                    <a:pt x="2687762" y="380877"/>
                  </a:lnTo>
                  <a:lnTo>
                    <a:pt x="2689003" y="381706"/>
                  </a:lnTo>
                  <a:lnTo>
                    <a:pt x="2689498" y="382169"/>
                  </a:lnTo>
                  <a:lnTo>
                    <a:pt x="2689841" y="382698"/>
                  </a:lnTo>
                  <a:lnTo>
                    <a:pt x="2690218" y="383480"/>
                  </a:lnTo>
                  <a:lnTo>
                    <a:pt x="2690480" y="384213"/>
                  </a:lnTo>
                  <a:lnTo>
                    <a:pt x="2690471" y="384575"/>
                  </a:lnTo>
                  <a:lnTo>
                    <a:pt x="2690370" y="384991"/>
                  </a:lnTo>
                  <a:lnTo>
                    <a:pt x="2690510" y="386589"/>
                  </a:lnTo>
                  <a:lnTo>
                    <a:pt x="2690400" y="387005"/>
                  </a:lnTo>
                  <a:lnTo>
                    <a:pt x="2690157" y="387264"/>
                  </a:lnTo>
                  <a:lnTo>
                    <a:pt x="2689139" y="390610"/>
                  </a:lnTo>
                  <a:lnTo>
                    <a:pt x="2686827" y="392615"/>
                  </a:lnTo>
                  <a:lnTo>
                    <a:pt x="2684025" y="392783"/>
                  </a:lnTo>
                  <a:lnTo>
                    <a:pt x="2681953" y="394969"/>
                  </a:lnTo>
                  <a:lnTo>
                    <a:pt x="2680157" y="393930"/>
                  </a:lnTo>
                  <a:lnTo>
                    <a:pt x="2676336" y="390368"/>
                  </a:lnTo>
                  <a:lnTo>
                    <a:pt x="2674822" y="389889"/>
                  </a:lnTo>
                  <a:lnTo>
                    <a:pt x="2675020" y="392272"/>
                  </a:lnTo>
                  <a:lnTo>
                    <a:pt x="2675817" y="393247"/>
                  </a:lnTo>
                  <a:lnTo>
                    <a:pt x="2676565" y="394379"/>
                  </a:lnTo>
                  <a:lnTo>
                    <a:pt x="2678268" y="397415"/>
                  </a:lnTo>
                  <a:lnTo>
                    <a:pt x="2678774" y="399076"/>
                  </a:lnTo>
                  <a:lnTo>
                    <a:pt x="2678699" y="400602"/>
                  </a:lnTo>
                  <a:lnTo>
                    <a:pt x="2678346" y="401743"/>
                  </a:lnTo>
                  <a:lnTo>
                    <a:pt x="2674046" y="404572"/>
                  </a:lnTo>
                  <a:lnTo>
                    <a:pt x="2671491" y="404173"/>
                  </a:lnTo>
                  <a:lnTo>
                    <a:pt x="2665856" y="406492"/>
                  </a:lnTo>
                  <a:lnTo>
                    <a:pt x="2663051" y="404582"/>
                  </a:lnTo>
                  <a:lnTo>
                    <a:pt x="2660220" y="404101"/>
                  </a:lnTo>
                  <a:lnTo>
                    <a:pt x="2659059" y="403051"/>
                  </a:lnTo>
                  <a:lnTo>
                    <a:pt x="2659135" y="402906"/>
                  </a:lnTo>
                  <a:lnTo>
                    <a:pt x="2659186" y="402294"/>
                  </a:lnTo>
                  <a:lnTo>
                    <a:pt x="2658315" y="401730"/>
                  </a:lnTo>
                  <a:lnTo>
                    <a:pt x="2657677" y="402186"/>
                  </a:lnTo>
                  <a:lnTo>
                    <a:pt x="2657287" y="403276"/>
                  </a:lnTo>
                  <a:lnTo>
                    <a:pt x="2657167" y="404608"/>
                  </a:lnTo>
                  <a:lnTo>
                    <a:pt x="2657704" y="405380"/>
                  </a:lnTo>
                  <a:lnTo>
                    <a:pt x="2658834" y="406141"/>
                  </a:lnTo>
                  <a:lnTo>
                    <a:pt x="2659106" y="406559"/>
                  </a:lnTo>
                  <a:lnTo>
                    <a:pt x="2659311" y="407077"/>
                  </a:lnTo>
                  <a:lnTo>
                    <a:pt x="2659490" y="407505"/>
                  </a:lnTo>
                  <a:lnTo>
                    <a:pt x="2659916" y="407729"/>
                  </a:lnTo>
                  <a:lnTo>
                    <a:pt x="2660845" y="408714"/>
                  </a:lnTo>
                  <a:lnTo>
                    <a:pt x="2662167" y="409526"/>
                  </a:lnTo>
                  <a:lnTo>
                    <a:pt x="2662722" y="410069"/>
                  </a:lnTo>
                  <a:lnTo>
                    <a:pt x="2663381" y="410857"/>
                  </a:lnTo>
                  <a:lnTo>
                    <a:pt x="2663611" y="411308"/>
                  </a:lnTo>
                  <a:lnTo>
                    <a:pt x="2663691" y="412480"/>
                  </a:lnTo>
                  <a:lnTo>
                    <a:pt x="2663630" y="415355"/>
                  </a:lnTo>
                  <a:lnTo>
                    <a:pt x="2662663" y="416558"/>
                  </a:lnTo>
                  <a:lnTo>
                    <a:pt x="2652562" y="417579"/>
                  </a:lnTo>
                  <a:lnTo>
                    <a:pt x="2649589" y="416020"/>
                  </a:lnTo>
                  <a:lnTo>
                    <a:pt x="2648668" y="415083"/>
                  </a:lnTo>
                  <a:lnTo>
                    <a:pt x="2648013" y="414852"/>
                  </a:lnTo>
                  <a:lnTo>
                    <a:pt x="2648055" y="416496"/>
                  </a:lnTo>
                  <a:lnTo>
                    <a:pt x="2648461" y="417139"/>
                  </a:lnTo>
                  <a:lnTo>
                    <a:pt x="2647250" y="417414"/>
                  </a:lnTo>
                  <a:lnTo>
                    <a:pt x="2646431" y="417043"/>
                  </a:lnTo>
                  <a:lnTo>
                    <a:pt x="2645609" y="415859"/>
                  </a:lnTo>
                  <a:lnTo>
                    <a:pt x="2645442" y="415093"/>
                  </a:lnTo>
                  <a:lnTo>
                    <a:pt x="2645194" y="414544"/>
                  </a:lnTo>
                  <a:lnTo>
                    <a:pt x="2644891" y="414160"/>
                  </a:lnTo>
                  <a:lnTo>
                    <a:pt x="2644553" y="413876"/>
                  </a:lnTo>
                  <a:lnTo>
                    <a:pt x="2644074" y="413957"/>
                  </a:lnTo>
                  <a:lnTo>
                    <a:pt x="2643581" y="416783"/>
                  </a:lnTo>
                  <a:lnTo>
                    <a:pt x="2642835" y="417442"/>
                  </a:lnTo>
                  <a:lnTo>
                    <a:pt x="2641598" y="416902"/>
                  </a:lnTo>
                  <a:lnTo>
                    <a:pt x="2635888" y="412257"/>
                  </a:lnTo>
                  <a:lnTo>
                    <a:pt x="2627318" y="413558"/>
                  </a:lnTo>
                  <a:lnTo>
                    <a:pt x="2618748" y="414798"/>
                  </a:lnTo>
                  <a:lnTo>
                    <a:pt x="2618173" y="414514"/>
                  </a:lnTo>
                  <a:lnTo>
                    <a:pt x="2616706" y="412898"/>
                  </a:lnTo>
                  <a:lnTo>
                    <a:pt x="2616100" y="412624"/>
                  </a:lnTo>
                  <a:lnTo>
                    <a:pt x="2615873" y="412931"/>
                  </a:lnTo>
                  <a:lnTo>
                    <a:pt x="2615794" y="413626"/>
                  </a:lnTo>
                  <a:lnTo>
                    <a:pt x="2615866" y="414689"/>
                  </a:lnTo>
                  <a:lnTo>
                    <a:pt x="2616086" y="416097"/>
                  </a:lnTo>
                  <a:lnTo>
                    <a:pt x="2616514" y="417080"/>
                  </a:lnTo>
                  <a:lnTo>
                    <a:pt x="2617183" y="417729"/>
                  </a:lnTo>
                  <a:lnTo>
                    <a:pt x="2618198" y="418161"/>
                  </a:lnTo>
                  <a:lnTo>
                    <a:pt x="2621661" y="417016"/>
                  </a:lnTo>
                  <a:lnTo>
                    <a:pt x="2623803" y="417609"/>
                  </a:lnTo>
                  <a:lnTo>
                    <a:pt x="2625219" y="415827"/>
                  </a:lnTo>
                  <a:lnTo>
                    <a:pt x="2629324" y="416552"/>
                  </a:lnTo>
                  <a:lnTo>
                    <a:pt x="2631492" y="414990"/>
                  </a:lnTo>
                  <a:lnTo>
                    <a:pt x="2636796" y="414609"/>
                  </a:lnTo>
                  <a:lnTo>
                    <a:pt x="2638680" y="416642"/>
                  </a:lnTo>
                  <a:lnTo>
                    <a:pt x="2638141" y="418034"/>
                  </a:lnTo>
                  <a:lnTo>
                    <a:pt x="2638054" y="418806"/>
                  </a:lnTo>
                  <a:lnTo>
                    <a:pt x="2638647" y="419601"/>
                  </a:lnTo>
                  <a:lnTo>
                    <a:pt x="2639299" y="420338"/>
                  </a:lnTo>
                  <a:lnTo>
                    <a:pt x="2639878" y="421248"/>
                  </a:lnTo>
                  <a:lnTo>
                    <a:pt x="2640425" y="421993"/>
                  </a:lnTo>
                  <a:lnTo>
                    <a:pt x="2644039" y="423484"/>
                  </a:lnTo>
                  <a:lnTo>
                    <a:pt x="2646156" y="423332"/>
                  </a:lnTo>
                  <a:lnTo>
                    <a:pt x="2647073" y="424053"/>
                  </a:lnTo>
                  <a:lnTo>
                    <a:pt x="2646802" y="425281"/>
                  </a:lnTo>
                  <a:lnTo>
                    <a:pt x="2642576" y="427905"/>
                  </a:lnTo>
                  <a:lnTo>
                    <a:pt x="2640587" y="427280"/>
                  </a:lnTo>
                  <a:lnTo>
                    <a:pt x="2634709" y="428884"/>
                  </a:lnTo>
                  <a:lnTo>
                    <a:pt x="2628824" y="430460"/>
                  </a:lnTo>
                  <a:lnTo>
                    <a:pt x="2628490" y="431144"/>
                  </a:lnTo>
                  <a:lnTo>
                    <a:pt x="2628285" y="431273"/>
                  </a:lnTo>
                  <a:lnTo>
                    <a:pt x="2627927" y="431067"/>
                  </a:lnTo>
                  <a:lnTo>
                    <a:pt x="2627095" y="430269"/>
                  </a:lnTo>
                  <a:lnTo>
                    <a:pt x="2626234" y="430067"/>
                  </a:lnTo>
                  <a:lnTo>
                    <a:pt x="2622143" y="426908"/>
                  </a:lnTo>
                  <a:lnTo>
                    <a:pt x="2621464" y="425985"/>
                  </a:lnTo>
                  <a:lnTo>
                    <a:pt x="2621062" y="425146"/>
                  </a:lnTo>
                  <a:lnTo>
                    <a:pt x="2620571" y="423943"/>
                  </a:lnTo>
                  <a:lnTo>
                    <a:pt x="2619815" y="421920"/>
                  </a:lnTo>
                  <a:lnTo>
                    <a:pt x="2619155" y="420716"/>
                  </a:lnTo>
                  <a:lnTo>
                    <a:pt x="2618734" y="421008"/>
                  </a:lnTo>
                  <a:lnTo>
                    <a:pt x="2618413" y="422571"/>
                  </a:lnTo>
                  <a:lnTo>
                    <a:pt x="2617583" y="423414"/>
                  </a:lnTo>
                  <a:lnTo>
                    <a:pt x="2614968" y="422624"/>
                  </a:lnTo>
                  <a:lnTo>
                    <a:pt x="2614437" y="424067"/>
                  </a:lnTo>
                  <a:lnTo>
                    <a:pt x="2615424" y="425634"/>
                  </a:lnTo>
                  <a:lnTo>
                    <a:pt x="2618026" y="429075"/>
                  </a:lnTo>
                  <a:lnTo>
                    <a:pt x="2619098" y="429936"/>
                  </a:lnTo>
                  <a:lnTo>
                    <a:pt x="2619666" y="430670"/>
                  </a:lnTo>
                  <a:lnTo>
                    <a:pt x="2620843" y="432527"/>
                  </a:lnTo>
                  <a:lnTo>
                    <a:pt x="2621592" y="433493"/>
                  </a:lnTo>
                  <a:lnTo>
                    <a:pt x="2622701" y="434021"/>
                  </a:lnTo>
                  <a:lnTo>
                    <a:pt x="2623443" y="435143"/>
                  </a:lnTo>
                  <a:lnTo>
                    <a:pt x="2623019" y="435268"/>
                  </a:lnTo>
                  <a:lnTo>
                    <a:pt x="2622417" y="436097"/>
                  </a:lnTo>
                  <a:lnTo>
                    <a:pt x="2616467" y="436351"/>
                  </a:lnTo>
                  <a:lnTo>
                    <a:pt x="2610523" y="436577"/>
                  </a:lnTo>
                  <a:lnTo>
                    <a:pt x="2608108" y="435504"/>
                  </a:lnTo>
                  <a:lnTo>
                    <a:pt x="2607291" y="435687"/>
                  </a:lnTo>
                  <a:lnTo>
                    <a:pt x="2606103" y="436426"/>
                  </a:lnTo>
                  <a:lnTo>
                    <a:pt x="2605151" y="437962"/>
                  </a:lnTo>
                  <a:lnTo>
                    <a:pt x="2605387" y="438665"/>
                  </a:lnTo>
                  <a:lnTo>
                    <a:pt x="2610886" y="440612"/>
                  </a:lnTo>
                  <a:lnTo>
                    <a:pt x="2614653" y="439035"/>
                  </a:lnTo>
                  <a:lnTo>
                    <a:pt x="2621260" y="441425"/>
                  </a:lnTo>
                  <a:lnTo>
                    <a:pt x="2622520" y="442602"/>
                  </a:lnTo>
                  <a:lnTo>
                    <a:pt x="2621986" y="443601"/>
                  </a:lnTo>
                  <a:lnTo>
                    <a:pt x="2620244" y="444202"/>
                  </a:lnTo>
                  <a:lnTo>
                    <a:pt x="2619890" y="445712"/>
                  </a:lnTo>
                  <a:lnTo>
                    <a:pt x="2627117" y="441101"/>
                  </a:lnTo>
                  <a:lnTo>
                    <a:pt x="2632623" y="437928"/>
                  </a:lnTo>
                  <a:lnTo>
                    <a:pt x="2638546" y="438039"/>
                  </a:lnTo>
                  <a:lnTo>
                    <a:pt x="2642467" y="436381"/>
                  </a:lnTo>
                  <a:lnTo>
                    <a:pt x="2643853" y="434334"/>
                  </a:lnTo>
                  <a:lnTo>
                    <a:pt x="2644937" y="434193"/>
                  </a:lnTo>
                  <a:lnTo>
                    <a:pt x="2650342" y="436672"/>
                  </a:lnTo>
                  <a:lnTo>
                    <a:pt x="2656292" y="434810"/>
                  </a:lnTo>
                  <a:lnTo>
                    <a:pt x="2662232" y="432918"/>
                  </a:lnTo>
                  <a:lnTo>
                    <a:pt x="2667862" y="431094"/>
                  </a:lnTo>
                  <a:lnTo>
                    <a:pt x="2672215" y="428008"/>
                  </a:lnTo>
                  <a:lnTo>
                    <a:pt x="2679211" y="427322"/>
                  </a:lnTo>
                  <a:lnTo>
                    <a:pt x="2679372" y="429019"/>
                  </a:lnTo>
                  <a:lnTo>
                    <a:pt x="2678139" y="431508"/>
                  </a:lnTo>
                  <a:lnTo>
                    <a:pt x="2674541" y="433012"/>
                  </a:lnTo>
                  <a:lnTo>
                    <a:pt x="2674296" y="434710"/>
                  </a:lnTo>
                  <a:lnTo>
                    <a:pt x="2675944" y="436337"/>
                  </a:lnTo>
                  <a:lnTo>
                    <a:pt x="2678039" y="434919"/>
                  </a:lnTo>
                  <a:lnTo>
                    <a:pt x="2679531" y="435998"/>
                  </a:lnTo>
                  <a:lnTo>
                    <a:pt x="2679442" y="436516"/>
                  </a:lnTo>
                  <a:lnTo>
                    <a:pt x="2679264" y="436834"/>
                  </a:lnTo>
                  <a:lnTo>
                    <a:pt x="2678711" y="437016"/>
                  </a:lnTo>
                  <a:lnTo>
                    <a:pt x="2679398" y="438019"/>
                  </a:lnTo>
                  <a:lnTo>
                    <a:pt x="2680107" y="438500"/>
                  </a:lnTo>
                  <a:lnTo>
                    <a:pt x="2681682" y="438706"/>
                  </a:lnTo>
                  <a:lnTo>
                    <a:pt x="2682214" y="439384"/>
                  </a:lnTo>
                  <a:lnTo>
                    <a:pt x="2682810" y="440275"/>
                  </a:lnTo>
                  <a:lnTo>
                    <a:pt x="2683502" y="441038"/>
                  </a:lnTo>
                  <a:lnTo>
                    <a:pt x="2684792" y="441667"/>
                  </a:lnTo>
                  <a:lnTo>
                    <a:pt x="2685620" y="442351"/>
                  </a:lnTo>
                  <a:lnTo>
                    <a:pt x="2686452" y="443681"/>
                  </a:lnTo>
                  <a:lnTo>
                    <a:pt x="2686848" y="445019"/>
                  </a:lnTo>
                  <a:lnTo>
                    <a:pt x="2686799" y="446025"/>
                  </a:lnTo>
                  <a:lnTo>
                    <a:pt x="2686505" y="446675"/>
                  </a:lnTo>
                  <a:lnTo>
                    <a:pt x="2680193" y="447735"/>
                  </a:lnTo>
                  <a:lnTo>
                    <a:pt x="2675082" y="451484"/>
                  </a:lnTo>
                  <a:lnTo>
                    <a:pt x="2665210" y="450097"/>
                  </a:lnTo>
                  <a:lnTo>
                    <a:pt x="2659916" y="450899"/>
                  </a:lnTo>
                  <a:lnTo>
                    <a:pt x="2659703" y="450707"/>
                  </a:lnTo>
                  <a:lnTo>
                    <a:pt x="2659254" y="449742"/>
                  </a:lnTo>
                  <a:lnTo>
                    <a:pt x="2658878" y="449284"/>
                  </a:lnTo>
                  <a:lnTo>
                    <a:pt x="2658589" y="449166"/>
                  </a:lnTo>
                  <a:lnTo>
                    <a:pt x="2656497" y="449870"/>
                  </a:lnTo>
                  <a:lnTo>
                    <a:pt x="2656618" y="448185"/>
                  </a:lnTo>
                  <a:lnTo>
                    <a:pt x="2656386" y="447976"/>
                  </a:lnTo>
                  <a:lnTo>
                    <a:pt x="2655840" y="447293"/>
                  </a:lnTo>
                  <a:lnTo>
                    <a:pt x="2655599" y="447045"/>
                  </a:lnTo>
                  <a:lnTo>
                    <a:pt x="2655519" y="446423"/>
                  </a:lnTo>
                  <a:lnTo>
                    <a:pt x="2655514" y="445933"/>
                  </a:lnTo>
                  <a:lnTo>
                    <a:pt x="2655577" y="445574"/>
                  </a:lnTo>
                  <a:lnTo>
                    <a:pt x="2655706" y="445364"/>
                  </a:lnTo>
                  <a:lnTo>
                    <a:pt x="2655368" y="444594"/>
                  </a:lnTo>
                  <a:lnTo>
                    <a:pt x="2655275" y="444444"/>
                  </a:lnTo>
                  <a:lnTo>
                    <a:pt x="2655338" y="444787"/>
                  </a:lnTo>
                  <a:lnTo>
                    <a:pt x="2653977" y="443159"/>
                  </a:lnTo>
                  <a:lnTo>
                    <a:pt x="2648853" y="440923"/>
                  </a:lnTo>
                  <a:lnTo>
                    <a:pt x="2643926" y="442750"/>
                  </a:lnTo>
                  <a:lnTo>
                    <a:pt x="2638991" y="444558"/>
                  </a:lnTo>
                  <a:lnTo>
                    <a:pt x="2631956" y="448254"/>
                  </a:lnTo>
                  <a:lnTo>
                    <a:pt x="2627258" y="448774"/>
                  </a:lnTo>
                  <a:lnTo>
                    <a:pt x="2617790" y="452080"/>
                  </a:lnTo>
                  <a:lnTo>
                    <a:pt x="2608292" y="455313"/>
                  </a:lnTo>
                  <a:lnTo>
                    <a:pt x="2607708" y="456329"/>
                  </a:lnTo>
                  <a:lnTo>
                    <a:pt x="2607617" y="458185"/>
                  </a:lnTo>
                  <a:lnTo>
                    <a:pt x="2608909" y="459152"/>
                  </a:lnTo>
                  <a:lnTo>
                    <a:pt x="2609844" y="458530"/>
                  </a:lnTo>
                  <a:lnTo>
                    <a:pt x="2611264" y="456218"/>
                  </a:lnTo>
                  <a:lnTo>
                    <a:pt x="2618547" y="455066"/>
                  </a:lnTo>
                  <a:lnTo>
                    <a:pt x="2625829" y="453871"/>
                  </a:lnTo>
                  <a:lnTo>
                    <a:pt x="2633109" y="452632"/>
                  </a:lnTo>
                  <a:lnTo>
                    <a:pt x="2638180" y="450881"/>
                  </a:lnTo>
                  <a:lnTo>
                    <a:pt x="2643577" y="450791"/>
                  </a:lnTo>
                  <a:lnTo>
                    <a:pt x="2651032" y="449420"/>
                  </a:lnTo>
                  <a:lnTo>
                    <a:pt x="2651118" y="449839"/>
                  </a:lnTo>
                  <a:lnTo>
                    <a:pt x="2651207" y="450173"/>
                  </a:lnTo>
                  <a:lnTo>
                    <a:pt x="2651304" y="450490"/>
                  </a:lnTo>
                  <a:lnTo>
                    <a:pt x="2651403" y="450862"/>
                  </a:lnTo>
                  <a:lnTo>
                    <a:pt x="2652495" y="451338"/>
                  </a:lnTo>
                  <a:lnTo>
                    <a:pt x="2652744" y="451181"/>
                  </a:lnTo>
                  <a:lnTo>
                    <a:pt x="2652881" y="453284"/>
                  </a:lnTo>
                  <a:lnTo>
                    <a:pt x="2652109" y="454421"/>
                  </a:lnTo>
                  <a:lnTo>
                    <a:pt x="2647840" y="456044"/>
                  </a:lnTo>
                  <a:lnTo>
                    <a:pt x="2641040" y="456668"/>
                  </a:lnTo>
                  <a:lnTo>
                    <a:pt x="2636601" y="460235"/>
                  </a:lnTo>
                  <a:lnTo>
                    <a:pt x="2632821" y="461621"/>
                  </a:lnTo>
                  <a:lnTo>
                    <a:pt x="2627078" y="468888"/>
                  </a:lnTo>
                  <a:lnTo>
                    <a:pt x="2625119" y="468334"/>
                  </a:lnTo>
                  <a:lnTo>
                    <a:pt x="2623444" y="468743"/>
                  </a:lnTo>
                  <a:lnTo>
                    <a:pt x="2622714" y="468166"/>
                  </a:lnTo>
                  <a:lnTo>
                    <a:pt x="2620975" y="466181"/>
                  </a:lnTo>
                  <a:lnTo>
                    <a:pt x="2620354" y="465846"/>
                  </a:lnTo>
                  <a:lnTo>
                    <a:pt x="2613784" y="466161"/>
                  </a:lnTo>
                  <a:lnTo>
                    <a:pt x="2609107" y="467607"/>
                  </a:lnTo>
                  <a:lnTo>
                    <a:pt x="2603758" y="470108"/>
                  </a:lnTo>
                  <a:lnTo>
                    <a:pt x="2598393" y="472586"/>
                  </a:lnTo>
                  <a:lnTo>
                    <a:pt x="2599227" y="473207"/>
                  </a:lnTo>
                  <a:lnTo>
                    <a:pt x="2608105" y="470835"/>
                  </a:lnTo>
                  <a:lnTo>
                    <a:pt x="2613244" y="469433"/>
                  </a:lnTo>
                  <a:lnTo>
                    <a:pt x="2618379" y="468010"/>
                  </a:lnTo>
                  <a:lnTo>
                    <a:pt x="2622019" y="469067"/>
                  </a:lnTo>
                  <a:lnTo>
                    <a:pt x="2623101" y="470061"/>
                  </a:lnTo>
                  <a:lnTo>
                    <a:pt x="2624264" y="471590"/>
                  </a:lnTo>
                  <a:lnTo>
                    <a:pt x="2623694" y="472095"/>
                  </a:lnTo>
                  <a:lnTo>
                    <a:pt x="2620887" y="478168"/>
                  </a:lnTo>
                  <a:lnTo>
                    <a:pt x="2621100" y="480173"/>
                  </a:lnTo>
                  <a:lnTo>
                    <a:pt x="2619978" y="487757"/>
                  </a:lnTo>
                  <a:lnTo>
                    <a:pt x="2620085" y="493142"/>
                  </a:lnTo>
                  <a:lnTo>
                    <a:pt x="2619561" y="495949"/>
                  </a:lnTo>
                  <a:lnTo>
                    <a:pt x="2619568" y="497180"/>
                  </a:lnTo>
                  <a:lnTo>
                    <a:pt x="2620867" y="499222"/>
                  </a:lnTo>
                  <a:lnTo>
                    <a:pt x="2621841" y="499153"/>
                  </a:lnTo>
                  <a:lnTo>
                    <a:pt x="2622392" y="497767"/>
                  </a:lnTo>
                  <a:lnTo>
                    <a:pt x="2622443" y="495904"/>
                  </a:lnTo>
                  <a:lnTo>
                    <a:pt x="2622221" y="493468"/>
                  </a:lnTo>
                  <a:lnTo>
                    <a:pt x="2622252" y="489309"/>
                  </a:lnTo>
                  <a:lnTo>
                    <a:pt x="2624068" y="478725"/>
                  </a:lnTo>
                  <a:lnTo>
                    <a:pt x="2625309" y="475620"/>
                  </a:lnTo>
                  <a:lnTo>
                    <a:pt x="2633950" y="469015"/>
                  </a:lnTo>
                  <a:lnTo>
                    <a:pt x="2642504" y="462351"/>
                  </a:lnTo>
                  <a:lnTo>
                    <a:pt x="2652932" y="461940"/>
                  </a:lnTo>
                  <a:lnTo>
                    <a:pt x="2663379" y="461442"/>
                  </a:lnTo>
                  <a:lnTo>
                    <a:pt x="2665118" y="462551"/>
                  </a:lnTo>
                  <a:lnTo>
                    <a:pt x="2664880" y="463170"/>
                  </a:lnTo>
                  <a:lnTo>
                    <a:pt x="2664963" y="466672"/>
                  </a:lnTo>
                  <a:lnTo>
                    <a:pt x="2664595" y="467448"/>
                  </a:lnTo>
                  <a:lnTo>
                    <a:pt x="2656634" y="472685"/>
                  </a:lnTo>
                  <a:lnTo>
                    <a:pt x="2654426" y="477269"/>
                  </a:lnTo>
                  <a:lnTo>
                    <a:pt x="2654465" y="478515"/>
                  </a:lnTo>
                  <a:lnTo>
                    <a:pt x="2654880" y="479629"/>
                  </a:lnTo>
                  <a:lnTo>
                    <a:pt x="2655455" y="479675"/>
                  </a:lnTo>
                  <a:lnTo>
                    <a:pt x="2656148" y="479075"/>
                  </a:lnTo>
                  <a:lnTo>
                    <a:pt x="2657812" y="475142"/>
                  </a:lnTo>
                  <a:lnTo>
                    <a:pt x="2665976" y="472212"/>
                  </a:lnTo>
                  <a:lnTo>
                    <a:pt x="2667362" y="469802"/>
                  </a:lnTo>
                  <a:lnTo>
                    <a:pt x="2671570" y="469455"/>
                  </a:lnTo>
                  <a:lnTo>
                    <a:pt x="2676585" y="467948"/>
                  </a:lnTo>
                  <a:lnTo>
                    <a:pt x="2682020" y="468509"/>
                  </a:lnTo>
                  <a:lnTo>
                    <a:pt x="2685529" y="468180"/>
                  </a:lnTo>
                  <a:lnTo>
                    <a:pt x="2686950" y="469695"/>
                  </a:lnTo>
                  <a:lnTo>
                    <a:pt x="2687054" y="470119"/>
                  </a:lnTo>
                  <a:lnTo>
                    <a:pt x="2687369" y="471189"/>
                  </a:lnTo>
                  <a:lnTo>
                    <a:pt x="2688341" y="469472"/>
                  </a:lnTo>
                  <a:lnTo>
                    <a:pt x="2689119" y="469113"/>
                  </a:lnTo>
                  <a:lnTo>
                    <a:pt x="2690093" y="470547"/>
                  </a:lnTo>
                  <a:lnTo>
                    <a:pt x="2690219" y="472103"/>
                  </a:lnTo>
                  <a:lnTo>
                    <a:pt x="2688663" y="473920"/>
                  </a:lnTo>
                  <a:lnTo>
                    <a:pt x="2688337" y="474789"/>
                  </a:lnTo>
                  <a:lnTo>
                    <a:pt x="2689227" y="475045"/>
                  </a:lnTo>
                  <a:lnTo>
                    <a:pt x="2690962" y="474468"/>
                  </a:lnTo>
                  <a:lnTo>
                    <a:pt x="2692024" y="475800"/>
                  </a:lnTo>
                  <a:lnTo>
                    <a:pt x="2691727" y="477965"/>
                  </a:lnTo>
                  <a:lnTo>
                    <a:pt x="2691466" y="478383"/>
                  </a:lnTo>
                  <a:lnTo>
                    <a:pt x="2692387" y="479484"/>
                  </a:lnTo>
                  <a:lnTo>
                    <a:pt x="2694446" y="480973"/>
                  </a:lnTo>
                  <a:lnTo>
                    <a:pt x="2695062" y="481064"/>
                  </a:lnTo>
                  <a:lnTo>
                    <a:pt x="2694971" y="482532"/>
                  </a:lnTo>
                  <a:lnTo>
                    <a:pt x="2693599" y="482740"/>
                  </a:lnTo>
                  <a:lnTo>
                    <a:pt x="2693138" y="483363"/>
                  </a:lnTo>
                  <a:lnTo>
                    <a:pt x="2693170" y="484671"/>
                  </a:lnTo>
                  <a:lnTo>
                    <a:pt x="2693580" y="485731"/>
                  </a:lnTo>
                  <a:lnTo>
                    <a:pt x="2694243" y="486617"/>
                  </a:lnTo>
                  <a:lnTo>
                    <a:pt x="2695041" y="487410"/>
                  </a:lnTo>
                  <a:lnTo>
                    <a:pt x="2695074" y="488053"/>
                  </a:lnTo>
                  <a:lnTo>
                    <a:pt x="2695039" y="488556"/>
                  </a:lnTo>
                  <a:lnTo>
                    <a:pt x="2694934" y="488906"/>
                  </a:lnTo>
                  <a:lnTo>
                    <a:pt x="2694758" y="489098"/>
                  </a:lnTo>
                  <a:lnTo>
                    <a:pt x="2695839" y="490042"/>
                  </a:lnTo>
                  <a:lnTo>
                    <a:pt x="2696763" y="490397"/>
                  </a:lnTo>
                  <a:lnTo>
                    <a:pt x="2697502" y="490232"/>
                  </a:lnTo>
                  <a:lnTo>
                    <a:pt x="2698013" y="489593"/>
                  </a:lnTo>
                  <a:lnTo>
                    <a:pt x="2698596" y="489598"/>
                  </a:lnTo>
                  <a:lnTo>
                    <a:pt x="2699643" y="490440"/>
                  </a:lnTo>
                  <a:lnTo>
                    <a:pt x="2701817" y="492803"/>
                  </a:lnTo>
                  <a:lnTo>
                    <a:pt x="2698414" y="494194"/>
                  </a:lnTo>
                  <a:lnTo>
                    <a:pt x="2696230" y="500880"/>
                  </a:lnTo>
                  <a:lnTo>
                    <a:pt x="2695885" y="501322"/>
                  </a:lnTo>
                  <a:lnTo>
                    <a:pt x="2692486" y="501814"/>
                  </a:lnTo>
                  <a:lnTo>
                    <a:pt x="2689130" y="506028"/>
                  </a:lnTo>
                  <a:lnTo>
                    <a:pt x="2681172" y="507640"/>
                  </a:lnTo>
                  <a:lnTo>
                    <a:pt x="2673210" y="509202"/>
                  </a:lnTo>
                  <a:lnTo>
                    <a:pt x="2665245" y="510715"/>
                  </a:lnTo>
                  <a:lnTo>
                    <a:pt x="2664065" y="512766"/>
                  </a:lnTo>
                  <a:lnTo>
                    <a:pt x="2663031" y="513255"/>
                  </a:lnTo>
                  <a:lnTo>
                    <a:pt x="2662629" y="513800"/>
                  </a:lnTo>
                  <a:lnTo>
                    <a:pt x="2662407" y="514854"/>
                  </a:lnTo>
                  <a:lnTo>
                    <a:pt x="2662584" y="515559"/>
                  </a:lnTo>
                  <a:lnTo>
                    <a:pt x="2663055" y="515903"/>
                  </a:lnTo>
                  <a:lnTo>
                    <a:pt x="2670796" y="512026"/>
                  </a:lnTo>
                  <a:lnTo>
                    <a:pt x="2673983" y="512371"/>
                  </a:lnTo>
                  <a:lnTo>
                    <a:pt x="2674695" y="512812"/>
                  </a:lnTo>
                  <a:lnTo>
                    <a:pt x="2675311" y="513721"/>
                  </a:lnTo>
                  <a:lnTo>
                    <a:pt x="2675898" y="514836"/>
                  </a:lnTo>
                  <a:lnTo>
                    <a:pt x="2676459" y="515736"/>
                  </a:lnTo>
                  <a:lnTo>
                    <a:pt x="2677001" y="516011"/>
                  </a:lnTo>
                  <a:lnTo>
                    <a:pt x="2688786" y="517087"/>
                  </a:lnTo>
                  <a:lnTo>
                    <a:pt x="2700617" y="518059"/>
                  </a:lnTo>
                  <a:lnTo>
                    <a:pt x="2701499" y="519078"/>
                  </a:lnTo>
                  <a:lnTo>
                    <a:pt x="2702317" y="520281"/>
                  </a:lnTo>
                  <a:lnTo>
                    <a:pt x="2703080" y="521226"/>
                  </a:lnTo>
                  <a:lnTo>
                    <a:pt x="2703777" y="521423"/>
                  </a:lnTo>
                  <a:lnTo>
                    <a:pt x="2703774" y="523910"/>
                  </a:lnTo>
                  <a:lnTo>
                    <a:pt x="2703148" y="525297"/>
                  </a:lnTo>
                  <a:lnTo>
                    <a:pt x="2701225" y="526297"/>
                  </a:lnTo>
                  <a:lnTo>
                    <a:pt x="2698847" y="526156"/>
                  </a:lnTo>
                  <a:lnTo>
                    <a:pt x="2697835" y="526944"/>
                  </a:lnTo>
                  <a:lnTo>
                    <a:pt x="2698516" y="531252"/>
                  </a:lnTo>
                  <a:lnTo>
                    <a:pt x="2698522" y="533617"/>
                  </a:lnTo>
                  <a:lnTo>
                    <a:pt x="2698170" y="536998"/>
                  </a:lnTo>
                  <a:lnTo>
                    <a:pt x="2697531" y="538704"/>
                  </a:lnTo>
                  <a:lnTo>
                    <a:pt x="2696618" y="539785"/>
                  </a:lnTo>
                  <a:lnTo>
                    <a:pt x="2689727" y="539495"/>
                  </a:lnTo>
                  <a:lnTo>
                    <a:pt x="2682847" y="539169"/>
                  </a:lnTo>
                  <a:lnTo>
                    <a:pt x="2679916" y="541928"/>
                  </a:lnTo>
                  <a:lnTo>
                    <a:pt x="2673864" y="541301"/>
                  </a:lnTo>
                  <a:lnTo>
                    <a:pt x="2673287" y="541645"/>
                  </a:lnTo>
                  <a:lnTo>
                    <a:pt x="2672548" y="543212"/>
                  </a:lnTo>
                  <a:lnTo>
                    <a:pt x="2669022" y="546571"/>
                  </a:lnTo>
                  <a:lnTo>
                    <a:pt x="2669047" y="548458"/>
                  </a:lnTo>
                  <a:lnTo>
                    <a:pt x="2670436" y="549714"/>
                  </a:lnTo>
                  <a:lnTo>
                    <a:pt x="2671766" y="549955"/>
                  </a:lnTo>
                  <a:lnTo>
                    <a:pt x="2673901" y="549260"/>
                  </a:lnTo>
                  <a:lnTo>
                    <a:pt x="2674169" y="549380"/>
                  </a:lnTo>
                  <a:lnTo>
                    <a:pt x="2674841" y="550175"/>
                  </a:lnTo>
                  <a:lnTo>
                    <a:pt x="2675134" y="550408"/>
                  </a:lnTo>
                  <a:lnTo>
                    <a:pt x="2675980" y="550058"/>
                  </a:lnTo>
                  <a:lnTo>
                    <a:pt x="2677050" y="550617"/>
                  </a:lnTo>
                  <a:lnTo>
                    <a:pt x="2684239" y="549520"/>
                  </a:lnTo>
                  <a:lnTo>
                    <a:pt x="2687184" y="550778"/>
                  </a:lnTo>
                  <a:lnTo>
                    <a:pt x="2692662" y="548627"/>
                  </a:lnTo>
                  <a:lnTo>
                    <a:pt x="2698129" y="546455"/>
                  </a:lnTo>
                  <a:lnTo>
                    <a:pt x="2699453" y="546716"/>
                  </a:lnTo>
                  <a:lnTo>
                    <a:pt x="2700902" y="548271"/>
                  </a:lnTo>
                  <a:lnTo>
                    <a:pt x="2701449" y="550122"/>
                  </a:lnTo>
                  <a:lnTo>
                    <a:pt x="2700832" y="554883"/>
                  </a:lnTo>
                  <a:lnTo>
                    <a:pt x="2701262" y="555589"/>
                  </a:lnTo>
                  <a:lnTo>
                    <a:pt x="2699713" y="561639"/>
                  </a:lnTo>
                  <a:lnTo>
                    <a:pt x="2699624" y="565447"/>
                  </a:lnTo>
                  <a:lnTo>
                    <a:pt x="2699272" y="566638"/>
                  </a:lnTo>
                  <a:lnTo>
                    <a:pt x="2698255" y="566151"/>
                  </a:lnTo>
                  <a:lnTo>
                    <a:pt x="2697678" y="564853"/>
                  </a:lnTo>
                  <a:lnTo>
                    <a:pt x="2697099" y="564408"/>
                  </a:lnTo>
                  <a:lnTo>
                    <a:pt x="2694310" y="564030"/>
                  </a:lnTo>
                  <a:lnTo>
                    <a:pt x="2693276" y="563097"/>
                  </a:lnTo>
                  <a:lnTo>
                    <a:pt x="2691754" y="562383"/>
                  </a:lnTo>
                  <a:lnTo>
                    <a:pt x="2690491" y="562496"/>
                  </a:lnTo>
                  <a:lnTo>
                    <a:pt x="2686627" y="567279"/>
                  </a:lnTo>
                  <a:lnTo>
                    <a:pt x="2686569" y="568017"/>
                  </a:lnTo>
                  <a:lnTo>
                    <a:pt x="2686878" y="570429"/>
                  </a:lnTo>
                  <a:lnTo>
                    <a:pt x="2686677" y="572457"/>
                  </a:lnTo>
                  <a:lnTo>
                    <a:pt x="2682603" y="575148"/>
                  </a:lnTo>
                  <a:lnTo>
                    <a:pt x="2680738" y="579106"/>
                  </a:lnTo>
                  <a:lnTo>
                    <a:pt x="2676404" y="579412"/>
                  </a:lnTo>
                  <a:lnTo>
                    <a:pt x="2673221" y="576592"/>
                  </a:lnTo>
                  <a:lnTo>
                    <a:pt x="2665416" y="579460"/>
                  </a:lnTo>
                  <a:lnTo>
                    <a:pt x="2657591" y="582284"/>
                  </a:lnTo>
                  <a:lnTo>
                    <a:pt x="2648214" y="578403"/>
                  </a:lnTo>
                  <a:lnTo>
                    <a:pt x="2647538" y="580372"/>
                  </a:lnTo>
                  <a:lnTo>
                    <a:pt x="2647769" y="581077"/>
                  </a:lnTo>
                  <a:lnTo>
                    <a:pt x="2648757" y="580649"/>
                  </a:lnTo>
                  <a:lnTo>
                    <a:pt x="2649383" y="580885"/>
                  </a:lnTo>
                  <a:lnTo>
                    <a:pt x="2650192" y="581953"/>
                  </a:lnTo>
                  <a:lnTo>
                    <a:pt x="2646901" y="586305"/>
                  </a:lnTo>
                  <a:lnTo>
                    <a:pt x="2646590" y="587512"/>
                  </a:lnTo>
                  <a:lnTo>
                    <a:pt x="2646625" y="589247"/>
                  </a:lnTo>
                  <a:lnTo>
                    <a:pt x="2647336" y="590166"/>
                  </a:lnTo>
                  <a:lnTo>
                    <a:pt x="2648827" y="590902"/>
                  </a:lnTo>
                  <a:lnTo>
                    <a:pt x="2649410" y="591565"/>
                  </a:lnTo>
                  <a:lnTo>
                    <a:pt x="2649934" y="592277"/>
                  </a:lnTo>
                  <a:lnTo>
                    <a:pt x="2650420" y="592724"/>
                  </a:lnTo>
                  <a:lnTo>
                    <a:pt x="2650884" y="592596"/>
                  </a:lnTo>
                  <a:lnTo>
                    <a:pt x="2650734" y="592642"/>
                  </a:lnTo>
                  <a:lnTo>
                    <a:pt x="2651484" y="593119"/>
                  </a:lnTo>
                  <a:lnTo>
                    <a:pt x="2654223" y="592260"/>
                  </a:lnTo>
                  <a:lnTo>
                    <a:pt x="2654814" y="592716"/>
                  </a:lnTo>
                  <a:lnTo>
                    <a:pt x="2655306" y="594408"/>
                  </a:lnTo>
                  <a:lnTo>
                    <a:pt x="2659728" y="595952"/>
                  </a:lnTo>
                  <a:lnTo>
                    <a:pt x="2661155" y="597950"/>
                  </a:lnTo>
                  <a:lnTo>
                    <a:pt x="2660865" y="598041"/>
                  </a:lnTo>
                  <a:lnTo>
                    <a:pt x="2661275" y="598950"/>
                  </a:lnTo>
                  <a:lnTo>
                    <a:pt x="2662513" y="601479"/>
                  </a:lnTo>
                  <a:lnTo>
                    <a:pt x="2662242" y="602193"/>
                  </a:lnTo>
                  <a:lnTo>
                    <a:pt x="2662108" y="602314"/>
                  </a:lnTo>
                  <a:lnTo>
                    <a:pt x="2662272" y="602262"/>
                  </a:lnTo>
                  <a:lnTo>
                    <a:pt x="2661539" y="603394"/>
                  </a:lnTo>
                  <a:lnTo>
                    <a:pt x="2661010" y="605058"/>
                  </a:lnTo>
                  <a:lnTo>
                    <a:pt x="2661500" y="605211"/>
                  </a:lnTo>
                  <a:lnTo>
                    <a:pt x="2662295" y="605782"/>
                  </a:lnTo>
                  <a:lnTo>
                    <a:pt x="2663067" y="606666"/>
                  </a:lnTo>
                  <a:lnTo>
                    <a:pt x="2663497" y="607772"/>
                  </a:lnTo>
                  <a:lnTo>
                    <a:pt x="2663417" y="609056"/>
                  </a:lnTo>
                  <a:lnTo>
                    <a:pt x="2662380" y="609643"/>
                  </a:lnTo>
                  <a:lnTo>
                    <a:pt x="2662254" y="610880"/>
                  </a:lnTo>
                  <a:lnTo>
                    <a:pt x="2663795" y="611553"/>
                  </a:lnTo>
                  <a:lnTo>
                    <a:pt x="2666105" y="610077"/>
                  </a:lnTo>
                  <a:lnTo>
                    <a:pt x="2667865" y="611455"/>
                  </a:lnTo>
                  <a:lnTo>
                    <a:pt x="2668060" y="611741"/>
                  </a:lnTo>
                  <a:lnTo>
                    <a:pt x="2668206" y="612043"/>
                  </a:lnTo>
                  <a:lnTo>
                    <a:pt x="2668601" y="613201"/>
                  </a:lnTo>
                  <a:lnTo>
                    <a:pt x="2669036" y="614010"/>
                  </a:lnTo>
                  <a:lnTo>
                    <a:pt x="2669479" y="614200"/>
                  </a:lnTo>
                  <a:lnTo>
                    <a:pt x="2671248" y="613891"/>
                  </a:lnTo>
                  <a:lnTo>
                    <a:pt x="2671904" y="614383"/>
                  </a:lnTo>
                  <a:lnTo>
                    <a:pt x="2672763" y="615428"/>
                  </a:lnTo>
                  <a:lnTo>
                    <a:pt x="2672607" y="616479"/>
                  </a:lnTo>
                  <a:lnTo>
                    <a:pt x="2669858" y="621005"/>
                  </a:lnTo>
                  <a:lnTo>
                    <a:pt x="2668914" y="621662"/>
                  </a:lnTo>
                  <a:lnTo>
                    <a:pt x="2668618" y="622352"/>
                  </a:lnTo>
                  <a:lnTo>
                    <a:pt x="2668853" y="623649"/>
                  </a:lnTo>
                  <a:lnTo>
                    <a:pt x="2669203" y="624248"/>
                  </a:lnTo>
                  <a:lnTo>
                    <a:pt x="2671000" y="626937"/>
                  </a:lnTo>
                  <a:lnTo>
                    <a:pt x="2670690" y="631746"/>
                  </a:lnTo>
                  <a:lnTo>
                    <a:pt x="2667291" y="635021"/>
                  </a:lnTo>
                  <a:lnTo>
                    <a:pt x="2666149" y="637753"/>
                  </a:lnTo>
                  <a:lnTo>
                    <a:pt x="2668164" y="640241"/>
                  </a:lnTo>
                  <a:lnTo>
                    <a:pt x="2668253" y="642156"/>
                  </a:lnTo>
                  <a:lnTo>
                    <a:pt x="2667727" y="643399"/>
                  </a:lnTo>
                  <a:lnTo>
                    <a:pt x="2663287" y="646156"/>
                  </a:lnTo>
                  <a:lnTo>
                    <a:pt x="2660476" y="652232"/>
                  </a:lnTo>
                  <a:lnTo>
                    <a:pt x="2658990" y="653603"/>
                  </a:lnTo>
                  <a:lnTo>
                    <a:pt x="2657111" y="653651"/>
                  </a:lnTo>
                  <a:lnTo>
                    <a:pt x="2657718" y="648509"/>
                  </a:lnTo>
                  <a:lnTo>
                    <a:pt x="2657777" y="646486"/>
                  </a:lnTo>
                  <a:lnTo>
                    <a:pt x="2657080" y="646067"/>
                  </a:lnTo>
                  <a:lnTo>
                    <a:pt x="2656437" y="645972"/>
                  </a:lnTo>
                  <a:lnTo>
                    <a:pt x="2655361" y="646441"/>
                  </a:lnTo>
                  <a:lnTo>
                    <a:pt x="2654981" y="647162"/>
                  </a:lnTo>
                  <a:lnTo>
                    <a:pt x="2654430" y="649362"/>
                  </a:lnTo>
                  <a:lnTo>
                    <a:pt x="2653859" y="650397"/>
                  </a:lnTo>
                  <a:lnTo>
                    <a:pt x="2653636" y="653549"/>
                  </a:lnTo>
                  <a:lnTo>
                    <a:pt x="2653333" y="654601"/>
                  </a:lnTo>
                  <a:lnTo>
                    <a:pt x="2652283" y="655452"/>
                  </a:lnTo>
                  <a:lnTo>
                    <a:pt x="2651137" y="658135"/>
                  </a:lnTo>
                  <a:lnTo>
                    <a:pt x="2644722" y="658279"/>
                  </a:lnTo>
                  <a:lnTo>
                    <a:pt x="2638313" y="658395"/>
                  </a:lnTo>
                  <a:lnTo>
                    <a:pt x="2634034" y="660767"/>
                  </a:lnTo>
                  <a:lnTo>
                    <a:pt x="2632532" y="664363"/>
                  </a:lnTo>
                  <a:lnTo>
                    <a:pt x="2632027" y="664778"/>
                  </a:lnTo>
                  <a:lnTo>
                    <a:pt x="2626558" y="665513"/>
                  </a:lnTo>
                  <a:lnTo>
                    <a:pt x="2623739" y="664674"/>
                  </a:lnTo>
                  <a:lnTo>
                    <a:pt x="2621807" y="665937"/>
                  </a:lnTo>
                  <a:lnTo>
                    <a:pt x="2619771" y="665214"/>
                  </a:lnTo>
                  <a:lnTo>
                    <a:pt x="2617645" y="665409"/>
                  </a:lnTo>
                  <a:lnTo>
                    <a:pt x="2615146" y="664265"/>
                  </a:lnTo>
                  <a:lnTo>
                    <a:pt x="2611561" y="664089"/>
                  </a:lnTo>
                  <a:lnTo>
                    <a:pt x="2605744" y="660617"/>
                  </a:lnTo>
                  <a:lnTo>
                    <a:pt x="2604760" y="660513"/>
                  </a:lnTo>
                  <a:lnTo>
                    <a:pt x="2604557" y="660250"/>
                  </a:lnTo>
                  <a:lnTo>
                    <a:pt x="2603911" y="658940"/>
                  </a:lnTo>
                  <a:lnTo>
                    <a:pt x="2603543" y="658529"/>
                  </a:lnTo>
                  <a:lnTo>
                    <a:pt x="2603702" y="658488"/>
                  </a:lnTo>
                  <a:lnTo>
                    <a:pt x="2599044" y="658004"/>
                  </a:lnTo>
                  <a:lnTo>
                    <a:pt x="2596672" y="656669"/>
                  </a:lnTo>
                  <a:lnTo>
                    <a:pt x="2596253" y="656092"/>
                  </a:lnTo>
                  <a:lnTo>
                    <a:pt x="2595322" y="654516"/>
                  </a:lnTo>
                  <a:lnTo>
                    <a:pt x="2594054" y="652852"/>
                  </a:lnTo>
                  <a:lnTo>
                    <a:pt x="2592820" y="651730"/>
                  </a:lnTo>
                  <a:lnTo>
                    <a:pt x="2591699" y="651143"/>
                  </a:lnTo>
                  <a:lnTo>
                    <a:pt x="2590202" y="650987"/>
                  </a:lnTo>
                  <a:lnTo>
                    <a:pt x="2588919" y="650258"/>
                  </a:lnTo>
                  <a:lnTo>
                    <a:pt x="2588329" y="650169"/>
                  </a:lnTo>
                  <a:lnTo>
                    <a:pt x="2587827" y="649898"/>
                  </a:lnTo>
                  <a:lnTo>
                    <a:pt x="2587516" y="649048"/>
                  </a:lnTo>
                  <a:lnTo>
                    <a:pt x="2587407" y="648052"/>
                  </a:lnTo>
                  <a:lnTo>
                    <a:pt x="2587502" y="647319"/>
                  </a:lnTo>
                  <a:lnTo>
                    <a:pt x="2586633" y="646008"/>
                  </a:lnTo>
                  <a:lnTo>
                    <a:pt x="2584361" y="644981"/>
                  </a:lnTo>
                  <a:lnTo>
                    <a:pt x="2584174" y="644273"/>
                  </a:lnTo>
                  <a:lnTo>
                    <a:pt x="2584913" y="644148"/>
                  </a:lnTo>
                  <a:lnTo>
                    <a:pt x="2585216" y="643877"/>
                  </a:lnTo>
                  <a:lnTo>
                    <a:pt x="2585389" y="643198"/>
                  </a:lnTo>
                  <a:lnTo>
                    <a:pt x="2584227" y="641695"/>
                  </a:lnTo>
                  <a:lnTo>
                    <a:pt x="2579280" y="639949"/>
                  </a:lnTo>
                  <a:lnTo>
                    <a:pt x="2578451" y="638880"/>
                  </a:lnTo>
                  <a:lnTo>
                    <a:pt x="2578150" y="636528"/>
                  </a:lnTo>
                  <a:lnTo>
                    <a:pt x="2577240" y="634998"/>
                  </a:lnTo>
                  <a:lnTo>
                    <a:pt x="2576223" y="633925"/>
                  </a:lnTo>
                  <a:lnTo>
                    <a:pt x="2575398" y="633581"/>
                  </a:lnTo>
                  <a:lnTo>
                    <a:pt x="2575058" y="634236"/>
                  </a:lnTo>
                  <a:lnTo>
                    <a:pt x="2575351" y="635091"/>
                  </a:lnTo>
                  <a:lnTo>
                    <a:pt x="2575370" y="635427"/>
                  </a:lnTo>
                  <a:lnTo>
                    <a:pt x="2575334" y="635731"/>
                  </a:lnTo>
                  <a:lnTo>
                    <a:pt x="2575465" y="636493"/>
                  </a:lnTo>
                  <a:lnTo>
                    <a:pt x="2575711" y="637546"/>
                  </a:lnTo>
                  <a:lnTo>
                    <a:pt x="2575787" y="637628"/>
                  </a:lnTo>
                  <a:lnTo>
                    <a:pt x="2576829" y="639999"/>
                  </a:lnTo>
                  <a:lnTo>
                    <a:pt x="2577503" y="641170"/>
                  </a:lnTo>
                  <a:lnTo>
                    <a:pt x="2578138" y="642013"/>
                  </a:lnTo>
                  <a:lnTo>
                    <a:pt x="2578683" y="642493"/>
                  </a:lnTo>
                  <a:lnTo>
                    <a:pt x="2580514" y="642735"/>
                  </a:lnTo>
                  <a:lnTo>
                    <a:pt x="2581293" y="643829"/>
                  </a:lnTo>
                  <a:lnTo>
                    <a:pt x="2581775" y="644679"/>
                  </a:lnTo>
                  <a:lnTo>
                    <a:pt x="2582955" y="646333"/>
                  </a:lnTo>
                  <a:lnTo>
                    <a:pt x="2584655" y="648163"/>
                  </a:lnTo>
                  <a:lnTo>
                    <a:pt x="2585552" y="649714"/>
                  </a:lnTo>
                  <a:lnTo>
                    <a:pt x="2586034" y="651667"/>
                  </a:lnTo>
                  <a:lnTo>
                    <a:pt x="2585936" y="654123"/>
                  </a:lnTo>
                  <a:lnTo>
                    <a:pt x="2585716" y="655742"/>
                  </a:lnTo>
                  <a:lnTo>
                    <a:pt x="2585722" y="656781"/>
                  </a:lnTo>
                  <a:lnTo>
                    <a:pt x="2585917" y="657946"/>
                  </a:lnTo>
                  <a:lnTo>
                    <a:pt x="2586525" y="659401"/>
                  </a:lnTo>
                  <a:lnTo>
                    <a:pt x="2587208" y="660000"/>
                  </a:lnTo>
                  <a:lnTo>
                    <a:pt x="2588356" y="660425"/>
                  </a:lnTo>
                  <a:lnTo>
                    <a:pt x="2591342" y="662885"/>
                  </a:lnTo>
                  <a:lnTo>
                    <a:pt x="2594132" y="664088"/>
                  </a:lnTo>
                  <a:lnTo>
                    <a:pt x="2600527" y="662669"/>
                  </a:lnTo>
                  <a:lnTo>
                    <a:pt x="2601436" y="663630"/>
                  </a:lnTo>
                  <a:lnTo>
                    <a:pt x="2602556" y="666811"/>
                  </a:lnTo>
                  <a:lnTo>
                    <a:pt x="2602146" y="667941"/>
                  </a:lnTo>
                  <a:lnTo>
                    <a:pt x="2595037" y="671604"/>
                  </a:lnTo>
                  <a:lnTo>
                    <a:pt x="2587897" y="675233"/>
                  </a:lnTo>
                  <a:lnTo>
                    <a:pt x="2580093" y="674235"/>
                  </a:lnTo>
                  <a:lnTo>
                    <a:pt x="2579388" y="675983"/>
                  </a:lnTo>
                  <a:lnTo>
                    <a:pt x="2584503" y="678625"/>
                  </a:lnTo>
                  <a:lnTo>
                    <a:pt x="2586512" y="678778"/>
                  </a:lnTo>
                  <a:lnTo>
                    <a:pt x="2587282" y="679477"/>
                  </a:lnTo>
                  <a:lnTo>
                    <a:pt x="2587807" y="680408"/>
                  </a:lnTo>
                  <a:lnTo>
                    <a:pt x="2588551" y="682257"/>
                  </a:lnTo>
                  <a:lnTo>
                    <a:pt x="2589032" y="682862"/>
                  </a:lnTo>
                  <a:lnTo>
                    <a:pt x="2589010" y="683962"/>
                  </a:lnTo>
                  <a:lnTo>
                    <a:pt x="2588944" y="684273"/>
                  </a:lnTo>
                  <a:lnTo>
                    <a:pt x="2588759" y="684455"/>
                  </a:lnTo>
                  <a:lnTo>
                    <a:pt x="2589815" y="686746"/>
                  </a:lnTo>
                  <a:lnTo>
                    <a:pt x="2590956" y="687835"/>
                  </a:lnTo>
                  <a:lnTo>
                    <a:pt x="2592006" y="688133"/>
                  </a:lnTo>
                  <a:lnTo>
                    <a:pt x="2593547" y="687635"/>
                  </a:lnTo>
                  <a:lnTo>
                    <a:pt x="2595700" y="683170"/>
                  </a:lnTo>
                  <a:lnTo>
                    <a:pt x="2597735" y="681884"/>
                  </a:lnTo>
                  <a:lnTo>
                    <a:pt x="2598462" y="680118"/>
                  </a:lnTo>
                  <a:lnTo>
                    <a:pt x="2605430" y="671118"/>
                  </a:lnTo>
                  <a:lnTo>
                    <a:pt x="2614759" y="671878"/>
                  </a:lnTo>
                  <a:lnTo>
                    <a:pt x="2624111" y="672579"/>
                  </a:lnTo>
                  <a:lnTo>
                    <a:pt x="2625579" y="673454"/>
                  </a:lnTo>
                  <a:lnTo>
                    <a:pt x="2625815" y="673514"/>
                  </a:lnTo>
                  <a:lnTo>
                    <a:pt x="2630084" y="673138"/>
                  </a:lnTo>
                  <a:lnTo>
                    <a:pt x="2630962" y="673525"/>
                  </a:lnTo>
                  <a:lnTo>
                    <a:pt x="2630754" y="675468"/>
                  </a:lnTo>
                  <a:lnTo>
                    <a:pt x="2629197" y="678266"/>
                  </a:lnTo>
                  <a:lnTo>
                    <a:pt x="2629569" y="683039"/>
                  </a:lnTo>
                  <a:lnTo>
                    <a:pt x="2628005" y="686126"/>
                  </a:lnTo>
                  <a:lnTo>
                    <a:pt x="2627728" y="688222"/>
                  </a:lnTo>
                  <a:lnTo>
                    <a:pt x="2628855" y="688820"/>
                  </a:lnTo>
                  <a:lnTo>
                    <a:pt x="2629869" y="687809"/>
                  </a:lnTo>
                  <a:lnTo>
                    <a:pt x="2633545" y="674673"/>
                  </a:lnTo>
                  <a:lnTo>
                    <a:pt x="2639078" y="667005"/>
                  </a:lnTo>
                  <a:lnTo>
                    <a:pt x="2645875" y="665616"/>
                  </a:lnTo>
                  <a:lnTo>
                    <a:pt x="2648571" y="667072"/>
                  </a:lnTo>
                  <a:lnTo>
                    <a:pt x="2650878" y="666737"/>
                  </a:lnTo>
                  <a:lnTo>
                    <a:pt x="2652227" y="667316"/>
                  </a:lnTo>
                  <a:lnTo>
                    <a:pt x="2655557" y="670028"/>
                  </a:lnTo>
                  <a:lnTo>
                    <a:pt x="2656925" y="670405"/>
                  </a:lnTo>
                  <a:lnTo>
                    <a:pt x="2657805" y="671363"/>
                  </a:lnTo>
                  <a:lnTo>
                    <a:pt x="2657887" y="672196"/>
                  </a:lnTo>
                  <a:lnTo>
                    <a:pt x="2657891" y="672867"/>
                  </a:lnTo>
                  <a:lnTo>
                    <a:pt x="2657818" y="673358"/>
                  </a:lnTo>
                  <a:lnTo>
                    <a:pt x="2657661" y="673653"/>
                  </a:lnTo>
                  <a:lnTo>
                    <a:pt x="2659413" y="675308"/>
                  </a:lnTo>
                  <a:lnTo>
                    <a:pt x="2660114" y="676622"/>
                  </a:lnTo>
                  <a:lnTo>
                    <a:pt x="2660084" y="678224"/>
                  </a:lnTo>
                  <a:lnTo>
                    <a:pt x="2659011" y="680289"/>
                  </a:lnTo>
                  <a:lnTo>
                    <a:pt x="2656112" y="691979"/>
                  </a:lnTo>
                  <a:lnTo>
                    <a:pt x="2656016" y="694453"/>
                  </a:lnTo>
                  <a:lnTo>
                    <a:pt x="2655876" y="694640"/>
                  </a:lnTo>
                  <a:lnTo>
                    <a:pt x="2655851" y="695034"/>
                  </a:lnTo>
                  <a:lnTo>
                    <a:pt x="2656151" y="696203"/>
                  </a:lnTo>
                  <a:lnTo>
                    <a:pt x="2656649" y="697347"/>
                  </a:lnTo>
                  <a:lnTo>
                    <a:pt x="2657124" y="697744"/>
                  </a:lnTo>
                  <a:lnTo>
                    <a:pt x="2663050" y="695509"/>
                  </a:lnTo>
                  <a:lnTo>
                    <a:pt x="2663641" y="695778"/>
                  </a:lnTo>
                  <a:lnTo>
                    <a:pt x="2664132" y="695759"/>
                  </a:lnTo>
                  <a:lnTo>
                    <a:pt x="2665193" y="693928"/>
                  </a:lnTo>
                  <a:lnTo>
                    <a:pt x="2666035" y="693473"/>
                  </a:lnTo>
                  <a:lnTo>
                    <a:pt x="2668091" y="693582"/>
                  </a:lnTo>
                  <a:lnTo>
                    <a:pt x="2669254" y="694344"/>
                  </a:lnTo>
                  <a:lnTo>
                    <a:pt x="2669317" y="695063"/>
                  </a:lnTo>
                  <a:lnTo>
                    <a:pt x="2669347" y="695810"/>
                  </a:lnTo>
                  <a:lnTo>
                    <a:pt x="2669310" y="696416"/>
                  </a:lnTo>
                  <a:lnTo>
                    <a:pt x="2669079" y="697014"/>
                  </a:lnTo>
                  <a:lnTo>
                    <a:pt x="2669241" y="697653"/>
                  </a:lnTo>
                  <a:lnTo>
                    <a:pt x="2669479" y="698362"/>
                  </a:lnTo>
                  <a:lnTo>
                    <a:pt x="2669599" y="698889"/>
                  </a:lnTo>
                  <a:lnTo>
                    <a:pt x="2669355" y="700818"/>
                  </a:lnTo>
                  <a:lnTo>
                    <a:pt x="2669334" y="701944"/>
                  </a:lnTo>
                  <a:lnTo>
                    <a:pt x="2669610" y="703531"/>
                  </a:lnTo>
                  <a:lnTo>
                    <a:pt x="2675930" y="703335"/>
                  </a:lnTo>
                  <a:lnTo>
                    <a:pt x="2676019" y="701629"/>
                  </a:lnTo>
                  <a:lnTo>
                    <a:pt x="2674991" y="699680"/>
                  </a:lnTo>
                  <a:lnTo>
                    <a:pt x="2674005" y="697580"/>
                  </a:lnTo>
                  <a:lnTo>
                    <a:pt x="2676355" y="696876"/>
                  </a:lnTo>
                  <a:lnTo>
                    <a:pt x="2676932" y="696080"/>
                  </a:lnTo>
                  <a:lnTo>
                    <a:pt x="2677284" y="695018"/>
                  </a:lnTo>
                  <a:lnTo>
                    <a:pt x="2677141" y="694387"/>
                  </a:lnTo>
                  <a:lnTo>
                    <a:pt x="2676702" y="693452"/>
                  </a:lnTo>
                  <a:lnTo>
                    <a:pt x="2676156" y="691442"/>
                  </a:lnTo>
                  <a:lnTo>
                    <a:pt x="2676187" y="688921"/>
                  </a:lnTo>
                  <a:lnTo>
                    <a:pt x="2678387" y="687368"/>
                  </a:lnTo>
                  <a:lnTo>
                    <a:pt x="2679005" y="685922"/>
                  </a:lnTo>
                  <a:lnTo>
                    <a:pt x="2678770" y="685712"/>
                  </a:lnTo>
                  <a:lnTo>
                    <a:pt x="2678163" y="684982"/>
                  </a:lnTo>
                  <a:lnTo>
                    <a:pt x="2677927" y="684777"/>
                  </a:lnTo>
                  <a:lnTo>
                    <a:pt x="2677882" y="683404"/>
                  </a:lnTo>
                  <a:lnTo>
                    <a:pt x="2678053" y="682663"/>
                  </a:lnTo>
                  <a:lnTo>
                    <a:pt x="2678395" y="682332"/>
                  </a:lnTo>
                  <a:lnTo>
                    <a:pt x="2678850" y="682166"/>
                  </a:lnTo>
                  <a:lnTo>
                    <a:pt x="2678976" y="681410"/>
                  </a:lnTo>
                  <a:lnTo>
                    <a:pt x="2683286" y="678652"/>
                  </a:lnTo>
                  <a:lnTo>
                    <a:pt x="2684329" y="678607"/>
                  </a:lnTo>
                  <a:lnTo>
                    <a:pt x="2690399" y="683191"/>
                  </a:lnTo>
                  <a:lnTo>
                    <a:pt x="2691571" y="684663"/>
                  </a:lnTo>
                  <a:lnTo>
                    <a:pt x="2691998" y="685943"/>
                  </a:lnTo>
                  <a:lnTo>
                    <a:pt x="2692111" y="687048"/>
                  </a:lnTo>
                  <a:lnTo>
                    <a:pt x="2692344" y="688017"/>
                  </a:lnTo>
                  <a:lnTo>
                    <a:pt x="2692693" y="688603"/>
                  </a:lnTo>
                  <a:lnTo>
                    <a:pt x="2694172" y="689575"/>
                  </a:lnTo>
                  <a:lnTo>
                    <a:pt x="2694913" y="690326"/>
                  </a:lnTo>
                  <a:lnTo>
                    <a:pt x="2694203" y="693024"/>
                  </a:lnTo>
                  <a:lnTo>
                    <a:pt x="2695059" y="693816"/>
                  </a:lnTo>
                  <a:lnTo>
                    <a:pt x="2697172" y="694358"/>
                  </a:lnTo>
                  <a:lnTo>
                    <a:pt x="2700076" y="696548"/>
                  </a:lnTo>
                  <a:lnTo>
                    <a:pt x="2699618" y="698136"/>
                  </a:lnTo>
                  <a:lnTo>
                    <a:pt x="2699510" y="699246"/>
                  </a:lnTo>
                  <a:lnTo>
                    <a:pt x="2699635" y="700649"/>
                  </a:lnTo>
                  <a:lnTo>
                    <a:pt x="2699898" y="701808"/>
                  </a:lnTo>
                  <a:lnTo>
                    <a:pt x="2700206" y="702588"/>
                  </a:lnTo>
                  <a:lnTo>
                    <a:pt x="2700618" y="703428"/>
                  </a:lnTo>
                  <a:lnTo>
                    <a:pt x="2701189" y="704755"/>
                  </a:lnTo>
                  <a:lnTo>
                    <a:pt x="2701906" y="705971"/>
                  </a:lnTo>
                  <a:lnTo>
                    <a:pt x="2702128" y="706625"/>
                  </a:lnTo>
                  <a:lnTo>
                    <a:pt x="2701856" y="707021"/>
                  </a:lnTo>
                  <a:lnTo>
                    <a:pt x="2701757" y="707298"/>
                  </a:lnTo>
                  <a:lnTo>
                    <a:pt x="2701705" y="707913"/>
                  </a:lnTo>
                  <a:lnTo>
                    <a:pt x="2701717" y="708651"/>
                  </a:lnTo>
                  <a:lnTo>
                    <a:pt x="2701802" y="709301"/>
                  </a:lnTo>
                  <a:lnTo>
                    <a:pt x="2702386" y="711079"/>
                  </a:lnTo>
                  <a:lnTo>
                    <a:pt x="2702993" y="712043"/>
                  </a:lnTo>
                  <a:lnTo>
                    <a:pt x="2704216" y="713215"/>
                  </a:lnTo>
                  <a:lnTo>
                    <a:pt x="2703645" y="716053"/>
                  </a:lnTo>
                  <a:lnTo>
                    <a:pt x="2702442" y="717255"/>
                  </a:lnTo>
                  <a:lnTo>
                    <a:pt x="2699317" y="717855"/>
                  </a:lnTo>
                  <a:lnTo>
                    <a:pt x="2698965" y="718377"/>
                  </a:lnTo>
                  <a:lnTo>
                    <a:pt x="2698248" y="720743"/>
                  </a:lnTo>
                  <a:lnTo>
                    <a:pt x="2698174" y="721748"/>
                  </a:lnTo>
                  <a:lnTo>
                    <a:pt x="2698206" y="723409"/>
                  </a:lnTo>
                  <a:lnTo>
                    <a:pt x="2697642" y="725403"/>
                  </a:lnTo>
                  <a:lnTo>
                    <a:pt x="2697592" y="727011"/>
                  </a:lnTo>
                  <a:lnTo>
                    <a:pt x="2698712" y="727943"/>
                  </a:lnTo>
                  <a:lnTo>
                    <a:pt x="2699305" y="728760"/>
                  </a:lnTo>
                  <a:lnTo>
                    <a:pt x="2699921" y="730171"/>
                  </a:lnTo>
                  <a:lnTo>
                    <a:pt x="2695658" y="734750"/>
                  </a:lnTo>
                  <a:lnTo>
                    <a:pt x="2695457" y="736199"/>
                  </a:lnTo>
                  <a:lnTo>
                    <a:pt x="2696466" y="738222"/>
                  </a:lnTo>
                  <a:lnTo>
                    <a:pt x="2693428" y="739865"/>
                  </a:lnTo>
                  <a:lnTo>
                    <a:pt x="2691470" y="739194"/>
                  </a:lnTo>
                  <a:lnTo>
                    <a:pt x="2689100" y="736572"/>
                  </a:lnTo>
                  <a:lnTo>
                    <a:pt x="2689298" y="735621"/>
                  </a:lnTo>
                  <a:lnTo>
                    <a:pt x="2689330" y="734993"/>
                  </a:lnTo>
                  <a:lnTo>
                    <a:pt x="2689290" y="734197"/>
                  </a:lnTo>
                  <a:lnTo>
                    <a:pt x="2688904" y="733634"/>
                  </a:lnTo>
                  <a:lnTo>
                    <a:pt x="2688438" y="732823"/>
                  </a:lnTo>
                  <a:lnTo>
                    <a:pt x="2687944" y="731859"/>
                  </a:lnTo>
                  <a:lnTo>
                    <a:pt x="2687462" y="730798"/>
                  </a:lnTo>
                  <a:lnTo>
                    <a:pt x="2688422" y="729803"/>
                  </a:lnTo>
                  <a:lnTo>
                    <a:pt x="2688195" y="729095"/>
                  </a:lnTo>
                  <a:lnTo>
                    <a:pt x="2685352" y="729949"/>
                  </a:lnTo>
                  <a:lnTo>
                    <a:pt x="2683602" y="729474"/>
                  </a:lnTo>
                  <a:lnTo>
                    <a:pt x="2682831" y="729653"/>
                  </a:lnTo>
                  <a:lnTo>
                    <a:pt x="2682508" y="730797"/>
                  </a:lnTo>
                  <a:lnTo>
                    <a:pt x="2682688" y="730743"/>
                  </a:lnTo>
                  <a:lnTo>
                    <a:pt x="2682696" y="732516"/>
                  </a:lnTo>
                  <a:lnTo>
                    <a:pt x="2682395" y="735207"/>
                  </a:lnTo>
                  <a:lnTo>
                    <a:pt x="2682430" y="736940"/>
                  </a:lnTo>
                  <a:lnTo>
                    <a:pt x="2682936" y="742292"/>
                  </a:lnTo>
                  <a:lnTo>
                    <a:pt x="2682959" y="743889"/>
                  </a:lnTo>
                  <a:lnTo>
                    <a:pt x="2682662" y="745844"/>
                  </a:lnTo>
                  <a:lnTo>
                    <a:pt x="2682041" y="747215"/>
                  </a:lnTo>
                  <a:lnTo>
                    <a:pt x="2678864" y="749156"/>
                  </a:lnTo>
                  <a:lnTo>
                    <a:pt x="2678536" y="749818"/>
                  </a:lnTo>
                  <a:lnTo>
                    <a:pt x="2678408" y="750587"/>
                  </a:lnTo>
                  <a:lnTo>
                    <a:pt x="2678380" y="751558"/>
                  </a:lnTo>
                  <a:lnTo>
                    <a:pt x="2678556" y="752212"/>
                  </a:lnTo>
                  <a:lnTo>
                    <a:pt x="2679023" y="751997"/>
                  </a:lnTo>
                  <a:lnTo>
                    <a:pt x="2679240" y="752704"/>
                  </a:lnTo>
                  <a:lnTo>
                    <a:pt x="2678638" y="753486"/>
                  </a:lnTo>
                  <a:lnTo>
                    <a:pt x="2678211" y="755405"/>
                  </a:lnTo>
                  <a:lnTo>
                    <a:pt x="2678310" y="757687"/>
                  </a:lnTo>
                  <a:lnTo>
                    <a:pt x="2679302" y="759568"/>
                  </a:lnTo>
                  <a:lnTo>
                    <a:pt x="2678904" y="761944"/>
                  </a:lnTo>
                  <a:lnTo>
                    <a:pt x="2677720" y="762905"/>
                  </a:lnTo>
                  <a:lnTo>
                    <a:pt x="2673236" y="761832"/>
                  </a:lnTo>
                  <a:lnTo>
                    <a:pt x="2672038" y="762256"/>
                  </a:lnTo>
                  <a:lnTo>
                    <a:pt x="2666602" y="768812"/>
                  </a:lnTo>
                  <a:lnTo>
                    <a:pt x="2661114" y="775352"/>
                  </a:lnTo>
                  <a:lnTo>
                    <a:pt x="2658190" y="774033"/>
                  </a:lnTo>
                  <a:lnTo>
                    <a:pt x="2657037" y="774627"/>
                  </a:lnTo>
                  <a:lnTo>
                    <a:pt x="2654269" y="778247"/>
                  </a:lnTo>
                  <a:lnTo>
                    <a:pt x="2653664" y="780332"/>
                  </a:lnTo>
                  <a:lnTo>
                    <a:pt x="2653278" y="780871"/>
                  </a:lnTo>
                  <a:lnTo>
                    <a:pt x="2649543" y="781516"/>
                  </a:lnTo>
                  <a:lnTo>
                    <a:pt x="2649089" y="781938"/>
                  </a:lnTo>
                  <a:lnTo>
                    <a:pt x="2648943" y="782910"/>
                  </a:lnTo>
                  <a:lnTo>
                    <a:pt x="2648939" y="785325"/>
                  </a:lnTo>
                  <a:lnTo>
                    <a:pt x="2648607" y="785903"/>
                  </a:lnTo>
                  <a:lnTo>
                    <a:pt x="2645492" y="786723"/>
                  </a:lnTo>
                  <a:lnTo>
                    <a:pt x="2643613" y="786227"/>
                  </a:lnTo>
                  <a:lnTo>
                    <a:pt x="2642757" y="786427"/>
                  </a:lnTo>
                  <a:lnTo>
                    <a:pt x="2642224" y="789576"/>
                  </a:lnTo>
                  <a:lnTo>
                    <a:pt x="2639331" y="792241"/>
                  </a:lnTo>
                  <a:lnTo>
                    <a:pt x="2638832" y="791443"/>
                  </a:lnTo>
                  <a:lnTo>
                    <a:pt x="2638521" y="790040"/>
                  </a:lnTo>
                  <a:lnTo>
                    <a:pt x="2638466" y="788548"/>
                  </a:lnTo>
                  <a:lnTo>
                    <a:pt x="2638754" y="787136"/>
                  </a:lnTo>
                  <a:lnTo>
                    <a:pt x="2640469" y="785036"/>
                  </a:lnTo>
                  <a:lnTo>
                    <a:pt x="2640255" y="784256"/>
                  </a:lnTo>
                  <a:lnTo>
                    <a:pt x="2639240" y="783847"/>
                  </a:lnTo>
                  <a:lnTo>
                    <a:pt x="2637269" y="783931"/>
                  </a:lnTo>
                  <a:lnTo>
                    <a:pt x="2636200" y="783011"/>
                  </a:lnTo>
                  <a:lnTo>
                    <a:pt x="2636962" y="781528"/>
                  </a:lnTo>
                  <a:lnTo>
                    <a:pt x="2637024" y="780869"/>
                  </a:lnTo>
                  <a:lnTo>
                    <a:pt x="2636804" y="780135"/>
                  </a:lnTo>
                  <a:lnTo>
                    <a:pt x="2636531" y="779316"/>
                  </a:lnTo>
                  <a:lnTo>
                    <a:pt x="2636422" y="778354"/>
                  </a:lnTo>
                  <a:lnTo>
                    <a:pt x="2636601" y="777723"/>
                  </a:lnTo>
                  <a:lnTo>
                    <a:pt x="2637979" y="776143"/>
                  </a:lnTo>
                  <a:lnTo>
                    <a:pt x="2638041" y="775470"/>
                  </a:lnTo>
                  <a:lnTo>
                    <a:pt x="2637925" y="769449"/>
                  </a:lnTo>
                  <a:lnTo>
                    <a:pt x="2638103" y="768727"/>
                  </a:lnTo>
                  <a:lnTo>
                    <a:pt x="2638570" y="768098"/>
                  </a:lnTo>
                  <a:lnTo>
                    <a:pt x="2638992" y="766718"/>
                  </a:lnTo>
                  <a:lnTo>
                    <a:pt x="2639285" y="765006"/>
                  </a:lnTo>
                  <a:lnTo>
                    <a:pt x="2639363" y="763345"/>
                  </a:lnTo>
                  <a:lnTo>
                    <a:pt x="2638487" y="759819"/>
                  </a:lnTo>
                  <a:lnTo>
                    <a:pt x="2636701" y="758446"/>
                  </a:lnTo>
                  <a:lnTo>
                    <a:pt x="2634674" y="757811"/>
                  </a:lnTo>
                  <a:lnTo>
                    <a:pt x="2633074" y="756488"/>
                  </a:lnTo>
                  <a:lnTo>
                    <a:pt x="2631872" y="754786"/>
                  </a:lnTo>
                  <a:lnTo>
                    <a:pt x="2630978" y="754361"/>
                  </a:lnTo>
                  <a:lnTo>
                    <a:pt x="2630167" y="754338"/>
                  </a:lnTo>
                  <a:lnTo>
                    <a:pt x="2628074" y="753317"/>
                  </a:lnTo>
                  <a:lnTo>
                    <a:pt x="2625124" y="754323"/>
                  </a:lnTo>
                  <a:lnTo>
                    <a:pt x="2625066" y="753198"/>
                  </a:lnTo>
                  <a:lnTo>
                    <a:pt x="2625184" y="750545"/>
                  </a:lnTo>
                  <a:lnTo>
                    <a:pt x="2623592" y="747569"/>
                  </a:lnTo>
                  <a:lnTo>
                    <a:pt x="2622950" y="749182"/>
                  </a:lnTo>
                  <a:lnTo>
                    <a:pt x="2622725" y="752413"/>
                  </a:lnTo>
                  <a:lnTo>
                    <a:pt x="2622376" y="754255"/>
                  </a:lnTo>
                  <a:lnTo>
                    <a:pt x="2621840" y="754879"/>
                  </a:lnTo>
                  <a:lnTo>
                    <a:pt x="2621023" y="757235"/>
                  </a:lnTo>
                  <a:lnTo>
                    <a:pt x="2617929" y="759141"/>
                  </a:lnTo>
                  <a:lnTo>
                    <a:pt x="2607445" y="759265"/>
                  </a:lnTo>
                  <a:lnTo>
                    <a:pt x="2603872" y="757730"/>
                  </a:lnTo>
                  <a:lnTo>
                    <a:pt x="2602928" y="756761"/>
                  </a:lnTo>
                  <a:lnTo>
                    <a:pt x="2603307" y="754363"/>
                  </a:lnTo>
                  <a:lnTo>
                    <a:pt x="2603352" y="751326"/>
                  </a:lnTo>
                  <a:lnTo>
                    <a:pt x="2603488" y="750861"/>
                  </a:lnTo>
                  <a:lnTo>
                    <a:pt x="2603726" y="750640"/>
                  </a:lnTo>
                  <a:lnTo>
                    <a:pt x="2603762" y="750182"/>
                  </a:lnTo>
                  <a:lnTo>
                    <a:pt x="2603289" y="748983"/>
                  </a:lnTo>
                  <a:lnTo>
                    <a:pt x="2601037" y="747241"/>
                  </a:lnTo>
                  <a:lnTo>
                    <a:pt x="2601977" y="746701"/>
                  </a:lnTo>
                  <a:lnTo>
                    <a:pt x="2604012" y="742704"/>
                  </a:lnTo>
                  <a:lnTo>
                    <a:pt x="2605169" y="742313"/>
                  </a:lnTo>
                  <a:lnTo>
                    <a:pt x="2605648" y="741728"/>
                  </a:lnTo>
                  <a:lnTo>
                    <a:pt x="2605814" y="740364"/>
                  </a:lnTo>
                  <a:lnTo>
                    <a:pt x="2605916" y="740012"/>
                  </a:lnTo>
                  <a:lnTo>
                    <a:pt x="2606135" y="739822"/>
                  </a:lnTo>
                  <a:lnTo>
                    <a:pt x="2606287" y="739498"/>
                  </a:lnTo>
                  <a:lnTo>
                    <a:pt x="2606203" y="738772"/>
                  </a:lnTo>
                  <a:lnTo>
                    <a:pt x="2605932" y="738016"/>
                  </a:lnTo>
                  <a:lnTo>
                    <a:pt x="2605680" y="737737"/>
                  </a:lnTo>
                  <a:lnTo>
                    <a:pt x="2605473" y="737788"/>
                  </a:lnTo>
                  <a:lnTo>
                    <a:pt x="2603833" y="740716"/>
                  </a:lnTo>
                  <a:lnTo>
                    <a:pt x="2597805" y="746500"/>
                  </a:lnTo>
                  <a:lnTo>
                    <a:pt x="2595251" y="746576"/>
                  </a:lnTo>
                  <a:lnTo>
                    <a:pt x="2593799" y="745898"/>
                  </a:lnTo>
                  <a:lnTo>
                    <a:pt x="2589612" y="741576"/>
                  </a:lnTo>
                  <a:lnTo>
                    <a:pt x="2588991" y="740619"/>
                  </a:lnTo>
                  <a:lnTo>
                    <a:pt x="2587351" y="737534"/>
                  </a:lnTo>
                  <a:lnTo>
                    <a:pt x="2586807" y="736831"/>
                  </a:lnTo>
                  <a:lnTo>
                    <a:pt x="2585219" y="735379"/>
                  </a:lnTo>
                  <a:lnTo>
                    <a:pt x="2584737" y="734593"/>
                  </a:lnTo>
                  <a:lnTo>
                    <a:pt x="2584208" y="733574"/>
                  </a:lnTo>
                  <a:lnTo>
                    <a:pt x="2583671" y="732733"/>
                  </a:lnTo>
                  <a:lnTo>
                    <a:pt x="2581933" y="731844"/>
                  </a:lnTo>
                  <a:lnTo>
                    <a:pt x="2580548" y="730451"/>
                  </a:lnTo>
                  <a:lnTo>
                    <a:pt x="2579274" y="729565"/>
                  </a:lnTo>
                  <a:lnTo>
                    <a:pt x="2578372" y="730488"/>
                  </a:lnTo>
                  <a:lnTo>
                    <a:pt x="2579330" y="730907"/>
                  </a:lnTo>
                  <a:lnTo>
                    <a:pt x="2580661" y="731964"/>
                  </a:lnTo>
                  <a:lnTo>
                    <a:pt x="2582036" y="733537"/>
                  </a:lnTo>
                  <a:lnTo>
                    <a:pt x="2583116" y="735485"/>
                  </a:lnTo>
                  <a:lnTo>
                    <a:pt x="2582956" y="736274"/>
                  </a:lnTo>
                  <a:lnTo>
                    <a:pt x="2583780" y="737112"/>
                  </a:lnTo>
                  <a:lnTo>
                    <a:pt x="2585202" y="737753"/>
                  </a:lnTo>
                  <a:lnTo>
                    <a:pt x="2586039" y="738673"/>
                  </a:lnTo>
                  <a:lnTo>
                    <a:pt x="2586717" y="742142"/>
                  </a:lnTo>
                  <a:lnTo>
                    <a:pt x="2588723" y="745053"/>
                  </a:lnTo>
                  <a:lnTo>
                    <a:pt x="2593049" y="748797"/>
                  </a:lnTo>
                  <a:lnTo>
                    <a:pt x="2595309" y="748822"/>
                  </a:lnTo>
                  <a:lnTo>
                    <a:pt x="2601830" y="752456"/>
                  </a:lnTo>
                  <a:lnTo>
                    <a:pt x="2599365" y="755938"/>
                  </a:lnTo>
                  <a:lnTo>
                    <a:pt x="2599550" y="758341"/>
                  </a:lnTo>
                  <a:lnTo>
                    <a:pt x="2600403" y="760254"/>
                  </a:lnTo>
                  <a:lnTo>
                    <a:pt x="2603588" y="764643"/>
                  </a:lnTo>
                  <a:lnTo>
                    <a:pt x="2603899" y="766403"/>
                  </a:lnTo>
                  <a:lnTo>
                    <a:pt x="2603407" y="768092"/>
                  </a:lnTo>
                  <a:lnTo>
                    <a:pt x="2601313" y="771282"/>
                  </a:lnTo>
                  <a:lnTo>
                    <a:pt x="2594938" y="773365"/>
                  </a:lnTo>
                  <a:lnTo>
                    <a:pt x="2588553" y="775422"/>
                  </a:lnTo>
                  <a:lnTo>
                    <a:pt x="2587959" y="774864"/>
                  </a:lnTo>
                  <a:lnTo>
                    <a:pt x="2586644" y="773221"/>
                  </a:lnTo>
                  <a:lnTo>
                    <a:pt x="2582349" y="771674"/>
                  </a:lnTo>
                  <a:lnTo>
                    <a:pt x="2579067" y="769137"/>
                  </a:lnTo>
                  <a:lnTo>
                    <a:pt x="2578923" y="767826"/>
                  </a:lnTo>
                  <a:lnTo>
                    <a:pt x="2578957" y="766827"/>
                  </a:lnTo>
                  <a:lnTo>
                    <a:pt x="2579238" y="765303"/>
                  </a:lnTo>
                  <a:lnTo>
                    <a:pt x="2578733" y="764611"/>
                  </a:lnTo>
                  <a:lnTo>
                    <a:pt x="2578258" y="763740"/>
                  </a:lnTo>
                  <a:lnTo>
                    <a:pt x="2577979" y="762784"/>
                  </a:lnTo>
                  <a:lnTo>
                    <a:pt x="2578056" y="761835"/>
                  </a:lnTo>
                  <a:lnTo>
                    <a:pt x="2576214" y="757360"/>
                  </a:lnTo>
                  <a:lnTo>
                    <a:pt x="2575657" y="756232"/>
                  </a:lnTo>
                  <a:lnTo>
                    <a:pt x="2575229" y="755662"/>
                  </a:lnTo>
                  <a:lnTo>
                    <a:pt x="2573366" y="754746"/>
                  </a:lnTo>
                  <a:lnTo>
                    <a:pt x="2573066" y="754464"/>
                  </a:lnTo>
                  <a:lnTo>
                    <a:pt x="2572999" y="754231"/>
                  </a:lnTo>
                  <a:lnTo>
                    <a:pt x="2572816" y="753335"/>
                  </a:lnTo>
                  <a:lnTo>
                    <a:pt x="2572742" y="753085"/>
                  </a:lnTo>
                  <a:lnTo>
                    <a:pt x="2571927" y="752180"/>
                  </a:lnTo>
                  <a:lnTo>
                    <a:pt x="2567307" y="749083"/>
                  </a:lnTo>
                  <a:lnTo>
                    <a:pt x="2566636" y="748294"/>
                  </a:lnTo>
                  <a:lnTo>
                    <a:pt x="2566549" y="747513"/>
                  </a:lnTo>
                  <a:lnTo>
                    <a:pt x="2565647" y="745257"/>
                  </a:lnTo>
                  <a:lnTo>
                    <a:pt x="2565295" y="744037"/>
                  </a:lnTo>
                  <a:lnTo>
                    <a:pt x="2565240" y="742951"/>
                  </a:lnTo>
                  <a:lnTo>
                    <a:pt x="2565341" y="741813"/>
                  </a:lnTo>
                  <a:lnTo>
                    <a:pt x="2565649" y="740164"/>
                  </a:lnTo>
                  <a:lnTo>
                    <a:pt x="2564842" y="739428"/>
                  </a:lnTo>
                  <a:lnTo>
                    <a:pt x="2564335" y="739516"/>
                  </a:lnTo>
                  <a:lnTo>
                    <a:pt x="2563999" y="740317"/>
                  </a:lnTo>
                  <a:lnTo>
                    <a:pt x="2563704" y="741696"/>
                  </a:lnTo>
                  <a:lnTo>
                    <a:pt x="2562460" y="744282"/>
                  </a:lnTo>
                  <a:lnTo>
                    <a:pt x="2562518" y="745773"/>
                  </a:lnTo>
                  <a:lnTo>
                    <a:pt x="2563120" y="747485"/>
                  </a:lnTo>
                  <a:lnTo>
                    <a:pt x="2563856" y="748546"/>
                  </a:lnTo>
                  <a:lnTo>
                    <a:pt x="2566893" y="750894"/>
                  </a:lnTo>
                  <a:lnTo>
                    <a:pt x="2567191" y="751426"/>
                  </a:lnTo>
                  <a:lnTo>
                    <a:pt x="2567879" y="753001"/>
                  </a:lnTo>
                  <a:lnTo>
                    <a:pt x="2568260" y="753659"/>
                  </a:lnTo>
                  <a:lnTo>
                    <a:pt x="2569208" y="754672"/>
                  </a:lnTo>
                  <a:lnTo>
                    <a:pt x="2570992" y="756016"/>
                  </a:lnTo>
                  <a:lnTo>
                    <a:pt x="2571910" y="757062"/>
                  </a:lnTo>
                  <a:lnTo>
                    <a:pt x="2572572" y="758177"/>
                  </a:lnTo>
                  <a:lnTo>
                    <a:pt x="2572972" y="759242"/>
                  </a:lnTo>
                  <a:lnTo>
                    <a:pt x="2573694" y="762392"/>
                  </a:lnTo>
                  <a:lnTo>
                    <a:pt x="2574389" y="764286"/>
                  </a:lnTo>
                  <a:lnTo>
                    <a:pt x="2575089" y="764909"/>
                  </a:lnTo>
                  <a:lnTo>
                    <a:pt x="2575732" y="765278"/>
                  </a:lnTo>
                  <a:lnTo>
                    <a:pt x="2576244" y="766386"/>
                  </a:lnTo>
                  <a:lnTo>
                    <a:pt x="2576180" y="767042"/>
                  </a:lnTo>
                  <a:lnTo>
                    <a:pt x="2575712" y="769502"/>
                  </a:lnTo>
                  <a:lnTo>
                    <a:pt x="2575629" y="770659"/>
                  </a:lnTo>
                  <a:lnTo>
                    <a:pt x="2575892" y="771053"/>
                  </a:lnTo>
                  <a:lnTo>
                    <a:pt x="2576121" y="771274"/>
                  </a:lnTo>
                  <a:lnTo>
                    <a:pt x="2576344" y="771347"/>
                  </a:lnTo>
                  <a:lnTo>
                    <a:pt x="2576714" y="771681"/>
                  </a:lnTo>
                  <a:lnTo>
                    <a:pt x="2577863" y="773272"/>
                  </a:lnTo>
                  <a:lnTo>
                    <a:pt x="2577378" y="775550"/>
                  </a:lnTo>
                  <a:lnTo>
                    <a:pt x="2576104" y="776405"/>
                  </a:lnTo>
                  <a:lnTo>
                    <a:pt x="2565037" y="775995"/>
                  </a:lnTo>
                  <a:lnTo>
                    <a:pt x="2564494" y="775714"/>
                  </a:lnTo>
                  <a:lnTo>
                    <a:pt x="2564262" y="775465"/>
                  </a:lnTo>
                  <a:lnTo>
                    <a:pt x="2563978" y="774903"/>
                  </a:lnTo>
                  <a:lnTo>
                    <a:pt x="2563733" y="774237"/>
                  </a:lnTo>
                  <a:lnTo>
                    <a:pt x="2563535" y="773643"/>
                  </a:lnTo>
                  <a:lnTo>
                    <a:pt x="2563400" y="773306"/>
                  </a:lnTo>
                  <a:lnTo>
                    <a:pt x="2561888" y="771745"/>
                  </a:lnTo>
                  <a:lnTo>
                    <a:pt x="2559251" y="771150"/>
                  </a:lnTo>
                  <a:lnTo>
                    <a:pt x="2558154" y="769112"/>
                  </a:lnTo>
                  <a:lnTo>
                    <a:pt x="2554951" y="766993"/>
                  </a:lnTo>
                  <a:lnTo>
                    <a:pt x="2553234" y="764965"/>
                  </a:lnTo>
                  <a:lnTo>
                    <a:pt x="2552785" y="762665"/>
                  </a:lnTo>
                  <a:lnTo>
                    <a:pt x="2550959" y="758013"/>
                  </a:lnTo>
                  <a:lnTo>
                    <a:pt x="2550074" y="756591"/>
                  </a:lnTo>
                  <a:lnTo>
                    <a:pt x="2546067" y="754530"/>
                  </a:lnTo>
                  <a:lnTo>
                    <a:pt x="2544650" y="754494"/>
                  </a:lnTo>
                  <a:lnTo>
                    <a:pt x="2544039" y="756067"/>
                  </a:lnTo>
                  <a:lnTo>
                    <a:pt x="2544904" y="757050"/>
                  </a:lnTo>
                  <a:lnTo>
                    <a:pt x="2545899" y="757838"/>
                  </a:lnTo>
                  <a:lnTo>
                    <a:pt x="2547586" y="758440"/>
                  </a:lnTo>
                  <a:lnTo>
                    <a:pt x="2548076" y="758853"/>
                  </a:lnTo>
                  <a:lnTo>
                    <a:pt x="2548356" y="760026"/>
                  </a:lnTo>
                  <a:lnTo>
                    <a:pt x="2548485" y="761499"/>
                  </a:lnTo>
                  <a:lnTo>
                    <a:pt x="2548492" y="766845"/>
                  </a:lnTo>
                  <a:lnTo>
                    <a:pt x="2548596" y="767715"/>
                  </a:lnTo>
                  <a:lnTo>
                    <a:pt x="2549321" y="768950"/>
                  </a:lnTo>
                  <a:lnTo>
                    <a:pt x="2550969" y="771258"/>
                  </a:lnTo>
                  <a:lnTo>
                    <a:pt x="2551580" y="772742"/>
                  </a:lnTo>
                  <a:lnTo>
                    <a:pt x="2551434" y="773326"/>
                  </a:lnTo>
                  <a:lnTo>
                    <a:pt x="2551511" y="774179"/>
                  </a:lnTo>
                  <a:lnTo>
                    <a:pt x="2551649" y="775066"/>
                  </a:lnTo>
                  <a:lnTo>
                    <a:pt x="2551694" y="775746"/>
                  </a:lnTo>
                  <a:lnTo>
                    <a:pt x="2551460" y="776686"/>
                  </a:lnTo>
                  <a:lnTo>
                    <a:pt x="2551071" y="777211"/>
                  </a:lnTo>
                  <a:lnTo>
                    <a:pt x="2543459" y="780216"/>
                  </a:lnTo>
                  <a:lnTo>
                    <a:pt x="2541201" y="780046"/>
                  </a:lnTo>
                  <a:lnTo>
                    <a:pt x="2538763" y="778852"/>
                  </a:lnTo>
                  <a:lnTo>
                    <a:pt x="2536231" y="776631"/>
                  </a:lnTo>
                  <a:lnTo>
                    <a:pt x="2535595" y="774030"/>
                  </a:lnTo>
                  <a:lnTo>
                    <a:pt x="2533764" y="770852"/>
                  </a:lnTo>
                  <a:lnTo>
                    <a:pt x="2531743" y="768182"/>
                  </a:lnTo>
                  <a:lnTo>
                    <a:pt x="2529082" y="766159"/>
                  </a:lnTo>
                  <a:lnTo>
                    <a:pt x="2528417" y="766138"/>
                  </a:lnTo>
                  <a:lnTo>
                    <a:pt x="2528125" y="767569"/>
                  </a:lnTo>
                  <a:lnTo>
                    <a:pt x="2528231" y="768792"/>
                  </a:lnTo>
                  <a:lnTo>
                    <a:pt x="2528712" y="771958"/>
                  </a:lnTo>
                  <a:lnTo>
                    <a:pt x="2528787" y="773480"/>
                  </a:lnTo>
                  <a:lnTo>
                    <a:pt x="2529468" y="774338"/>
                  </a:lnTo>
                  <a:lnTo>
                    <a:pt x="2530085" y="775496"/>
                  </a:lnTo>
                  <a:lnTo>
                    <a:pt x="2530485" y="776902"/>
                  </a:lnTo>
                  <a:lnTo>
                    <a:pt x="2530512" y="778487"/>
                  </a:lnTo>
                  <a:lnTo>
                    <a:pt x="2531075" y="779849"/>
                  </a:lnTo>
                  <a:lnTo>
                    <a:pt x="2531553" y="780378"/>
                  </a:lnTo>
                  <a:lnTo>
                    <a:pt x="2532000" y="780710"/>
                  </a:lnTo>
                  <a:lnTo>
                    <a:pt x="2532471" y="781474"/>
                  </a:lnTo>
                  <a:lnTo>
                    <a:pt x="2533171" y="782804"/>
                  </a:lnTo>
                  <a:lnTo>
                    <a:pt x="2533767" y="783337"/>
                  </a:lnTo>
                  <a:lnTo>
                    <a:pt x="2541541" y="786412"/>
                  </a:lnTo>
                  <a:lnTo>
                    <a:pt x="2549348" y="789450"/>
                  </a:lnTo>
                  <a:lnTo>
                    <a:pt x="2550009" y="790519"/>
                  </a:lnTo>
                  <a:lnTo>
                    <a:pt x="2550197" y="791958"/>
                  </a:lnTo>
                  <a:lnTo>
                    <a:pt x="2549768" y="792692"/>
                  </a:lnTo>
                  <a:lnTo>
                    <a:pt x="2539939" y="796016"/>
                  </a:lnTo>
                  <a:lnTo>
                    <a:pt x="2530079" y="799279"/>
                  </a:lnTo>
                  <a:lnTo>
                    <a:pt x="2529330" y="798719"/>
                  </a:lnTo>
                  <a:lnTo>
                    <a:pt x="2529083" y="798240"/>
                  </a:lnTo>
                  <a:lnTo>
                    <a:pt x="2528957" y="797739"/>
                  </a:lnTo>
                  <a:lnTo>
                    <a:pt x="2528839" y="797181"/>
                  </a:lnTo>
                  <a:lnTo>
                    <a:pt x="2528628" y="796552"/>
                  </a:lnTo>
                  <a:lnTo>
                    <a:pt x="2528239" y="796113"/>
                  </a:lnTo>
                  <a:lnTo>
                    <a:pt x="2523723" y="797839"/>
                  </a:lnTo>
                  <a:lnTo>
                    <a:pt x="2522854" y="797366"/>
                  </a:lnTo>
                  <a:lnTo>
                    <a:pt x="2521010" y="795747"/>
                  </a:lnTo>
                  <a:lnTo>
                    <a:pt x="2520177" y="795482"/>
                  </a:lnTo>
                  <a:lnTo>
                    <a:pt x="2519276" y="795556"/>
                  </a:lnTo>
                  <a:lnTo>
                    <a:pt x="2515349" y="794215"/>
                  </a:lnTo>
                  <a:lnTo>
                    <a:pt x="2511769" y="794624"/>
                  </a:lnTo>
                  <a:lnTo>
                    <a:pt x="2507885" y="793115"/>
                  </a:lnTo>
                  <a:lnTo>
                    <a:pt x="2506111" y="794096"/>
                  </a:lnTo>
                  <a:lnTo>
                    <a:pt x="2502357" y="794259"/>
                  </a:lnTo>
                  <a:lnTo>
                    <a:pt x="2500480" y="793307"/>
                  </a:lnTo>
                  <a:lnTo>
                    <a:pt x="2498782" y="793376"/>
                  </a:lnTo>
                  <a:lnTo>
                    <a:pt x="2497833" y="792627"/>
                  </a:lnTo>
                  <a:lnTo>
                    <a:pt x="2498022" y="792596"/>
                  </a:lnTo>
                  <a:lnTo>
                    <a:pt x="2496959" y="791687"/>
                  </a:lnTo>
                  <a:lnTo>
                    <a:pt x="2496703" y="791314"/>
                  </a:lnTo>
                  <a:lnTo>
                    <a:pt x="2496485" y="790595"/>
                  </a:lnTo>
                  <a:lnTo>
                    <a:pt x="2496415" y="790020"/>
                  </a:lnTo>
                  <a:lnTo>
                    <a:pt x="2496360" y="789368"/>
                  </a:lnTo>
                  <a:lnTo>
                    <a:pt x="2496184" y="788404"/>
                  </a:lnTo>
                  <a:lnTo>
                    <a:pt x="2495590" y="786062"/>
                  </a:lnTo>
                  <a:lnTo>
                    <a:pt x="2495416" y="784803"/>
                  </a:lnTo>
                  <a:lnTo>
                    <a:pt x="2495507" y="783597"/>
                  </a:lnTo>
                  <a:lnTo>
                    <a:pt x="2499281" y="780167"/>
                  </a:lnTo>
                  <a:lnTo>
                    <a:pt x="2499665" y="777980"/>
                  </a:lnTo>
                  <a:lnTo>
                    <a:pt x="2498618" y="775792"/>
                  </a:lnTo>
                  <a:lnTo>
                    <a:pt x="2493620" y="772804"/>
                  </a:lnTo>
                  <a:lnTo>
                    <a:pt x="2489972" y="768651"/>
                  </a:lnTo>
                  <a:lnTo>
                    <a:pt x="2488169" y="767327"/>
                  </a:lnTo>
                  <a:lnTo>
                    <a:pt x="2486908" y="768044"/>
                  </a:lnTo>
                  <a:lnTo>
                    <a:pt x="2496961" y="777550"/>
                  </a:lnTo>
                  <a:lnTo>
                    <a:pt x="2497242" y="778335"/>
                  </a:lnTo>
                  <a:lnTo>
                    <a:pt x="2496941" y="779128"/>
                  </a:lnTo>
                  <a:lnTo>
                    <a:pt x="2490829" y="784560"/>
                  </a:lnTo>
                  <a:lnTo>
                    <a:pt x="2490164" y="784723"/>
                  </a:lnTo>
                  <a:lnTo>
                    <a:pt x="2489609" y="785162"/>
                  </a:lnTo>
                  <a:lnTo>
                    <a:pt x="2489407" y="786456"/>
                  </a:lnTo>
                  <a:lnTo>
                    <a:pt x="2490123" y="786848"/>
                  </a:lnTo>
                  <a:lnTo>
                    <a:pt x="2490315" y="788118"/>
                  </a:lnTo>
                  <a:lnTo>
                    <a:pt x="2489840" y="792647"/>
                  </a:lnTo>
                  <a:lnTo>
                    <a:pt x="2489915" y="797623"/>
                  </a:lnTo>
                  <a:lnTo>
                    <a:pt x="2489958" y="798371"/>
                  </a:lnTo>
                  <a:lnTo>
                    <a:pt x="2490033" y="798971"/>
                  </a:lnTo>
                  <a:lnTo>
                    <a:pt x="2489978" y="799248"/>
                  </a:lnTo>
                  <a:lnTo>
                    <a:pt x="2489067" y="798699"/>
                  </a:lnTo>
                  <a:lnTo>
                    <a:pt x="2488018" y="798614"/>
                  </a:lnTo>
                  <a:lnTo>
                    <a:pt x="2486356" y="797515"/>
                  </a:lnTo>
                  <a:lnTo>
                    <a:pt x="2479911" y="797224"/>
                  </a:lnTo>
                  <a:lnTo>
                    <a:pt x="2478766" y="796469"/>
                  </a:lnTo>
                  <a:lnTo>
                    <a:pt x="2477893" y="795061"/>
                  </a:lnTo>
                  <a:lnTo>
                    <a:pt x="2478080" y="794175"/>
                  </a:lnTo>
                  <a:lnTo>
                    <a:pt x="2478473" y="793230"/>
                  </a:lnTo>
                  <a:lnTo>
                    <a:pt x="2478224" y="791688"/>
                  </a:lnTo>
                  <a:lnTo>
                    <a:pt x="2477217" y="790269"/>
                  </a:lnTo>
                  <a:lnTo>
                    <a:pt x="2470749" y="790495"/>
                  </a:lnTo>
                  <a:lnTo>
                    <a:pt x="2469762" y="789547"/>
                  </a:lnTo>
                  <a:lnTo>
                    <a:pt x="2470195" y="787408"/>
                  </a:lnTo>
                  <a:lnTo>
                    <a:pt x="2470269" y="786072"/>
                  </a:lnTo>
                  <a:lnTo>
                    <a:pt x="2469940" y="784623"/>
                  </a:lnTo>
                  <a:lnTo>
                    <a:pt x="2469092" y="783440"/>
                  </a:lnTo>
                  <a:lnTo>
                    <a:pt x="2467302" y="782533"/>
                  </a:lnTo>
                  <a:lnTo>
                    <a:pt x="2466615" y="781044"/>
                  </a:lnTo>
                  <a:lnTo>
                    <a:pt x="2467035" y="780673"/>
                  </a:lnTo>
                  <a:lnTo>
                    <a:pt x="2467059" y="779359"/>
                  </a:lnTo>
                  <a:lnTo>
                    <a:pt x="2466944" y="777748"/>
                  </a:lnTo>
                  <a:lnTo>
                    <a:pt x="2466949" y="776499"/>
                  </a:lnTo>
                  <a:lnTo>
                    <a:pt x="2466084" y="775224"/>
                  </a:lnTo>
                  <a:lnTo>
                    <a:pt x="2464877" y="773951"/>
                  </a:lnTo>
                  <a:lnTo>
                    <a:pt x="2463843" y="773504"/>
                  </a:lnTo>
                  <a:lnTo>
                    <a:pt x="2463496" y="774706"/>
                  </a:lnTo>
                  <a:lnTo>
                    <a:pt x="2463628" y="775431"/>
                  </a:lnTo>
                  <a:lnTo>
                    <a:pt x="2463846" y="775987"/>
                  </a:lnTo>
                  <a:lnTo>
                    <a:pt x="2464059" y="776450"/>
                  </a:lnTo>
                  <a:lnTo>
                    <a:pt x="2464181" y="776913"/>
                  </a:lnTo>
                  <a:lnTo>
                    <a:pt x="2464356" y="779134"/>
                  </a:lnTo>
                  <a:lnTo>
                    <a:pt x="2464389" y="780560"/>
                  </a:lnTo>
                  <a:lnTo>
                    <a:pt x="2464309" y="781615"/>
                  </a:lnTo>
                  <a:lnTo>
                    <a:pt x="2464427" y="782471"/>
                  </a:lnTo>
                  <a:lnTo>
                    <a:pt x="2465060" y="783340"/>
                  </a:lnTo>
                  <a:lnTo>
                    <a:pt x="2467084" y="784692"/>
                  </a:lnTo>
                  <a:lnTo>
                    <a:pt x="2467529" y="785767"/>
                  </a:lnTo>
                  <a:lnTo>
                    <a:pt x="2467499" y="786694"/>
                  </a:lnTo>
                  <a:lnTo>
                    <a:pt x="2466823" y="789645"/>
                  </a:lnTo>
                  <a:lnTo>
                    <a:pt x="2467140" y="791765"/>
                  </a:lnTo>
                  <a:lnTo>
                    <a:pt x="2468294" y="792979"/>
                  </a:lnTo>
                  <a:lnTo>
                    <a:pt x="2470486" y="794059"/>
                  </a:lnTo>
                  <a:lnTo>
                    <a:pt x="2470553" y="794526"/>
                  </a:lnTo>
                  <a:lnTo>
                    <a:pt x="2470571" y="794858"/>
                  </a:lnTo>
                  <a:lnTo>
                    <a:pt x="2470522" y="795485"/>
                  </a:lnTo>
                  <a:lnTo>
                    <a:pt x="2470817" y="796123"/>
                  </a:lnTo>
                  <a:lnTo>
                    <a:pt x="2470543" y="796936"/>
                  </a:lnTo>
                  <a:lnTo>
                    <a:pt x="2469418" y="798644"/>
                  </a:lnTo>
                  <a:lnTo>
                    <a:pt x="2470094" y="798917"/>
                  </a:lnTo>
                  <a:lnTo>
                    <a:pt x="2470869" y="799510"/>
                  </a:lnTo>
                  <a:lnTo>
                    <a:pt x="2472333" y="801202"/>
                  </a:lnTo>
                  <a:lnTo>
                    <a:pt x="2471913" y="801975"/>
                  </a:lnTo>
                  <a:lnTo>
                    <a:pt x="2471279" y="801857"/>
                  </a:lnTo>
                  <a:lnTo>
                    <a:pt x="2468663" y="800112"/>
                  </a:lnTo>
                  <a:lnTo>
                    <a:pt x="2468118" y="800122"/>
                  </a:lnTo>
                  <a:lnTo>
                    <a:pt x="2467554" y="800420"/>
                  </a:lnTo>
                  <a:lnTo>
                    <a:pt x="2467744" y="800954"/>
                  </a:lnTo>
                  <a:lnTo>
                    <a:pt x="2468044" y="802006"/>
                  </a:lnTo>
                  <a:lnTo>
                    <a:pt x="2468234" y="802557"/>
                  </a:lnTo>
                  <a:lnTo>
                    <a:pt x="2466947" y="804229"/>
                  </a:lnTo>
                  <a:lnTo>
                    <a:pt x="2464909" y="804087"/>
                  </a:lnTo>
                  <a:lnTo>
                    <a:pt x="2462723" y="801932"/>
                  </a:lnTo>
                  <a:lnTo>
                    <a:pt x="2460991" y="797575"/>
                  </a:lnTo>
                  <a:lnTo>
                    <a:pt x="2461356" y="797523"/>
                  </a:lnTo>
                  <a:lnTo>
                    <a:pt x="2460820" y="796290"/>
                  </a:lnTo>
                  <a:lnTo>
                    <a:pt x="2460277" y="796177"/>
                  </a:lnTo>
                  <a:lnTo>
                    <a:pt x="2459319" y="797135"/>
                  </a:lnTo>
                  <a:lnTo>
                    <a:pt x="2459713" y="798224"/>
                  </a:lnTo>
                  <a:lnTo>
                    <a:pt x="2459892" y="798550"/>
                  </a:lnTo>
                  <a:lnTo>
                    <a:pt x="2459689" y="799194"/>
                  </a:lnTo>
                  <a:lnTo>
                    <a:pt x="2459572" y="800935"/>
                  </a:lnTo>
                  <a:lnTo>
                    <a:pt x="2459466" y="801601"/>
                  </a:lnTo>
                  <a:lnTo>
                    <a:pt x="2459091" y="802247"/>
                  </a:lnTo>
                  <a:lnTo>
                    <a:pt x="2446183" y="800805"/>
                  </a:lnTo>
                  <a:lnTo>
                    <a:pt x="2445235" y="799776"/>
                  </a:lnTo>
                  <a:lnTo>
                    <a:pt x="2445423" y="798216"/>
                  </a:lnTo>
                  <a:lnTo>
                    <a:pt x="2445810" y="797439"/>
                  </a:lnTo>
                  <a:lnTo>
                    <a:pt x="2446265" y="796870"/>
                  </a:lnTo>
                  <a:lnTo>
                    <a:pt x="2446655" y="795922"/>
                  </a:lnTo>
                  <a:lnTo>
                    <a:pt x="2446346" y="795938"/>
                  </a:lnTo>
                  <a:lnTo>
                    <a:pt x="2446094" y="795571"/>
                  </a:lnTo>
                  <a:lnTo>
                    <a:pt x="2445587" y="794162"/>
                  </a:lnTo>
                  <a:lnTo>
                    <a:pt x="2445263" y="793646"/>
                  </a:lnTo>
                  <a:lnTo>
                    <a:pt x="2444850" y="793377"/>
                  </a:lnTo>
                  <a:lnTo>
                    <a:pt x="2444118" y="793209"/>
                  </a:lnTo>
                  <a:lnTo>
                    <a:pt x="2445360" y="791439"/>
                  </a:lnTo>
                  <a:lnTo>
                    <a:pt x="2445834" y="790320"/>
                  </a:lnTo>
                  <a:lnTo>
                    <a:pt x="2445503" y="789288"/>
                  </a:lnTo>
                  <a:lnTo>
                    <a:pt x="2445500" y="787180"/>
                  </a:lnTo>
                  <a:lnTo>
                    <a:pt x="2444911" y="786134"/>
                  </a:lnTo>
                  <a:lnTo>
                    <a:pt x="2444087" y="785432"/>
                  </a:lnTo>
                  <a:lnTo>
                    <a:pt x="2443366" y="784354"/>
                  </a:lnTo>
                  <a:lnTo>
                    <a:pt x="2443207" y="783646"/>
                  </a:lnTo>
                  <a:lnTo>
                    <a:pt x="2442868" y="781516"/>
                  </a:lnTo>
                  <a:lnTo>
                    <a:pt x="2442683" y="780710"/>
                  </a:lnTo>
                  <a:lnTo>
                    <a:pt x="2442196" y="779574"/>
                  </a:lnTo>
                  <a:lnTo>
                    <a:pt x="2441779" y="779110"/>
                  </a:lnTo>
                  <a:lnTo>
                    <a:pt x="2441376" y="778844"/>
                  </a:lnTo>
                  <a:lnTo>
                    <a:pt x="2440105" y="777399"/>
                  </a:lnTo>
                  <a:lnTo>
                    <a:pt x="2439751" y="776766"/>
                  </a:lnTo>
                  <a:lnTo>
                    <a:pt x="2439465" y="775474"/>
                  </a:lnTo>
                  <a:lnTo>
                    <a:pt x="2439546" y="774876"/>
                  </a:lnTo>
                  <a:lnTo>
                    <a:pt x="2440091" y="773549"/>
                  </a:lnTo>
                  <a:lnTo>
                    <a:pt x="2440096" y="772410"/>
                  </a:lnTo>
                  <a:lnTo>
                    <a:pt x="2439491" y="770076"/>
                  </a:lnTo>
                  <a:lnTo>
                    <a:pt x="2437935" y="767562"/>
                  </a:lnTo>
                  <a:lnTo>
                    <a:pt x="2437452" y="766079"/>
                  </a:lnTo>
                  <a:lnTo>
                    <a:pt x="2437140" y="764106"/>
                  </a:lnTo>
                  <a:lnTo>
                    <a:pt x="2438291" y="760848"/>
                  </a:lnTo>
                  <a:lnTo>
                    <a:pt x="2438322" y="759960"/>
                  </a:lnTo>
                  <a:lnTo>
                    <a:pt x="2437919" y="757349"/>
                  </a:lnTo>
                  <a:lnTo>
                    <a:pt x="2437498" y="755605"/>
                  </a:lnTo>
                  <a:lnTo>
                    <a:pt x="2436987" y="755029"/>
                  </a:lnTo>
                  <a:lnTo>
                    <a:pt x="2436307" y="755910"/>
                  </a:lnTo>
                  <a:lnTo>
                    <a:pt x="2436019" y="756803"/>
                  </a:lnTo>
                  <a:lnTo>
                    <a:pt x="2435796" y="758015"/>
                  </a:lnTo>
                  <a:lnTo>
                    <a:pt x="2435428" y="761056"/>
                  </a:lnTo>
                  <a:lnTo>
                    <a:pt x="2434980" y="762818"/>
                  </a:lnTo>
                  <a:lnTo>
                    <a:pt x="2433807" y="765305"/>
                  </a:lnTo>
                  <a:lnTo>
                    <a:pt x="2433641" y="767665"/>
                  </a:lnTo>
                  <a:lnTo>
                    <a:pt x="2434692" y="768790"/>
                  </a:lnTo>
                  <a:lnTo>
                    <a:pt x="2437867" y="775312"/>
                  </a:lnTo>
                  <a:lnTo>
                    <a:pt x="2437709" y="775333"/>
                  </a:lnTo>
                  <a:lnTo>
                    <a:pt x="2437781" y="776587"/>
                  </a:lnTo>
                  <a:lnTo>
                    <a:pt x="2436495" y="779295"/>
                  </a:lnTo>
                  <a:lnTo>
                    <a:pt x="2437671" y="780661"/>
                  </a:lnTo>
                  <a:lnTo>
                    <a:pt x="2438835" y="780530"/>
                  </a:lnTo>
                  <a:lnTo>
                    <a:pt x="2440070" y="781104"/>
                  </a:lnTo>
                  <a:lnTo>
                    <a:pt x="2441463" y="784610"/>
                  </a:lnTo>
                  <a:lnTo>
                    <a:pt x="2441193" y="785558"/>
                  </a:lnTo>
                  <a:lnTo>
                    <a:pt x="2441339" y="786766"/>
                  </a:lnTo>
                  <a:lnTo>
                    <a:pt x="2441751" y="787987"/>
                  </a:lnTo>
                  <a:lnTo>
                    <a:pt x="2442277" y="788976"/>
                  </a:lnTo>
                  <a:lnTo>
                    <a:pt x="2440473" y="793468"/>
                  </a:lnTo>
                  <a:lnTo>
                    <a:pt x="2439932" y="796772"/>
                  </a:lnTo>
                  <a:lnTo>
                    <a:pt x="2440933" y="799669"/>
                  </a:lnTo>
                  <a:lnTo>
                    <a:pt x="2440520" y="800387"/>
                  </a:lnTo>
                  <a:lnTo>
                    <a:pt x="2439933" y="800770"/>
                  </a:lnTo>
                  <a:lnTo>
                    <a:pt x="2439285" y="800762"/>
                  </a:lnTo>
                  <a:lnTo>
                    <a:pt x="2438701" y="800305"/>
                  </a:lnTo>
                  <a:lnTo>
                    <a:pt x="2438376" y="799480"/>
                  </a:lnTo>
                  <a:lnTo>
                    <a:pt x="2438318" y="798514"/>
                  </a:lnTo>
                  <a:lnTo>
                    <a:pt x="2438430" y="797018"/>
                  </a:lnTo>
                  <a:lnTo>
                    <a:pt x="2438394" y="794582"/>
                  </a:lnTo>
                  <a:lnTo>
                    <a:pt x="2438457" y="792933"/>
                  </a:lnTo>
                  <a:lnTo>
                    <a:pt x="2438760" y="791973"/>
                  </a:lnTo>
                  <a:lnTo>
                    <a:pt x="2439431" y="791591"/>
                  </a:lnTo>
                  <a:lnTo>
                    <a:pt x="2438967" y="790691"/>
                  </a:lnTo>
                  <a:lnTo>
                    <a:pt x="2437149" y="787786"/>
                  </a:lnTo>
                  <a:lnTo>
                    <a:pt x="2437040" y="786240"/>
                  </a:lnTo>
                  <a:lnTo>
                    <a:pt x="2437136" y="785036"/>
                  </a:lnTo>
                  <a:lnTo>
                    <a:pt x="2437360" y="784170"/>
                  </a:lnTo>
                  <a:lnTo>
                    <a:pt x="2437627" y="783624"/>
                  </a:lnTo>
                  <a:lnTo>
                    <a:pt x="2436887" y="781800"/>
                  </a:lnTo>
                  <a:lnTo>
                    <a:pt x="2436039" y="780302"/>
                  </a:lnTo>
                  <a:lnTo>
                    <a:pt x="2435247" y="779614"/>
                  </a:lnTo>
                  <a:lnTo>
                    <a:pt x="2434677" y="780208"/>
                  </a:lnTo>
                  <a:lnTo>
                    <a:pt x="2434628" y="780721"/>
                  </a:lnTo>
                  <a:lnTo>
                    <a:pt x="2434680" y="781412"/>
                  </a:lnTo>
                  <a:lnTo>
                    <a:pt x="2434882" y="782862"/>
                  </a:lnTo>
                  <a:lnTo>
                    <a:pt x="2434812" y="783689"/>
                  </a:lnTo>
                  <a:lnTo>
                    <a:pt x="2433727" y="784812"/>
                  </a:lnTo>
                  <a:lnTo>
                    <a:pt x="2434487" y="786834"/>
                  </a:lnTo>
                  <a:lnTo>
                    <a:pt x="2434434" y="788272"/>
                  </a:lnTo>
                  <a:lnTo>
                    <a:pt x="2433670" y="790850"/>
                  </a:lnTo>
                  <a:lnTo>
                    <a:pt x="2434760" y="792377"/>
                  </a:lnTo>
                  <a:lnTo>
                    <a:pt x="2435173" y="793466"/>
                  </a:lnTo>
                  <a:lnTo>
                    <a:pt x="2435314" y="795115"/>
                  </a:lnTo>
                  <a:lnTo>
                    <a:pt x="2435039" y="796404"/>
                  </a:lnTo>
                  <a:lnTo>
                    <a:pt x="2433266" y="798431"/>
                  </a:lnTo>
                  <a:lnTo>
                    <a:pt x="2433174" y="799030"/>
                  </a:lnTo>
                  <a:lnTo>
                    <a:pt x="2433223" y="799770"/>
                  </a:lnTo>
                  <a:lnTo>
                    <a:pt x="2433213" y="800398"/>
                  </a:lnTo>
                  <a:lnTo>
                    <a:pt x="2432950" y="800702"/>
                  </a:lnTo>
                  <a:lnTo>
                    <a:pt x="2430761" y="800792"/>
                  </a:lnTo>
                  <a:lnTo>
                    <a:pt x="2430067" y="800319"/>
                  </a:lnTo>
                  <a:lnTo>
                    <a:pt x="2429530" y="799453"/>
                  </a:lnTo>
                  <a:lnTo>
                    <a:pt x="2429488" y="798161"/>
                  </a:lnTo>
                  <a:lnTo>
                    <a:pt x="2428897" y="796862"/>
                  </a:lnTo>
                  <a:lnTo>
                    <a:pt x="2428439" y="797203"/>
                  </a:lnTo>
                  <a:lnTo>
                    <a:pt x="2427731" y="799339"/>
                  </a:lnTo>
                  <a:lnTo>
                    <a:pt x="2427049" y="799997"/>
                  </a:lnTo>
                  <a:lnTo>
                    <a:pt x="2426112" y="800059"/>
                  </a:lnTo>
                  <a:lnTo>
                    <a:pt x="2425114" y="799621"/>
                  </a:lnTo>
                  <a:lnTo>
                    <a:pt x="2424252" y="798807"/>
                  </a:lnTo>
                  <a:lnTo>
                    <a:pt x="2423565" y="796918"/>
                  </a:lnTo>
                  <a:lnTo>
                    <a:pt x="2423323" y="796615"/>
                  </a:lnTo>
                  <a:lnTo>
                    <a:pt x="2418885" y="793511"/>
                  </a:lnTo>
                  <a:lnTo>
                    <a:pt x="2418315" y="792743"/>
                  </a:lnTo>
                  <a:lnTo>
                    <a:pt x="2418294" y="791556"/>
                  </a:lnTo>
                  <a:lnTo>
                    <a:pt x="2418536" y="790609"/>
                  </a:lnTo>
                  <a:lnTo>
                    <a:pt x="2418671" y="789518"/>
                  </a:lnTo>
                  <a:lnTo>
                    <a:pt x="2418331" y="787903"/>
                  </a:lnTo>
                  <a:lnTo>
                    <a:pt x="2417798" y="786492"/>
                  </a:lnTo>
                  <a:lnTo>
                    <a:pt x="2417196" y="785281"/>
                  </a:lnTo>
                  <a:lnTo>
                    <a:pt x="2416613" y="784688"/>
                  </a:lnTo>
                  <a:lnTo>
                    <a:pt x="2416127" y="785181"/>
                  </a:lnTo>
                  <a:lnTo>
                    <a:pt x="2415473" y="787805"/>
                  </a:lnTo>
                  <a:lnTo>
                    <a:pt x="2414964" y="788437"/>
                  </a:lnTo>
                  <a:lnTo>
                    <a:pt x="2413347" y="786748"/>
                  </a:lnTo>
                  <a:lnTo>
                    <a:pt x="2411802" y="786349"/>
                  </a:lnTo>
                  <a:lnTo>
                    <a:pt x="2411057" y="785397"/>
                  </a:lnTo>
                  <a:lnTo>
                    <a:pt x="2411380" y="784854"/>
                  </a:lnTo>
                  <a:lnTo>
                    <a:pt x="2412168" y="784488"/>
                  </a:lnTo>
                  <a:lnTo>
                    <a:pt x="2412435" y="783747"/>
                  </a:lnTo>
                  <a:lnTo>
                    <a:pt x="2412453" y="782814"/>
                  </a:lnTo>
                  <a:lnTo>
                    <a:pt x="2412296" y="782020"/>
                  </a:lnTo>
                  <a:lnTo>
                    <a:pt x="2412116" y="781339"/>
                  </a:lnTo>
                  <a:lnTo>
                    <a:pt x="2412067" y="780746"/>
                  </a:lnTo>
                  <a:lnTo>
                    <a:pt x="2412409" y="779345"/>
                  </a:lnTo>
                  <a:lnTo>
                    <a:pt x="2415838" y="775659"/>
                  </a:lnTo>
                  <a:lnTo>
                    <a:pt x="2416186" y="774309"/>
                  </a:lnTo>
                  <a:lnTo>
                    <a:pt x="2416174" y="772526"/>
                  </a:lnTo>
                  <a:lnTo>
                    <a:pt x="2415815" y="771508"/>
                  </a:lnTo>
                  <a:lnTo>
                    <a:pt x="2415286" y="770475"/>
                  </a:lnTo>
                  <a:lnTo>
                    <a:pt x="2414754" y="768585"/>
                  </a:lnTo>
                  <a:lnTo>
                    <a:pt x="2415184" y="768467"/>
                  </a:lnTo>
                  <a:lnTo>
                    <a:pt x="2415934" y="767642"/>
                  </a:lnTo>
                  <a:lnTo>
                    <a:pt x="2416377" y="767576"/>
                  </a:lnTo>
                  <a:lnTo>
                    <a:pt x="2416209" y="767280"/>
                  </a:lnTo>
                  <a:lnTo>
                    <a:pt x="2416055" y="767108"/>
                  </a:lnTo>
                  <a:lnTo>
                    <a:pt x="2415756" y="766908"/>
                  </a:lnTo>
                  <a:lnTo>
                    <a:pt x="2415928" y="766888"/>
                  </a:lnTo>
                  <a:lnTo>
                    <a:pt x="2415343" y="766660"/>
                  </a:lnTo>
                  <a:lnTo>
                    <a:pt x="2414534" y="765868"/>
                  </a:lnTo>
                  <a:lnTo>
                    <a:pt x="2413860" y="764550"/>
                  </a:lnTo>
                  <a:lnTo>
                    <a:pt x="2413683" y="762690"/>
                  </a:lnTo>
                  <a:lnTo>
                    <a:pt x="2413037" y="760693"/>
                  </a:lnTo>
                  <a:lnTo>
                    <a:pt x="2412711" y="759853"/>
                  </a:lnTo>
                  <a:lnTo>
                    <a:pt x="2412357" y="759118"/>
                  </a:lnTo>
                  <a:lnTo>
                    <a:pt x="2412212" y="757818"/>
                  </a:lnTo>
                  <a:lnTo>
                    <a:pt x="2411833" y="756584"/>
                  </a:lnTo>
                  <a:lnTo>
                    <a:pt x="2410943" y="754683"/>
                  </a:lnTo>
                  <a:lnTo>
                    <a:pt x="2412205" y="751873"/>
                  </a:lnTo>
                  <a:lnTo>
                    <a:pt x="2422910" y="742513"/>
                  </a:lnTo>
                  <a:lnTo>
                    <a:pt x="2423206" y="740530"/>
                  </a:lnTo>
                  <a:lnTo>
                    <a:pt x="2422657" y="740076"/>
                  </a:lnTo>
                  <a:lnTo>
                    <a:pt x="2422708" y="739616"/>
                  </a:lnTo>
                  <a:lnTo>
                    <a:pt x="2428880" y="735299"/>
                  </a:lnTo>
                  <a:lnTo>
                    <a:pt x="2430332" y="731776"/>
                  </a:lnTo>
                  <a:lnTo>
                    <a:pt x="2432490" y="728326"/>
                  </a:lnTo>
                  <a:lnTo>
                    <a:pt x="2433298" y="727965"/>
                  </a:lnTo>
                  <a:lnTo>
                    <a:pt x="2434350" y="728051"/>
                  </a:lnTo>
                  <a:lnTo>
                    <a:pt x="2435227" y="727390"/>
                  </a:lnTo>
                  <a:lnTo>
                    <a:pt x="2435500" y="724761"/>
                  </a:lnTo>
                  <a:lnTo>
                    <a:pt x="2434634" y="725278"/>
                  </a:lnTo>
                  <a:lnTo>
                    <a:pt x="2431832" y="725253"/>
                  </a:lnTo>
                  <a:lnTo>
                    <a:pt x="2432857" y="723850"/>
                  </a:lnTo>
                  <a:lnTo>
                    <a:pt x="2435243" y="722959"/>
                  </a:lnTo>
                  <a:lnTo>
                    <a:pt x="2437392" y="720807"/>
                  </a:lnTo>
                  <a:lnTo>
                    <a:pt x="2441398" y="720964"/>
                  </a:lnTo>
                  <a:lnTo>
                    <a:pt x="2441497" y="721627"/>
                  </a:lnTo>
                  <a:lnTo>
                    <a:pt x="2441257" y="721651"/>
                  </a:lnTo>
                  <a:lnTo>
                    <a:pt x="2441077" y="721819"/>
                  </a:lnTo>
                  <a:lnTo>
                    <a:pt x="2440773" y="722542"/>
                  </a:lnTo>
                  <a:lnTo>
                    <a:pt x="2441810" y="723185"/>
                  </a:lnTo>
                  <a:lnTo>
                    <a:pt x="2447764" y="719242"/>
                  </a:lnTo>
                  <a:lnTo>
                    <a:pt x="2450131" y="719927"/>
                  </a:lnTo>
                  <a:lnTo>
                    <a:pt x="2452298" y="718581"/>
                  </a:lnTo>
                  <a:lnTo>
                    <a:pt x="2453155" y="718976"/>
                  </a:lnTo>
                  <a:lnTo>
                    <a:pt x="2454079" y="720630"/>
                  </a:lnTo>
                  <a:lnTo>
                    <a:pt x="2454413" y="722268"/>
                  </a:lnTo>
                  <a:lnTo>
                    <a:pt x="2455190" y="722487"/>
                  </a:lnTo>
                  <a:lnTo>
                    <a:pt x="2457652" y="720622"/>
                  </a:lnTo>
                  <a:lnTo>
                    <a:pt x="2460040" y="720884"/>
                  </a:lnTo>
                  <a:lnTo>
                    <a:pt x="2460891" y="719605"/>
                  </a:lnTo>
                  <a:lnTo>
                    <a:pt x="2457666" y="718601"/>
                  </a:lnTo>
                  <a:lnTo>
                    <a:pt x="2457537" y="717800"/>
                  </a:lnTo>
                  <a:lnTo>
                    <a:pt x="2458674" y="714138"/>
                  </a:lnTo>
                  <a:lnTo>
                    <a:pt x="2459261" y="713247"/>
                  </a:lnTo>
                  <a:lnTo>
                    <a:pt x="2465739" y="710870"/>
                  </a:lnTo>
                  <a:lnTo>
                    <a:pt x="2467395" y="711797"/>
                  </a:lnTo>
                  <a:lnTo>
                    <a:pt x="2467364" y="712618"/>
                  </a:lnTo>
                  <a:lnTo>
                    <a:pt x="2467920" y="712838"/>
                  </a:lnTo>
                  <a:lnTo>
                    <a:pt x="2468596" y="712691"/>
                  </a:lnTo>
                  <a:lnTo>
                    <a:pt x="2469201" y="712956"/>
                  </a:lnTo>
                  <a:lnTo>
                    <a:pt x="2469547" y="714445"/>
                  </a:lnTo>
                  <a:lnTo>
                    <a:pt x="2470595" y="715573"/>
                  </a:lnTo>
                  <a:lnTo>
                    <a:pt x="2471910" y="716259"/>
                  </a:lnTo>
                  <a:lnTo>
                    <a:pt x="2473096" y="716247"/>
                  </a:lnTo>
                  <a:lnTo>
                    <a:pt x="2473751" y="715266"/>
                  </a:lnTo>
                  <a:lnTo>
                    <a:pt x="2471460" y="712890"/>
                  </a:lnTo>
                  <a:lnTo>
                    <a:pt x="2470782" y="712748"/>
                  </a:lnTo>
                  <a:lnTo>
                    <a:pt x="2470670" y="712092"/>
                  </a:lnTo>
                  <a:lnTo>
                    <a:pt x="2477480" y="710169"/>
                  </a:lnTo>
                  <a:lnTo>
                    <a:pt x="2475440" y="708829"/>
                  </a:lnTo>
                  <a:lnTo>
                    <a:pt x="2472039" y="710841"/>
                  </a:lnTo>
                  <a:lnTo>
                    <a:pt x="2470119" y="710011"/>
                  </a:lnTo>
                  <a:lnTo>
                    <a:pt x="2469293" y="709317"/>
                  </a:lnTo>
                  <a:lnTo>
                    <a:pt x="2464119" y="708430"/>
                  </a:lnTo>
                  <a:lnTo>
                    <a:pt x="2463620" y="709391"/>
                  </a:lnTo>
                  <a:lnTo>
                    <a:pt x="2464071" y="710070"/>
                  </a:lnTo>
                  <a:lnTo>
                    <a:pt x="2463187" y="710047"/>
                  </a:lnTo>
                  <a:lnTo>
                    <a:pt x="2462719" y="709678"/>
                  </a:lnTo>
                  <a:lnTo>
                    <a:pt x="2462171" y="708867"/>
                  </a:lnTo>
                  <a:lnTo>
                    <a:pt x="2462454" y="708662"/>
                  </a:lnTo>
                  <a:lnTo>
                    <a:pt x="2463400" y="705773"/>
                  </a:lnTo>
                  <a:lnTo>
                    <a:pt x="2463755" y="705128"/>
                  </a:lnTo>
                  <a:lnTo>
                    <a:pt x="2466250" y="702920"/>
                  </a:lnTo>
                  <a:lnTo>
                    <a:pt x="2468003" y="702678"/>
                  </a:lnTo>
                  <a:lnTo>
                    <a:pt x="2468425" y="701891"/>
                  </a:lnTo>
                  <a:lnTo>
                    <a:pt x="2467316" y="701006"/>
                  </a:lnTo>
                  <a:lnTo>
                    <a:pt x="2466232" y="700647"/>
                  </a:lnTo>
                  <a:lnTo>
                    <a:pt x="2462123" y="702065"/>
                  </a:lnTo>
                  <a:lnTo>
                    <a:pt x="2460872" y="701403"/>
                  </a:lnTo>
                  <a:lnTo>
                    <a:pt x="2459672" y="698779"/>
                  </a:lnTo>
                  <a:lnTo>
                    <a:pt x="2460815" y="697964"/>
                  </a:lnTo>
                  <a:lnTo>
                    <a:pt x="2462725" y="694536"/>
                  </a:lnTo>
                  <a:lnTo>
                    <a:pt x="2463871" y="693633"/>
                  </a:lnTo>
                  <a:lnTo>
                    <a:pt x="2466561" y="693889"/>
                  </a:lnTo>
                  <a:lnTo>
                    <a:pt x="2468746" y="692039"/>
                  </a:lnTo>
                  <a:lnTo>
                    <a:pt x="2468148" y="691314"/>
                  </a:lnTo>
                  <a:lnTo>
                    <a:pt x="2461581" y="691825"/>
                  </a:lnTo>
                  <a:lnTo>
                    <a:pt x="2456833" y="696367"/>
                  </a:lnTo>
                  <a:lnTo>
                    <a:pt x="2448582" y="695479"/>
                  </a:lnTo>
                  <a:lnTo>
                    <a:pt x="2447355" y="693833"/>
                  </a:lnTo>
                  <a:lnTo>
                    <a:pt x="2447384" y="690846"/>
                  </a:lnTo>
                  <a:lnTo>
                    <a:pt x="2446810" y="690570"/>
                  </a:lnTo>
                  <a:lnTo>
                    <a:pt x="2445986" y="689835"/>
                  </a:lnTo>
                  <a:lnTo>
                    <a:pt x="2445202" y="688574"/>
                  </a:lnTo>
                  <a:lnTo>
                    <a:pt x="2444744" y="686744"/>
                  </a:lnTo>
                  <a:lnTo>
                    <a:pt x="2445010" y="684542"/>
                  </a:lnTo>
                  <a:lnTo>
                    <a:pt x="2446931" y="683178"/>
                  </a:lnTo>
                  <a:lnTo>
                    <a:pt x="2447158" y="681092"/>
                  </a:lnTo>
                  <a:lnTo>
                    <a:pt x="2446893" y="680155"/>
                  </a:lnTo>
                  <a:lnTo>
                    <a:pt x="2446450" y="679366"/>
                  </a:lnTo>
                  <a:lnTo>
                    <a:pt x="2445745" y="678384"/>
                  </a:lnTo>
                  <a:lnTo>
                    <a:pt x="2445490" y="677607"/>
                  </a:lnTo>
                  <a:lnTo>
                    <a:pt x="2445178" y="676117"/>
                  </a:lnTo>
                  <a:lnTo>
                    <a:pt x="2444979" y="675505"/>
                  </a:lnTo>
                  <a:lnTo>
                    <a:pt x="2444448" y="674835"/>
                  </a:lnTo>
                  <a:lnTo>
                    <a:pt x="2442918" y="674992"/>
                  </a:lnTo>
                  <a:lnTo>
                    <a:pt x="2441988" y="674637"/>
                  </a:lnTo>
                  <a:lnTo>
                    <a:pt x="2441482" y="674096"/>
                  </a:lnTo>
                  <a:lnTo>
                    <a:pt x="2440963" y="673036"/>
                  </a:lnTo>
                  <a:lnTo>
                    <a:pt x="2441221" y="673039"/>
                  </a:lnTo>
                  <a:lnTo>
                    <a:pt x="2441453" y="672899"/>
                  </a:lnTo>
                  <a:lnTo>
                    <a:pt x="2441653" y="672603"/>
                  </a:lnTo>
                  <a:lnTo>
                    <a:pt x="2441826" y="672173"/>
                  </a:lnTo>
                  <a:lnTo>
                    <a:pt x="2441350" y="671534"/>
                  </a:lnTo>
                  <a:lnTo>
                    <a:pt x="2440886" y="671401"/>
                  </a:lnTo>
                  <a:lnTo>
                    <a:pt x="2440028" y="671676"/>
                  </a:lnTo>
                  <a:lnTo>
                    <a:pt x="2439464" y="671553"/>
                  </a:lnTo>
                  <a:lnTo>
                    <a:pt x="2436503" y="668656"/>
                  </a:lnTo>
                  <a:lnTo>
                    <a:pt x="2431945" y="666478"/>
                  </a:lnTo>
                  <a:lnTo>
                    <a:pt x="2431246" y="665485"/>
                  </a:lnTo>
                  <a:lnTo>
                    <a:pt x="2430782" y="664029"/>
                  </a:lnTo>
                  <a:lnTo>
                    <a:pt x="2430695" y="662267"/>
                  </a:lnTo>
                  <a:lnTo>
                    <a:pt x="2430896" y="660572"/>
                  </a:lnTo>
                  <a:lnTo>
                    <a:pt x="2431504" y="657896"/>
                  </a:lnTo>
                  <a:lnTo>
                    <a:pt x="2431213" y="657123"/>
                  </a:lnTo>
                  <a:lnTo>
                    <a:pt x="2431255" y="656361"/>
                  </a:lnTo>
                  <a:lnTo>
                    <a:pt x="2431132" y="655444"/>
                  </a:lnTo>
                  <a:lnTo>
                    <a:pt x="2430877" y="654475"/>
                  </a:lnTo>
                  <a:lnTo>
                    <a:pt x="2430520" y="653551"/>
                  </a:lnTo>
                  <a:lnTo>
                    <a:pt x="2430042" y="653191"/>
                  </a:lnTo>
                  <a:lnTo>
                    <a:pt x="2429608" y="653558"/>
                  </a:lnTo>
                  <a:lnTo>
                    <a:pt x="2429184" y="653617"/>
                  </a:lnTo>
                  <a:lnTo>
                    <a:pt x="2428741" y="652309"/>
                  </a:lnTo>
                  <a:lnTo>
                    <a:pt x="2429903" y="651988"/>
                  </a:lnTo>
                  <a:lnTo>
                    <a:pt x="2430126" y="651099"/>
                  </a:lnTo>
                  <a:lnTo>
                    <a:pt x="2429552" y="649210"/>
                  </a:lnTo>
                  <a:lnTo>
                    <a:pt x="2430745" y="648172"/>
                  </a:lnTo>
                  <a:lnTo>
                    <a:pt x="2431076" y="647512"/>
                  </a:lnTo>
                  <a:lnTo>
                    <a:pt x="2430764" y="646995"/>
                  </a:lnTo>
                  <a:lnTo>
                    <a:pt x="2427734" y="643430"/>
                  </a:lnTo>
                  <a:lnTo>
                    <a:pt x="2427636" y="642768"/>
                  </a:lnTo>
                  <a:lnTo>
                    <a:pt x="2428218" y="643327"/>
                  </a:lnTo>
                  <a:lnTo>
                    <a:pt x="2429782" y="643145"/>
                  </a:lnTo>
                  <a:lnTo>
                    <a:pt x="2429766" y="643538"/>
                  </a:lnTo>
                  <a:lnTo>
                    <a:pt x="2429718" y="643714"/>
                  </a:lnTo>
                  <a:lnTo>
                    <a:pt x="2429578" y="643920"/>
                  </a:lnTo>
                  <a:lnTo>
                    <a:pt x="2430500" y="645432"/>
                  </a:lnTo>
                  <a:lnTo>
                    <a:pt x="2431449" y="646219"/>
                  </a:lnTo>
                  <a:lnTo>
                    <a:pt x="2432401" y="646485"/>
                  </a:lnTo>
                  <a:lnTo>
                    <a:pt x="2441466" y="640699"/>
                  </a:lnTo>
                  <a:lnTo>
                    <a:pt x="2450458" y="634856"/>
                  </a:lnTo>
                  <a:lnTo>
                    <a:pt x="2458593" y="635218"/>
                  </a:lnTo>
                  <a:lnTo>
                    <a:pt x="2463411" y="638303"/>
                  </a:lnTo>
                  <a:lnTo>
                    <a:pt x="2468587" y="639395"/>
                  </a:lnTo>
                  <a:lnTo>
                    <a:pt x="2474832" y="643072"/>
                  </a:lnTo>
                  <a:lnTo>
                    <a:pt x="2479279" y="648830"/>
                  </a:lnTo>
                  <a:lnTo>
                    <a:pt x="2481950" y="650622"/>
                  </a:lnTo>
                  <a:lnTo>
                    <a:pt x="2482795" y="652912"/>
                  </a:lnTo>
                  <a:lnTo>
                    <a:pt x="2484439" y="656421"/>
                  </a:lnTo>
                  <a:lnTo>
                    <a:pt x="2485310" y="658016"/>
                  </a:lnTo>
                  <a:lnTo>
                    <a:pt x="2485737" y="658947"/>
                  </a:lnTo>
                  <a:lnTo>
                    <a:pt x="2486052" y="660055"/>
                  </a:lnTo>
                  <a:lnTo>
                    <a:pt x="2486341" y="661203"/>
                  </a:lnTo>
                  <a:lnTo>
                    <a:pt x="2486688" y="662278"/>
                  </a:lnTo>
                  <a:lnTo>
                    <a:pt x="2487053" y="662903"/>
                  </a:lnTo>
                  <a:lnTo>
                    <a:pt x="2487440" y="663384"/>
                  </a:lnTo>
                  <a:lnTo>
                    <a:pt x="2487714" y="663940"/>
                  </a:lnTo>
                  <a:lnTo>
                    <a:pt x="2487733" y="664765"/>
                  </a:lnTo>
                  <a:lnTo>
                    <a:pt x="2489507" y="669699"/>
                  </a:lnTo>
                  <a:lnTo>
                    <a:pt x="2490120" y="671215"/>
                  </a:lnTo>
                  <a:lnTo>
                    <a:pt x="2490623" y="672065"/>
                  </a:lnTo>
                  <a:lnTo>
                    <a:pt x="2491801" y="673242"/>
                  </a:lnTo>
                  <a:lnTo>
                    <a:pt x="2492713" y="674982"/>
                  </a:lnTo>
                  <a:lnTo>
                    <a:pt x="2492668" y="676911"/>
                  </a:lnTo>
                  <a:lnTo>
                    <a:pt x="2491899" y="680541"/>
                  </a:lnTo>
                  <a:lnTo>
                    <a:pt x="2492913" y="680283"/>
                  </a:lnTo>
                  <a:lnTo>
                    <a:pt x="2495897" y="675902"/>
                  </a:lnTo>
                  <a:lnTo>
                    <a:pt x="2496901" y="675567"/>
                  </a:lnTo>
                  <a:lnTo>
                    <a:pt x="2497332" y="675049"/>
                  </a:lnTo>
                  <a:lnTo>
                    <a:pt x="2497314" y="674685"/>
                  </a:lnTo>
                  <a:lnTo>
                    <a:pt x="2497151" y="674204"/>
                  </a:lnTo>
                  <a:lnTo>
                    <a:pt x="2497069" y="673780"/>
                  </a:lnTo>
                  <a:lnTo>
                    <a:pt x="2497289" y="673552"/>
                  </a:lnTo>
                  <a:lnTo>
                    <a:pt x="2497551" y="673594"/>
                  </a:lnTo>
                  <a:lnTo>
                    <a:pt x="2497834" y="673815"/>
                  </a:lnTo>
                  <a:lnTo>
                    <a:pt x="2498141" y="674225"/>
                  </a:lnTo>
                  <a:lnTo>
                    <a:pt x="2498468" y="674841"/>
                  </a:lnTo>
                  <a:lnTo>
                    <a:pt x="2498321" y="675670"/>
                  </a:lnTo>
                  <a:lnTo>
                    <a:pt x="2498105" y="676252"/>
                  </a:lnTo>
                  <a:lnTo>
                    <a:pt x="2497816" y="676556"/>
                  </a:lnTo>
                  <a:lnTo>
                    <a:pt x="2497455" y="676532"/>
                  </a:lnTo>
                  <a:lnTo>
                    <a:pt x="2497838" y="677466"/>
                  </a:lnTo>
                  <a:lnTo>
                    <a:pt x="2498287" y="678110"/>
                  </a:lnTo>
                  <a:lnTo>
                    <a:pt x="2498734" y="678472"/>
                  </a:lnTo>
                  <a:lnTo>
                    <a:pt x="2499103" y="678552"/>
                  </a:lnTo>
                  <a:lnTo>
                    <a:pt x="2499454" y="678774"/>
                  </a:lnTo>
                  <a:lnTo>
                    <a:pt x="2500725" y="680660"/>
                  </a:lnTo>
                  <a:lnTo>
                    <a:pt x="2501672" y="681467"/>
                  </a:lnTo>
                  <a:lnTo>
                    <a:pt x="2511501" y="681501"/>
                  </a:lnTo>
                  <a:lnTo>
                    <a:pt x="2513173" y="682244"/>
                  </a:lnTo>
                  <a:lnTo>
                    <a:pt x="2518515" y="686987"/>
                  </a:lnTo>
                  <a:lnTo>
                    <a:pt x="2525937" y="687715"/>
                  </a:lnTo>
                  <a:lnTo>
                    <a:pt x="2525078" y="685814"/>
                  </a:lnTo>
                  <a:lnTo>
                    <a:pt x="2523198" y="684337"/>
                  </a:lnTo>
                  <a:lnTo>
                    <a:pt x="2522277" y="683230"/>
                  </a:lnTo>
                  <a:lnTo>
                    <a:pt x="2522207" y="681675"/>
                  </a:lnTo>
                  <a:lnTo>
                    <a:pt x="2521712" y="680614"/>
                  </a:lnTo>
                  <a:lnTo>
                    <a:pt x="2521059" y="679975"/>
                  </a:lnTo>
                  <a:lnTo>
                    <a:pt x="2520533" y="679742"/>
                  </a:lnTo>
                  <a:lnTo>
                    <a:pt x="2521044" y="677096"/>
                  </a:lnTo>
                  <a:lnTo>
                    <a:pt x="2522831" y="676722"/>
                  </a:lnTo>
                  <a:lnTo>
                    <a:pt x="2526510" y="677790"/>
                  </a:lnTo>
                  <a:lnTo>
                    <a:pt x="2533100" y="674928"/>
                  </a:lnTo>
                  <a:lnTo>
                    <a:pt x="2540742" y="676382"/>
                  </a:lnTo>
                  <a:lnTo>
                    <a:pt x="2548406" y="677797"/>
                  </a:lnTo>
                  <a:lnTo>
                    <a:pt x="2547946" y="676448"/>
                  </a:lnTo>
                  <a:lnTo>
                    <a:pt x="2547026" y="674102"/>
                  </a:lnTo>
                  <a:lnTo>
                    <a:pt x="2546947" y="673401"/>
                  </a:lnTo>
                  <a:lnTo>
                    <a:pt x="2538653" y="671012"/>
                  </a:lnTo>
                  <a:lnTo>
                    <a:pt x="2537094" y="668042"/>
                  </a:lnTo>
                  <a:lnTo>
                    <a:pt x="2537519" y="666406"/>
                  </a:lnTo>
                  <a:lnTo>
                    <a:pt x="2541715" y="665543"/>
                  </a:lnTo>
                  <a:lnTo>
                    <a:pt x="2542642" y="664352"/>
                  </a:lnTo>
                  <a:lnTo>
                    <a:pt x="2543768" y="661771"/>
                  </a:lnTo>
                  <a:lnTo>
                    <a:pt x="2545501" y="660875"/>
                  </a:lnTo>
                  <a:lnTo>
                    <a:pt x="2546159" y="659964"/>
                  </a:lnTo>
                  <a:lnTo>
                    <a:pt x="2546393" y="659340"/>
                  </a:lnTo>
                  <a:lnTo>
                    <a:pt x="2546579" y="658364"/>
                  </a:lnTo>
                  <a:lnTo>
                    <a:pt x="2546735" y="654930"/>
                  </a:lnTo>
                  <a:lnTo>
                    <a:pt x="2546984" y="654419"/>
                  </a:lnTo>
                  <a:lnTo>
                    <a:pt x="2547836" y="653635"/>
                  </a:lnTo>
                  <a:lnTo>
                    <a:pt x="2550622" y="641462"/>
                  </a:lnTo>
                  <a:lnTo>
                    <a:pt x="2551326" y="640561"/>
                  </a:lnTo>
                  <a:lnTo>
                    <a:pt x="2551490" y="639924"/>
                  </a:lnTo>
                  <a:lnTo>
                    <a:pt x="2551371" y="638621"/>
                  </a:lnTo>
                  <a:lnTo>
                    <a:pt x="2551206" y="637329"/>
                  </a:lnTo>
                  <a:lnTo>
                    <a:pt x="2551215" y="636721"/>
                  </a:lnTo>
                  <a:lnTo>
                    <a:pt x="2551580" y="636422"/>
                  </a:lnTo>
                  <a:lnTo>
                    <a:pt x="2552468" y="634809"/>
                  </a:lnTo>
                  <a:lnTo>
                    <a:pt x="2553025" y="627205"/>
                  </a:lnTo>
                  <a:lnTo>
                    <a:pt x="2552830" y="627169"/>
                  </a:lnTo>
                  <a:lnTo>
                    <a:pt x="2552231" y="626695"/>
                  </a:lnTo>
                  <a:lnTo>
                    <a:pt x="2552749" y="625039"/>
                  </a:lnTo>
                  <a:lnTo>
                    <a:pt x="2554210" y="622698"/>
                  </a:lnTo>
                  <a:lnTo>
                    <a:pt x="2554362" y="620065"/>
                  </a:lnTo>
                  <a:lnTo>
                    <a:pt x="2554186" y="618707"/>
                  </a:lnTo>
                  <a:lnTo>
                    <a:pt x="2553715" y="616933"/>
                  </a:lnTo>
                  <a:lnTo>
                    <a:pt x="2553610" y="616061"/>
                  </a:lnTo>
                  <a:lnTo>
                    <a:pt x="2553783" y="614700"/>
                  </a:lnTo>
                  <a:lnTo>
                    <a:pt x="2555048" y="612314"/>
                  </a:lnTo>
                  <a:lnTo>
                    <a:pt x="2553579" y="610307"/>
                  </a:lnTo>
                  <a:lnTo>
                    <a:pt x="2553847" y="609728"/>
                  </a:lnTo>
                  <a:lnTo>
                    <a:pt x="2554544" y="609253"/>
                  </a:lnTo>
                  <a:lnTo>
                    <a:pt x="2554746" y="608513"/>
                  </a:lnTo>
                  <a:lnTo>
                    <a:pt x="2554271" y="607972"/>
                  </a:lnTo>
                  <a:lnTo>
                    <a:pt x="2553348" y="606626"/>
                  </a:lnTo>
                  <a:lnTo>
                    <a:pt x="2552950" y="605890"/>
                  </a:lnTo>
                  <a:lnTo>
                    <a:pt x="2553097" y="605733"/>
                  </a:lnTo>
                  <a:lnTo>
                    <a:pt x="2553129" y="605563"/>
                  </a:lnTo>
                  <a:lnTo>
                    <a:pt x="2553105" y="605165"/>
                  </a:lnTo>
                  <a:lnTo>
                    <a:pt x="2551779" y="603392"/>
                  </a:lnTo>
                  <a:lnTo>
                    <a:pt x="2551299" y="602476"/>
                  </a:lnTo>
                  <a:lnTo>
                    <a:pt x="2551978" y="600362"/>
                  </a:lnTo>
                  <a:lnTo>
                    <a:pt x="2553140" y="599489"/>
                  </a:lnTo>
                  <a:lnTo>
                    <a:pt x="2555772" y="599155"/>
                  </a:lnTo>
                  <a:lnTo>
                    <a:pt x="2555367" y="597715"/>
                  </a:lnTo>
                  <a:lnTo>
                    <a:pt x="2555527" y="596848"/>
                  </a:lnTo>
                  <a:lnTo>
                    <a:pt x="2555805" y="595984"/>
                  </a:lnTo>
                  <a:lnTo>
                    <a:pt x="2555767" y="594593"/>
                  </a:lnTo>
                  <a:lnTo>
                    <a:pt x="2551678" y="595815"/>
                  </a:lnTo>
                  <a:lnTo>
                    <a:pt x="2548880" y="598525"/>
                  </a:lnTo>
                  <a:lnTo>
                    <a:pt x="2547381" y="602657"/>
                  </a:lnTo>
                  <a:lnTo>
                    <a:pt x="2547212" y="603808"/>
                  </a:lnTo>
                  <a:lnTo>
                    <a:pt x="2547752" y="606873"/>
                  </a:lnTo>
                  <a:lnTo>
                    <a:pt x="2548887" y="609087"/>
                  </a:lnTo>
                  <a:lnTo>
                    <a:pt x="2550029" y="610951"/>
                  </a:lnTo>
                  <a:lnTo>
                    <a:pt x="2550590" y="612966"/>
                  </a:lnTo>
                  <a:lnTo>
                    <a:pt x="2550389" y="614360"/>
                  </a:lnTo>
                  <a:lnTo>
                    <a:pt x="2547293" y="618878"/>
                  </a:lnTo>
                  <a:lnTo>
                    <a:pt x="2547068" y="620214"/>
                  </a:lnTo>
                  <a:lnTo>
                    <a:pt x="2547337" y="620984"/>
                  </a:lnTo>
                  <a:lnTo>
                    <a:pt x="2547318" y="621839"/>
                  </a:lnTo>
                  <a:lnTo>
                    <a:pt x="2547205" y="622827"/>
                  </a:lnTo>
                  <a:lnTo>
                    <a:pt x="2547180" y="623985"/>
                  </a:lnTo>
                  <a:lnTo>
                    <a:pt x="2547322" y="623953"/>
                  </a:lnTo>
                  <a:lnTo>
                    <a:pt x="2547252" y="625081"/>
                  </a:lnTo>
                  <a:lnTo>
                    <a:pt x="2546053" y="627072"/>
                  </a:lnTo>
                  <a:lnTo>
                    <a:pt x="2545565" y="628758"/>
                  </a:lnTo>
                  <a:lnTo>
                    <a:pt x="2545439" y="629748"/>
                  </a:lnTo>
                  <a:lnTo>
                    <a:pt x="2545659" y="636868"/>
                  </a:lnTo>
                  <a:lnTo>
                    <a:pt x="2545618" y="638395"/>
                  </a:lnTo>
                  <a:lnTo>
                    <a:pt x="2545117" y="640132"/>
                  </a:lnTo>
                  <a:lnTo>
                    <a:pt x="2543710" y="643025"/>
                  </a:lnTo>
                  <a:lnTo>
                    <a:pt x="2543422" y="648452"/>
                  </a:lnTo>
                  <a:lnTo>
                    <a:pt x="2543092" y="650297"/>
                  </a:lnTo>
                  <a:lnTo>
                    <a:pt x="2538949" y="659259"/>
                  </a:lnTo>
                  <a:lnTo>
                    <a:pt x="2534359" y="664774"/>
                  </a:lnTo>
                  <a:lnTo>
                    <a:pt x="2534102" y="664490"/>
                  </a:lnTo>
                  <a:lnTo>
                    <a:pt x="2534035" y="663751"/>
                  </a:lnTo>
                  <a:lnTo>
                    <a:pt x="2534092" y="662992"/>
                  </a:lnTo>
                  <a:lnTo>
                    <a:pt x="2534209" y="662602"/>
                  </a:lnTo>
                  <a:lnTo>
                    <a:pt x="2530123" y="663886"/>
                  </a:lnTo>
                  <a:lnTo>
                    <a:pt x="2523775" y="662635"/>
                  </a:lnTo>
                  <a:lnTo>
                    <a:pt x="2514122" y="665920"/>
                  </a:lnTo>
                  <a:lnTo>
                    <a:pt x="2513471" y="665562"/>
                  </a:lnTo>
                  <a:lnTo>
                    <a:pt x="2511651" y="663869"/>
                  </a:lnTo>
                  <a:lnTo>
                    <a:pt x="2510945" y="662703"/>
                  </a:lnTo>
                  <a:lnTo>
                    <a:pt x="2510955" y="661879"/>
                  </a:lnTo>
                  <a:lnTo>
                    <a:pt x="2510458" y="660759"/>
                  </a:lnTo>
                  <a:lnTo>
                    <a:pt x="2510518" y="659688"/>
                  </a:lnTo>
                  <a:lnTo>
                    <a:pt x="2510848" y="658761"/>
                  </a:lnTo>
                  <a:lnTo>
                    <a:pt x="2514323" y="654506"/>
                  </a:lnTo>
                  <a:lnTo>
                    <a:pt x="2514687" y="653679"/>
                  </a:lnTo>
                  <a:lnTo>
                    <a:pt x="2515038" y="650985"/>
                  </a:lnTo>
                  <a:lnTo>
                    <a:pt x="2516503" y="648113"/>
                  </a:lnTo>
                  <a:lnTo>
                    <a:pt x="2516951" y="646410"/>
                  </a:lnTo>
                  <a:lnTo>
                    <a:pt x="2517087" y="642700"/>
                  </a:lnTo>
                  <a:lnTo>
                    <a:pt x="2516975" y="642345"/>
                  </a:lnTo>
                  <a:lnTo>
                    <a:pt x="2516622" y="641535"/>
                  </a:lnTo>
                  <a:lnTo>
                    <a:pt x="2516245" y="640829"/>
                  </a:lnTo>
                  <a:lnTo>
                    <a:pt x="2515836" y="640345"/>
                  </a:lnTo>
                  <a:lnTo>
                    <a:pt x="2515431" y="640052"/>
                  </a:lnTo>
                  <a:lnTo>
                    <a:pt x="2515060" y="639924"/>
                  </a:lnTo>
                  <a:lnTo>
                    <a:pt x="2515045" y="639927"/>
                  </a:lnTo>
                  <a:lnTo>
                    <a:pt x="2514999" y="639900"/>
                  </a:lnTo>
                  <a:lnTo>
                    <a:pt x="2514925" y="639866"/>
                  </a:lnTo>
                  <a:lnTo>
                    <a:pt x="2514849" y="639845"/>
                  </a:lnTo>
                  <a:lnTo>
                    <a:pt x="2514779" y="639882"/>
                  </a:lnTo>
                  <a:lnTo>
                    <a:pt x="2514717" y="639962"/>
                  </a:lnTo>
                  <a:lnTo>
                    <a:pt x="2515026" y="640008"/>
                  </a:lnTo>
                  <a:lnTo>
                    <a:pt x="2515093" y="640048"/>
                  </a:lnTo>
                  <a:lnTo>
                    <a:pt x="2515122" y="640069"/>
                  </a:lnTo>
                  <a:lnTo>
                    <a:pt x="2515637" y="641018"/>
                  </a:lnTo>
                  <a:lnTo>
                    <a:pt x="2515835" y="641316"/>
                  </a:lnTo>
                  <a:lnTo>
                    <a:pt x="2516003" y="643548"/>
                  </a:lnTo>
                  <a:lnTo>
                    <a:pt x="2515998" y="644196"/>
                  </a:lnTo>
                  <a:lnTo>
                    <a:pt x="2515857" y="645451"/>
                  </a:lnTo>
                  <a:lnTo>
                    <a:pt x="2515830" y="646252"/>
                  </a:lnTo>
                  <a:lnTo>
                    <a:pt x="2515545" y="647900"/>
                  </a:lnTo>
                  <a:lnTo>
                    <a:pt x="2514065" y="649466"/>
                  </a:lnTo>
                  <a:lnTo>
                    <a:pt x="2512525" y="653054"/>
                  </a:lnTo>
                  <a:lnTo>
                    <a:pt x="2508083" y="657990"/>
                  </a:lnTo>
                  <a:lnTo>
                    <a:pt x="2507505" y="657532"/>
                  </a:lnTo>
                  <a:lnTo>
                    <a:pt x="2506304" y="656066"/>
                  </a:lnTo>
                  <a:lnTo>
                    <a:pt x="2499010" y="653437"/>
                  </a:lnTo>
                  <a:lnTo>
                    <a:pt x="2498198" y="652329"/>
                  </a:lnTo>
                  <a:lnTo>
                    <a:pt x="2498080" y="650948"/>
                  </a:lnTo>
                  <a:lnTo>
                    <a:pt x="2498223" y="649374"/>
                  </a:lnTo>
                  <a:lnTo>
                    <a:pt x="2498203" y="647674"/>
                  </a:lnTo>
                  <a:lnTo>
                    <a:pt x="2496233" y="646169"/>
                  </a:lnTo>
                  <a:lnTo>
                    <a:pt x="2495744" y="645197"/>
                  </a:lnTo>
                  <a:lnTo>
                    <a:pt x="2498554" y="642600"/>
                  </a:lnTo>
                  <a:lnTo>
                    <a:pt x="2498518" y="641370"/>
                  </a:lnTo>
                  <a:lnTo>
                    <a:pt x="2498296" y="639828"/>
                  </a:lnTo>
                  <a:lnTo>
                    <a:pt x="2498191" y="638310"/>
                  </a:lnTo>
                  <a:lnTo>
                    <a:pt x="2498602" y="637363"/>
                  </a:lnTo>
                  <a:lnTo>
                    <a:pt x="2501175" y="637399"/>
                  </a:lnTo>
                  <a:lnTo>
                    <a:pt x="2502763" y="635183"/>
                  </a:lnTo>
                  <a:lnTo>
                    <a:pt x="2503085" y="634027"/>
                  </a:lnTo>
                  <a:lnTo>
                    <a:pt x="2502179" y="632545"/>
                  </a:lnTo>
                  <a:lnTo>
                    <a:pt x="2501319" y="632661"/>
                  </a:lnTo>
                  <a:lnTo>
                    <a:pt x="2500618" y="633692"/>
                  </a:lnTo>
                  <a:lnTo>
                    <a:pt x="2499918" y="635481"/>
                  </a:lnTo>
                  <a:lnTo>
                    <a:pt x="2498698" y="635618"/>
                  </a:lnTo>
                  <a:lnTo>
                    <a:pt x="2496463" y="638021"/>
                  </a:lnTo>
                  <a:lnTo>
                    <a:pt x="2494982" y="638298"/>
                  </a:lnTo>
                  <a:lnTo>
                    <a:pt x="2493530" y="637533"/>
                  </a:lnTo>
                  <a:lnTo>
                    <a:pt x="2492971" y="636798"/>
                  </a:lnTo>
                  <a:lnTo>
                    <a:pt x="2492647" y="635675"/>
                  </a:lnTo>
                  <a:lnTo>
                    <a:pt x="2492729" y="634074"/>
                  </a:lnTo>
                  <a:lnTo>
                    <a:pt x="2493649" y="631040"/>
                  </a:lnTo>
                  <a:lnTo>
                    <a:pt x="2494946" y="629322"/>
                  </a:lnTo>
                  <a:lnTo>
                    <a:pt x="2496497" y="628703"/>
                  </a:lnTo>
                  <a:lnTo>
                    <a:pt x="2499962" y="629135"/>
                  </a:lnTo>
                  <a:lnTo>
                    <a:pt x="2501583" y="628289"/>
                  </a:lnTo>
                  <a:lnTo>
                    <a:pt x="2502684" y="626623"/>
                  </a:lnTo>
                  <a:lnTo>
                    <a:pt x="2503338" y="626290"/>
                  </a:lnTo>
                  <a:lnTo>
                    <a:pt x="2504203" y="626961"/>
                  </a:lnTo>
                  <a:lnTo>
                    <a:pt x="2504048" y="626991"/>
                  </a:lnTo>
                  <a:lnTo>
                    <a:pt x="2503725" y="630488"/>
                  </a:lnTo>
                  <a:lnTo>
                    <a:pt x="2503709" y="632573"/>
                  </a:lnTo>
                  <a:lnTo>
                    <a:pt x="2504133" y="632819"/>
                  </a:lnTo>
                  <a:lnTo>
                    <a:pt x="2507443" y="624463"/>
                  </a:lnTo>
                  <a:lnTo>
                    <a:pt x="2515112" y="625074"/>
                  </a:lnTo>
                  <a:lnTo>
                    <a:pt x="2515833" y="623893"/>
                  </a:lnTo>
                  <a:lnTo>
                    <a:pt x="2509850" y="621735"/>
                  </a:lnTo>
                  <a:lnTo>
                    <a:pt x="2502310" y="624215"/>
                  </a:lnTo>
                  <a:lnTo>
                    <a:pt x="2494749" y="626656"/>
                  </a:lnTo>
                  <a:lnTo>
                    <a:pt x="2492655" y="629844"/>
                  </a:lnTo>
                  <a:lnTo>
                    <a:pt x="2490188" y="631681"/>
                  </a:lnTo>
                  <a:lnTo>
                    <a:pt x="2489690" y="631642"/>
                  </a:lnTo>
                  <a:lnTo>
                    <a:pt x="2489141" y="630627"/>
                  </a:lnTo>
                  <a:lnTo>
                    <a:pt x="2488819" y="629450"/>
                  </a:lnTo>
                  <a:lnTo>
                    <a:pt x="2488694" y="628492"/>
                  </a:lnTo>
                  <a:lnTo>
                    <a:pt x="2488762" y="627835"/>
                  </a:lnTo>
                  <a:lnTo>
                    <a:pt x="2489024" y="627571"/>
                  </a:lnTo>
                  <a:lnTo>
                    <a:pt x="2485140" y="627429"/>
                  </a:lnTo>
                  <a:lnTo>
                    <a:pt x="2484192" y="625828"/>
                  </a:lnTo>
                  <a:lnTo>
                    <a:pt x="2484315" y="624158"/>
                  </a:lnTo>
                  <a:lnTo>
                    <a:pt x="2489875" y="616945"/>
                  </a:lnTo>
                  <a:lnTo>
                    <a:pt x="2495367" y="609712"/>
                  </a:lnTo>
                  <a:lnTo>
                    <a:pt x="2496459" y="609822"/>
                  </a:lnTo>
                  <a:lnTo>
                    <a:pt x="2498895" y="611358"/>
                  </a:lnTo>
                  <a:lnTo>
                    <a:pt x="2503937" y="611129"/>
                  </a:lnTo>
                  <a:lnTo>
                    <a:pt x="2504267" y="610755"/>
                  </a:lnTo>
                  <a:lnTo>
                    <a:pt x="2505718" y="607423"/>
                  </a:lnTo>
                  <a:lnTo>
                    <a:pt x="2506796" y="606174"/>
                  </a:lnTo>
                  <a:lnTo>
                    <a:pt x="2511350" y="605699"/>
                  </a:lnTo>
                  <a:lnTo>
                    <a:pt x="2512176" y="604199"/>
                  </a:lnTo>
                  <a:lnTo>
                    <a:pt x="2505532" y="605762"/>
                  </a:lnTo>
                  <a:lnTo>
                    <a:pt x="2502707" y="608749"/>
                  </a:lnTo>
                  <a:lnTo>
                    <a:pt x="2500183" y="609332"/>
                  </a:lnTo>
                  <a:lnTo>
                    <a:pt x="2493721" y="605572"/>
                  </a:lnTo>
                  <a:lnTo>
                    <a:pt x="2494453" y="602805"/>
                  </a:lnTo>
                  <a:lnTo>
                    <a:pt x="2494812" y="599279"/>
                  </a:lnTo>
                  <a:lnTo>
                    <a:pt x="2494595" y="598527"/>
                  </a:lnTo>
                  <a:lnTo>
                    <a:pt x="2494290" y="598024"/>
                  </a:lnTo>
                  <a:lnTo>
                    <a:pt x="2493947" y="597830"/>
                  </a:lnTo>
                  <a:lnTo>
                    <a:pt x="2493609" y="598002"/>
                  </a:lnTo>
                  <a:lnTo>
                    <a:pt x="2493461" y="597277"/>
                  </a:lnTo>
                  <a:lnTo>
                    <a:pt x="2497951" y="597501"/>
                  </a:lnTo>
                  <a:lnTo>
                    <a:pt x="2502015" y="592923"/>
                  </a:lnTo>
                  <a:lnTo>
                    <a:pt x="2507371" y="593208"/>
                  </a:lnTo>
                  <a:lnTo>
                    <a:pt x="2512165" y="595698"/>
                  </a:lnTo>
                  <a:lnTo>
                    <a:pt x="2515705" y="592834"/>
                  </a:lnTo>
                  <a:lnTo>
                    <a:pt x="2515545" y="592116"/>
                  </a:lnTo>
                  <a:lnTo>
                    <a:pt x="2511243" y="593004"/>
                  </a:lnTo>
                  <a:lnTo>
                    <a:pt x="2506164" y="591015"/>
                  </a:lnTo>
                  <a:lnTo>
                    <a:pt x="2498835" y="591903"/>
                  </a:lnTo>
                  <a:lnTo>
                    <a:pt x="2496650" y="594406"/>
                  </a:lnTo>
                  <a:lnTo>
                    <a:pt x="2494890" y="594531"/>
                  </a:lnTo>
                  <a:lnTo>
                    <a:pt x="2494173" y="593257"/>
                  </a:lnTo>
                  <a:lnTo>
                    <a:pt x="2493937" y="590005"/>
                  </a:lnTo>
                  <a:lnTo>
                    <a:pt x="2494029" y="588790"/>
                  </a:lnTo>
                  <a:lnTo>
                    <a:pt x="2494612" y="586107"/>
                  </a:lnTo>
                  <a:lnTo>
                    <a:pt x="2494688" y="585267"/>
                  </a:lnTo>
                  <a:lnTo>
                    <a:pt x="2494677" y="582743"/>
                  </a:lnTo>
                  <a:lnTo>
                    <a:pt x="2495201" y="580657"/>
                  </a:lnTo>
                  <a:lnTo>
                    <a:pt x="2499630" y="577886"/>
                  </a:lnTo>
                  <a:lnTo>
                    <a:pt x="2499675" y="576800"/>
                  </a:lnTo>
                  <a:lnTo>
                    <a:pt x="2499213" y="575414"/>
                  </a:lnTo>
                  <a:lnTo>
                    <a:pt x="2498716" y="574933"/>
                  </a:lnTo>
                  <a:lnTo>
                    <a:pt x="2498284" y="575100"/>
                  </a:lnTo>
                  <a:lnTo>
                    <a:pt x="2498022" y="575650"/>
                  </a:lnTo>
                  <a:lnTo>
                    <a:pt x="2497639" y="577041"/>
                  </a:lnTo>
                  <a:lnTo>
                    <a:pt x="2497173" y="578022"/>
                  </a:lnTo>
                  <a:lnTo>
                    <a:pt x="2496594" y="578571"/>
                  </a:lnTo>
                  <a:lnTo>
                    <a:pt x="2495874" y="578682"/>
                  </a:lnTo>
                  <a:lnTo>
                    <a:pt x="2495162" y="578260"/>
                  </a:lnTo>
                  <a:lnTo>
                    <a:pt x="2493605" y="576688"/>
                  </a:lnTo>
                  <a:lnTo>
                    <a:pt x="2492889" y="576316"/>
                  </a:lnTo>
                  <a:lnTo>
                    <a:pt x="2492907" y="575734"/>
                  </a:lnTo>
                  <a:lnTo>
                    <a:pt x="2492962" y="575283"/>
                  </a:lnTo>
                  <a:lnTo>
                    <a:pt x="2493052" y="574952"/>
                  </a:lnTo>
                  <a:lnTo>
                    <a:pt x="2493007" y="574718"/>
                  </a:lnTo>
                  <a:lnTo>
                    <a:pt x="2493046" y="573580"/>
                  </a:lnTo>
                  <a:lnTo>
                    <a:pt x="2492912" y="571722"/>
                  </a:lnTo>
                  <a:lnTo>
                    <a:pt x="2492657" y="569618"/>
                  </a:lnTo>
                  <a:lnTo>
                    <a:pt x="2492328" y="567704"/>
                  </a:lnTo>
                  <a:lnTo>
                    <a:pt x="2492199" y="565741"/>
                  </a:lnTo>
                  <a:lnTo>
                    <a:pt x="2492474" y="564584"/>
                  </a:lnTo>
                  <a:lnTo>
                    <a:pt x="2492507" y="563420"/>
                  </a:lnTo>
                  <a:lnTo>
                    <a:pt x="2491643" y="561435"/>
                  </a:lnTo>
                  <a:lnTo>
                    <a:pt x="2492585" y="558419"/>
                  </a:lnTo>
                  <a:lnTo>
                    <a:pt x="2492956" y="553957"/>
                  </a:lnTo>
                  <a:lnTo>
                    <a:pt x="2493165" y="552703"/>
                  </a:lnTo>
                  <a:lnTo>
                    <a:pt x="2493469" y="551974"/>
                  </a:lnTo>
                  <a:lnTo>
                    <a:pt x="2492612" y="551076"/>
                  </a:lnTo>
                  <a:lnTo>
                    <a:pt x="2492103" y="552097"/>
                  </a:lnTo>
                  <a:lnTo>
                    <a:pt x="2491524" y="555778"/>
                  </a:lnTo>
                  <a:lnTo>
                    <a:pt x="2490357" y="560058"/>
                  </a:lnTo>
                  <a:lnTo>
                    <a:pt x="2490162" y="561724"/>
                  </a:lnTo>
                  <a:lnTo>
                    <a:pt x="2490362" y="562829"/>
                  </a:lnTo>
                  <a:lnTo>
                    <a:pt x="2490610" y="564557"/>
                  </a:lnTo>
                  <a:lnTo>
                    <a:pt x="2490734" y="566161"/>
                  </a:lnTo>
                  <a:lnTo>
                    <a:pt x="2490553" y="566919"/>
                  </a:lnTo>
                  <a:lnTo>
                    <a:pt x="2490375" y="567303"/>
                  </a:lnTo>
                  <a:lnTo>
                    <a:pt x="2490319" y="569063"/>
                  </a:lnTo>
                  <a:lnTo>
                    <a:pt x="2490153" y="569759"/>
                  </a:lnTo>
                  <a:lnTo>
                    <a:pt x="2489661" y="570509"/>
                  </a:lnTo>
                  <a:lnTo>
                    <a:pt x="2489540" y="571204"/>
                  </a:lnTo>
                  <a:lnTo>
                    <a:pt x="2489619" y="572431"/>
                  </a:lnTo>
                  <a:lnTo>
                    <a:pt x="2489847" y="572549"/>
                  </a:lnTo>
                  <a:lnTo>
                    <a:pt x="2490025" y="572779"/>
                  </a:lnTo>
                  <a:lnTo>
                    <a:pt x="2490482" y="573633"/>
                  </a:lnTo>
                  <a:lnTo>
                    <a:pt x="2490446" y="574689"/>
                  </a:lnTo>
                  <a:lnTo>
                    <a:pt x="2490572" y="576230"/>
                  </a:lnTo>
                  <a:lnTo>
                    <a:pt x="2490881" y="577767"/>
                  </a:lnTo>
                  <a:lnTo>
                    <a:pt x="2491393" y="578799"/>
                  </a:lnTo>
                  <a:lnTo>
                    <a:pt x="2491274" y="580064"/>
                  </a:lnTo>
                  <a:lnTo>
                    <a:pt x="2490557" y="582354"/>
                  </a:lnTo>
                  <a:lnTo>
                    <a:pt x="2490197" y="582853"/>
                  </a:lnTo>
                  <a:lnTo>
                    <a:pt x="2490457" y="583866"/>
                  </a:lnTo>
                  <a:lnTo>
                    <a:pt x="2490651" y="584434"/>
                  </a:lnTo>
                  <a:lnTo>
                    <a:pt x="2490841" y="584721"/>
                  </a:lnTo>
                  <a:lnTo>
                    <a:pt x="2491076" y="584877"/>
                  </a:lnTo>
                  <a:lnTo>
                    <a:pt x="2491224" y="585598"/>
                  </a:lnTo>
                  <a:lnTo>
                    <a:pt x="2490640" y="586104"/>
                  </a:lnTo>
                  <a:lnTo>
                    <a:pt x="2490208" y="586913"/>
                  </a:lnTo>
                  <a:lnTo>
                    <a:pt x="2488807" y="592782"/>
                  </a:lnTo>
                  <a:lnTo>
                    <a:pt x="2488502" y="595747"/>
                  </a:lnTo>
                  <a:lnTo>
                    <a:pt x="2486647" y="600660"/>
                  </a:lnTo>
                  <a:lnTo>
                    <a:pt x="2486386" y="602066"/>
                  </a:lnTo>
                  <a:lnTo>
                    <a:pt x="2486450" y="603183"/>
                  </a:lnTo>
                  <a:lnTo>
                    <a:pt x="2484881" y="606899"/>
                  </a:lnTo>
                  <a:lnTo>
                    <a:pt x="2484110" y="607366"/>
                  </a:lnTo>
                  <a:lnTo>
                    <a:pt x="2483981" y="606705"/>
                  </a:lnTo>
                  <a:lnTo>
                    <a:pt x="2484212" y="606645"/>
                  </a:lnTo>
                  <a:lnTo>
                    <a:pt x="2484412" y="606451"/>
                  </a:lnTo>
                  <a:lnTo>
                    <a:pt x="2484740" y="605756"/>
                  </a:lnTo>
                  <a:lnTo>
                    <a:pt x="2477049" y="610146"/>
                  </a:lnTo>
                  <a:lnTo>
                    <a:pt x="2469311" y="614494"/>
                  </a:lnTo>
                  <a:lnTo>
                    <a:pt x="2468857" y="614277"/>
                  </a:lnTo>
                  <a:lnTo>
                    <a:pt x="2468151" y="613624"/>
                  </a:lnTo>
                  <a:lnTo>
                    <a:pt x="2467516" y="612469"/>
                  </a:lnTo>
                  <a:lnTo>
                    <a:pt x="2467268" y="610688"/>
                  </a:lnTo>
                  <a:lnTo>
                    <a:pt x="2467244" y="608039"/>
                  </a:lnTo>
                  <a:lnTo>
                    <a:pt x="2467350" y="606949"/>
                  </a:lnTo>
                  <a:lnTo>
                    <a:pt x="2467694" y="606528"/>
                  </a:lnTo>
                  <a:lnTo>
                    <a:pt x="2467548" y="605736"/>
                  </a:lnTo>
                  <a:lnTo>
                    <a:pt x="2467330" y="605389"/>
                  </a:lnTo>
                  <a:lnTo>
                    <a:pt x="2466992" y="604678"/>
                  </a:lnTo>
                  <a:lnTo>
                    <a:pt x="2466813" y="604361"/>
                  </a:lnTo>
                  <a:lnTo>
                    <a:pt x="2467355" y="603383"/>
                  </a:lnTo>
                  <a:lnTo>
                    <a:pt x="2469604" y="602379"/>
                  </a:lnTo>
                  <a:lnTo>
                    <a:pt x="2469970" y="601725"/>
                  </a:lnTo>
                  <a:lnTo>
                    <a:pt x="2470914" y="597650"/>
                  </a:lnTo>
                  <a:lnTo>
                    <a:pt x="2472262" y="594730"/>
                  </a:lnTo>
                  <a:lnTo>
                    <a:pt x="2472290" y="593286"/>
                  </a:lnTo>
                  <a:lnTo>
                    <a:pt x="2472070" y="591424"/>
                  </a:lnTo>
                  <a:lnTo>
                    <a:pt x="2472204" y="590485"/>
                  </a:lnTo>
                  <a:lnTo>
                    <a:pt x="2472418" y="589709"/>
                  </a:lnTo>
                  <a:lnTo>
                    <a:pt x="2472436" y="588315"/>
                  </a:lnTo>
                  <a:lnTo>
                    <a:pt x="2472245" y="588358"/>
                  </a:lnTo>
                  <a:lnTo>
                    <a:pt x="2472066" y="588188"/>
                  </a:lnTo>
                  <a:lnTo>
                    <a:pt x="2471698" y="587694"/>
                  </a:lnTo>
                  <a:lnTo>
                    <a:pt x="2471974" y="585777"/>
                  </a:lnTo>
                  <a:lnTo>
                    <a:pt x="2472383" y="584671"/>
                  </a:lnTo>
                  <a:lnTo>
                    <a:pt x="2472413" y="583230"/>
                  </a:lnTo>
                  <a:lnTo>
                    <a:pt x="2471541" y="580287"/>
                  </a:lnTo>
                  <a:lnTo>
                    <a:pt x="2471641" y="580094"/>
                  </a:lnTo>
                  <a:lnTo>
                    <a:pt x="2471825" y="579417"/>
                  </a:lnTo>
                  <a:lnTo>
                    <a:pt x="2471395" y="578774"/>
                  </a:lnTo>
                  <a:lnTo>
                    <a:pt x="2471009" y="578668"/>
                  </a:lnTo>
                  <a:lnTo>
                    <a:pt x="2470696" y="579001"/>
                  </a:lnTo>
                  <a:lnTo>
                    <a:pt x="2470484" y="579656"/>
                  </a:lnTo>
                  <a:lnTo>
                    <a:pt x="2470633" y="579629"/>
                  </a:lnTo>
                  <a:lnTo>
                    <a:pt x="2470610" y="580452"/>
                  </a:lnTo>
                  <a:lnTo>
                    <a:pt x="2470644" y="581053"/>
                  </a:lnTo>
                  <a:lnTo>
                    <a:pt x="2470776" y="581683"/>
                  </a:lnTo>
                  <a:lnTo>
                    <a:pt x="2471035" y="582563"/>
                  </a:lnTo>
                  <a:lnTo>
                    <a:pt x="2470827" y="583458"/>
                  </a:lnTo>
                  <a:lnTo>
                    <a:pt x="2470195" y="584830"/>
                  </a:lnTo>
                  <a:lnTo>
                    <a:pt x="2469573" y="585333"/>
                  </a:lnTo>
                  <a:lnTo>
                    <a:pt x="2469462" y="585804"/>
                  </a:lnTo>
                  <a:lnTo>
                    <a:pt x="2469406" y="586314"/>
                  </a:lnTo>
                  <a:lnTo>
                    <a:pt x="2469338" y="586675"/>
                  </a:lnTo>
                  <a:lnTo>
                    <a:pt x="2468525" y="587729"/>
                  </a:lnTo>
                  <a:lnTo>
                    <a:pt x="2468385" y="588276"/>
                  </a:lnTo>
                  <a:lnTo>
                    <a:pt x="2468439" y="589282"/>
                  </a:lnTo>
                  <a:lnTo>
                    <a:pt x="2468809" y="591577"/>
                  </a:lnTo>
                  <a:lnTo>
                    <a:pt x="2468911" y="592685"/>
                  </a:lnTo>
                  <a:lnTo>
                    <a:pt x="2468792" y="593743"/>
                  </a:lnTo>
                  <a:lnTo>
                    <a:pt x="2467712" y="595351"/>
                  </a:lnTo>
                  <a:lnTo>
                    <a:pt x="2466326" y="599311"/>
                  </a:lnTo>
                  <a:lnTo>
                    <a:pt x="2465382" y="600549"/>
                  </a:lnTo>
                  <a:lnTo>
                    <a:pt x="2463609" y="599292"/>
                  </a:lnTo>
                  <a:lnTo>
                    <a:pt x="2461783" y="599895"/>
                  </a:lnTo>
                  <a:lnTo>
                    <a:pt x="2460608" y="599127"/>
                  </a:lnTo>
                  <a:lnTo>
                    <a:pt x="2460153" y="599244"/>
                  </a:lnTo>
                  <a:lnTo>
                    <a:pt x="2459801" y="600226"/>
                  </a:lnTo>
                  <a:lnTo>
                    <a:pt x="2459410" y="603143"/>
                  </a:lnTo>
                  <a:lnTo>
                    <a:pt x="2456914" y="609260"/>
                  </a:lnTo>
                  <a:lnTo>
                    <a:pt x="2456068" y="610308"/>
                  </a:lnTo>
                  <a:lnTo>
                    <a:pt x="2447980" y="611228"/>
                  </a:lnTo>
                  <a:lnTo>
                    <a:pt x="2439888" y="612102"/>
                  </a:lnTo>
                  <a:lnTo>
                    <a:pt x="2439134" y="611521"/>
                  </a:lnTo>
                  <a:lnTo>
                    <a:pt x="2438497" y="610402"/>
                  </a:lnTo>
                  <a:lnTo>
                    <a:pt x="2439041" y="607516"/>
                  </a:lnTo>
                  <a:lnTo>
                    <a:pt x="2440021" y="605525"/>
                  </a:lnTo>
                  <a:lnTo>
                    <a:pt x="2447336" y="602244"/>
                  </a:lnTo>
                  <a:lnTo>
                    <a:pt x="2447224" y="601584"/>
                  </a:lnTo>
                  <a:lnTo>
                    <a:pt x="2444689" y="601298"/>
                  </a:lnTo>
                  <a:lnTo>
                    <a:pt x="2442670" y="599834"/>
                  </a:lnTo>
                  <a:lnTo>
                    <a:pt x="2441396" y="601589"/>
                  </a:lnTo>
                  <a:lnTo>
                    <a:pt x="2439880" y="602367"/>
                  </a:lnTo>
                  <a:lnTo>
                    <a:pt x="2438295" y="602300"/>
                  </a:lnTo>
                  <a:lnTo>
                    <a:pt x="2437280" y="600877"/>
                  </a:lnTo>
                  <a:lnTo>
                    <a:pt x="2437138" y="599683"/>
                  </a:lnTo>
                  <a:lnTo>
                    <a:pt x="2437202" y="597244"/>
                  </a:lnTo>
                  <a:lnTo>
                    <a:pt x="2437114" y="596006"/>
                  </a:lnTo>
                  <a:lnTo>
                    <a:pt x="2436795" y="594474"/>
                  </a:lnTo>
                  <a:lnTo>
                    <a:pt x="2436096" y="592109"/>
                  </a:lnTo>
                  <a:lnTo>
                    <a:pt x="2435842" y="590973"/>
                  </a:lnTo>
                  <a:lnTo>
                    <a:pt x="2435538" y="588121"/>
                  </a:lnTo>
                  <a:lnTo>
                    <a:pt x="2435390" y="585727"/>
                  </a:lnTo>
                  <a:lnTo>
                    <a:pt x="2435031" y="583702"/>
                  </a:lnTo>
                  <a:lnTo>
                    <a:pt x="2434093" y="581934"/>
                  </a:lnTo>
                  <a:lnTo>
                    <a:pt x="2434067" y="579268"/>
                  </a:lnTo>
                  <a:lnTo>
                    <a:pt x="2434410" y="577401"/>
                  </a:lnTo>
                  <a:lnTo>
                    <a:pt x="2439753" y="565932"/>
                  </a:lnTo>
                  <a:lnTo>
                    <a:pt x="2446213" y="564964"/>
                  </a:lnTo>
                  <a:lnTo>
                    <a:pt x="2446065" y="564222"/>
                  </a:lnTo>
                  <a:lnTo>
                    <a:pt x="2445852" y="562923"/>
                  </a:lnTo>
                  <a:lnTo>
                    <a:pt x="2445837" y="562788"/>
                  </a:lnTo>
                  <a:lnTo>
                    <a:pt x="2444610" y="561478"/>
                  </a:lnTo>
                  <a:lnTo>
                    <a:pt x="2441599" y="563464"/>
                  </a:lnTo>
                  <a:lnTo>
                    <a:pt x="2440489" y="562975"/>
                  </a:lnTo>
                  <a:lnTo>
                    <a:pt x="2439904" y="562234"/>
                  </a:lnTo>
                  <a:lnTo>
                    <a:pt x="2439800" y="561093"/>
                  </a:lnTo>
                  <a:lnTo>
                    <a:pt x="2441592" y="554818"/>
                  </a:lnTo>
                  <a:lnTo>
                    <a:pt x="2441666" y="552668"/>
                  </a:lnTo>
                  <a:lnTo>
                    <a:pt x="2441322" y="549640"/>
                  </a:lnTo>
                  <a:lnTo>
                    <a:pt x="2441419" y="547619"/>
                  </a:lnTo>
                  <a:lnTo>
                    <a:pt x="2446652" y="536352"/>
                  </a:lnTo>
                  <a:lnTo>
                    <a:pt x="2447210" y="535961"/>
                  </a:lnTo>
                  <a:lnTo>
                    <a:pt x="2447829" y="535952"/>
                  </a:lnTo>
                  <a:lnTo>
                    <a:pt x="2448977" y="536737"/>
                  </a:lnTo>
                  <a:lnTo>
                    <a:pt x="2458588" y="531181"/>
                  </a:lnTo>
                  <a:lnTo>
                    <a:pt x="2464140" y="530880"/>
                  </a:lnTo>
                  <a:lnTo>
                    <a:pt x="2468766" y="525168"/>
                  </a:lnTo>
                  <a:lnTo>
                    <a:pt x="2470867" y="523912"/>
                  </a:lnTo>
                  <a:lnTo>
                    <a:pt x="2473032" y="519877"/>
                  </a:lnTo>
                  <a:lnTo>
                    <a:pt x="2473503" y="519470"/>
                  </a:lnTo>
                  <a:lnTo>
                    <a:pt x="2474816" y="520082"/>
                  </a:lnTo>
                  <a:lnTo>
                    <a:pt x="2477393" y="518498"/>
                  </a:lnTo>
                  <a:lnTo>
                    <a:pt x="2485279" y="522586"/>
                  </a:lnTo>
                  <a:lnTo>
                    <a:pt x="2495648" y="522265"/>
                  </a:lnTo>
                  <a:lnTo>
                    <a:pt x="2506028" y="521860"/>
                  </a:lnTo>
                  <a:lnTo>
                    <a:pt x="2511249" y="525886"/>
                  </a:lnTo>
                  <a:lnTo>
                    <a:pt x="2516503" y="526996"/>
                  </a:lnTo>
                  <a:lnTo>
                    <a:pt x="2518415" y="529307"/>
                  </a:lnTo>
                  <a:lnTo>
                    <a:pt x="2521054" y="531256"/>
                  </a:lnTo>
                  <a:lnTo>
                    <a:pt x="2529711" y="532815"/>
                  </a:lnTo>
                  <a:lnTo>
                    <a:pt x="2530642" y="533826"/>
                  </a:lnTo>
                  <a:lnTo>
                    <a:pt x="2532051" y="534758"/>
                  </a:lnTo>
                  <a:lnTo>
                    <a:pt x="2532457" y="535221"/>
                  </a:lnTo>
                  <a:lnTo>
                    <a:pt x="2532349" y="536073"/>
                  </a:lnTo>
                  <a:lnTo>
                    <a:pt x="2532866" y="536849"/>
                  </a:lnTo>
                  <a:lnTo>
                    <a:pt x="2534051" y="537375"/>
                  </a:lnTo>
                  <a:lnTo>
                    <a:pt x="2534491" y="537870"/>
                  </a:lnTo>
                  <a:lnTo>
                    <a:pt x="2534762" y="538512"/>
                  </a:lnTo>
                  <a:lnTo>
                    <a:pt x="2535026" y="539215"/>
                  </a:lnTo>
                  <a:lnTo>
                    <a:pt x="2535447" y="539904"/>
                  </a:lnTo>
                  <a:lnTo>
                    <a:pt x="2536340" y="540805"/>
                  </a:lnTo>
                  <a:lnTo>
                    <a:pt x="2538254" y="542018"/>
                  </a:lnTo>
                  <a:lnTo>
                    <a:pt x="2539784" y="542324"/>
                  </a:lnTo>
                  <a:lnTo>
                    <a:pt x="2541565" y="543547"/>
                  </a:lnTo>
                  <a:lnTo>
                    <a:pt x="2542343" y="543604"/>
                  </a:lnTo>
                  <a:lnTo>
                    <a:pt x="2543525" y="541325"/>
                  </a:lnTo>
                  <a:lnTo>
                    <a:pt x="2543991" y="540933"/>
                  </a:lnTo>
                  <a:lnTo>
                    <a:pt x="2543867" y="540442"/>
                  </a:lnTo>
                  <a:lnTo>
                    <a:pt x="2543748" y="540094"/>
                  </a:lnTo>
                  <a:lnTo>
                    <a:pt x="2543461" y="539465"/>
                  </a:lnTo>
                  <a:lnTo>
                    <a:pt x="2536076" y="533999"/>
                  </a:lnTo>
                  <a:lnTo>
                    <a:pt x="2533381" y="530448"/>
                  </a:lnTo>
                  <a:lnTo>
                    <a:pt x="2535152" y="528813"/>
                  </a:lnTo>
                  <a:lnTo>
                    <a:pt x="2535441" y="527690"/>
                  </a:lnTo>
                  <a:lnTo>
                    <a:pt x="2535106" y="527008"/>
                  </a:lnTo>
                  <a:lnTo>
                    <a:pt x="2540324" y="527308"/>
                  </a:lnTo>
                  <a:lnTo>
                    <a:pt x="2540724" y="526438"/>
                  </a:lnTo>
                  <a:lnTo>
                    <a:pt x="2539165" y="524088"/>
                  </a:lnTo>
                  <a:lnTo>
                    <a:pt x="2537350" y="523641"/>
                  </a:lnTo>
                  <a:lnTo>
                    <a:pt x="2528953" y="528437"/>
                  </a:lnTo>
                  <a:lnTo>
                    <a:pt x="2528195" y="528191"/>
                  </a:lnTo>
                  <a:lnTo>
                    <a:pt x="2525633" y="525411"/>
                  </a:lnTo>
                  <a:lnTo>
                    <a:pt x="2524744" y="525017"/>
                  </a:lnTo>
                  <a:lnTo>
                    <a:pt x="2523182" y="525289"/>
                  </a:lnTo>
                  <a:lnTo>
                    <a:pt x="2522287" y="524827"/>
                  </a:lnTo>
                  <a:lnTo>
                    <a:pt x="2520897" y="523000"/>
                  </a:lnTo>
                  <a:lnTo>
                    <a:pt x="2520395" y="522670"/>
                  </a:lnTo>
                  <a:lnTo>
                    <a:pt x="2518034" y="523143"/>
                  </a:lnTo>
                  <a:lnTo>
                    <a:pt x="2517597" y="522848"/>
                  </a:lnTo>
                  <a:lnTo>
                    <a:pt x="2517331" y="522361"/>
                  </a:lnTo>
                  <a:lnTo>
                    <a:pt x="2516554" y="520544"/>
                  </a:lnTo>
                  <a:lnTo>
                    <a:pt x="2516179" y="519888"/>
                  </a:lnTo>
                  <a:lnTo>
                    <a:pt x="2516875" y="518132"/>
                  </a:lnTo>
                  <a:lnTo>
                    <a:pt x="2521451" y="516659"/>
                  </a:lnTo>
                  <a:lnTo>
                    <a:pt x="2528918" y="517135"/>
                  </a:lnTo>
                  <a:lnTo>
                    <a:pt x="2534212" y="516656"/>
                  </a:lnTo>
                  <a:lnTo>
                    <a:pt x="2534942" y="515588"/>
                  </a:lnTo>
                  <a:lnTo>
                    <a:pt x="2535304" y="514307"/>
                  </a:lnTo>
                  <a:lnTo>
                    <a:pt x="2541109" y="510738"/>
                  </a:lnTo>
                  <a:lnTo>
                    <a:pt x="2546216" y="509610"/>
                  </a:lnTo>
                  <a:lnTo>
                    <a:pt x="2547136" y="510359"/>
                  </a:lnTo>
                  <a:lnTo>
                    <a:pt x="2545992" y="511717"/>
                  </a:lnTo>
                  <a:lnTo>
                    <a:pt x="2547223" y="511917"/>
                  </a:lnTo>
                  <a:lnTo>
                    <a:pt x="2547955" y="511055"/>
                  </a:lnTo>
                  <a:lnTo>
                    <a:pt x="2547446" y="508757"/>
                  </a:lnTo>
                  <a:lnTo>
                    <a:pt x="2547732" y="508700"/>
                  </a:lnTo>
                  <a:lnTo>
                    <a:pt x="2547869" y="508194"/>
                  </a:lnTo>
                  <a:lnTo>
                    <a:pt x="2547889" y="506427"/>
                  </a:lnTo>
                  <a:lnTo>
                    <a:pt x="2547093" y="505318"/>
                  </a:lnTo>
                  <a:lnTo>
                    <a:pt x="2544995" y="504031"/>
                  </a:lnTo>
                  <a:lnTo>
                    <a:pt x="2544965" y="502799"/>
                  </a:lnTo>
                  <a:lnTo>
                    <a:pt x="2545118" y="500565"/>
                  </a:lnTo>
                  <a:lnTo>
                    <a:pt x="2544588" y="497456"/>
                  </a:lnTo>
                  <a:lnTo>
                    <a:pt x="2544593" y="496233"/>
                  </a:lnTo>
                  <a:lnTo>
                    <a:pt x="2544769" y="495563"/>
                  </a:lnTo>
                  <a:lnTo>
                    <a:pt x="2544994" y="495584"/>
                  </a:lnTo>
                  <a:lnTo>
                    <a:pt x="2545066" y="494495"/>
                  </a:lnTo>
                  <a:lnTo>
                    <a:pt x="2547076" y="488963"/>
                  </a:lnTo>
                  <a:lnTo>
                    <a:pt x="2546483" y="488168"/>
                  </a:lnTo>
                  <a:lnTo>
                    <a:pt x="2545538" y="487806"/>
                  </a:lnTo>
                  <a:lnTo>
                    <a:pt x="2545119" y="487176"/>
                  </a:lnTo>
                  <a:lnTo>
                    <a:pt x="2545050" y="488133"/>
                  </a:lnTo>
                  <a:lnTo>
                    <a:pt x="2539747" y="494149"/>
                  </a:lnTo>
                  <a:lnTo>
                    <a:pt x="2538948" y="496004"/>
                  </a:lnTo>
                  <a:lnTo>
                    <a:pt x="2538959" y="498663"/>
                  </a:lnTo>
                  <a:lnTo>
                    <a:pt x="2539238" y="498595"/>
                  </a:lnTo>
                  <a:lnTo>
                    <a:pt x="2539216" y="499747"/>
                  </a:lnTo>
                  <a:lnTo>
                    <a:pt x="2538431" y="501760"/>
                  </a:lnTo>
                  <a:lnTo>
                    <a:pt x="2537876" y="505384"/>
                  </a:lnTo>
                  <a:lnTo>
                    <a:pt x="2537614" y="506073"/>
                  </a:lnTo>
                  <a:lnTo>
                    <a:pt x="2529966" y="511379"/>
                  </a:lnTo>
                  <a:lnTo>
                    <a:pt x="2529343" y="511158"/>
                  </a:lnTo>
                  <a:lnTo>
                    <a:pt x="2527934" y="509980"/>
                  </a:lnTo>
                  <a:lnTo>
                    <a:pt x="2519595" y="507584"/>
                  </a:lnTo>
                  <a:lnTo>
                    <a:pt x="2512338" y="510207"/>
                  </a:lnTo>
                  <a:lnTo>
                    <a:pt x="2505320" y="511521"/>
                  </a:lnTo>
                  <a:lnTo>
                    <a:pt x="2498613" y="509808"/>
                  </a:lnTo>
                  <a:lnTo>
                    <a:pt x="2492208" y="511876"/>
                  </a:lnTo>
                  <a:lnTo>
                    <a:pt x="2486086" y="506487"/>
                  </a:lnTo>
                  <a:lnTo>
                    <a:pt x="2480571" y="504984"/>
                  </a:lnTo>
                  <a:lnTo>
                    <a:pt x="2479632" y="503639"/>
                  </a:lnTo>
                  <a:lnTo>
                    <a:pt x="2479111" y="501087"/>
                  </a:lnTo>
                  <a:lnTo>
                    <a:pt x="2479213" y="499941"/>
                  </a:lnTo>
                  <a:lnTo>
                    <a:pt x="2480340" y="498652"/>
                  </a:lnTo>
                  <a:lnTo>
                    <a:pt x="2480894" y="496793"/>
                  </a:lnTo>
                  <a:lnTo>
                    <a:pt x="2483170" y="492575"/>
                  </a:lnTo>
                  <a:lnTo>
                    <a:pt x="2484210" y="492200"/>
                  </a:lnTo>
                  <a:lnTo>
                    <a:pt x="2486859" y="493432"/>
                  </a:lnTo>
                  <a:lnTo>
                    <a:pt x="2490470" y="492841"/>
                  </a:lnTo>
                  <a:lnTo>
                    <a:pt x="2493399" y="495132"/>
                  </a:lnTo>
                  <a:lnTo>
                    <a:pt x="2493493" y="495311"/>
                  </a:lnTo>
                  <a:lnTo>
                    <a:pt x="2493413" y="495853"/>
                  </a:lnTo>
                  <a:lnTo>
                    <a:pt x="2493540" y="497486"/>
                  </a:lnTo>
                  <a:lnTo>
                    <a:pt x="2493931" y="497409"/>
                  </a:lnTo>
                  <a:lnTo>
                    <a:pt x="2494399" y="497662"/>
                  </a:lnTo>
                  <a:lnTo>
                    <a:pt x="2494866" y="498117"/>
                  </a:lnTo>
                  <a:lnTo>
                    <a:pt x="2495256" y="498639"/>
                  </a:lnTo>
                  <a:lnTo>
                    <a:pt x="2495340" y="498882"/>
                  </a:lnTo>
                  <a:lnTo>
                    <a:pt x="2495444" y="499301"/>
                  </a:lnTo>
                  <a:lnTo>
                    <a:pt x="2495571" y="499760"/>
                  </a:lnTo>
                  <a:lnTo>
                    <a:pt x="2495720" y="500111"/>
                  </a:lnTo>
                  <a:lnTo>
                    <a:pt x="2496062" y="500498"/>
                  </a:lnTo>
                  <a:lnTo>
                    <a:pt x="2501799" y="500505"/>
                  </a:lnTo>
                  <a:lnTo>
                    <a:pt x="2507540" y="500486"/>
                  </a:lnTo>
                  <a:lnTo>
                    <a:pt x="2508333" y="499471"/>
                  </a:lnTo>
                  <a:lnTo>
                    <a:pt x="2508611" y="497345"/>
                  </a:lnTo>
                  <a:lnTo>
                    <a:pt x="2507457" y="496436"/>
                  </a:lnTo>
                  <a:lnTo>
                    <a:pt x="2506091" y="498852"/>
                  </a:lnTo>
                  <a:lnTo>
                    <a:pt x="2505185" y="498999"/>
                  </a:lnTo>
                  <a:lnTo>
                    <a:pt x="2501533" y="497247"/>
                  </a:lnTo>
                  <a:lnTo>
                    <a:pt x="2500941" y="496613"/>
                  </a:lnTo>
                  <a:lnTo>
                    <a:pt x="2501099" y="495985"/>
                  </a:lnTo>
                  <a:lnTo>
                    <a:pt x="2501208" y="495867"/>
                  </a:lnTo>
                  <a:lnTo>
                    <a:pt x="2500175" y="494593"/>
                  </a:lnTo>
                  <a:lnTo>
                    <a:pt x="2496439" y="492467"/>
                  </a:lnTo>
                  <a:lnTo>
                    <a:pt x="2494679" y="492329"/>
                  </a:lnTo>
                  <a:lnTo>
                    <a:pt x="2493749" y="491337"/>
                  </a:lnTo>
                  <a:lnTo>
                    <a:pt x="2493792" y="490990"/>
                  </a:lnTo>
                  <a:lnTo>
                    <a:pt x="2493784" y="490664"/>
                  </a:lnTo>
                  <a:lnTo>
                    <a:pt x="2493753" y="490324"/>
                  </a:lnTo>
                  <a:lnTo>
                    <a:pt x="2493731" y="489906"/>
                  </a:lnTo>
                  <a:lnTo>
                    <a:pt x="2493499" y="490036"/>
                  </a:lnTo>
                  <a:lnTo>
                    <a:pt x="2493228" y="489985"/>
                  </a:lnTo>
                  <a:lnTo>
                    <a:pt x="2492923" y="489752"/>
                  </a:lnTo>
                  <a:lnTo>
                    <a:pt x="2492583" y="489314"/>
                  </a:lnTo>
                  <a:lnTo>
                    <a:pt x="2492682" y="487954"/>
                  </a:lnTo>
                  <a:lnTo>
                    <a:pt x="2492991" y="486855"/>
                  </a:lnTo>
                  <a:lnTo>
                    <a:pt x="2493734" y="485373"/>
                  </a:lnTo>
                  <a:lnTo>
                    <a:pt x="2492448" y="482545"/>
                  </a:lnTo>
                  <a:lnTo>
                    <a:pt x="2491625" y="482430"/>
                  </a:lnTo>
                  <a:lnTo>
                    <a:pt x="2490613" y="485810"/>
                  </a:lnTo>
                  <a:lnTo>
                    <a:pt x="2489698" y="487284"/>
                  </a:lnTo>
                  <a:lnTo>
                    <a:pt x="2485695" y="487037"/>
                  </a:lnTo>
                  <a:lnTo>
                    <a:pt x="2485678" y="485805"/>
                  </a:lnTo>
                  <a:lnTo>
                    <a:pt x="2485244" y="484260"/>
                  </a:lnTo>
                  <a:lnTo>
                    <a:pt x="2484616" y="482667"/>
                  </a:lnTo>
                  <a:lnTo>
                    <a:pt x="2484007" y="481283"/>
                  </a:lnTo>
                  <a:lnTo>
                    <a:pt x="2484293" y="481224"/>
                  </a:lnTo>
                  <a:lnTo>
                    <a:pt x="2483717" y="479654"/>
                  </a:lnTo>
                  <a:lnTo>
                    <a:pt x="2483139" y="478990"/>
                  </a:lnTo>
                  <a:lnTo>
                    <a:pt x="2482557" y="478529"/>
                  </a:lnTo>
                  <a:lnTo>
                    <a:pt x="2481684" y="476999"/>
                  </a:lnTo>
                  <a:lnTo>
                    <a:pt x="2481471" y="476756"/>
                  </a:lnTo>
                  <a:lnTo>
                    <a:pt x="2481269" y="476379"/>
                  </a:lnTo>
                  <a:lnTo>
                    <a:pt x="2480771" y="474447"/>
                  </a:lnTo>
                  <a:lnTo>
                    <a:pt x="2480624" y="474113"/>
                  </a:lnTo>
                  <a:lnTo>
                    <a:pt x="2480470" y="473834"/>
                  </a:lnTo>
                  <a:lnTo>
                    <a:pt x="2480191" y="472948"/>
                  </a:lnTo>
                  <a:lnTo>
                    <a:pt x="2479399" y="469607"/>
                  </a:lnTo>
                  <a:lnTo>
                    <a:pt x="2479120" y="468654"/>
                  </a:lnTo>
                  <a:lnTo>
                    <a:pt x="2478820" y="468135"/>
                  </a:lnTo>
                  <a:lnTo>
                    <a:pt x="2478575" y="468091"/>
                  </a:lnTo>
                  <a:lnTo>
                    <a:pt x="2478336" y="467910"/>
                  </a:lnTo>
                  <a:lnTo>
                    <a:pt x="2478048" y="466976"/>
                  </a:lnTo>
                  <a:lnTo>
                    <a:pt x="2477595" y="464805"/>
                  </a:lnTo>
                  <a:lnTo>
                    <a:pt x="2477490" y="464392"/>
                  </a:lnTo>
                  <a:lnTo>
                    <a:pt x="2476903" y="463568"/>
                  </a:lnTo>
                  <a:lnTo>
                    <a:pt x="2474825" y="461911"/>
                  </a:lnTo>
                  <a:lnTo>
                    <a:pt x="2472689" y="461492"/>
                  </a:lnTo>
                  <a:lnTo>
                    <a:pt x="2468044" y="458029"/>
                  </a:lnTo>
                  <a:lnTo>
                    <a:pt x="2467483" y="456982"/>
                  </a:lnTo>
                  <a:lnTo>
                    <a:pt x="2467341" y="455181"/>
                  </a:lnTo>
                  <a:lnTo>
                    <a:pt x="2466929" y="454697"/>
                  </a:lnTo>
                  <a:lnTo>
                    <a:pt x="2466224" y="454350"/>
                  </a:lnTo>
                  <a:lnTo>
                    <a:pt x="2465168" y="452973"/>
                  </a:lnTo>
                  <a:lnTo>
                    <a:pt x="2464969" y="452564"/>
                  </a:lnTo>
                  <a:lnTo>
                    <a:pt x="2464871" y="452139"/>
                  </a:lnTo>
                  <a:lnTo>
                    <a:pt x="2464828" y="451664"/>
                  </a:lnTo>
                  <a:lnTo>
                    <a:pt x="2464816" y="451088"/>
                  </a:lnTo>
                  <a:lnTo>
                    <a:pt x="2464215" y="449821"/>
                  </a:lnTo>
                  <a:lnTo>
                    <a:pt x="2463614" y="448933"/>
                  </a:lnTo>
                  <a:lnTo>
                    <a:pt x="2462440" y="447731"/>
                  </a:lnTo>
                  <a:lnTo>
                    <a:pt x="2462392" y="446280"/>
                  </a:lnTo>
                  <a:lnTo>
                    <a:pt x="2462401" y="444797"/>
                  </a:lnTo>
                  <a:lnTo>
                    <a:pt x="2458705" y="441904"/>
                  </a:lnTo>
                  <a:lnTo>
                    <a:pt x="2455215" y="439327"/>
                  </a:lnTo>
                  <a:lnTo>
                    <a:pt x="2448659" y="437305"/>
                  </a:lnTo>
                  <a:lnTo>
                    <a:pt x="2444332" y="439291"/>
                  </a:lnTo>
                  <a:lnTo>
                    <a:pt x="2437922" y="436619"/>
                  </a:lnTo>
                  <a:lnTo>
                    <a:pt x="2431853" y="435302"/>
                  </a:lnTo>
                  <a:lnTo>
                    <a:pt x="2431243" y="434665"/>
                  </a:lnTo>
                  <a:lnTo>
                    <a:pt x="2430781" y="433781"/>
                  </a:lnTo>
                  <a:lnTo>
                    <a:pt x="2430511" y="432971"/>
                  </a:lnTo>
                  <a:lnTo>
                    <a:pt x="2430342" y="432094"/>
                  </a:lnTo>
                  <a:lnTo>
                    <a:pt x="2429949" y="429135"/>
                  </a:lnTo>
                  <a:lnTo>
                    <a:pt x="2429937" y="428242"/>
                  </a:lnTo>
                  <a:lnTo>
                    <a:pt x="2430151" y="427979"/>
                  </a:lnTo>
                  <a:lnTo>
                    <a:pt x="2431886" y="427699"/>
                  </a:lnTo>
                  <a:lnTo>
                    <a:pt x="2431411" y="427084"/>
                  </a:lnTo>
                  <a:lnTo>
                    <a:pt x="2430495" y="426330"/>
                  </a:lnTo>
                  <a:lnTo>
                    <a:pt x="2429928" y="425102"/>
                  </a:lnTo>
                  <a:lnTo>
                    <a:pt x="2429616" y="424063"/>
                  </a:lnTo>
                  <a:lnTo>
                    <a:pt x="2429042" y="421753"/>
                  </a:lnTo>
                  <a:lnTo>
                    <a:pt x="2428712" y="420682"/>
                  </a:lnTo>
                  <a:lnTo>
                    <a:pt x="2428642" y="419063"/>
                  </a:lnTo>
                  <a:lnTo>
                    <a:pt x="2428465" y="417413"/>
                  </a:lnTo>
                  <a:lnTo>
                    <a:pt x="2428335" y="415854"/>
                  </a:lnTo>
                  <a:lnTo>
                    <a:pt x="2428396" y="414453"/>
                  </a:lnTo>
                  <a:lnTo>
                    <a:pt x="2428842" y="412948"/>
                  </a:lnTo>
                  <a:lnTo>
                    <a:pt x="2430232" y="411535"/>
                  </a:lnTo>
                  <a:lnTo>
                    <a:pt x="2437142" y="412306"/>
                  </a:lnTo>
                  <a:lnTo>
                    <a:pt x="2439071" y="413530"/>
                  </a:lnTo>
                  <a:lnTo>
                    <a:pt x="2445718" y="412984"/>
                  </a:lnTo>
                  <a:lnTo>
                    <a:pt x="2448542" y="415747"/>
                  </a:lnTo>
                  <a:lnTo>
                    <a:pt x="2450298" y="416019"/>
                  </a:lnTo>
                  <a:lnTo>
                    <a:pt x="2451015" y="415133"/>
                  </a:lnTo>
                  <a:lnTo>
                    <a:pt x="2451238" y="412999"/>
                  </a:lnTo>
                  <a:lnTo>
                    <a:pt x="2447829" y="412764"/>
                  </a:lnTo>
                  <a:lnTo>
                    <a:pt x="2445339" y="409765"/>
                  </a:lnTo>
                  <a:lnTo>
                    <a:pt x="2438452" y="409664"/>
                  </a:lnTo>
                  <a:lnTo>
                    <a:pt x="2436664" y="408451"/>
                  </a:lnTo>
                  <a:lnTo>
                    <a:pt x="2427131" y="408349"/>
                  </a:lnTo>
                  <a:lnTo>
                    <a:pt x="2424921" y="406177"/>
                  </a:lnTo>
                  <a:lnTo>
                    <a:pt x="2423774" y="404569"/>
                  </a:lnTo>
                  <a:lnTo>
                    <a:pt x="2423623" y="404247"/>
                  </a:lnTo>
                  <a:lnTo>
                    <a:pt x="2423514" y="403753"/>
                  </a:lnTo>
                  <a:lnTo>
                    <a:pt x="2423404" y="403171"/>
                  </a:lnTo>
                  <a:lnTo>
                    <a:pt x="2423247" y="402573"/>
                  </a:lnTo>
                  <a:lnTo>
                    <a:pt x="2422735" y="401269"/>
                  </a:lnTo>
                  <a:lnTo>
                    <a:pt x="2421792" y="399351"/>
                  </a:lnTo>
                  <a:lnTo>
                    <a:pt x="2421317" y="398005"/>
                  </a:lnTo>
                  <a:lnTo>
                    <a:pt x="2420670" y="395276"/>
                  </a:lnTo>
                  <a:lnTo>
                    <a:pt x="2420562" y="393518"/>
                  </a:lnTo>
                  <a:lnTo>
                    <a:pt x="2420850" y="389428"/>
                  </a:lnTo>
                  <a:lnTo>
                    <a:pt x="2421177" y="387753"/>
                  </a:lnTo>
                  <a:lnTo>
                    <a:pt x="2421203" y="387161"/>
                  </a:lnTo>
                  <a:lnTo>
                    <a:pt x="2421058" y="386077"/>
                  </a:lnTo>
                  <a:lnTo>
                    <a:pt x="2420998" y="385036"/>
                  </a:lnTo>
                  <a:lnTo>
                    <a:pt x="2421021" y="384217"/>
                  </a:lnTo>
                  <a:lnTo>
                    <a:pt x="2421125" y="383782"/>
                  </a:lnTo>
                  <a:lnTo>
                    <a:pt x="2420857" y="383078"/>
                  </a:lnTo>
                  <a:lnTo>
                    <a:pt x="2420825" y="381966"/>
                  </a:lnTo>
                  <a:lnTo>
                    <a:pt x="2420718" y="380911"/>
                  </a:lnTo>
                  <a:lnTo>
                    <a:pt x="2420435" y="378594"/>
                  </a:lnTo>
                  <a:lnTo>
                    <a:pt x="2420405" y="378733"/>
                  </a:lnTo>
                  <a:lnTo>
                    <a:pt x="2420276" y="378354"/>
                  </a:lnTo>
                  <a:lnTo>
                    <a:pt x="2420133" y="377750"/>
                  </a:lnTo>
                  <a:lnTo>
                    <a:pt x="2420059" y="377232"/>
                  </a:lnTo>
                  <a:lnTo>
                    <a:pt x="2420154" y="376531"/>
                  </a:lnTo>
                  <a:lnTo>
                    <a:pt x="2420687" y="376299"/>
                  </a:lnTo>
                  <a:lnTo>
                    <a:pt x="2421154" y="375165"/>
                  </a:lnTo>
                  <a:lnTo>
                    <a:pt x="2425947" y="373340"/>
                  </a:lnTo>
                  <a:lnTo>
                    <a:pt x="2430726" y="371495"/>
                  </a:lnTo>
                  <a:lnTo>
                    <a:pt x="2434233" y="373409"/>
                  </a:lnTo>
                  <a:lnTo>
                    <a:pt x="2442736" y="376962"/>
                  </a:lnTo>
                  <a:lnTo>
                    <a:pt x="2448929" y="375226"/>
                  </a:lnTo>
                  <a:lnTo>
                    <a:pt x="2455109" y="373456"/>
                  </a:lnTo>
                  <a:lnTo>
                    <a:pt x="2460598" y="372908"/>
                  </a:lnTo>
                  <a:lnTo>
                    <a:pt x="2466086" y="372333"/>
                  </a:lnTo>
                  <a:lnTo>
                    <a:pt x="2471069" y="373225"/>
                  </a:lnTo>
                  <a:lnTo>
                    <a:pt x="2481791" y="382498"/>
                  </a:lnTo>
                  <a:lnTo>
                    <a:pt x="2487857" y="389093"/>
                  </a:lnTo>
                  <a:lnTo>
                    <a:pt x="2498082" y="395893"/>
                  </a:lnTo>
                  <a:lnTo>
                    <a:pt x="2504441" y="401228"/>
                  </a:lnTo>
                  <a:lnTo>
                    <a:pt x="2510850" y="406531"/>
                  </a:lnTo>
                  <a:lnTo>
                    <a:pt x="2512820" y="409015"/>
                  </a:lnTo>
                  <a:lnTo>
                    <a:pt x="2513897" y="410833"/>
                  </a:lnTo>
                  <a:lnTo>
                    <a:pt x="2516361" y="415655"/>
                  </a:lnTo>
                  <a:lnTo>
                    <a:pt x="2517485" y="417283"/>
                  </a:lnTo>
                  <a:lnTo>
                    <a:pt x="2518069" y="418309"/>
                  </a:lnTo>
                  <a:lnTo>
                    <a:pt x="2518007" y="418669"/>
                  </a:lnTo>
                  <a:lnTo>
                    <a:pt x="2518030" y="419121"/>
                  </a:lnTo>
                  <a:lnTo>
                    <a:pt x="2518215" y="420489"/>
                  </a:lnTo>
                  <a:lnTo>
                    <a:pt x="2520306" y="422696"/>
                  </a:lnTo>
                  <a:lnTo>
                    <a:pt x="2522105" y="423319"/>
                  </a:lnTo>
                  <a:lnTo>
                    <a:pt x="2525177" y="422572"/>
                  </a:lnTo>
                  <a:lnTo>
                    <a:pt x="2525649" y="425552"/>
                  </a:lnTo>
                  <a:lnTo>
                    <a:pt x="2526302" y="427299"/>
                  </a:lnTo>
                  <a:lnTo>
                    <a:pt x="2528156" y="429514"/>
                  </a:lnTo>
                  <a:lnTo>
                    <a:pt x="2527974" y="430294"/>
                  </a:lnTo>
                  <a:lnTo>
                    <a:pt x="2527669" y="430987"/>
                  </a:lnTo>
                  <a:lnTo>
                    <a:pt x="2527248" y="431309"/>
                  </a:lnTo>
                  <a:lnTo>
                    <a:pt x="2526726" y="430972"/>
                  </a:lnTo>
                  <a:lnTo>
                    <a:pt x="2526128" y="430318"/>
                  </a:lnTo>
                  <a:lnTo>
                    <a:pt x="2525511" y="429954"/>
                  </a:lnTo>
                  <a:lnTo>
                    <a:pt x="2525127" y="430280"/>
                  </a:lnTo>
                  <a:lnTo>
                    <a:pt x="2525223" y="431689"/>
                  </a:lnTo>
                  <a:lnTo>
                    <a:pt x="2528315" y="432836"/>
                  </a:lnTo>
                  <a:lnTo>
                    <a:pt x="2529363" y="431785"/>
                  </a:lnTo>
                  <a:lnTo>
                    <a:pt x="2530792" y="426917"/>
                  </a:lnTo>
                  <a:lnTo>
                    <a:pt x="2532198" y="426424"/>
                  </a:lnTo>
                  <a:lnTo>
                    <a:pt x="2540845" y="428318"/>
                  </a:lnTo>
                  <a:lnTo>
                    <a:pt x="2549532" y="430151"/>
                  </a:lnTo>
                  <a:lnTo>
                    <a:pt x="2549014" y="429232"/>
                  </a:lnTo>
                  <a:lnTo>
                    <a:pt x="2548613" y="428833"/>
                  </a:lnTo>
                  <a:lnTo>
                    <a:pt x="2548243" y="428590"/>
                  </a:lnTo>
                  <a:lnTo>
                    <a:pt x="2547823" y="428183"/>
                  </a:lnTo>
                  <a:lnTo>
                    <a:pt x="2547860" y="426687"/>
                  </a:lnTo>
                  <a:lnTo>
                    <a:pt x="2552274" y="422853"/>
                  </a:lnTo>
                  <a:lnTo>
                    <a:pt x="2556659" y="419004"/>
                  </a:lnTo>
                  <a:lnTo>
                    <a:pt x="2559335" y="418892"/>
                  </a:lnTo>
                  <a:lnTo>
                    <a:pt x="2559881" y="418410"/>
                  </a:lnTo>
                  <a:lnTo>
                    <a:pt x="2561229" y="411461"/>
                  </a:lnTo>
                  <a:lnTo>
                    <a:pt x="2555365" y="414072"/>
                  </a:lnTo>
                  <a:lnTo>
                    <a:pt x="2549483" y="416655"/>
                  </a:lnTo>
                  <a:lnTo>
                    <a:pt x="2549079" y="418407"/>
                  </a:lnTo>
                  <a:lnTo>
                    <a:pt x="2541389" y="422821"/>
                  </a:lnTo>
                  <a:lnTo>
                    <a:pt x="2531042" y="418042"/>
                  </a:lnTo>
                  <a:lnTo>
                    <a:pt x="2527762" y="419524"/>
                  </a:lnTo>
                  <a:lnTo>
                    <a:pt x="2527288" y="419289"/>
                  </a:lnTo>
                  <a:lnTo>
                    <a:pt x="2527005" y="418997"/>
                  </a:lnTo>
                  <a:lnTo>
                    <a:pt x="2526767" y="416429"/>
                  </a:lnTo>
                  <a:lnTo>
                    <a:pt x="2526579" y="415373"/>
                  </a:lnTo>
                  <a:lnTo>
                    <a:pt x="2525127" y="414563"/>
                  </a:lnTo>
                  <a:lnTo>
                    <a:pt x="2523862" y="414530"/>
                  </a:lnTo>
                  <a:lnTo>
                    <a:pt x="2524073" y="412119"/>
                  </a:lnTo>
                  <a:lnTo>
                    <a:pt x="2523985" y="410235"/>
                  </a:lnTo>
                  <a:lnTo>
                    <a:pt x="2523311" y="408162"/>
                  </a:lnTo>
                  <a:lnTo>
                    <a:pt x="2521714" y="404697"/>
                  </a:lnTo>
                  <a:lnTo>
                    <a:pt x="2520864" y="403055"/>
                  </a:lnTo>
                  <a:lnTo>
                    <a:pt x="2519904" y="402043"/>
                  </a:lnTo>
                  <a:lnTo>
                    <a:pt x="2519545" y="401112"/>
                  </a:lnTo>
                  <a:lnTo>
                    <a:pt x="2519339" y="400143"/>
                  </a:lnTo>
                  <a:lnTo>
                    <a:pt x="2519445" y="399654"/>
                  </a:lnTo>
                  <a:lnTo>
                    <a:pt x="2520580" y="397777"/>
                  </a:lnTo>
                  <a:lnTo>
                    <a:pt x="2522897" y="397112"/>
                  </a:lnTo>
                  <a:lnTo>
                    <a:pt x="2523248" y="395579"/>
                  </a:lnTo>
                  <a:lnTo>
                    <a:pt x="2521838" y="394320"/>
                  </a:lnTo>
                  <a:lnTo>
                    <a:pt x="2516277" y="393658"/>
                  </a:lnTo>
                  <a:lnTo>
                    <a:pt x="2510729" y="392971"/>
                  </a:lnTo>
                  <a:lnTo>
                    <a:pt x="2508886" y="391300"/>
                  </a:lnTo>
                  <a:lnTo>
                    <a:pt x="2506837" y="390881"/>
                  </a:lnTo>
                  <a:lnTo>
                    <a:pt x="2497765" y="382242"/>
                  </a:lnTo>
                  <a:lnTo>
                    <a:pt x="2486640" y="370517"/>
                  </a:lnTo>
                  <a:lnTo>
                    <a:pt x="2484655" y="367060"/>
                  </a:lnTo>
                  <a:lnTo>
                    <a:pt x="2480009" y="363959"/>
                  </a:lnTo>
                  <a:lnTo>
                    <a:pt x="2479854" y="363314"/>
                  </a:lnTo>
                  <a:lnTo>
                    <a:pt x="2480382" y="361845"/>
                  </a:lnTo>
                  <a:lnTo>
                    <a:pt x="2485492" y="358518"/>
                  </a:lnTo>
                  <a:lnTo>
                    <a:pt x="2490573" y="355169"/>
                  </a:lnTo>
                  <a:lnTo>
                    <a:pt x="2495082" y="352467"/>
                  </a:lnTo>
                  <a:lnTo>
                    <a:pt x="2499571" y="349747"/>
                  </a:lnTo>
                  <a:lnTo>
                    <a:pt x="2506082" y="347358"/>
                  </a:lnTo>
                  <a:lnTo>
                    <a:pt x="2512952" y="343320"/>
                  </a:lnTo>
                  <a:lnTo>
                    <a:pt x="2519776" y="339240"/>
                  </a:lnTo>
                  <a:lnTo>
                    <a:pt x="2526553" y="335118"/>
                  </a:lnTo>
                  <a:lnTo>
                    <a:pt x="2527121" y="333198"/>
                  </a:lnTo>
                  <a:lnTo>
                    <a:pt x="2526648" y="332712"/>
                  </a:lnTo>
                  <a:lnTo>
                    <a:pt x="2525903" y="332482"/>
                  </a:lnTo>
                  <a:lnTo>
                    <a:pt x="2525304" y="331464"/>
                  </a:lnTo>
                  <a:lnTo>
                    <a:pt x="2530137" y="327972"/>
                  </a:lnTo>
                  <a:lnTo>
                    <a:pt x="2534694" y="326108"/>
                  </a:lnTo>
                  <a:lnTo>
                    <a:pt x="2539240" y="324225"/>
                  </a:lnTo>
                  <a:lnTo>
                    <a:pt x="2540154" y="322299"/>
                  </a:lnTo>
                  <a:lnTo>
                    <a:pt x="2547004" y="320638"/>
                  </a:lnTo>
                  <a:lnTo>
                    <a:pt x="2548472" y="318549"/>
                  </a:lnTo>
                  <a:lnTo>
                    <a:pt x="2550744" y="318877"/>
                  </a:lnTo>
                  <a:lnTo>
                    <a:pt x="2552213" y="316766"/>
                  </a:lnTo>
                  <a:lnTo>
                    <a:pt x="2557414" y="315559"/>
                  </a:lnTo>
                  <a:lnTo>
                    <a:pt x="2562609" y="314326"/>
                  </a:lnTo>
                  <a:lnTo>
                    <a:pt x="2563404" y="313464"/>
                  </a:lnTo>
                  <a:lnTo>
                    <a:pt x="2563483" y="312526"/>
                  </a:lnTo>
                  <a:lnTo>
                    <a:pt x="2563345" y="312375"/>
                  </a:lnTo>
                  <a:lnTo>
                    <a:pt x="2563118" y="311865"/>
                  </a:lnTo>
                  <a:lnTo>
                    <a:pt x="2563245" y="311825"/>
                  </a:lnTo>
                  <a:lnTo>
                    <a:pt x="2563209" y="311518"/>
                  </a:lnTo>
                  <a:lnTo>
                    <a:pt x="2563159" y="311229"/>
                  </a:lnTo>
                  <a:lnTo>
                    <a:pt x="2563144" y="311031"/>
                  </a:lnTo>
                  <a:lnTo>
                    <a:pt x="2563221" y="310988"/>
                  </a:lnTo>
                  <a:lnTo>
                    <a:pt x="2563028" y="310416"/>
                  </a:lnTo>
                  <a:lnTo>
                    <a:pt x="2556122" y="311488"/>
                  </a:lnTo>
                  <a:lnTo>
                    <a:pt x="2549216" y="312515"/>
                  </a:lnTo>
                  <a:lnTo>
                    <a:pt x="2541002" y="315615"/>
                  </a:lnTo>
                  <a:lnTo>
                    <a:pt x="2535026" y="317265"/>
                  </a:lnTo>
                  <a:lnTo>
                    <a:pt x="2529039" y="318883"/>
                  </a:lnTo>
                  <a:lnTo>
                    <a:pt x="2528845" y="318238"/>
                  </a:lnTo>
                  <a:lnTo>
                    <a:pt x="2529330" y="316564"/>
                  </a:lnTo>
                  <a:lnTo>
                    <a:pt x="2534187" y="311470"/>
                  </a:lnTo>
                  <a:lnTo>
                    <a:pt x="2536120" y="307081"/>
                  </a:lnTo>
                  <a:lnTo>
                    <a:pt x="2541027" y="304161"/>
                  </a:lnTo>
                  <a:lnTo>
                    <a:pt x="2543796" y="299510"/>
                  </a:lnTo>
                  <a:lnTo>
                    <a:pt x="2547097" y="297556"/>
                  </a:lnTo>
                  <a:lnTo>
                    <a:pt x="2547990" y="294258"/>
                  </a:lnTo>
                  <a:lnTo>
                    <a:pt x="2551175" y="293033"/>
                  </a:lnTo>
                  <a:lnTo>
                    <a:pt x="2552599" y="291446"/>
                  </a:lnTo>
                  <a:lnTo>
                    <a:pt x="2552891" y="289889"/>
                  </a:lnTo>
                  <a:lnTo>
                    <a:pt x="2560169" y="286299"/>
                  </a:lnTo>
                  <a:lnTo>
                    <a:pt x="2563324" y="283426"/>
                  </a:lnTo>
                  <a:lnTo>
                    <a:pt x="2569565" y="281565"/>
                  </a:lnTo>
                  <a:lnTo>
                    <a:pt x="2574017" y="279284"/>
                  </a:lnTo>
                  <a:lnTo>
                    <a:pt x="2578454" y="276983"/>
                  </a:lnTo>
                  <a:lnTo>
                    <a:pt x="2578980" y="275688"/>
                  </a:lnTo>
                  <a:lnTo>
                    <a:pt x="2578654" y="273201"/>
                  </a:lnTo>
                  <a:lnTo>
                    <a:pt x="2576028" y="271392"/>
                  </a:lnTo>
                  <a:lnTo>
                    <a:pt x="2572933" y="272393"/>
                  </a:lnTo>
                  <a:lnTo>
                    <a:pt x="2569427" y="275394"/>
                  </a:lnTo>
                  <a:lnTo>
                    <a:pt x="2562751" y="275572"/>
                  </a:lnTo>
                  <a:lnTo>
                    <a:pt x="2557692" y="277114"/>
                  </a:lnTo>
                  <a:lnTo>
                    <a:pt x="2552625" y="278631"/>
                  </a:lnTo>
                  <a:lnTo>
                    <a:pt x="2551276" y="281070"/>
                  </a:lnTo>
                  <a:lnTo>
                    <a:pt x="2545705" y="284526"/>
                  </a:lnTo>
                  <a:lnTo>
                    <a:pt x="2540100" y="287952"/>
                  </a:lnTo>
                  <a:lnTo>
                    <a:pt x="2539612" y="287892"/>
                  </a:lnTo>
                  <a:lnTo>
                    <a:pt x="2539107" y="287519"/>
                  </a:lnTo>
                  <a:lnTo>
                    <a:pt x="2537916" y="286221"/>
                  </a:lnTo>
                  <a:lnTo>
                    <a:pt x="2537663" y="284065"/>
                  </a:lnTo>
                  <a:lnTo>
                    <a:pt x="2537818" y="282738"/>
                  </a:lnTo>
                  <a:lnTo>
                    <a:pt x="2537611" y="281050"/>
                  </a:lnTo>
                  <a:lnTo>
                    <a:pt x="2536265" y="277815"/>
                  </a:lnTo>
                  <a:lnTo>
                    <a:pt x="2535486" y="276561"/>
                  </a:lnTo>
                  <a:lnTo>
                    <a:pt x="2534914" y="275919"/>
                  </a:lnTo>
                  <a:lnTo>
                    <a:pt x="2534523" y="275126"/>
                  </a:lnTo>
                  <a:lnTo>
                    <a:pt x="2534295" y="273431"/>
                  </a:lnTo>
                  <a:lnTo>
                    <a:pt x="2534343" y="272274"/>
                  </a:lnTo>
                  <a:lnTo>
                    <a:pt x="2538047" y="260702"/>
                  </a:lnTo>
                  <a:lnTo>
                    <a:pt x="2538184" y="258663"/>
                  </a:lnTo>
                  <a:lnTo>
                    <a:pt x="2537837" y="256022"/>
                  </a:lnTo>
                  <a:lnTo>
                    <a:pt x="2536319" y="255853"/>
                  </a:lnTo>
                  <a:lnTo>
                    <a:pt x="2536210" y="253783"/>
                  </a:lnTo>
                  <a:lnTo>
                    <a:pt x="2536970" y="252639"/>
                  </a:lnTo>
                  <a:lnTo>
                    <a:pt x="2538788" y="251930"/>
                  </a:lnTo>
                  <a:lnTo>
                    <a:pt x="2540026" y="250066"/>
                  </a:lnTo>
                  <a:lnTo>
                    <a:pt x="2540759" y="246864"/>
                  </a:lnTo>
                  <a:lnTo>
                    <a:pt x="2540802" y="243502"/>
                  </a:lnTo>
                  <a:lnTo>
                    <a:pt x="2541918" y="239103"/>
                  </a:lnTo>
                  <a:lnTo>
                    <a:pt x="2543927" y="235940"/>
                  </a:lnTo>
                  <a:lnTo>
                    <a:pt x="2544073" y="234243"/>
                  </a:lnTo>
                  <a:lnTo>
                    <a:pt x="2547467" y="230979"/>
                  </a:lnTo>
                  <a:lnTo>
                    <a:pt x="2548826" y="226398"/>
                  </a:lnTo>
                  <a:lnTo>
                    <a:pt x="2550808" y="225855"/>
                  </a:lnTo>
                  <a:lnTo>
                    <a:pt x="2551324" y="222191"/>
                  </a:lnTo>
                  <a:lnTo>
                    <a:pt x="2553562" y="218372"/>
                  </a:lnTo>
                  <a:lnTo>
                    <a:pt x="2553519" y="217541"/>
                  </a:lnTo>
                  <a:lnTo>
                    <a:pt x="2552354" y="216619"/>
                  </a:lnTo>
                  <a:lnTo>
                    <a:pt x="2551269" y="216608"/>
                  </a:lnTo>
                  <a:lnTo>
                    <a:pt x="2545842" y="223962"/>
                  </a:lnTo>
                  <a:lnTo>
                    <a:pt x="2540316" y="231288"/>
                  </a:lnTo>
                  <a:lnTo>
                    <a:pt x="2539596" y="234014"/>
                  </a:lnTo>
                  <a:lnTo>
                    <a:pt x="2535638" y="238725"/>
                  </a:lnTo>
                  <a:lnTo>
                    <a:pt x="2533713" y="248324"/>
                  </a:lnTo>
                  <a:lnTo>
                    <a:pt x="2532379" y="250225"/>
                  </a:lnTo>
                  <a:lnTo>
                    <a:pt x="2531637" y="252776"/>
                  </a:lnTo>
                  <a:lnTo>
                    <a:pt x="2531624" y="254186"/>
                  </a:lnTo>
                  <a:lnTo>
                    <a:pt x="2531811" y="256032"/>
                  </a:lnTo>
                  <a:lnTo>
                    <a:pt x="2532202" y="258578"/>
                  </a:lnTo>
                  <a:lnTo>
                    <a:pt x="2533108" y="259559"/>
                  </a:lnTo>
                  <a:lnTo>
                    <a:pt x="2533489" y="259785"/>
                  </a:lnTo>
                  <a:lnTo>
                    <a:pt x="2533758" y="259648"/>
                  </a:lnTo>
                  <a:lnTo>
                    <a:pt x="2533385" y="261070"/>
                  </a:lnTo>
                  <a:lnTo>
                    <a:pt x="2530216" y="262726"/>
                  </a:lnTo>
                  <a:lnTo>
                    <a:pt x="2524122" y="259288"/>
                  </a:lnTo>
                  <a:lnTo>
                    <a:pt x="2518067" y="255817"/>
                  </a:lnTo>
                  <a:lnTo>
                    <a:pt x="2519549" y="258195"/>
                  </a:lnTo>
                  <a:lnTo>
                    <a:pt x="2526947" y="264188"/>
                  </a:lnTo>
                  <a:lnTo>
                    <a:pt x="2528034" y="264305"/>
                  </a:lnTo>
                  <a:lnTo>
                    <a:pt x="2528762" y="264998"/>
                  </a:lnTo>
                  <a:lnTo>
                    <a:pt x="2528754" y="267261"/>
                  </a:lnTo>
                  <a:lnTo>
                    <a:pt x="2527016" y="267716"/>
                  </a:lnTo>
                  <a:lnTo>
                    <a:pt x="2526502" y="268733"/>
                  </a:lnTo>
                  <a:lnTo>
                    <a:pt x="2526659" y="272957"/>
                  </a:lnTo>
                  <a:lnTo>
                    <a:pt x="2526759" y="273739"/>
                  </a:lnTo>
                  <a:lnTo>
                    <a:pt x="2527067" y="275559"/>
                  </a:lnTo>
                  <a:lnTo>
                    <a:pt x="2527897" y="276390"/>
                  </a:lnTo>
                  <a:lnTo>
                    <a:pt x="2528633" y="276711"/>
                  </a:lnTo>
                  <a:lnTo>
                    <a:pt x="2529215" y="276504"/>
                  </a:lnTo>
                  <a:lnTo>
                    <a:pt x="2529972" y="275384"/>
                  </a:lnTo>
                  <a:lnTo>
                    <a:pt x="2530478" y="276157"/>
                  </a:lnTo>
                  <a:lnTo>
                    <a:pt x="2530883" y="277593"/>
                  </a:lnTo>
                  <a:lnTo>
                    <a:pt x="2530956" y="279184"/>
                  </a:lnTo>
                  <a:lnTo>
                    <a:pt x="2530526" y="282675"/>
                  </a:lnTo>
                  <a:lnTo>
                    <a:pt x="2530115" y="283129"/>
                  </a:lnTo>
                  <a:lnTo>
                    <a:pt x="2528921" y="283251"/>
                  </a:lnTo>
                  <a:lnTo>
                    <a:pt x="2528539" y="283984"/>
                  </a:lnTo>
                  <a:lnTo>
                    <a:pt x="2528647" y="285858"/>
                  </a:lnTo>
                  <a:lnTo>
                    <a:pt x="2529248" y="288093"/>
                  </a:lnTo>
                  <a:lnTo>
                    <a:pt x="2529169" y="290199"/>
                  </a:lnTo>
                  <a:lnTo>
                    <a:pt x="2528189" y="294818"/>
                  </a:lnTo>
                  <a:lnTo>
                    <a:pt x="2523842" y="299412"/>
                  </a:lnTo>
                  <a:lnTo>
                    <a:pt x="2522718" y="303602"/>
                  </a:lnTo>
                  <a:lnTo>
                    <a:pt x="2520777" y="305467"/>
                  </a:lnTo>
                  <a:lnTo>
                    <a:pt x="2518319" y="307454"/>
                  </a:lnTo>
                  <a:lnTo>
                    <a:pt x="2514648" y="312404"/>
                  </a:lnTo>
                  <a:lnTo>
                    <a:pt x="2511718" y="317796"/>
                  </a:lnTo>
                  <a:lnTo>
                    <a:pt x="2506834" y="323008"/>
                  </a:lnTo>
                  <a:lnTo>
                    <a:pt x="2501165" y="325105"/>
                  </a:lnTo>
                  <a:lnTo>
                    <a:pt x="2497309" y="328690"/>
                  </a:lnTo>
                  <a:lnTo>
                    <a:pt x="2493133" y="331453"/>
                  </a:lnTo>
                  <a:lnTo>
                    <a:pt x="2488936" y="334200"/>
                  </a:lnTo>
                  <a:lnTo>
                    <a:pt x="2488573" y="335502"/>
                  </a:lnTo>
                  <a:lnTo>
                    <a:pt x="2488282" y="335341"/>
                  </a:lnTo>
                  <a:lnTo>
                    <a:pt x="2482506" y="337209"/>
                  </a:lnTo>
                  <a:lnTo>
                    <a:pt x="2479549" y="339445"/>
                  </a:lnTo>
                  <a:lnTo>
                    <a:pt x="2475674" y="339390"/>
                  </a:lnTo>
                  <a:lnTo>
                    <a:pt x="2474539" y="338185"/>
                  </a:lnTo>
                  <a:lnTo>
                    <a:pt x="2473815" y="335393"/>
                  </a:lnTo>
                  <a:lnTo>
                    <a:pt x="2473606" y="332829"/>
                  </a:lnTo>
                  <a:lnTo>
                    <a:pt x="2473547" y="330531"/>
                  </a:lnTo>
                  <a:lnTo>
                    <a:pt x="2473726" y="328834"/>
                  </a:lnTo>
                  <a:lnTo>
                    <a:pt x="2474232" y="328094"/>
                  </a:lnTo>
                  <a:lnTo>
                    <a:pt x="2476056" y="327761"/>
                  </a:lnTo>
                  <a:lnTo>
                    <a:pt x="2476864" y="326851"/>
                  </a:lnTo>
                  <a:lnTo>
                    <a:pt x="2477156" y="323913"/>
                  </a:lnTo>
                  <a:lnTo>
                    <a:pt x="2482547" y="320312"/>
                  </a:lnTo>
                  <a:lnTo>
                    <a:pt x="2487903" y="316685"/>
                  </a:lnTo>
                  <a:lnTo>
                    <a:pt x="2489251" y="313288"/>
                  </a:lnTo>
                  <a:lnTo>
                    <a:pt x="2490522" y="312208"/>
                  </a:lnTo>
                  <a:lnTo>
                    <a:pt x="2492103" y="305666"/>
                  </a:lnTo>
                  <a:lnTo>
                    <a:pt x="2491506" y="304859"/>
                  </a:lnTo>
                  <a:lnTo>
                    <a:pt x="2490149" y="305321"/>
                  </a:lnTo>
                  <a:lnTo>
                    <a:pt x="2487947" y="304409"/>
                  </a:lnTo>
                  <a:lnTo>
                    <a:pt x="2487180" y="305180"/>
                  </a:lnTo>
                  <a:lnTo>
                    <a:pt x="2486020" y="308026"/>
                  </a:lnTo>
                  <a:lnTo>
                    <a:pt x="2482450" y="311471"/>
                  </a:lnTo>
                  <a:lnTo>
                    <a:pt x="2481958" y="313006"/>
                  </a:lnTo>
                  <a:lnTo>
                    <a:pt x="2480907" y="313055"/>
                  </a:lnTo>
                  <a:lnTo>
                    <a:pt x="2480527" y="313524"/>
                  </a:lnTo>
                  <a:lnTo>
                    <a:pt x="2480440" y="314438"/>
                  </a:lnTo>
                  <a:lnTo>
                    <a:pt x="2480443" y="315521"/>
                  </a:lnTo>
                  <a:lnTo>
                    <a:pt x="2480384" y="316451"/>
                  </a:lnTo>
                  <a:lnTo>
                    <a:pt x="2480097" y="316902"/>
                  </a:lnTo>
                  <a:lnTo>
                    <a:pt x="2473269" y="320541"/>
                  </a:lnTo>
                  <a:lnTo>
                    <a:pt x="2468682" y="324289"/>
                  </a:lnTo>
                  <a:lnTo>
                    <a:pt x="2465180" y="324749"/>
                  </a:lnTo>
                  <a:lnTo>
                    <a:pt x="2464608" y="324416"/>
                  </a:lnTo>
                  <a:lnTo>
                    <a:pt x="2464002" y="323563"/>
                  </a:lnTo>
                  <a:lnTo>
                    <a:pt x="2464188" y="322763"/>
                  </a:lnTo>
                  <a:lnTo>
                    <a:pt x="2463872" y="322158"/>
                  </a:lnTo>
                  <a:lnTo>
                    <a:pt x="2462971" y="320766"/>
                  </a:lnTo>
                  <a:lnTo>
                    <a:pt x="2463297" y="318884"/>
                  </a:lnTo>
                  <a:lnTo>
                    <a:pt x="2465950" y="317034"/>
                  </a:lnTo>
                  <a:lnTo>
                    <a:pt x="2468287" y="311181"/>
                  </a:lnTo>
                  <a:lnTo>
                    <a:pt x="2468399" y="309688"/>
                  </a:lnTo>
                  <a:lnTo>
                    <a:pt x="2465435" y="308636"/>
                  </a:lnTo>
                  <a:lnTo>
                    <a:pt x="2464837" y="309794"/>
                  </a:lnTo>
                  <a:lnTo>
                    <a:pt x="2464615" y="312246"/>
                  </a:lnTo>
                  <a:lnTo>
                    <a:pt x="2464467" y="312895"/>
                  </a:lnTo>
                  <a:lnTo>
                    <a:pt x="2462545" y="316126"/>
                  </a:lnTo>
                  <a:lnTo>
                    <a:pt x="2461784" y="316503"/>
                  </a:lnTo>
                  <a:lnTo>
                    <a:pt x="2461482" y="316923"/>
                  </a:lnTo>
                  <a:lnTo>
                    <a:pt x="2461089" y="319673"/>
                  </a:lnTo>
                  <a:lnTo>
                    <a:pt x="2460417" y="320546"/>
                  </a:lnTo>
                  <a:lnTo>
                    <a:pt x="2457376" y="319713"/>
                  </a:lnTo>
                  <a:lnTo>
                    <a:pt x="2457906" y="320436"/>
                  </a:lnTo>
                  <a:lnTo>
                    <a:pt x="2459398" y="321536"/>
                  </a:lnTo>
                  <a:lnTo>
                    <a:pt x="2458856" y="321962"/>
                  </a:lnTo>
                  <a:lnTo>
                    <a:pt x="2458827" y="323365"/>
                  </a:lnTo>
                  <a:lnTo>
                    <a:pt x="2459290" y="325179"/>
                  </a:lnTo>
                  <a:lnTo>
                    <a:pt x="2460223" y="326840"/>
                  </a:lnTo>
                  <a:lnTo>
                    <a:pt x="2460863" y="327772"/>
                  </a:lnTo>
                  <a:lnTo>
                    <a:pt x="2461618" y="329187"/>
                  </a:lnTo>
                  <a:lnTo>
                    <a:pt x="2462377" y="330934"/>
                  </a:lnTo>
                  <a:lnTo>
                    <a:pt x="2463036" y="332886"/>
                  </a:lnTo>
                  <a:lnTo>
                    <a:pt x="2462971" y="334432"/>
                  </a:lnTo>
                  <a:lnTo>
                    <a:pt x="2463300" y="338854"/>
                  </a:lnTo>
                  <a:lnTo>
                    <a:pt x="2463338" y="340773"/>
                  </a:lnTo>
                  <a:lnTo>
                    <a:pt x="2462935" y="342593"/>
                  </a:lnTo>
                  <a:lnTo>
                    <a:pt x="2462157" y="343475"/>
                  </a:lnTo>
                  <a:lnTo>
                    <a:pt x="2458985" y="344299"/>
                  </a:lnTo>
                  <a:lnTo>
                    <a:pt x="2453952" y="348214"/>
                  </a:lnTo>
                  <a:lnTo>
                    <a:pt x="2448220" y="346976"/>
                  </a:lnTo>
                  <a:lnTo>
                    <a:pt x="2444058" y="347976"/>
                  </a:lnTo>
                  <a:lnTo>
                    <a:pt x="2441162" y="351383"/>
                  </a:lnTo>
                  <a:lnTo>
                    <a:pt x="2433037" y="350555"/>
                  </a:lnTo>
                  <a:lnTo>
                    <a:pt x="2430918" y="349215"/>
                  </a:lnTo>
                  <a:lnTo>
                    <a:pt x="2428535" y="350837"/>
                  </a:lnTo>
                  <a:lnTo>
                    <a:pt x="2427072" y="349721"/>
                  </a:lnTo>
                  <a:lnTo>
                    <a:pt x="2427650" y="346152"/>
                  </a:lnTo>
                  <a:lnTo>
                    <a:pt x="2429966" y="342846"/>
                  </a:lnTo>
                  <a:lnTo>
                    <a:pt x="2430730" y="340068"/>
                  </a:lnTo>
                  <a:lnTo>
                    <a:pt x="2427276" y="343239"/>
                  </a:lnTo>
                  <a:lnTo>
                    <a:pt x="2423862" y="350851"/>
                  </a:lnTo>
                  <a:lnTo>
                    <a:pt x="2422674" y="351169"/>
                  </a:lnTo>
                  <a:lnTo>
                    <a:pt x="2416377" y="348546"/>
                  </a:lnTo>
                  <a:lnTo>
                    <a:pt x="2410114" y="345889"/>
                  </a:lnTo>
                  <a:lnTo>
                    <a:pt x="2410315" y="340773"/>
                  </a:lnTo>
                  <a:lnTo>
                    <a:pt x="2411478" y="333453"/>
                  </a:lnTo>
                  <a:lnTo>
                    <a:pt x="2415800" y="320130"/>
                  </a:lnTo>
                  <a:lnTo>
                    <a:pt x="2419953" y="306798"/>
                  </a:lnTo>
                  <a:lnTo>
                    <a:pt x="2422248" y="302653"/>
                  </a:lnTo>
                  <a:lnTo>
                    <a:pt x="2424102" y="301791"/>
                  </a:lnTo>
                  <a:lnTo>
                    <a:pt x="2424848" y="300591"/>
                  </a:lnTo>
                  <a:lnTo>
                    <a:pt x="2426326" y="300235"/>
                  </a:lnTo>
                  <a:lnTo>
                    <a:pt x="2428203" y="298207"/>
                  </a:lnTo>
                  <a:lnTo>
                    <a:pt x="2428399" y="297098"/>
                  </a:lnTo>
                  <a:lnTo>
                    <a:pt x="2428577" y="296810"/>
                  </a:lnTo>
                  <a:lnTo>
                    <a:pt x="2431747" y="295524"/>
                  </a:lnTo>
                  <a:lnTo>
                    <a:pt x="2431340" y="294784"/>
                  </a:lnTo>
                  <a:lnTo>
                    <a:pt x="2431501" y="294109"/>
                  </a:lnTo>
                  <a:lnTo>
                    <a:pt x="2431783" y="293747"/>
                  </a:lnTo>
                  <a:lnTo>
                    <a:pt x="2432145" y="293757"/>
                  </a:lnTo>
                  <a:lnTo>
                    <a:pt x="2433192" y="295029"/>
                  </a:lnTo>
                  <a:lnTo>
                    <a:pt x="2433735" y="295241"/>
                  </a:lnTo>
                  <a:lnTo>
                    <a:pt x="2439000" y="292549"/>
                  </a:lnTo>
                  <a:lnTo>
                    <a:pt x="2444240" y="289832"/>
                  </a:lnTo>
                  <a:lnTo>
                    <a:pt x="2445198" y="288043"/>
                  </a:lnTo>
                  <a:lnTo>
                    <a:pt x="2452437" y="284187"/>
                  </a:lnTo>
                  <a:lnTo>
                    <a:pt x="2459626" y="280280"/>
                  </a:lnTo>
                  <a:lnTo>
                    <a:pt x="2466765" y="276325"/>
                  </a:lnTo>
                  <a:lnTo>
                    <a:pt x="2467306" y="274743"/>
                  </a:lnTo>
                  <a:lnTo>
                    <a:pt x="2470958" y="272584"/>
                  </a:lnTo>
                  <a:lnTo>
                    <a:pt x="2472019" y="270197"/>
                  </a:lnTo>
                  <a:lnTo>
                    <a:pt x="2471515" y="269703"/>
                  </a:lnTo>
                  <a:lnTo>
                    <a:pt x="2464618" y="273802"/>
                  </a:lnTo>
                  <a:lnTo>
                    <a:pt x="2457669" y="277853"/>
                  </a:lnTo>
                  <a:lnTo>
                    <a:pt x="2450669" y="281858"/>
                  </a:lnTo>
                  <a:lnTo>
                    <a:pt x="2443619" y="285815"/>
                  </a:lnTo>
                  <a:lnTo>
                    <a:pt x="2442615" y="285538"/>
                  </a:lnTo>
                  <a:lnTo>
                    <a:pt x="2435272" y="288733"/>
                  </a:lnTo>
                  <a:lnTo>
                    <a:pt x="2427889" y="291876"/>
                  </a:lnTo>
                  <a:lnTo>
                    <a:pt x="2426547" y="294072"/>
                  </a:lnTo>
                  <a:lnTo>
                    <a:pt x="2424444" y="293480"/>
                  </a:lnTo>
                  <a:lnTo>
                    <a:pt x="2422988" y="294764"/>
                  </a:lnTo>
                  <a:lnTo>
                    <a:pt x="2418441" y="297453"/>
                  </a:lnTo>
                  <a:lnTo>
                    <a:pt x="2413665" y="302805"/>
                  </a:lnTo>
                  <a:lnTo>
                    <a:pt x="2410601" y="310519"/>
                  </a:lnTo>
                  <a:lnTo>
                    <a:pt x="2409957" y="314126"/>
                  </a:lnTo>
                  <a:lnTo>
                    <a:pt x="2409718" y="314891"/>
                  </a:lnTo>
                  <a:lnTo>
                    <a:pt x="2408243" y="316670"/>
                  </a:lnTo>
                  <a:lnTo>
                    <a:pt x="2407736" y="320028"/>
                  </a:lnTo>
                  <a:lnTo>
                    <a:pt x="2408007" y="320797"/>
                  </a:lnTo>
                  <a:lnTo>
                    <a:pt x="2402163" y="333067"/>
                  </a:lnTo>
                  <a:lnTo>
                    <a:pt x="2402031" y="334443"/>
                  </a:lnTo>
                  <a:lnTo>
                    <a:pt x="2402309" y="337642"/>
                  </a:lnTo>
                  <a:lnTo>
                    <a:pt x="2401643" y="340714"/>
                  </a:lnTo>
                  <a:lnTo>
                    <a:pt x="2400254" y="344479"/>
                  </a:lnTo>
                  <a:lnTo>
                    <a:pt x="2396863" y="344796"/>
                  </a:lnTo>
                  <a:lnTo>
                    <a:pt x="2392374" y="344182"/>
                  </a:lnTo>
                  <a:lnTo>
                    <a:pt x="2388539" y="341533"/>
                  </a:lnTo>
                  <a:lnTo>
                    <a:pt x="2384794" y="341431"/>
                  </a:lnTo>
                  <a:lnTo>
                    <a:pt x="2379243" y="337717"/>
                  </a:lnTo>
                  <a:lnTo>
                    <a:pt x="2374159" y="333286"/>
                  </a:lnTo>
                  <a:lnTo>
                    <a:pt x="2368345" y="330837"/>
                  </a:lnTo>
                  <a:lnTo>
                    <a:pt x="2363152" y="325732"/>
                  </a:lnTo>
                  <a:lnTo>
                    <a:pt x="2359254" y="323239"/>
                  </a:lnTo>
                  <a:lnTo>
                    <a:pt x="2357740" y="320378"/>
                  </a:lnTo>
                  <a:lnTo>
                    <a:pt x="2357442" y="319561"/>
                  </a:lnTo>
                  <a:lnTo>
                    <a:pt x="2357432" y="318860"/>
                  </a:lnTo>
                  <a:lnTo>
                    <a:pt x="2357735" y="318047"/>
                  </a:lnTo>
                  <a:lnTo>
                    <a:pt x="2359141" y="317003"/>
                  </a:lnTo>
                  <a:lnTo>
                    <a:pt x="2360194" y="315060"/>
                  </a:lnTo>
                  <a:lnTo>
                    <a:pt x="2364378" y="314085"/>
                  </a:lnTo>
                  <a:lnTo>
                    <a:pt x="2366864" y="311195"/>
                  </a:lnTo>
                  <a:lnTo>
                    <a:pt x="2374265" y="308289"/>
                  </a:lnTo>
                  <a:lnTo>
                    <a:pt x="2379202" y="307604"/>
                  </a:lnTo>
                  <a:lnTo>
                    <a:pt x="2384239" y="306881"/>
                  </a:lnTo>
                  <a:lnTo>
                    <a:pt x="2388152" y="308191"/>
                  </a:lnTo>
                  <a:lnTo>
                    <a:pt x="2396223" y="306051"/>
                  </a:lnTo>
                  <a:lnTo>
                    <a:pt x="2397788" y="304041"/>
                  </a:lnTo>
                  <a:lnTo>
                    <a:pt x="2403416" y="303173"/>
                  </a:lnTo>
                  <a:lnTo>
                    <a:pt x="2407080" y="300076"/>
                  </a:lnTo>
                  <a:lnTo>
                    <a:pt x="2409265" y="295192"/>
                  </a:lnTo>
                  <a:lnTo>
                    <a:pt x="2413461" y="292890"/>
                  </a:lnTo>
                  <a:lnTo>
                    <a:pt x="2416271" y="293243"/>
                  </a:lnTo>
                  <a:lnTo>
                    <a:pt x="2416574" y="292293"/>
                  </a:lnTo>
                  <a:lnTo>
                    <a:pt x="2415596" y="291509"/>
                  </a:lnTo>
                  <a:lnTo>
                    <a:pt x="2415048" y="290818"/>
                  </a:lnTo>
                  <a:lnTo>
                    <a:pt x="2414520" y="289665"/>
                  </a:lnTo>
                  <a:lnTo>
                    <a:pt x="2414690" y="288191"/>
                  </a:lnTo>
                  <a:lnTo>
                    <a:pt x="2415112" y="287193"/>
                  </a:lnTo>
                  <a:lnTo>
                    <a:pt x="2416690" y="285817"/>
                  </a:lnTo>
                  <a:lnTo>
                    <a:pt x="2417559" y="283600"/>
                  </a:lnTo>
                  <a:lnTo>
                    <a:pt x="2418595" y="282474"/>
                  </a:lnTo>
                  <a:lnTo>
                    <a:pt x="2419362" y="280282"/>
                  </a:lnTo>
                  <a:lnTo>
                    <a:pt x="2424145" y="274436"/>
                  </a:lnTo>
                  <a:lnTo>
                    <a:pt x="2429236" y="270491"/>
                  </a:lnTo>
                  <a:lnTo>
                    <a:pt x="2430034" y="268372"/>
                  </a:lnTo>
                  <a:lnTo>
                    <a:pt x="2430505" y="267800"/>
                  </a:lnTo>
                  <a:lnTo>
                    <a:pt x="2429977" y="266532"/>
                  </a:lnTo>
                  <a:lnTo>
                    <a:pt x="2429477" y="266232"/>
                  </a:lnTo>
                  <a:lnTo>
                    <a:pt x="2429075" y="266575"/>
                  </a:lnTo>
                  <a:lnTo>
                    <a:pt x="2428839" y="267238"/>
                  </a:lnTo>
                  <a:lnTo>
                    <a:pt x="2428463" y="267433"/>
                  </a:lnTo>
                  <a:lnTo>
                    <a:pt x="2426541" y="265649"/>
                  </a:lnTo>
                  <a:lnTo>
                    <a:pt x="2425542" y="266580"/>
                  </a:lnTo>
                  <a:lnTo>
                    <a:pt x="2421771" y="267783"/>
                  </a:lnTo>
                  <a:lnTo>
                    <a:pt x="2417218" y="271859"/>
                  </a:lnTo>
                  <a:lnTo>
                    <a:pt x="2412626" y="275914"/>
                  </a:lnTo>
                  <a:lnTo>
                    <a:pt x="2408261" y="282283"/>
                  </a:lnTo>
                  <a:lnTo>
                    <a:pt x="2407430" y="286459"/>
                  </a:lnTo>
                  <a:lnTo>
                    <a:pt x="2404127" y="289965"/>
                  </a:lnTo>
                  <a:lnTo>
                    <a:pt x="2404232" y="289947"/>
                  </a:lnTo>
                  <a:lnTo>
                    <a:pt x="2397444" y="292614"/>
                  </a:lnTo>
                  <a:lnTo>
                    <a:pt x="2390537" y="298236"/>
                  </a:lnTo>
                  <a:lnTo>
                    <a:pt x="2382377" y="298338"/>
                  </a:lnTo>
                  <a:lnTo>
                    <a:pt x="2374305" y="301294"/>
                  </a:lnTo>
                  <a:lnTo>
                    <a:pt x="2366192" y="304187"/>
                  </a:lnTo>
                  <a:lnTo>
                    <a:pt x="2358040" y="307018"/>
                  </a:lnTo>
                  <a:lnTo>
                    <a:pt x="2349848" y="309785"/>
                  </a:lnTo>
                  <a:lnTo>
                    <a:pt x="2347655" y="308629"/>
                  </a:lnTo>
                  <a:lnTo>
                    <a:pt x="2346562" y="307335"/>
                  </a:lnTo>
                  <a:lnTo>
                    <a:pt x="2345036" y="306708"/>
                  </a:lnTo>
                  <a:lnTo>
                    <a:pt x="2343033" y="304364"/>
                  </a:lnTo>
                  <a:lnTo>
                    <a:pt x="2342499" y="303147"/>
                  </a:lnTo>
                  <a:lnTo>
                    <a:pt x="2341379" y="299979"/>
                  </a:lnTo>
                  <a:lnTo>
                    <a:pt x="2339826" y="296943"/>
                  </a:lnTo>
                  <a:lnTo>
                    <a:pt x="2339298" y="295488"/>
                  </a:lnTo>
                  <a:lnTo>
                    <a:pt x="2338865" y="293581"/>
                  </a:lnTo>
                  <a:lnTo>
                    <a:pt x="2339052" y="293187"/>
                  </a:lnTo>
                  <a:lnTo>
                    <a:pt x="2339544" y="291364"/>
                  </a:lnTo>
                  <a:lnTo>
                    <a:pt x="2344110" y="284762"/>
                  </a:lnTo>
                  <a:lnTo>
                    <a:pt x="2344499" y="284865"/>
                  </a:lnTo>
                  <a:lnTo>
                    <a:pt x="2345353" y="285669"/>
                  </a:lnTo>
                  <a:lnTo>
                    <a:pt x="2346482" y="284620"/>
                  </a:lnTo>
                  <a:lnTo>
                    <a:pt x="2347332" y="284735"/>
                  </a:lnTo>
                  <a:lnTo>
                    <a:pt x="2350978" y="288245"/>
                  </a:lnTo>
                  <a:lnTo>
                    <a:pt x="2351773" y="288364"/>
                  </a:lnTo>
                  <a:lnTo>
                    <a:pt x="2356725" y="285590"/>
                  </a:lnTo>
                  <a:lnTo>
                    <a:pt x="2361650" y="282793"/>
                  </a:lnTo>
                  <a:lnTo>
                    <a:pt x="2360381" y="281073"/>
                  </a:lnTo>
                  <a:lnTo>
                    <a:pt x="2354042" y="283407"/>
                  </a:lnTo>
                  <a:lnTo>
                    <a:pt x="2350464" y="280148"/>
                  </a:lnTo>
                  <a:lnTo>
                    <a:pt x="2345949" y="278723"/>
                  </a:lnTo>
                  <a:lnTo>
                    <a:pt x="2343539" y="276075"/>
                  </a:lnTo>
                  <a:lnTo>
                    <a:pt x="2343903" y="274778"/>
                  </a:lnTo>
                  <a:lnTo>
                    <a:pt x="2348833" y="271869"/>
                  </a:lnTo>
                  <a:lnTo>
                    <a:pt x="2350798" y="267031"/>
                  </a:lnTo>
                  <a:lnTo>
                    <a:pt x="2354179" y="266122"/>
                  </a:lnTo>
                  <a:lnTo>
                    <a:pt x="2357457" y="259377"/>
                  </a:lnTo>
                  <a:lnTo>
                    <a:pt x="2359372" y="260669"/>
                  </a:lnTo>
                  <a:lnTo>
                    <a:pt x="2359975" y="260671"/>
                  </a:lnTo>
                  <a:lnTo>
                    <a:pt x="2360395" y="259901"/>
                  </a:lnTo>
                  <a:lnTo>
                    <a:pt x="2359879" y="259755"/>
                  </a:lnTo>
                  <a:lnTo>
                    <a:pt x="2358725" y="258261"/>
                  </a:lnTo>
                  <a:lnTo>
                    <a:pt x="2358204" y="257961"/>
                  </a:lnTo>
                  <a:lnTo>
                    <a:pt x="2358334" y="256447"/>
                  </a:lnTo>
                  <a:lnTo>
                    <a:pt x="2358651" y="255845"/>
                  </a:lnTo>
                  <a:lnTo>
                    <a:pt x="2364672" y="252624"/>
                  </a:lnTo>
                  <a:lnTo>
                    <a:pt x="2367719" y="252261"/>
                  </a:lnTo>
                  <a:lnTo>
                    <a:pt x="2373403" y="249957"/>
                  </a:lnTo>
                  <a:lnTo>
                    <a:pt x="2373507" y="250620"/>
                  </a:lnTo>
                  <a:lnTo>
                    <a:pt x="2373323" y="250567"/>
                  </a:lnTo>
                  <a:lnTo>
                    <a:pt x="2373204" y="250690"/>
                  </a:lnTo>
                  <a:lnTo>
                    <a:pt x="2373127" y="250994"/>
                  </a:lnTo>
                  <a:lnTo>
                    <a:pt x="2373069" y="251493"/>
                  </a:lnTo>
                  <a:lnTo>
                    <a:pt x="2373812" y="252382"/>
                  </a:lnTo>
                  <a:lnTo>
                    <a:pt x="2374598" y="252538"/>
                  </a:lnTo>
                  <a:lnTo>
                    <a:pt x="2376083" y="250922"/>
                  </a:lnTo>
                  <a:lnTo>
                    <a:pt x="2377265" y="251559"/>
                  </a:lnTo>
                  <a:lnTo>
                    <a:pt x="2380405" y="251013"/>
                  </a:lnTo>
                  <a:lnTo>
                    <a:pt x="2384863" y="253691"/>
                  </a:lnTo>
                  <a:lnTo>
                    <a:pt x="2385270" y="252643"/>
                  </a:lnTo>
                  <a:lnTo>
                    <a:pt x="2385073" y="252585"/>
                  </a:lnTo>
                  <a:lnTo>
                    <a:pt x="2384858" y="252348"/>
                  </a:lnTo>
                  <a:lnTo>
                    <a:pt x="2384618" y="251910"/>
                  </a:lnTo>
                  <a:lnTo>
                    <a:pt x="2384365" y="251293"/>
                  </a:lnTo>
                  <a:lnTo>
                    <a:pt x="2383817" y="250381"/>
                  </a:lnTo>
                  <a:lnTo>
                    <a:pt x="2377453" y="248494"/>
                  </a:lnTo>
                  <a:lnTo>
                    <a:pt x="2371120" y="246567"/>
                  </a:lnTo>
                  <a:lnTo>
                    <a:pt x="2369915" y="248158"/>
                  </a:lnTo>
                  <a:lnTo>
                    <a:pt x="2368005" y="247749"/>
                  </a:lnTo>
                  <a:lnTo>
                    <a:pt x="2368103" y="246926"/>
                  </a:lnTo>
                  <a:lnTo>
                    <a:pt x="2367099" y="245424"/>
                  </a:lnTo>
                  <a:lnTo>
                    <a:pt x="2366063" y="245077"/>
                  </a:lnTo>
                  <a:lnTo>
                    <a:pt x="2365150" y="245636"/>
                  </a:lnTo>
                  <a:lnTo>
                    <a:pt x="2363874" y="248267"/>
                  </a:lnTo>
                  <a:lnTo>
                    <a:pt x="2362303" y="249587"/>
                  </a:lnTo>
                  <a:lnTo>
                    <a:pt x="2356610" y="251760"/>
                  </a:lnTo>
                  <a:lnTo>
                    <a:pt x="2351787" y="256193"/>
                  </a:lnTo>
                  <a:lnTo>
                    <a:pt x="2348689" y="258480"/>
                  </a:lnTo>
                  <a:lnTo>
                    <a:pt x="2344831" y="263400"/>
                  </a:lnTo>
                  <a:lnTo>
                    <a:pt x="2337698" y="269434"/>
                  </a:lnTo>
                  <a:lnTo>
                    <a:pt x="2336450" y="271932"/>
                  </a:lnTo>
                  <a:lnTo>
                    <a:pt x="2335367" y="272850"/>
                  </a:lnTo>
                  <a:lnTo>
                    <a:pt x="2334169" y="272723"/>
                  </a:lnTo>
                  <a:lnTo>
                    <a:pt x="2333014" y="271282"/>
                  </a:lnTo>
                  <a:lnTo>
                    <a:pt x="2333986" y="269703"/>
                  </a:lnTo>
                  <a:lnTo>
                    <a:pt x="2327246" y="265135"/>
                  </a:lnTo>
                  <a:lnTo>
                    <a:pt x="2327485" y="263273"/>
                  </a:lnTo>
                  <a:lnTo>
                    <a:pt x="2332926" y="257019"/>
                  </a:lnTo>
                  <a:lnTo>
                    <a:pt x="2338288" y="250736"/>
                  </a:lnTo>
                  <a:lnTo>
                    <a:pt x="2340154" y="250782"/>
                  </a:lnTo>
                  <a:lnTo>
                    <a:pt x="2340440" y="250393"/>
                  </a:lnTo>
                  <a:lnTo>
                    <a:pt x="2340522" y="249829"/>
                  </a:lnTo>
                  <a:lnTo>
                    <a:pt x="2340613" y="248246"/>
                  </a:lnTo>
                  <a:lnTo>
                    <a:pt x="2340766" y="247598"/>
                  </a:lnTo>
                  <a:lnTo>
                    <a:pt x="2345082" y="246533"/>
                  </a:lnTo>
                  <a:lnTo>
                    <a:pt x="2345562" y="243156"/>
                  </a:lnTo>
                  <a:lnTo>
                    <a:pt x="2341514" y="243623"/>
                  </a:lnTo>
                  <a:lnTo>
                    <a:pt x="2337543" y="244738"/>
                  </a:lnTo>
                  <a:lnTo>
                    <a:pt x="2337612" y="243594"/>
                  </a:lnTo>
                  <a:lnTo>
                    <a:pt x="2337845" y="243172"/>
                  </a:lnTo>
                  <a:lnTo>
                    <a:pt x="2338137" y="242968"/>
                  </a:lnTo>
                  <a:lnTo>
                    <a:pt x="2338383" y="242492"/>
                  </a:lnTo>
                  <a:lnTo>
                    <a:pt x="2337876" y="241688"/>
                  </a:lnTo>
                  <a:lnTo>
                    <a:pt x="2336945" y="241645"/>
                  </a:lnTo>
                  <a:lnTo>
                    <a:pt x="2336449" y="241161"/>
                  </a:lnTo>
                  <a:lnTo>
                    <a:pt x="2334364" y="237514"/>
                  </a:lnTo>
                  <a:lnTo>
                    <a:pt x="2333279" y="236753"/>
                  </a:lnTo>
                  <a:lnTo>
                    <a:pt x="2332773" y="237048"/>
                  </a:lnTo>
                  <a:lnTo>
                    <a:pt x="2332525" y="238285"/>
                  </a:lnTo>
                  <a:lnTo>
                    <a:pt x="2332709" y="239626"/>
                  </a:lnTo>
                  <a:lnTo>
                    <a:pt x="2333194" y="240993"/>
                  </a:lnTo>
                  <a:lnTo>
                    <a:pt x="2334109" y="242953"/>
                  </a:lnTo>
                  <a:lnTo>
                    <a:pt x="2333678" y="242906"/>
                  </a:lnTo>
                  <a:lnTo>
                    <a:pt x="2332299" y="241602"/>
                  </a:lnTo>
                  <a:lnTo>
                    <a:pt x="2330829" y="241974"/>
                  </a:lnTo>
                  <a:lnTo>
                    <a:pt x="2327493" y="240264"/>
                  </a:lnTo>
                  <a:lnTo>
                    <a:pt x="2326998" y="240617"/>
                  </a:lnTo>
                  <a:lnTo>
                    <a:pt x="2326336" y="244197"/>
                  </a:lnTo>
                  <a:lnTo>
                    <a:pt x="2325638" y="245119"/>
                  </a:lnTo>
                  <a:lnTo>
                    <a:pt x="2324070" y="245441"/>
                  </a:lnTo>
                  <a:lnTo>
                    <a:pt x="2323466" y="246198"/>
                  </a:lnTo>
                  <a:lnTo>
                    <a:pt x="2323202" y="246979"/>
                  </a:lnTo>
                  <a:lnTo>
                    <a:pt x="2323068" y="248122"/>
                  </a:lnTo>
                  <a:lnTo>
                    <a:pt x="2323226" y="249206"/>
                  </a:lnTo>
                  <a:lnTo>
                    <a:pt x="2324291" y="252862"/>
                  </a:lnTo>
                  <a:lnTo>
                    <a:pt x="2323895" y="252878"/>
                  </a:lnTo>
                  <a:lnTo>
                    <a:pt x="2323465" y="253221"/>
                  </a:lnTo>
                  <a:lnTo>
                    <a:pt x="2323078" y="253878"/>
                  </a:lnTo>
                  <a:lnTo>
                    <a:pt x="2322587" y="255415"/>
                  </a:lnTo>
                  <a:lnTo>
                    <a:pt x="2322301" y="255608"/>
                  </a:lnTo>
                  <a:lnTo>
                    <a:pt x="2322123" y="255321"/>
                  </a:lnTo>
                  <a:lnTo>
                    <a:pt x="2322216" y="254472"/>
                  </a:lnTo>
                  <a:lnTo>
                    <a:pt x="2321395" y="253506"/>
                  </a:lnTo>
                  <a:lnTo>
                    <a:pt x="2316425" y="257203"/>
                  </a:lnTo>
                  <a:lnTo>
                    <a:pt x="2317142" y="255624"/>
                  </a:lnTo>
                  <a:lnTo>
                    <a:pt x="2317214" y="254923"/>
                  </a:lnTo>
                  <a:lnTo>
                    <a:pt x="2317086" y="254574"/>
                  </a:lnTo>
                  <a:lnTo>
                    <a:pt x="2316319" y="251243"/>
                  </a:lnTo>
                  <a:lnTo>
                    <a:pt x="2315569" y="250117"/>
                  </a:lnTo>
                  <a:lnTo>
                    <a:pt x="2311141" y="249558"/>
                  </a:lnTo>
                  <a:lnTo>
                    <a:pt x="2310018" y="247936"/>
                  </a:lnTo>
                  <a:lnTo>
                    <a:pt x="2308931" y="248243"/>
                  </a:lnTo>
                  <a:lnTo>
                    <a:pt x="2307707" y="246865"/>
                  </a:lnTo>
                  <a:lnTo>
                    <a:pt x="2307803" y="245597"/>
                  </a:lnTo>
                  <a:lnTo>
                    <a:pt x="2308134" y="245184"/>
                  </a:lnTo>
                  <a:lnTo>
                    <a:pt x="2308896" y="245295"/>
                  </a:lnTo>
                  <a:lnTo>
                    <a:pt x="2308534" y="244511"/>
                  </a:lnTo>
                  <a:lnTo>
                    <a:pt x="2308105" y="244071"/>
                  </a:lnTo>
                  <a:lnTo>
                    <a:pt x="2307333" y="243881"/>
                  </a:lnTo>
                  <a:lnTo>
                    <a:pt x="2307946" y="242762"/>
                  </a:lnTo>
                  <a:lnTo>
                    <a:pt x="2309507" y="243440"/>
                  </a:lnTo>
                  <a:lnTo>
                    <a:pt x="2310226" y="242912"/>
                  </a:lnTo>
                  <a:lnTo>
                    <a:pt x="2309448" y="241565"/>
                  </a:lnTo>
                  <a:lnTo>
                    <a:pt x="2309671" y="240858"/>
                  </a:lnTo>
                  <a:lnTo>
                    <a:pt x="2310250" y="240442"/>
                  </a:lnTo>
                  <a:lnTo>
                    <a:pt x="2310510" y="239937"/>
                  </a:lnTo>
                  <a:lnTo>
                    <a:pt x="2310233" y="239297"/>
                  </a:lnTo>
                  <a:lnTo>
                    <a:pt x="2310556" y="237860"/>
                  </a:lnTo>
                  <a:lnTo>
                    <a:pt x="2310578" y="237072"/>
                  </a:lnTo>
                  <a:lnTo>
                    <a:pt x="2310291" y="236274"/>
                  </a:lnTo>
                  <a:lnTo>
                    <a:pt x="2310587" y="235618"/>
                  </a:lnTo>
                  <a:lnTo>
                    <a:pt x="2312000" y="235254"/>
                  </a:lnTo>
                  <a:lnTo>
                    <a:pt x="2312576" y="233373"/>
                  </a:lnTo>
                  <a:lnTo>
                    <a:pt x="2313762" y="231308"/>
                  </a:lnTo>
                  <a:lnTo>
                    <a:pt x="2315073" y="230640"/>
                  </a:lnTo>
                  <a:lnTo>
                    <a:pt x="2318241" y="231896"/>
                  </a:lnTo>
                  <a:lnTo>
                    <a:pt x="2319579" y="231039"/>
                  </a:lnTo>
                  <a:lnTo>
                    <a:pt x="2320673" y="231421"/>
                  </a:lnTo>
                  <a:lnTo>
                    <a:pt x="2320935" y="230913"/>
                  </a:lnTo>
                  <a:lnTo>
                    <a:pt x="2319226" y="228776"/>
                  </a:lnTo>
                  <a:lnTo>
                    <a:pt x="2318632" y="227433"/>
                  </a:lnTo>
                  <a:lnTo>
                    <a:pt x="2319329" y="224477"/>
                  </a:lnTo>
                  <a:lnTo>
                    <a:pt x="2320411" y="223097"/>
                  </a:lnTo>
                  <a:lnTo>
                    <a:pt x="2324845" y="222990"/>
                  </a:lnTo>
                  <a:lnTo>
                    <a:pt x="2325312" y="222003"/>
                  </a:lnTo>
                  <a:lnTo>
                    <a:pt x="2325351" y="221617"/>
                  </a:lnTo>
                  <a:lnTo>
                    <a:pt x="2325338" y="221288"/>
                  </a:lnTo>
                  <a:lnTo>
                    <a:pt x="2325311" y="220947"/>
                  </a:lnTo>
                  <a:lnTo>
                    <a:pt x="2325315" y="220489"/>
                  </a:lnTo>
                  <a:lnTo>
                    <a:pt x="2325400" y="220107"/>
                  </a:lnTo>
                  <a:lnTo>
                    <a:pt x="2325696" y="220069"/>
                  </a:lnTo>
                  <a:lnTo>
                    <a:pt x="2326275" y="218806"/>
                  </a:lnTo>
                  <a:lnTo>
                    <a:pt x="2331740" y="215735"/>
                  </a:lnTo>
                  <a:lnTo>
                    <a:pt x="2336695" y="216740"/>
                  </a:lnTo>
                  <a:lnTo>
                    <a:pt x="2336235" y="215545"/>
                  </a:lnTo>
                  <a:lnTo>
                    <a:pt x="2335729" y="214985"/>
                  </a:lnTo>
                  <a:lnTo>
                    <a:pt x="2337155" y="215006"/>
                  </a:lnTo>
                  <a:lnTo>
                    <a:pt x="2338856" y="212553"/>
                  </a:lnTo>
                  <a:lnTo>
                    <a:pt x="2339500" y="212334"/>
                  </a:lnTo>
                  <a:lnTo>
                    <a:pt x="2340258" y="213308"/>
                  </a:lnTo>
                  <a:lnTo>
                    <a:pt x="2340116" y="213999"/>
                  </a:lnTo>
                  <a:lnTo>
                    <a:pt x="2339658" y="214356"/>
                  </a:lnTo>
                  <a:lnTo>
                    <a:pt x="2339481" y="214878"/>
                  </a:lnTo>
                  <a:lnTo>
                    <a:pt x="2340158" y="215884"/>
                  </a:lnTo>
                  <a:lnTo>
                    <a:pt x="2341490" y="218529"/>
                  </a:lnTo>
                  <a:lnTo>
                    <a:pt x="2343476" y="220399"/>
                  </a:lnTo>
                  <a:lnTo>
                    <a:pt x="2344047" y="220172"/>
                  </a:lnTo>
                  <a:lnTo>
                    <a:pt x="2344360" y="220325"/>
                  </a:lnTo>
                  <a:lnTo>
                    <a:pt x="2344693" y="220995"/>
                  </a:lnTo>
                  <a:lnTo>
                    <a:pt x="2344648" y="221335"/>
                  </a:lnTo>
                  <a:lnTo>
                    <a:pt x="2344562" y="222492"/>
                  </a:lnTo>
                  <a:lnTo>
                    <a:pt x="2345017" y="222283"/>
                  </a:lnTo>
                  <a:lnTo>
                    <a:pt x="2346384" y="222754"/>
                  </a:lnTo>
                  <a:lnTo>
                    <a:pt x="2347073" y="223822"/>
                  </a:lnTo>
                  <a:lnTo>
                    <a:pt x="2346697" y="222831"/>
                  </a:lnTo>
                  <a:lnTo>
                    <a:pt x="2346642" y="222577"/>
                  </a:lnTo>
                  <a:lnTo>
                    <a:pt x="2346683" y="221540"/>
                  </a:lnTo>
                  <a:lnTo>
                    <a:pt x="2347635" y="220097"/>
                  </a:lnTo>
                  <a:lnTo>
                    <a:pt x="2348522" y="216136"/>
                  </a:lnTo>
                  <a:lnTo>
                    <a:pt x="2348907" y="215298"/>
                  </a:lnTo>
                  <a:lnTo>
                    <a:pt x="2348245" y="213765"/>
                  </a:lnTo>
                  <a:lnTo>
                    <a:pt x="2345019" y="213468"/>
                  </a:lnTo>
                  <a:lnTo>
                    <a:pt x="2344548" y="213088"/>
                  </a:lnTo>
                  <a:lnTo>
                    <a:pt x="2344182" y="212114"/>
                  </a:lnTo>
                  <a:lnTo>
                    <a:pt x="2344175" y="211109"/>
                  </a:lnTo>
                  <a:lnTo>
                    <a:pt x="2344438" y="210231"/>
                  </a:lnTo>
                  <a:lnTo>
                    <a:pt x="2344997" y="209175"/>
                  </a:lnTo>
                  <a:lnTo>
                    <a:pt x="2346385" y="208764"/>
                  </a:lnTo>
                  <a:lnTo>
                    <a:pt x="2349547" y="212120"/>
                  </a:lnTo>
                  <a:lnTo>
                    <a:pt x="2350738" y="210496"/>
                  </a:lnTo>
                  <a:lnTo>
                    <a:pt x="2350345" y="209195"/>
                  </a:lnTo>
                  <a:lnTo>
                    <a:pt x="2350407" y="208870"/>
                  </a:lnTo>
                  <a:lnTo>
                    <a:pt x="2350445" y="208375"/>
                  </a:lnTo>
                  <a:lnTo>
                    <a:pt x="2348787" y="204141"/>
                  </a:lnTo>
                  <a:lnTo>
                    <a:pt x="2349293" y="202100"/>
                  </a:lnTo>
                  <a:lnTo>
                    <a:pt x="2353485" y="195959"/>
                  </a:lnTo>
                  <a:lnTo>
                    <a:pt x="2359849" y="192664"/>
                  </a:lnTo>
                  <a:lnTo>
                    <a:pt x="2360700" y="191342"/>
                  </a:lnTo>
                  <a:lnTo>
                    <a:pt x="2361292" y="191285"/>
                  </a:lnTo>
                  <a:lnTo>
                    <a:pt x="2361437" y="191075"/>
                  </a:lnTo>
                  <a:lnTo>
                    <a:pt x="2361550" y="190108"/>
                  </a:lnTo>
                  <a:lnTo>
                    <a:pt x="2361634" y="189751"/>
                  </a:lnTo>
                  <a:lnTo>
                    <a:pt x="2361919" y="189494"/>
                  </a:lnTo>
                  <a:lnTo>
                    <a:pt x="2363025" y="189552"/>
                  </a:lnTo>
                  <a:lnTo>
                    <a:pt x="2366592" y="192069"/>
                  </a:lnTo>
                  <a:lnTo>
                    <a:pt x="2369443" y="190096"/>
                  </a:lnTo>
                  <a:lnTo>
                    <a:pt x="2372931" y="191116"/>
                  </a:lnTo>
                  <a:lnTo>
                    <a:pt x="2376477" y="195657"/>
                  </a:lnTo>
                  <a:lnTo>
                    <a:pt x="2377048" y="197176"/>
                  </a:lnTo>
                  <a:lnTo>
                    <a:pt x="2375583" y="201793"/>
                  </a:lnTo>
                  <a:lnTo>
                    <a:pt x="2376209" y="202906"/>
                  </a:lnTo>
                  <a:lnTo>
                    <a:pt x="2381155" y="206019"/>
                  </a:lnTo>
                  <a:lnTo>
                    <a:pt x="2386135" y="209108"/>
                  </a:lnTo>
                  <a:lnTo>
                    <a:pt x="2385274" y="206825"/>
                  </a:lnTo>
                  <a:lnTo>
                    <a:pt x="2384082" y="205218"/>
                  </a:lnTo>
                  <a:lnTo>
                    <a:pt x="2379414" y="203321"/>
                  </a:lnTo>
                  <a:lnTo>
                    <a:pt x="2378422" y="201349"/>
                  </a:lnTo>
                  <a:lnTo>
                    <a:pt x="2382557" y="199266"/>
                  </a:lnTo>
                  <a:lnTo>
                    <a:pt x="2382429" y="198542"/>
                  </a:lnTo>
                  <a:lnTo>
                    <a:pt x="2381999" y="198434"/>
                  </a:lnTo>
                  <a:lnTo>
                    <a:pt x="2379633" y="195826"/>
                  </a:lnTo>
                  <a:lnTo>
                    <a:pt x="2379361" y="195044"/>
                  </a:lnTo>
                  <a:lnTo>
                    <a:pt x="2379345" y="193765"/>
                  </a:lnTo>
                  <a:lnTo>
                    <a:pt x="2379555" y="192893"/>
                  </a:lnTo>
                  <a:lnTo>
                    <a:pt x="2384484" y="191301"/>
                  </a:lnTo>
                  <a:lnTo>
                    <a:pt x="2390315" y="191637"/>
                  </a:lnTo>
                  <a:lnTo>
                    <a:pt x="2391770" y="191465"/>
                  </a:lnTo>
                  <a:lnTo>
                    <a:pt x="2392798" y="192753"/>
                  </a:lnTo>
                  <a:lnTo>
                    <a:pt x="2395130" y="194087"/>
                  </a:lnTo>
                  <a:lnTo>
                    <a:pt x="2400913" y="201602"/>
                  </a:lnTo>
                  <a:lnTo>
                    <a:pt x="2406771" y="209086"/>
                  </a:lnTo>
                  <a:lnTo>
                    <a:pt x="2407301" y="209335"/>
                  </a:lnTo>
                  <a:lnTo>
                    <a:pt x="2407559" y="208391"/>
                  </a:lnTo>
                  <a:lnTo>
                    <a:pt x="2406545" y="206137"/>
                  </a:lnTo>
                  <a:lnTo>
                    <a:pt x="2401670" y="200335"/>
                  </a:lnTo>
                  <a:lnTo>
                    <a:pt x="2399406" y="196369"/>
                  </a:lnTo>
                  <a:lnTo>
                    <a:pt x="2399769" y="194201"/>
                  </a:lnTo>
                  <a:lnTo>
                    <a:pt x="2406047" y="193013"/>
                  </a:lnTo>
                  <a:lnTo>
                    <a:pt x="2407303" y="193939"/>
                  </a:lnTo>
                  <a:lnTo>
                    <a:pt x="2411714" y="201550"/>
                  </a:lnTo>
                  <a:lnTo>
                    <a:pt x="2413962" y="203873"/>
                  </a:lnTo>
                  <a:lnTo>
                    <a:pt x="2415931" y="204536"/>
                  </a:lnTo>
                  <a:lnTo>
                    <a:pt x="2412722" y="200194"/>
                  </a:lnTo>
                  <a:lnTo>
                    <a:pt x="2409469" y="194489"/>
                  </a:lnTo>
                  <a:lnTo>
                    <a:pt x="2409804" y="193273"/>
                  </a:lnTo>
                  <a:lnTo>
                    <a:pt x="2412437" y="193372"/>
                  </a:lnTo>
                  <a:lnTo>
                    <a:pt x="2413038" y="194112"/>
                  </a:lnTo>
                  <a:lnTo>
                    <a:pt x="2413633" y="195835"/>
                  </a:lnTo>
                  <a:lnTo>
                    <a:pt x="2414190" y="198884"/>
                  </a:lnTo>
                  <a:lnTo>
                    <a:pt x="2415508" y="200988"/>
                  </a:lnTo>
                  <a:lnTo>
                    <a:pt x="2416672" y="202375"/>
                  </a:lnTo>
                  <a:lnTo>
                    <a:pt x="2418702" y="203168"/>
                  </a:lnTo>
                  <a:lnTo>
                    <a:pt x="2418179" y="202115"/>
                  </a:lnTo>
                  <a:lnTo>
                    <a:pt x="2416740" y="200150"/>
                  </a:lnTo>
                  <a:lnTo>
                    <a:pt x="2416472" y="199398"/>
                  </a:lnTo>
                  <a:lnTo>
                    <a:pt x="2415698" y="196750"/>
                  </a:lnTo>
                  <a:lnTo>
                    <a:pt x="2415318" y="195592"/>
                  </a:lnTo>
                  <a:lnTo>
                    <a:pt x="2414202" y="193280"/>
                  </a:lnTo>
                  <a:lnTo>
                    <a:pt x="2405943" y="190868"/>
                  </a:lnTo>
                  <a:lnTo>
                    <a:pt x="2397738" y="188385"/>
                  </a:lnTo>
                  <a:lnTo>
                    <a:pt x="2389588" y="185831"/>
                  </a:lnTo>
                  <a:lnTo>
                    <a:pt x="2381494" y="183206"/>
                  </a:lnTo>
                  <a:lnTo>
                    <a:pt x="2378545" y="177929"/>
                  </a:lnTo>
                  <a:lnTo>
                    <a:pt x="2377920" y="176060"/>
                  </a:lnTo>
                  <a:lnTo>
                    <a:pt x="2378146" y="174689"/>
                  </a:lnTo>
                  <a:lnTo>
                    <a:pt x="2382025" y="171789"/>
                  </a:lnTo>
                  <a:lnTo>
                    <a:pt x="2385181" y="172396"/>
                  </a:lnTo>
                  <a:lnTo>
                    <a:pt x="2390083" y="170771"/>
                  </a:lnTo>
                  <a:lnTo>
                    <a:pt x="2394971" y="169119"/>
                  </a:lnTo>
                  <a:lnTo>
                    <a:pt x="2395954" y="165693"/>
                  </a:lnTo>
                  <a:lnTo>
                    <a:pt x="2396598" y="164977"/>
                  </a:lnTo>
                  <a:lnTo>
                    <a:pt x="2398265" y="165001"/>
                  </a:lnTo>
                  <a:lnTo>
                    <a:pt x="2398716" y="163468"/>
                  </a:lnTo>
                  <a:lnTo>
                    <a:pt x="2396675" y="161497"/>
                  </a:lnTo>
                  <a:lnTo>
                    <a:pt x="2395904" y="160331"/>
                  </a:lnTo>
                  <a:lnTo>
                    <a:pt x="2395982" y="159434"/>
                  </a:lnTo>
                  <a:lnTo>
                    <a:pt x="2396308" y="158117"/>
                  </a:lnTo>
                  <a:lnTo>
                    <a:pt x="2396404" y="157177"/>
                  </a:lnTo>
                  <a:lnTo>
                    <a:pt x="2394996" y="157399"/>
                  </a:lnTo>
                  <a:lnTo>
                    <a:pt x="2394423" y="156008"/>
                  </a:lnTo>
                  <a:lnTo>
                    <a:pt x="2394186" y="152284"/>
                  </a:lnTo>
                  <a:lnTo>
                    <a:pt x="2393172" y="150762"/>
                  </a:lnTo>
                  <a:lnTo>
                    <a:pt x="2390945" y="151383"/>
                  </a:lnTo>
                  <a:lnTo>
                    <a:pt x="2389525" y="150283"/>
                  </a:lnTo>
                  <a:lnTo>
                    <a:pt x="2387960" y="150511"/>
                  </a:lnTo>
                  <a:lnTo>
                    <a:pt x="2387481" y="149845"/>
                  </a:lnTo>
                  <a:lnTo>
                    <a:pt x="2387511" y="148626"/>
                  </a:lnTo>
                  <a:lnTo>
                    <a:pt x="2387748" y="148209"/>
                  </a:lnTo>
                  <a:lnTo>
                    <a:pt x="2388051" y="148035"/>
                  </a:lnTo>
                  <a:lnTo>
                    <a:pt x="2389031" y="145861"/>
                  </a:lnTo>
                  <a:lnTo>
                    <a:pt x="2393926" y="144393"/>
                  </a:lnTo>
                  <a:lnTo>
                    <a:pt x="2398809" y="142899"/>
                  </a:lnTo>
                  <a:lnTo>
                    <a:pt x="2403679" y="141377"/>
                  </a:lnTo>
                  <a:lnTo>
                    <a:pt x="2404580" y="142203"/>
                  </a:lnTo>
                  <a:lnTo>
                    <a:pt x="2405583" y="144347"/>
                  </a:lnTo>
                  <a:lnTo>
                    <a:pt x="2405464" y="145403"/>
                  </a:lnTo>
                  <a:lnTo>
                    <a:pt x="2401957" y="146618"/>
                  </a:lnTo>
                  <a:lnTo>
                    <a:pt x="2401549" y="147893"/>
                  </a:lnTo>
                  <a:lnTo>
                    <a:pt x="2408267" y="149598"/>
                  </a:lnTo>
                  <a:lnTo>
                    <a:pt x="2410860" y="152036"/>
                  </a:lnTo>
                  <a:lnTo>
                    <a:pt x="2410912" y="152776"/>
                  </a:lnTo>
                  <a:lnTo>
                    <a:pt x="2411838" y="153982"/>
                  </a:lnTo>
                  <a:lnTo>
                    <a:pt x="2413519" y="151488"/>
                  </a:lnTo>
                  <a:lnTo>
                    <a:pt x="2417566" y="151950"/>
                  </a:lnTo>
                  <a:lnTo>
                    <a:pt x="2421621" y="152393"/>
                  </a:lnTo>
                  <a:lnTo>
                    <a:pt x="2426343" y="156435"/>
                  </a:lnTo>
                  <a:lnTo>
                    <a:pt x="2427474" y="158412"/>
                  </a:lnTo>
                  <a:lnTo>
                    <a:pt x="2427946" y="159502"/>
                  </a:lnTo>
                  <a:lnTo>
                    <a:pt x="2428075" y="160016"/>
                  </a:lnTo>
                  <a:lnTo>
                    <a:pt x="2428167" y="160597"/>
                  </a:lnTo>
                  <a:lnTo>
                    <a:pt x="2428527" y="161878"/>
                  </a:lnTo>
                  <a:lnTo>
                    <a:pt x="2429053" y="163203"/>
                  </a:lnTo>
                  <a:lnTo>
                    <a:pt x="2429542" y="163970"/>
                  </a:lnTo>
                  <a:lnTo>
                    <a:pt x="2435410" y="168907"/>
                  </a:lnTo>
                  <a:lnTo>
                    <a:pt x="2435886" y="169662"/>
                  </a:lnTo>
                  <a:lnTo>
                    <a:pt x="2437376" y="172776"/>
                  </a:lnTo>
                  <a:lnTo>
                    <a:pt x="2437807" y="173424"/>
                  </a:lnTo>
                  <a:lnTo>
                    <a:pt x="2438086" y="176284"/>
                  </a:lnTo>
                  <a:lnTo>
                    <a:pt x="2437727" y="177971"/>
                  </a:lnTo>
                  <a:lnTo>
                    <a:pt x="2436412" y="179092"/>
                  </a:lnTo>
                  <a:lnTo>
                    <a:pt x="2436571" y="179744"/>
                  </a:lnTo>
                  <a:lnTo>
                    <a:pt x="2441765" y="178985"/>
                  </a:lnTo>
                  <a:lnTo>
                    <a:pt x="2446955" y="178197"/>
                  </a:lnTo>
                  <a:lnTo>
                    <a:pt x="2452144" y="177380"/>
                  </a:lnTo>
                  <a:lnTo>
                    <a:pt x="2455113" y="179355"/>
                  </a:lnTo>
                  <a:lnTo>
                    <a:pt x="2455714" y="179275"/>
                  </a:lnTo>
                  <a:lnTo>
                    <a:pt x="2455919" y="178203"/>
                  </a:lnTo>
                  <a:lnTo>
                    <a:pt x="2455533" y="177851"/>
                  </a:lnTo>
                  <a:lnTo>
                    <a:pt x="2454146" y="175604"/>
                  </a:lnTo>
                  <a:lnTo>
                    <a:pt x="2450898" y="173268"/>
                  </a:lnTo>
                  <a:lnTo>
                    <a:pt x="2444048" y="175405"/>
                  </a:lnTo>
                  <a:lnTo>
                    <a:pt x="2443178" y="174622"/>
                  </a:lnTo>
                  <a:lnTo>
                    <a:pt x="2437891" y="166630"/>
                  </a:lnTo>
                  <a:lnTo>
                    <a:pt x="2434255" y="162659"/>
                  </a:lnTo>
                  <a:lnTo>
                    <a:pt x="2433967" y="162100"/>
                  </a:lnTo>
                  <a:lnTo>
                    <a:pt x="2433700" y="161162"/>
                  </a:lnTo>
                  <a:lnTo>
                    <a:pt x="2433244" y="159310"/>
                  </a:lnTo>
                  <a:lnTo>
                    <a:pt x="2432604" y="156992"/>
                  </a:lnTo>
                  <a:lnTo>
                    <a:pt x="2432560" y="156489"/>
                  </a:lnTo>
                  <a:lnTo>
                    <a:pt x="2432706" y="155858"/>
                  </a:lnTo>
                  <a:lnTo>
                    <a:pt x="2433057" y="155428"/>
                  </a:lnTo>
                  <a:lnTo>
                    <a:pt x="2440169" y="159451"/>
                  </a:lnTo>
                  <a:lnTo>
                    <a:pt x="2442645" y="158865"/>
                  </a:lnTo>
                  <a:lnTo>
                    <a:pt x="2448140" y="163863"/>
                  </a:lnTo>
                  <a:lnTo>
                    <a:pt x="2453124" y="166559"/>
                  </a:lnTo>
                  <a:lnTo>
                    <a:pt x="2458139" y="169230"/>
                  </a:lnTo>
                  <a:lnTo>
                    <a:pt x="2458039" y="169255"/>
                  </a:lnTo>
                  <a:lnTo>
                    <a:pt x="2466695" y="172810"/>
                  </a:lnTo>
                  <a:lnTo>
                    <a:pt x="2475427" y="176287"/>
                  </a:lnTo>
                  <a:lnTo>
                    <a:pt x="2475929" y="177679"/>
                  </a:lnTo>
                  <a:lnTo>
                    <a:pt x="2476716" y="178149"/>
                  </a:lnTo>
                  <a:lnTo>
                    <a:pt x="2477457" y="177940"/>
                  </a:lnTo>
                  <a:lnTo>
                    <a:pt x="2478248" y="176401"/>
                  </a:lnTo>
                  <a:lnTo>
                    <a:pt x="2485708" y="178868"/>
                  </a:lnTo>
                  <a:lnTo>
                    <a:pt x="2495205" y="188351"/>
                  </a:lnTo>
                  <a:lnTo>
                    <a:pt x="2496781" y="190970"/>
                  </a:lnTo>
                  <a:lnTo>
                    <a:pt x="2497626" y="191595"/>
                  </a:lnTo>
                  <a:lnTo>
                    <a:pt x="2502322" y="190927"/>
                  </a:lnTo>
                  <a:lnTo>
                    <a:pt x="2491772" y="180725"/>
                  </a:lnTo>
                  <a:lnTo>
                    <a:pt x="2490727" y="178927"/>
                  </a:lnTo>
                  <a:lnTo>
                    <a:pt x="2490619" y="178190"/>
                  </a:lnTo>
                  <a:lnTo>
                    <a:pt x="2489447" y="177158"/>
                  </a:lnTo>
                  <a:lnTo>
                    <a:pt x="2487707" y="177427"/>
                  </a:lnTo>
                  <a:lnTo>
                    <a:pt x="2486499" y="176293"/>
                  </a:lnTo>
                  <a:lnTo>
                    <a:pt x="2486510" y="175232"/>
                  </a:lnTo>
                  <a:lnTo>
                    <a:pt x="2486880" y="173983"/>
                  </a:lnTo>
                  <a:lnTo>
                    <a:pt x="2486949" y="173110"/>
                  </a:lnTo>
                  <a:lnTo>
                    <a:pt x="2486170" y="172088"/>
                  </a:lnTo>
                  <a:lnTo>
                    <a:pt x="2480120" y="170900"/>
                  </a:lnTo>
                  <a:lnTo>
                    <a:pt x="2474093" y="169672"/>
                  </a:lnTo>
                  <a:lnTo>
                    <a:pt x="2468091" y="168405"/>
                  </a:lnTo>
                  <a:lnTo>
                    <a:pt x="2467170" y="166905"/>
                  </a:lnTo>
                  <a:lnTo>
                    <a:pt x="2466747" y="165913"/>
                  </a:lnTo>
                  <a:lnTo>
                    <a:pt x="2466589" y="165383"/>
                  </a:lnTo>
                  <a:lnTo>
                    <a:pt x="2466615" y="165046"/>
                  </a:lnTo>
                  <a:lnTo>
                    <a:pt x="2467310" y="163124"/>
                  </a:lnTo>
                  <a:lnTo>
                    <a:pt x="2467367" y="162356"/>
                  </a:lnTo>
                  <a:lnTo>
                    <a:pt x="2461126" y="163657"/>
                  </a:lnTo>
                  <a:lnTo>
                    <a:pt x="2452168" y="157819"/>
                  </a:lnTo>
                  <a:lnTo>
                    <a:pt x="2443322" y="151899"/>
                  </a:lnTo>
                  <a:lnTo>
                    <a:pt x="2434587" y="145898"/>
                  </a:lnTo>
                  <a:lnTo>
                    <a:pt x="2434089" y="144776"/>
                  </a:lnTo>
                  <a:lnTo>
                    <a:pt x="2433684" y="143515"/>
                  </a:lnTo>
                  <a:lnTo>
                    <a:pt x="2433555" y="142925"/>
                  </a:lnTo>
                  <a:lnTo>
                    <a:pt x="2433490" y="139753"/>
                  </a:lnTo>
                  <a:lnTo>
                    <a:pt x="2434206" y="131832"/>
                  </a:lnTo>
                  <a:lnTo>
                    <a:pt x="2441349" y="130756"/>
                  </a:lnTo>
                  <a:lnTo>
                    <a:pt x="2448488" y="129622"/>
                  </a:lnTo>
                  <a:lnTo>
                    <a:pt x="2448647" y="129052"/>
                  </a:lnTo>
                  <a:lnTo>
                    <a:pt x="2448085" y="128390"/>
                  </a:lnTo>
                  <a:lnTo>
                    <a:pt x="2447264" y="129402"/>
                  </a:lnTo>
                  <a:lnTo>
                    <a:pt x="2441950" y="128270"/>
                  </a:lnTo>
                  <a:lnTo>
                    <a:pt x="2441662" y="127763"/>
                  </a:lnTo>
                  <a:lnTo>
                    <a:pt x="2435004" y="123328"/>
                  </a:lnTo>
                  <a:lnTo>
                    <a:pt x="2432643" y="120044"/>
                  </a:lnTo>
                  <a:lnTo>
                    <a:pt x="2432271" y="117159"/>
                  </a:lnTo>
                  <a:lnTo>
                    <a:pt x="2432505" y="115653"/>
                  </a:lnTo>
                  <a:lnTo>
                    <a:pt x="2435628" y="113221"/>
                  </a:lnTo>
                  <a:lnTo>
                    <a:pt x="2440705" y="114353"/>
                  </a:lnTo>
                  <a:lnTo>
                    <a:pt x="2445801" y="115457"/>
                  </a:lnTo>
                  <a:lnTo>
                    <a:pt x="2450846" y="119516"/>
                  </a:lnTo>
                  <a:lnTo>
                    <a:pt x="2455933" y="123548"/>
                  </a:lnTo>
                  <a:lnTo>
                    <a:pt x="2459920" y="121539"/>
                  </a:lnTo>
                  <a:lnTo>
                    <a:pt x="2459177" y="120022"/>
                  </a:lnTo>
                  <a:lnTo>
                    <a:pt x="2454045" y="115041"/>
                  </a:lnTo>
                  <a:lnTo>
                    <a:pt x="2448960" y="110032"/>
                  </a:lnTo>
                  <a:lnTo>
                    <a:pt x="2448061" y="108554"/>
                  </a:lnTo>
                  <a:lnTo>
                    <a:pt x="2447978" y="107882"/>
                  </a:lnTo>
                  <a:lnTo>
                    <a:pt x="2446798" y="105648"/>
                  </a:lnTo>
                  <a:lnTo>
                    <a:pt x="2445017" y="104931"/>
                  </a:lnTo>
                  <a:lnTo>
                    <a:pt x="2442881" y="102357"/>
                  </a:lnTo>
                  <a:lnTo>
                    <a:pt x="2441082" y="101699"/>
                  </a:lnTo>
                  <a:lnTo>
                    <a:pt x="2439035" y="99396"/>
                  </a:lnTo>
                  <a:lnTo>
                    <a:pt x="2438658" y="98461"/>
                  </a:lnTo>
                  <a:lnTo>
                    <a:pt x="2438474" y="96925"/>
                  </a:lnTo>
                  <a:lnTo>
                    <a:pt x="2438580" y="95903"/>
                  </a:lnTo>
                  <a:lnTo>
                    <a:pt x="2439284" y="94992"/>
                  </a:lnTo>
                  <a:lnTo>
                    <a:pt x="2444872" y="95178"/>
                  </a:lnTo>
                  <a:lnTo>
                    <a:pt x="2450471" y="95328"/>
                  </a:lnTo>
                  <a:lnTo>
                    <a:pt x="2456080" y="95438"/>
                  </a:lnTo>
                  <a:lnTo>
                    <a:pt x="2457068" y="97005"/>
                  </a:lnTo>
                  <a:lnTo>
                    <a:pt x="2457117" y="97337"/>
                  </a:lnTo>
                  <a:lnTo>
                    <a:pt x="2457264" y="98124"/>
                  </a:lnTo>
                  <a:lnTo>
                    <a:pt x="2457314" y="98456"/>
                  </a:lnTo>
                  <a:lnTo>
                    <a:pt x="2459496" y="100129"/>
                  </a:lnTo>
                  <a:lnTo>
                    <a:pt x="2460416" y="101489"/>
                  </a:lnTo>
                  <a:lnTo>
                    <a:pt x="2460553" y="102885"/>
                  </a:lnTo>
                  <a:lnTo>
                    <a:pt x="2460558" y="103403"/>
                  </a:lnTo>
                  <a:lnTo>
                    <a:pt x="2460501" y="103756"/>
                  </a:lnTo>
                  <a:lnTo>
                    <a:pt x="2461561" y="105742"/>
                  </a:lnTo>
                  <a:lnTo>
                    <a:pt x="2462577" y="106653"/>
                  </a:lnTo>
                  <a:lnTo>
                    <a:pt x="2465439" y="107392"/>
                  </a:lnTo>
                  <a:lnTo>
                    <a:pt x="2466417" y="108251"/>
                  </a:lnTo>
                  <a:lnTo>
                    <a:pt x="2466866" y="108398"/>
                  </a:lnTo>
                  <a:lnTo>
                    <a:pt x="2467170" y="108106"/>
                  </a:lnTo>
                  <a:lnTo>
                    <a:pt x="2467212" y="107233"/>
                  </a:lnTo>
                  <a:lnTo>
                    <a:pt x="2464453" y="105112"/>
                  </a:lnTo>
                  <a:lnTo>
                    <a:pt x="2463400" y="103713"/>
                  </a:lnTo>
                  <a:lnTo>
                    <a:pt x="2463315" y="101837"/>
                  </a:lnTo>
                  <a:lnTo>
                    <a:pt x="2463789" y="100965"/>
                  </a:lnTo>
                  <a:lnTo>
                    <a:pt x="2469786" y="101987"/>
                  </a:lnTo>
                  <a:lnTo>
                    <a:pt x="2475808" y="102966"/>
                  </a:lnTo>
                  <a:lnTo>
                    <a:pt x="2476595" y="101360"/>
                  </a:lnTo>
                  <a:lnTo>
                    <a:pt x="2478262" y="102072"/>
                  </a:lnTo>
                  <a:lnTo>
                    <a:pt x="2483373" y="99917"/>
                  </a:lnTo>
                  <a:lnTo>
                    <a:pt x="2483545" y="98501"/>
                  </a:lnTo>
                  <a:lnTo>
                    <a:pt x="2476457" y="97747"/>
                  </a:lnTo>
                  <a:lnTo>
                    <a:pt x="2469398" y="96933"/>
                  </a:lnTo>
                  <a:lnTo>
                    <a:pt x="2462367" y="96061"/>
                  </a:lnTo>
                  <a:lnTo>
                    <a:pt x="2461440" y="94741"/>
                  </a:lnTo>
                  <a:lnTo>
                    <a:pt x="2460953" y="92796"/>
                  </a:lnTo>
                  <a:lnTo>
                    <a:pt x="2459776" y="92498"/>
                  </a:lnTo>
                  <a:lnTo>
                    <a:pt x="2460183" y="90292"/>
                  </a:lnTo>
                  <a:lnTo>
                    <a:pt x="2463386" y="89114"/>
                  </a:lnTo>
                  <a:lnTo>
                    <a:pt x="2463167" y="88411"/>
                  </a:lnTo>
                  <a:lnTo>
                    <a:pt x="2458168" y="87979"/>
                  </a:lnTo>
                  <a:lnTo>
                    <a:pt x="2453182" y="87517"/>
                  </a:lnTo>
                  <a:lnTo>
                    <a:pt x="2452069" y="86130"/>
                  </a:lnTo>
                  <a:lnTo>
                    <a:pt x="2451052" y="84086"/>
                  </a:lnTo>
                  <a:lnTo>
                    <a:pt x="2451391" y="83380"/>
                  </a:lnTo>
                  <a:lnTo>
                    <a:pt x="2452386" y="82906"/>
                  </a:lnTo>
                  <a:lnTo>
                    <a:pt x="2452748" y="81538"/>
                  </a:lnTo>
                  <a:lnTo>
                    <a:pt x="2453182" y="81346"/>
                  </a:lnTo>
                  <a:lnTo>
                    <a:pt x="2453318" y="80994"/>
                  </a:lnTo>
                  <a:lnTo>
                    <a:pt x="2453414" y="79089"/>
                  </a:lnTo>
                  <a:lnTo>
                    <a:pt x="2458177" y="75720"/>
                  </a:lnTo>
                  <a:lnTo>
                    <a:pt x="2462901" y="72325"/>
                  </a:lnTo>
                  <a:lnTo>
                    <a:pt x="2463263" y="72713"/>
                  </a:lnTo>
                  <a:lnTo>
                    <a:pt x="2464135" y="73920"/>
                  </a:lnTo>
                  <a:lnTo>
                    <a:pt x="2464481" y="74244"/>
                  </a:lnTo>
                  <a:lnTo>
                    <a:pt x="2465550" y="73961"/>
                  </a:lnTo>
                  <a:lnTo>
                    <a:pt x="2465493" y="74193"/>
                  </a:lnTo>
                  <a:lnTo>
                    <a:pt x="2465510" y="74604"/>
                  </a:lnTo>
                  <a:lnTo>
                    <a:pt x="2465622" y="75226"/>
                  </a:lnTo>
                  <a:lnTo>
                    <a:pt x="2465843" y="76070"/>
                  </a:lnTo>
                  <a:lnTo>
                    <a:pt x="2466426" y="76155"/>
                  </a:lnTo>
                  <a:lnTo>
                    <a:pt x="2467476" y="76970"/>
                  </a:lnTo>
                  <a:lnTo>
                    <a:pt x="2468632" y="78595"/>
                  </a:lnTo>
                  <a:lnTo>
                    <a:pt x="2469532" y="81124"/>
                  </a:lnTo>
                  <a:lnTo>
                    <a:pt x="2470550" y="81398"/>
                  </a:lnTo>
                  <a:lnTo>
                    <a:pt x="2470697" y="80997"/>
                  </a:lnTo>
                  <a:lnTo>
                    <a:pt x="2471063" y="73485"/>
                  </a:lnTo>
                  <a:lnTo>
                    <a:pt x="2472088" y="72621"/>
                  </a:lnTo>
                  <a:lnTo>
                    <a:pt x="2473489" y="72759"/>
                  </a:lnTo>
                  <a:lnTo>
                    <a:pt x="2475099" y="74088"/>
                  </a:lnTo>
                  <a:lnTo>
                    <a:pt x="2475507" y="74647"/>
                  </a:lnTo>
                  <a:lnTo>
                    <a:pt x="2476051" y="76078"/>
                  </a:lnTo>
                  <a:lnTo>
                    <a:pt x="2476272" y="77084"/>
                  </a:lnTo>
                  <a:lnTo>
                    <a:pt x="2476735" y="80485"/>
                  </a:lnTo>
                  <a:lnTo>
                    <a:pt x="2477955" y="82393"/>
                  </a:lnTo>
                  <a:lnTo>
                    <a:pt x="2478255" y="81203"/>
                  </a:lnTo>
                  <a:lnTo>
                    <a:pt x="2478343" y="79312"/>
                  </a:lnTo>
                  <a:lnTo>
                    <a:pt x="2478938" y="79115"/>
                  </a:lnTo>
                  <a:lnTo>
                    <a:pt x="2479591" y="80663"/>
                  </a:lnTo>
                  <a:lnTo>
                    <a:pt x="2480228" y="81017"/>
                  </a:lnTo>
                  <a:lnTo>
                    <a:pt x="2481237" y="80911"/>
                  </a:lnTo>
                  <a:lnTo>
                    <a:pt x="2482967" y="82486"/>
                  </a:lnTo>
                  <a:lnTo>
                    <a:pt x="2483872" y="82202"/>
                  </a:lnTo>
                  <a:lnTo>
                    <a:pt x="2483633" y="81504"/>
                  </a:lnTo>
                  <a:lnTo>
                    <a:pt x="2483218" y="81634"/>
                  </a:lnTo>
                  <a:lnTo>
                    <a:pt x="2482519" y="81325"/>
                  </a:lnTo>
                  <a:lnTo>
                    <a:pt x="2481683" y="80528"/>
                  </a:lnTo>
                  <a:lnTo>
                    <a:pt x="2480864" y="79211"/>
                  </a:lnTo>
                  <a:lnTo>
                    <a:pt x="2480990" y="77806"/>
                  </a:lnTo>
                  <a:lnTo>
                    <a:pt x="2483546" y="79222"/>
                  </a:lnTo>
                  <a:lnTo>
                    <a:pt x="2483923" y="78855"/>
                  </a:lnTo>
                  <a:lnTo>
                    <a:pt x="2483808" y="78301"/>
                  </a:lnTo>
                  <a:lnTo>
                    <a:pt x="2483286" y="77330"/>
                  </a:lnTo>
                  <a:lnTo>
                    <a:pt x="2482831" y="76773"/>
                  </a:lnTo>
                  <a:lnTo>
                    <a:pt x="2481629" y="75960"/>
                  </a:lnTo>
                  <a:lnTo>
                    <a:pt x="2481640" y="74635"/>
                  </a:lnTo>
                  <a:lnTo>
                    <a:pt x="2483865" y="71510"/>
                  </a:lnTo>
                  <a:lnTo>
                    <a:pt x="2489544" y="73032"/>
                  </a:lnTo>
                  <a:lnTo>
                    <a:pt x="2495251" y="74517"/>
                  </a:lnTo>
                  <a:lnTo>
                    <a:pt x="2499944" y="79856"/>
                  </a:lnTo>
                  <a:lnTo>
                    <a:pt x="2500809" y="81354"/>
                  </a:lnTo>
                  <a:lnTo>
                    <a:pt x="2500906" y="82642"/>
                  </a:lnTo>
                  <a:lnTo>
                    <a:pt x="2500890" y="82953"/>
                  </a:lnTo>
                  <a:lnTo>
                    <a:pt x="2501640" y="83647"/>
                  </a:lnTo>
                  <a:lnTo>
                    <a:pt x="2503838" y="83992"/>
                  </a:lnTo>
                  <a:lnTo>
                    <a:pt x="2505152" y="85236"/>
                  </a:lnTo>
                  <a:lnTo>
                    <a:pt x="2510015" y="91350"/>
                  </a:lnTo>
                  <a:lnTo>
                    <a:pt x="2512075" y="91865"/>
                  </a:lnTo>
                  <a:lnTo>
                    <a:pt x="2512882" y="92564"/>
                  </a:lnTo>
                  <a:lnTo>
                    <a:pt x="2513329" y="93125"/>
                  </a:lnTo>
                  <a:lnTo>
                    <a:pt x="2513705" y="93465"/>
                  </a:lnTo>
                  <a:lnTo>
                    <a:pt x="2514135" y="93191"/>
                  </a:lnTo>
                  <a:lnTo>
                    <a:pt x="2515220" y="94168"/>
                  </a:lnTo>
                  <a:lnTo>
                    <a:pt x="2516830" y="93864"/>
                  </a:lnTo>
                  <a:lnTo>
                    <a:pt x="2520826" y="96179"/>
                  </a:lnTo>
                  <a:lnTo>
                    <a:pt x="2521793" y="96028"/>
                  </a:lnTo>
                  <a:lnTo>
                    <a:pt x="2521943" y="97333"/>
                  </a:lnTo>
                  <a:lnTo>
                    <a:pt x="2521880" y="98194"/>
                  </a:lnTo>
                  <a:lnTo>
                    <a:pt x="2521504" y="99333"/>
                  </a:lnTo>
                  <a:lnTo>
                    <a:pt x="2521495" y="102668"/>
                  </a:lnTo>
                  <a:lnTo>
                    <a:pt x="2520933" y="104039"/>
                  </a:lnTo>
                  <a:lnTo>
                    <a:pt x="2520962" y="105802"/>
                  </a:lnTo>
                  <a:lnTo>
                    <a:pt x="2521292" y="108211"/>
                  </a:lnTo>
                  <a:lnTo>
                    <a:pt x="2521818" y="110946"/>
                  </a:lnTo>
                  <a:lnTo>
                    <a:pt x="2522005" y="110881"/>
                  </a:lnTo>
                  <a:lnTo>
                    <a:pt x="2523060" y="112376"/>
                  </a:lnTo>
                  <a:lnTo>
                    <a:pt x="2523522" y="111768"/>
                  </a:lnTo>
                  <a:lnTo>
                    <a:pt x="2524299" y="103610"/>
                  </a:lnTo>
                  <a:lnTo>
                    <a:pt x="2525009" y="95461"/>
                  </a:lnTo>
                  <a:lnTo>
                    <a:pt x="2527486" y="93752"/>
                  </a:lnTo>
                  <a:lnTo>
                    <a:pt x="2527569" y="91607"/>
                  </a:lnTo>
                  <a:lnTo>
                    <a:pt x="2526596" y="90664"/>
                  </a:lnTo>
                  <a:lnTo>
                    <a:pt x="2521042" y="89353"/>
                  </a:lnTo>
                  <a:lnTo>
                    <a:pt x="2515514" y="88006"/>
                  </a:lnTo>
                  <a:lnTo>
                    <a:pt x="2515453" y="87626"/>
                  </a:lnTo>
                  <a:lnTo>
                    <a:pt x="2515371" y="87287"/>
                  </a:lnTo>
                  <a:lnTo>
                    <a:pt x="2515191" y="86624"/>
                  </a:lnTo>
                  <a:lnTo>
                    <a:pt x="2514507" y="86947"/>
                  </a:lnTo>
                  <a:lnTo>
                    <a:pt x="2513338" y="86447"/>
                  </a:lnTo>
                  <a:lnTo>
                    <a:pt x="2511848" y="84900"/>
                  </a:lnTo>
                  <a:lnTo>
                    <a:pt x="2510188" y="82047"/>
                  </a:lnTo>
                  <a:lnTo>
                    <a:pt x="2510569" y="79887"/>
                  </a:lnTo>
                  <a:lnTo>
                    <a:pt x="2513001" y="79483"/>
                  </a:lnTo>
                  <a:lnTo>
                    <a:pt x="2513271" y="77068"/>
                  </a:lnTo>
                  <a:lnTo>
                    <a:pt x="2508076" y="78881"/>
                  </a:lnTo>
                  <a:lnTo>
                    <a:pt x="2504680" y="76342"/>
                  </a:lnTo>
                  <a:lnTo>
                    <a:pt x="2500875" y="71151"/>
                  </a:lnTo>
                  <a:lnTo>
                    <a:pt x="2494190" y="67146"/>
                  </a:lnTo>
                  <a:lnTo>
                    <a:pt x="2487566" y="63091"/>
                  </a:lnTo>
                  <a:lnTo>
                    <a:pt x="2487338" y="61503"/>
                  </a:lnTo>
                  <a:lnTo>
                    <a:pt x="2487380" y="60481"/>
                  </a:lnTo>
                  <a:lnTo>
                    <a:pt x="2489070" y="57229"/>
                  </a:lnTo>
                  <a:lnTo>
                    <a:pt x="2489233" y="58022"/>
                  </a:lnTo>
                  <a:lnTo>
                    <a:pt x="2489281" y="58547"/>
                  </a:lnTo>
                  <a:lnTo>
                    <a:pt x="2489222" y="58806"/>
                  </a:lnTo>
                  <a:lnTo>
                    <a:pt x="2489051" y="58789"/>
                  </a:lnTo>
                  <a:lnTo>
                    <a:pt x="2490084" y="59890"/>
                  </a:lnTo>
                  <a:lnTo>
                    <a:pt x="2495312" y="56747"/>
                  </a:lnTo>
                  <a:lnTo>
                    <a:pt x="2500504" y="53570"/>
                  </a:lnTo>
                  <a:lnTo>
                    <a:pt x="2501059" y="51236"/>
                  </a:lnTo>
                  <a:lnTo>
                    <a:pt x="2505750" y="50356"/>
                  </a:lnTo>
                  <a:lnTo>
                    <a:pt x="2510440" y="49449"/>
                  </a:lnTo>
                  <a:lnTo>
                    <a:pt x="2511358" y="50079"/>
                  </a:lnTo>
                  <a:lnTo>
                    <a:pt x="2512407" y="49724"/>
                  </a:lnTo>
                  <a:lnTo>
                    <a:pt x="2512623" y="49874"/>
                  </a:lnTo>
                  <a:lnTo>
                    <a:pt x="2512879" y="50493"/>
                  </a:lnTo>
                  <a:lnTo>
                    <a:pt x="2514185" y="50032"/>
                  </a:lnTo>
                  <a:lnTo>
                    <a:pt x="2514302" y="49113"/>
                  </a:lnTo>
                  <a:lnTo>
                    <a:pt x="2514209" y="49148"/>
                  </a:lnTo>
                  <a:lnTo>
                    <a:pt x="2515053" y="47529"/>
                  </a:lnTo>
                  <a:lnTo>
                    <a:pt x="2521230" y="47522"/>
                  </a:lnTo>
                  <a:lnTo>
                    <a:pt x="2527422" y="47468"/>
                  </a:lnTo>
                  <a:lnTo>
                    <a:pt x="2530884" y="50584"/>
                  </a:lnTo>
                  <a:lnTo>
                    <a:pt x="2531422" y="50587"/>
                  </a:lnTo>
                  <a:lnTo>
                    <a:pt x="2531876" y="51826"/>
                  </a:lnTo>
                  <a:lnTo>
                    <a:pt x="2532249" y="52512"/>
                  </a:lnTo>
                  <a:lnTo>
                    <a:pt x="2532512" y="52721"/>
                  </a:lnTo>
                  <a:lnTo>
                    <a:pt x="2532836" y="53208"/>
                  </a:lnTo>
                  <a:lnTo>
                    <a:pt x="2533061" y="53074"/>
                  </a:lnTo>
                  <a:lnTo>
                    <a:pt x="2533424" y="53272"/>
                  </a:lnTo>
                  <a:lnTo>
                    <a:pt x="2534907" y="54846"/>
                  </a:lnTo>
                  <a:lnTo>
                    <a:pt x="2535396" y="55562"/>
                  </a:lnTo>
                  <a:lnTo>
                    <a:pt x="2536537" y="57382"/>
                  </a:lnTo>
                  <a:lnTo>
                    <a:pt x="2537875" y="59225"/>
                  </a:lnTo>
                  <a:lnTo>
                    <a:pt x="2545488" y="62585"/>
                  </a:lnTo>
                  <a:lnTo>
                    <a:pt x="2553164" y="65879"/>
                  </a:lnTo>
                  <a:lnTo>
                    <a:pt x="2560902" y="69107"/>
                  </a:lnTo>
                  <a:lnTo>
                    <a:pt x="2560459" y="68605"/>
                  </a:lnTo>
                  <a:lnTo>
                    <a:pt x="2560306" y="68482"/>
                  </a:lnTo>
                  <a:lnTo>
                    <a:pt x="2560000" y="67808"/>
                  </a:lnTo>
                  <a:lnTo>
                    <a:pt x="2561136" y="66608"/>
                  </a:lnTo>
                  <a:lnTo>
                    <a:pt x="2560802" y="65874"/>
                  </a:lnTo>
                  <a:lnTo>
                    <a:pt x="2555482" y="64427"/>
                  </a:lnTo>
                  <a:lnTo>
                    <a:pt x="2550187" y="62947"/>
                  </a:lnTo>
                  <a:lnTo>
                    <a:pt x="2545206" y="58852"/>
                  </a:lnTo>
                  <a:lnTo>
                    <a:pt x="2544428" y="58685"/>
                  </a:lnTo>
                  <a:lnTo>
                    <a:pt x="2544147" y="57541"/>
                  </a:lnTo>
                  <a:lnTo>
                    <a:pt x="2541963" y="54624"/>
                  </a:lnTo>
                  <a:lnTo>
                    <a:pt x="2541045" y="53665"/>
                  </a:lnTo>
                  <a:lnTo>
                    <a:pt x="2539175" y="53402"/>
                  </a:lnTo>
                  <a:lnTo>
                    <a:pt x="2537470" y="52247"/>
                  </a:lnTo>
                  <a:lnTo>
                    <a:pt x="2537068" y="50177"/>
                  </a:lnTo>
                  <a:lnTo>
                    <a:pt x="2537094" y="48665"/>
                  </a:lnTo>
                  <a:lnTo>
                    <a:pt x="2538264" y="46715"/>
                  </a:lnTo>
                  <a:lnTo>
                    <a:pt x="2538486" y="40934"/>
                  </a:lnTo>
                  <a:lnTo>
                    <a:pt x="2541337" y="36992"/>
                  </a:lnTo>
                  <a:lnTo>
                    <a:pt x="2541315" y="35422"/>
                  </a:lnTo>
                  <a:lnTo>
                    <a:pt x="2539803" y="36042"/>
                  </a:lnTo>
                  <a:lnTo>
                    <a:pt x="2539595" y="34382"/>
                  </a:lnTo>
                  <a:lnTo>
                    <a:pt x="2541440" y="32528"/>
                  </a:lnTo>
                  <a:lnTo>
                    <a:pt x="2541859" y="30692"/>
                  </a:lnTo>
                  <a:lnTo>
                    <a:pt x="2542947" y="29557"/>
                  </a:lnTo>
                  <a:lnTo>
                    <a:pt x="2543327" y="29723"/>
                  </a:lnTo>
                  <a:lnTo>
                    <a:pt x="2544770" y="31358"/>
                  </a:lnTo>
                  <a:lnTo>
                    <a:pt x="2545143" y="31512"/>
                  </a:lnTo>
                  <a:lnTo>
                    <a:pt x="2546528" y="27303"/>
                  </a:lnTo>
                  <a:lnTo>
                    <a:pt x="2550574" y="25896"/>
                  </a:lnTo>
                  <a:lnTo>
                    <a:pt x="2554613" y="24467"/>
                  </a:lnTo>
                  <a:lnTo>
                    <a:pt x="2555672" y="25327"/>
                  </a:lnTo>
                  <a:lnTo>
                    <a:pt x="2555484" y="26321"/>
                  </a:lnTo>
                  <a:lnTo>
                    <a:pt x="2555742" y="31161"/>
                  </a:lnTo>
                  <a:lnTo>
                    <a:pt x="2556414" y="33505"/>
                  </a:lnTo>
                  <a:lnTo>
                    <a:pt x="2557645" y="35150"/>
                  </a:lnTo>
                  <a:lnTo>
                    <a:pt x="2561901" y="37997"/>
                  </a:lnTo>
                  <a:lnTo>
                    <a:pt x="2562017" y="38322"/>
                  </a:lnTo>
                  <a:lnTo>
                    <a:pt x="2562148" y="38664"/>
                  </a:lnTo>
                  <a:lnTo>
                    <a:pt x="2562274" y="39027"/>
                  </a:lnTo>
                  <a:lnTo>
                    <a:pt x="2562368" y="39409"/>
                  </a:lnTo>
                  <a:lnTo>
                    <a:pt x="2568438" y="40409"/>
                  </a:lnTo>
                  <a:lnTo>
                    <a:pt x="2574534" y="41364"/>
                  </a:lnTo>
                  <a:lnTo>
                    <a:pt x="2573254" y="39684"/>
                  </a:lnTo>
                  <a:lnTo>
                    <a:pt x="2563805" y="33864"/>
                  </a:lnTo>
                  <a:lnTo>
                    <a:pt x="2561552" y="33687"/>
                  </a:lnTo>
                  <a:lnTo>
                    <a:pt x="2560515" y="32959"/>
                  </a:lnTo>
                  <a:lnTo>
                    <a:pt x="2560170" y="31599"/>
                  </a:lnTo>
                  <a:lnTo>
                    <a:pt x="2560961" y="26739"/>
                  </a:lnTo>
                  <a:lnTo>
                    <a:pt x="2562410" y="24938"/>
                  </a:lnTo>
                  <a:lnTo>
                    <a:pt x="2562308" y="24086"/>
                  </a:lnTo>
                  <a:lnTo>
                    <a:pt x="2562046" y="23885"/>
                  </a:lnTo>
                  <a:lnTo>
                    <a:pt x="2561722" y="23523"/>
                  </a:lnTo>
                  <a:lnTo>
                    <a:pt x="2561326" y="22951"/>
                  </a:lnTo>
                  <a:lnTo>
                    <a:pt x="2560868" y="22152"/>
                  </a:lnTo>
                  <a:lnTo>
                    <a:pt x="2562119" y="21361"/>
                  </a:lnTo>
                  <a:lnTo>
                    <a:pt x="2563696" y="22566"/>
                  </a:lnTo>
                  <a:lnTo>
                    <a:pt x="2564324" y="22718"/>
                  </a:lnTo>
                  <a:lnTo>
                    <a:pt x="2564686" y="22324"/>
                  </a:lnTo>
                  <a:lnTo>
                    <a:pt x="2564685" y="21323"/>
                  </a:lnTo>
                  <a:lnTo>
                    <a:pt x="2564350" y="21039"/>
                  </a:lnTo>
                  <a:lnTo>
                    <a:pt x="2563825" y="20797"/>
                  </a:lnTo>
                  <a:lnTo>
                    <a:pt x="2563672" y="20895"/>
                  </a:lnTo>
                  <a:lnTo>
                    <a:pt x="2564016" y="19377"/>
                  </a:lnTo>
                  <a:lnTo>
                    <a:pt x="2568445" y="17142"/>
                  </a:lnTo>
                  <a:lnTo>
                    <a:pt x="2572857" y="14880"/>
                  </a:lnTo>
                  <a:lnTo>
                    <a:pt x="2577252" y="12592"/>
                  </a:lnTo>
                  <a:lnTo>
                    <a:pt x="2578170" y="13514"/>
                  </a:lnTo>
                  <a:lnTo>
                    <a:pt x="2577930" y="13618"/>
                  </a:lnTo>
                  <a:lnTo>
                    <a:pt x="2577821" y="13948"/>
                  </a:lnTo>
                  <a:lnTo>
                    <a:pt x="2577917" y="15201"/>
                  </a:lnTo>
                  <a:lnTo>
                    <a:pt x="2578429" y="15724"/>
                  </a:lnTo>
                  <a:lnTo>
                    <a:pt x="2578994" y="15822"/>
                  </a:lnTo>
                  <a:lnTo>
                    <a:pt x="2579444" y="16190"/>
                  </a:lnTo>
                  <a:lnTo>
                    <a:pt x="2579488" y="17067"/>
                  </a:lnTo>
                  <a:lnTo>
                    <a:pt x="2579057" y="18101"/>
                  </a:lnTo>
                  <a:lnTo>
                    <a:pt x="2579460" y="19379"/>
                  </a:lnTo>
                  <a:lnTo>
                    <a:pt x="2580369" y="18948"/>
                  </a:lnTo>
                  <a:lnTo>
                    <a:pt x="2580446" y="19190"/>
                  </a:lnTo>
                  <a:lnTo>
                    <a:pt x="2580948" y="19416"/>
                  </a:lnTo>
                  <a:lnTo>
                    <a:pt x="2583231" y="18254"/>
                  </a:lnTo>
                  <a:lnTo>
                    <a:pt x="2584045" y="18905"/>
                  </a:lnTo>
                  <a:lnTo>
                    <a:pt x="2583633" y="19591"/>
                  </a:lnTo>
                  <a:lnTo>
                    <a:pt x="2583743" y="22775"/>
                  </a:lnTo>
                  <a:lnTo>
                    <a:pt x="2583274" y="23379"/>
                  </a:lnTo>
                  <a:lnTo>
                    <a:pt x="2584407" y="24383"/>
                  </a:lnTo>
                  <a:lnTo>
                    <a:pt x="2588078" y="19787"/>
                  </a:lnTo>
                  <a:lnTo>
                    <a:pt x="2588538" y="15673"/>
                  </a:lnTo>
                  <a:lnTo>
                    <a:pt x="2589182" y="15771"/>
                  </a:lnTo>
                  <a:lnTo>
                    <a:pt x="2590273" y="17153"/>
                  </a:lnTo>
                  <a:lnTo>
                    <a:pt x="2591711" y="20134"/>
                  </a:lnTo>
                  <a:lnTo>
                    <a:pt x="2592755" y="21171"/>
                  </a:lnTo>
                  <a:lnTo>
                    <a:pt x="2596053" y="19547"/>
                  </a:lnTo>
                  <a:lnTo>
                    <a:pt x="2596307" y="18622"/>
                  </a:lnTo>
                  <a:lnTo>
                    <a:pt x="2596233" y="18659"/>
                  </a:lnTo>
                  <a:lnTo>
                    <a:pt x="2596431" y="16150"/>
                  </a:lnTo>
                  <a:lnTo>
                    <a:pt x="2601299" y="14980"/>
                  </a:lnTo>
                  <a:lnTo>
                    <a:pt x="2602131" y="15702"/>
                  </a:lnTo>
                  <a:lnTo>
                    <a:pt x="2602832" y="17648"/>
                  </a:lnTo>
                  <a:lnTo>
                    <a:pt x="2603733" y="19944"/>
                  </a:lnTo>
                  <a:lnTo>
                    <a:pt x="2605231" y="21012"/>
                  </a:lnTo>
                  <a:lnTo>
                    <a:pt x="2605673" y="19980"/>
                  </a:lnTo>
                  <a:lnTo>
                    <a:pt x="2605728" y="18228"/>
                  </a:lnTo>
                  <a:lnTo>
                    <a:pt x="2609628" y="14124"/>
                  </a:lnTo>
                  <a:lnTo>
                    <a:pt x="2616626" y="15109"/>
                  </a:lnTo>
                  <a:lnTo>
                    <a:pt x="2616593" y="13298"/>
                  </a:lnTo>
                  <a:lnTo>
                    <a:pt x="2615929" y="12209"/>
                  </a:lnTo>
                  <a:lnTo>
                    <a:pt x="2615971" y="11737"/>
                  </a:lnTo>
                  <a:lnTo>
                    <a:pt x="2618377" y="11597"/>
                  </a:lnTo>
                  <a:lnTo>
                    <a:pt x="2618733" y="13075"/>
                  </a:lnTo>
                  <a:lnTo>
                    <a:pt x="2618959" y="13725"/>
                  </a:lnTo>
                  <a:lnTo>
                    <a:pt x="2620450" y="14053"/>
                  </a:lnTo>
                  <a:lnTo>
                    <a:pt x="2620927" y="13724"/>
                  </a:lnTo>
                  <a:lnTo>
                    <a:pt x="2619961" y="10256"/>
                  </a:lnTo>
                  <a:lnTo>
                    <a:pt x="2620623" y="10192"/>
                  </a:lnTo>
                  <a:lnTo>
                    <a:pt x="2622420" y="11033"/>
                  </a:lnTo>
                  <a:lnTo>
                    <a:pt x="2625315" y="9236"/>
                  </a:lnTo>
                  <a:lnTo>
                    <a:pt x="2626317" y="9869"/>
                  </a:lnTo>
                  <a:lnTo>
                    <a:pt x="2626605" y="9259"/>
                  </a:lnTo>
                  <a:lnTo>
                    <a:pt x="2627016" y="9388"/>
                  </a:lnTo>
                  <a:lnTo>
                    <a:pt x="2627224" y="10221"/>
                  </a:lnTo>
                  <a:lnTo>
                    <a:pt x="2626713" y="11240"/>
                  </a:lnTo>
                  <a:lnTo>
                    <a:pt x="2627150" y="11681"/>
                  </a:lnTo>
                  <a:lnTo>
                    <a:pt x="2627506" y="11971"/>
                  </a:lnTo>
                  <a:lnTo>
                    <a:pt x="2628036" y="12211"/>
                  </a:lnTo>
                  <a:lnTo>
                    <a:pt x="2628507" y="13575"/>
                  </a:lnTo>
                  <a:lnTo>
                    <a:pt x="2626630" y="22318"/>
                  </a:lnTo>
                  <a:lnTo>
                    <a:pt x="2627085" y="22917"/>
                  </a:lnTo>
                  <a:lnTo>
                    <a:pt x="2627212" y="24393"/>
                  </a:lnTo>
                  <a:lnTo>
                    <a:pt x="2624579" y="28182"/>
                  </a:lnTo>
                  <a:lnTo>
                    <a:pt x="2624618" y="30918"/>
                  </a:lnTo>
                  <a:lnTo>
                    <a:pt x="2622251" y="33496"/>
                  </a:lnTo>
                  <a:lnTo>
                    <a:pt x="2622099" y="34686"/>
                  </a:lnTo>
                  <a:lnTo>
                    <a:pt x="2621258" y="34868"/>
                  </a:lnTo>
                  <a:lnTo>
                    <a:pt x="2621000" y="36672"/>
                  </a:lnTo>
                  <a:lnTo>
                    <a:pt x="2619737" y="37482"/>
                  </a:lnTo>
                  <a:lnTo>
                    <a:pt x="2619603" y="39536"/>
                  </a:lnTo>
                  <a:lnTo>
                    <a:pt x="2617085" y="43023"/>
                  </a:lnTo>
                  <a:lnTo>
                    <a:pt x="2614542" y="46503"/>
                  </a:lnTo>
                  <a:lnTo>
                    <a:pt x="2614582" y="48246"/>
                  </a:lnTo>
                  <a:lnTo>
                    <a:pt x="2613551" y="50815"/>
                  </a:lnTo>
                  <a:lnTo>
                    <a:pt x="2613820" y="52328"/>
                  </a:lnTo>
                  <a:lnTo>
                    <a:pt x="2614975" y="52879"/>
                  </a:lnTo>
                  <a:lnTo>
                    <a:pt x="2619417" y="49524"/>
                  </a:lnTo>
                  <a:lnTo>
                    <a:pt x="2623829" y="46145"/>
                  </a:lnTo>
                  <a:lnTo>
                    <a:pt x="2628211" y="42740"/>
                  </a:lnTo>
                  <a:lnTo>
                    <a:pt x="2628576" y="38300"/>
                  </a:lnTo>
                  <a:lnTo>
                    <a:pt x="2629750" y="37098"/>
                  </a:lnTo>
                  <a:lnTo>
                    <a:pt x="2629592" y="35592"/>
                  </a:lnTo>
                  <a:lnTo>
                    <a:pt x="2631835" y="32755"/>
                  </a:lnTo>
                  <a:lnTo>
                    <a:pt x="2634865" y="32652"/>
                  </a:lnTo>
                  <a:lnTo>
                    <a:pt x="2634721" y="31525"/>
                  </a:lnTo>
                  <a:lnTo>
                    <a:pt x="2634333" y="31126"/>
                  </a:lnTo>
                  <a:lnTo>
                    <a:pt x="2634054" y="30930"/>
                  </a:lnTo>
                  <a:lnTo>
                    <a:pt x="2633877" y="30919"/>
                  </a:lnTo>
                  <a:lnTo>
                    <a:pt x="2633805" y="31099"/>
                  </a:lnTo>
                  <a:lnTo>
                    <a:pt x="2632973" y="29207"/>
                  </a:lnTo>
                  <a:lnTo>
                    <a:pt x="2632785" y="28043"/>
                  </a:lnTo>
                  <a:lnTo>
                    <a:pt x="2635170" y="21551"/>
                  </a:lnTo>
                  <a:lnTo>
                    <a:pt x="2637483" y="15060"/>
                  </a:lnTo>
                  <a:lnTo>
                    <a:pt x="2641715" y="12601"/>
                  </a:lnTo>
                  <a:lnTo>
                    <a:pt x="2642796" y="13440"/>
                  </a:lnTo>
                  <a:lnTo>
                    <a:pt x="2643105" y="14374"/>
                  </a:lnTo>
                  <a:lnTo>
                    <a:pt x="2643560" y="16494"/>
                  </a:lnTo>
                  <a:lnTo>
                    <a:pt x="2644989" y="17964"/>
                  </a:lnTo>
                  <a:lnTo>
                    <a:pt x="2646012" y="18373"/>
                  </a:lnTo>
                  <a:lnTo>
                    <a:pt x="2649903" y="17097"/>
                  </a:lnTo>
                  <a:lnTo>
                    <a:pt x="2648583" y="16214"/>
                  </a:lnTo>
                  <a:lnTo>
                    <a:pt x="2647046" y="16446"/>
                  </a:lnTo>
                  <a:lnTo>
                    <a:pt x="2645605" y="15340"/>
                  </a:lnTo>
                  <a:lnTo>
                    <a:pt x="2645718" y="14650"/>
                  </a:lnTo>
                  <a:lnTo>
                    <a:pt x="2645025" y="10238"/>
                  </a:lnTo>
                  <a:lnTo>
                    <a:pt x="2645151" y="9662"/>
                  </a:lnTo>
                  <a:lnTo>
                    <a:pt x="2645849" y="9141"/>
                  </a:lnTo>
                  <a:lnTo>
                    <a:pt x="2644480" y="8072"/>
                  </a:lnTo>
                  <a:lnTo>
                    <a:pt x="2643349" y="9156"/>
                  </a:lnTo>
                  <a:lnTo>
                    <a:pt x="2642253" y="8633"/>
                  </a:lnTo>
                  <a:lnTo>
                    <a:pt x="2642247" y="7848"/>
                  </a:lnTo>
                  <a:lnTo>
                    <a:pt x="2642991" y="7133"/>
                  </a:lnTo>
                  <a:lnTo>
                    <a:pt x="2642755" y="4971"/>
                  </a:lnTo>
                  <a:lnTo>
                    <a:pt x="2647258" y="1074"/>
                  </a:lnTo>
                  <a:lnTo>
                    <a:pt x="2648283" y="1661"/>
                  </a:lnTo>
                  <a:lnTo>
                    <a:pt x="2648869" y="3225"/>
                  </a:lnTo>
                  <a:lnTo>
                    <a:pt x="2648798" y="3988"/>
                  </a:lnTo>
                  <a:lnTo>
                    <a:pt x="2646398" y="4952"/>
                  </a:lnTo>
                  <a:lnTo>
                    <a:pt x="2646606" y="6145"/>
                  </a:lnTo>
                  <a:lnTo>
                    <a:pt x="2647910" y="6942"/>
                  </a:lnTo>
                  <a:lnTo>
                    <a:pt x="2650062" y="5866"/>
                  </a:lnTo>
                  <a:lnTo>
                    <a:pt x="2650477" y="6751"/>
                  </a:lnTo>
                  <a:lnTo>
                    <a:pt x="2651160" y="8657"/>
                  </a:lnTo>
                  <a:lnTo>
                    <a:pt x="2652613" y="9913"/>
                  </a:lnTo>
                  <a:lnTo>
                    <a:pt x="2655387" y="10885"/>
                  </a:lnTo>
                  <a:lnTo>
                    <a:pt x="2657985" y="12732"/>
                  </a:lnTo>
                  <a:lnTo>
                    <a:pt x="2658947" y="13061"/>
                  </a:lnTo>
                  <a:lnTo>
                    <a:pt x="2658871" y="11904"/>
                  </a:lnTo>
                  <a:lnTo>
                    <a:pt x="2658630" y="11650"/>
                  </a:lnTo>
                  <a:lnTo>
                    <a:pt x="2658068" y="11010"/>
                  </a:lnTo>
                  <a:lnTo>
                    <a:pt x="2657836" y="10787"/>
                  </a:lnTo>
                  <a:lnTo>
                    <a:pt x="2657682" y="9799"/>
                  </a:lnTo>
                  <a:lnTo>
                    <a:pt x="2658527" y="9476"/>
                  </a:lnTo>
                  <a:lnTo>
                    <a:pt x="2658051" y="3871"/>
                  </a:lnTo>
                  <a:lnTo>
                    <a:pt x="2662400" y="1948"/>
                  </a:lnTo>
                  <a:close/>
                </a:path>
              </a:pathLst>
            </a:custGeom>
            <a:solidFill>
              <a:srgbClr val="BFBFBF">
                <a:lumMod val="100000"/>
              </a:srgbClr>
            </a:solidFill>
            <a:ln w="3175" cap="rnd">
              <a:solidFill>
                <a:srgbClr val="FFFFFF">
                  <a:lumMod val="100000"/>
                </a:srgb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latin typeface="Arial" panose="020B0604020202020204" pitchFamily="34" charset="0"/>
                <a:cs typeface="Arial" panose="020B0604020202020204" pitchFamily="34" charset="0"/>
              </a:endParaRPr>
            </a:p>
          </p:txBody>
        </p:sp>
        <p:grpSp>
          <p:nvGrpSpPr>
            <p:cNvPr id="40" name="Groupe 24">
              <a:extLst>
                <a:ext uri="{FF2B5EF4-FFF2-40B4-BE49-F238E27FC236}">
                  <a16:creationId xmlns:a16="http://schemas.microsoft.com/office/drawing/2014/main" id="{0AFAF532-1297-4A22-A700-EA355353289E}"/>
                </a:ext>
              </a:extLst>
            </p:cNvPr>
            <p:cNvGrpSpPr/>
            <p:nvPr/>
          </p:nvGrpSpPr>
          <p:grpSpPr>
            <a:xfrm>
              <a:off x="9734869" y="2255863"/>
              <a:ext cx="931050" cy="1504185"/>
              <a:chOff x="8143930" y="1672600"/>
              <a:chExt cx="1862741" cy="2837282"/>
            </a:xfrm>
          </p:grpSpPr>
          <p:sp>
            <p:nvSpPr>
              <p:cNvPr id="41" name="Freeform 244">
                <a:extLst>
                  <a:ext uri="{FF2B5EF4-FFF2-40B4-BE49-F238E27FC236}">
                    <a16:creationId xmlns:a16="http://schemas.microsoft.com/office/drawing/2014/main" id="{EADC46A9-0318-4BA8-8AEC-C7FA5FE7CE3A}"/>
                  </a:ext>
                </a:extLst>
              </p:cNvPr>
              <p:cNvSpPr>
                <a:spLocks/>
              </p:cNvSpPr>
              <p:nvPr/>
            </p:nvSpPr>
            <p:spPr bwMode="auto">
              <a:xfrm>
                <a:off x="9204260" y="2689946"/>
                <a:ext cx="343893" cy="214931"/>
              </a:xfrm>
              <a:custGeom>
                <a:avLst/>
                <a:gdLst>
                  <a:gd name="T0" fmla="*/ 8 w 48"/>
                  <a:gd name="T1" fmla="*/ 30 h 30"/>
                  <a:gd name="T2" fmla="*/ 4 w 48"/>
                  <a:gd name="T3" fmla="*/ 28 h 30"/>
                  <a:gd name="T4" fmla="*/ 2 w 48"/>
                  <a:gd name="T5" fmla="*/ 26 h 30"/>
                  <a:gd name="T6" fmla="*/ 0 w 48"/>
                  <a:gd name="T7" fmla="*/ 24 h 30"/>
                  <a:gd name="T8" fmla="*/ 0 w 48"/>
                  <a:gd name="T9" fmla="*/ 22 h 30"/>
                  <a:gd name="T10" fmla="*/ 0 w 48"/>
                  <a:gd name="T11" fmla="*/ 20 h 30"/>
                  <a:gd name="T12" fmla="*/ 2 w 48"/>
                  <a:gd name="T13" fmla="*/ 16 h 30"/>
                  <a:gd name="T14" fmla="*/ 4 w 48"/>
                  <a:gd name="T15" fmla="*/ 10 h 30"/>
                  <a:gd name="T16" fmla="*/ 8 w 48"/>
                  <a:gd name="T17" fmla="*/ 6 h 30"/>
                  <a:gd name="T18" fmla="*/ 8 w 48"/>
                  <a:gd name="T19" fmla="*/ 4 h 30"/>
                  <a:gd name="T20" fmla="*/ 12 w 48"/>
                  <a:gd name="T21" fmla="*/ 2 h 30"/>
                  <a:gd name="T22" fmla="*/ 18 w 48"/>
                  <a:gd name="T23" fmla="*/ 2 h 30"/>
                  <a:gd name="T24" fmla="*/ 24 w 48"/>
                  <a:gd name="T25" fmla="*/ 2 h 30"/>
                  <a:gd name="T26" fmla="*/ 28 w 48"/>
                  <a:gd name="T27" fmla="*/ 2 h 30"/>
                  <a:gd name="T28" fmla="*/ 30 w 48"/>
                  <a:gd name="T29" fmla="*/ 2 h 30"/>
                  <a:gd name="T30" fmla="*/ 36 w 48"/>
                  <a:gd name="T31" fmla="*/ 0 h 30"/>
                  <a:gd name="T32" fmla="*/ 38 w 48"/>
                  <a:gd name="T33" fmla="*/ 0 h 30"/>
                  <a:gd name="T34" fmla="*/ 40 w 48"/>
                  <a:gd name="T35" fmla="*/ 0 h 30"/>
                  <a:gd name="T36" fmla="*/ 44 w 48"/>
                  <a:gd name="T37" fmla="*/ 4 h 30"/>
                  <a:gd name="T38" fmla="*/ 48 w 48"/>
                  <a:gd name="T39" fmla="*/ 16 h 30"/>
                  <a:gd name="T40" fmla="*/ 46 w 48"/>
                  <a:gd name="T41" fmla="*/ 22 h 30"/>
                  <a:gd name="T42" fmla="*/ 46 w 48"/>
                  <a:gd name="T43" fmla="*/ 26 h 30"/>
                  <a:gd name="T44" fmla="*/ 44 w 48"/>
                  <a:gd name="T45" fmla="*/ 26 h 30"/>
                  <a:gd name="T46" fmla="*/ 44 w 48"/>
                  <a:gd name="T47" fmla="*/ 28 h 30"/>
                  <a:gd name="T48" fmla="*/ 42 w 48"/>
                  <a:gd name="T49" fmla="*/ 28 h 30"/>
                  <a:gd name="T50" fmla="*/ 38 w 48"/>
                  <a:gd name="T51" fmla="*/ 26 h 30"/>
                  <a:gd name="T52" fmla="*/ 38 w 48"/>
                  <a:gd name="T53" fmla="*/ 26 h 30"/>
                  <a:gd name="T54" fmla="*/ 36 w 48"/>
                  <a:gd name="T55" fmla="*/ 26 h 30"/>
                  <a:gd name="T56" fmla="*/ 36 w 48"/>
                  <a:gd name="T57" fmla="*/ 28 h 30"/>
                  <a:gd name="T58" fmla="*/ 34 w 48"/>
                  <a:gd name="T59" fmla="*/ 30 h 30"/>
                  <a:gd name="T60" fmla="*/ 34 w 48"/>
                  <a:gd name="T61" fmla="*/ 30 h 30"/>
                  <a:gd name="T62" fmla="*/ 32 w 48"/>
                  <a:gd name="T63" fmla="*/ 30 h 30"/>
                  <a:gd name="T64" fmla="*/ 32 w 48"/>
                  <a:gd name="T65" fmla="*/ 30 h 30"/>
                  <a:gd name="T66" fmla="*/ 30 w 48"/>
                  <a:gd name="T67" fmla="*/ 28 h 30"/>
                  <a:gd name="T68" fmla="*/ 30 w 48"/>
                  <a:gd name="T69" fmla="*/ 24 h 30"/>
                  <a:gd name="T70" fmla="*/ 28 w 48"/>
                  <a:gd name="T71" fmla="*/ 24 h 30"/>
                  <a:gd name="T72" fmla="*/ 28 w 48"/>
                  <a:gd name="T73" fmla="*/ 24 h 30"/>
                  <a:gd name="T74" fmla="*/ 26 w 48"/>
                  <a:gd name="T75" fmla="*/ 24 h 30"/>
                  <a:gd name="T76" fmla="*/ 26 w 48"/>
                  <a:gd name="T77" fmla="*/ 26 h 30"/>
                  <a:gd name="T78" fmla="*/ 22 w 48"/>
                  <a:gd name="T79" fmla="*/ 28 h 30"/>
                  <a:gd name="T80" fmla="*/ 20 w 48"/>
                  <a:gd name="T81" fmla="*/ 30 h 30"/>
                  <a:gd name="T82" fmla="*/ 16 w 48"/>
                  <a:gd name="T83" fmla="*/ 30 h 30"/>
                  <a:gd name="T84" fmla="*/ 10 w 48"/>
                  <a:gd name="T85"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 h="30">
                    <a:moveTo>
                      <a:pt x="8" y="30"/>
                    </a:moveTo>
                    <a:lnTo>
                      <a:pt x="8" y="30"/>
                    </a:lnTo>
                    <a:lnTo>
                      <a:pt x="8" y="30"/>
                    </a:lnTo>
                    <a:lnTo>
                      <a:pt x="4" y="28"/>
                    </a:lnTo>
                    <a:lnTo>
                      <a:pt x="4" y="26"/>
                    </a:lnTo>
                    <a:lnTo>
                      <a:pt x="2" y="26"/>
                    </a:lnTo>
                    <a:lnTo>
                      <a:pt x="0" y="24"/>
                    </a:lnTo>
                    <a:lnTo>
                      <a:pt x="0" y="24"/>
                    </a:lnTo>
                    <a:lnTo>
                      <a:pt x="0" y="24"/>
                    </a:lnTo>
                    <a:lnTo>
                      <a:pt x="0" y="22"/>
                    </a:lnTo>
                    <a:lnTo>
                      <a:pt x="0" y="22"/>
                    </a:lnTo>
                    <a:lnTo>
                      <a:pt x="0" y="20"/>
                    </a:lnTo>
                    <a:lnTo>
                      <a:pt x="0" y="18"/>
                    </a:lnTo>
                    <a:lnTo>
                      <a:pt x="2" y="16"/>
                    </a:lnTo>
                    <a:lnTo>
                      <a:pt x="2" y="14"/>
                    </a:lnTo>
                    <a:lnTo>
                      <a:pt x="4" y="10"/>
                    </a:lnTo>
                    <a:lnTo>
                      <a:pt x="6" y="8"/>
                    </a:lnTo>
                    <a:lnTo>
                      <a:pt x="8" y="6"/>
                    </a:lnTo>
                    <a:lnTo>
                      <a:pt x="8" y="4"/>
                    </a:lnTo>
                    <a:lnTo>
                      <a:pt x="8" y="4"/>
                    </a:lnTo>
                    <a:lnTo>
                      <a:pt x="10" y="4"/>
                    </a:lnTo>
                    <a:lnTo>
                      <a:pt x="12" y="2"/>
                    </a:lnTo>
                    <a:lnTo>
                      <a:pt x="14" y="2"/>
                    </a:lnTo>
                    <a:lnTo>
                      <a:pt x="18" y="2"/>
                    </a:lnTo>
                    <a:lnTo>
                      <a:pt x="22" y="2"/>
                    </a:lnTo>
                    <a:lnTo>
                      <a:pt x="24" y="2"/>
                    </a:lnTo>
                    <a:lnTo>
                      <a:pt x="26" y="2"/>
                    </a:lnTo>
                    <a:lnTo>
                      <a:pt x="28" y="2"/>
                    </a:lnTo>
                    <a:lnTo>
                      <a:pt x="28" y="2"/>
                    </a:lnTo>
                    <a:lnTo>
                      <a:pt x="30" y="2"/>
                    </a:lnTo>
                    <a:lnTo>
                      <a:pt x="32" y="2"/>
                    </a:lnTo>
                    <a:lnTo>
                      <a:pt x="36" y="0"/>
                    </a:lnTo>
                    <a:lnTo>
                      <a:pt x="36" y="0"/>
                    </a:lnTo>
                    <a:lnTo>
                      <a:pt x="38" y="0"/>
                    </a:lnTo>
                    <a:lnTo>
                      <a:pt x="38" y="0"/>
                    </a:lnTo>
                    <a:lnTo>
                      <a:pt x="40" y="0"/>
                    </a:lnTo>
                    <a:lnTo>
                      <a:pt x="42" y="2"/>
                    </a:lnTo>
                    <a:lnTo>
                      <a:pt x="44" y="4"/>
                    </a:lnTo>
                    <a:lnTo>
                      <a:pt x="46" y="6"/>
                    </a:lnTo>
                    <a:lnTo>
                      <a:pt x="48" y="16"/>
                    </a:lnTo>
                    <a:lnTo>
                      <a:pt x="48" y="18"/>
                    </a:lnTo>
                    <a:lnTo>
                      <a:pt x="46" y="22"/>
                    </a:lnTo>
                    <a:lnTo>
                      <a:pt x="46" y="24"/>
                    </a:lnTo>
                    <a:lnTo>
                      <a:pt x="46" y="26"/>
                    </a:lnTo>
                    <a:lnTo>
                      <a:pt x="44" y="26"/>
                    </a:lnTo>
                    <a:lnTo>
                      <a:pt x="44" y="26"/>
                    </a:lnTo>
                    <a:lnTo>
                      <a:pt x="44" y="28"/>
                    </a:lnTo>
                    <a:lnTo>
                      <a:pt x="44" y="28"/>
                    </a:lnTo>
                    <a:lnTo>
                      <a:pt x="42" y="28"/>
                    </a:lnTo>
                    <a:lnTo>
                      <a:pt x="42" y="28"/>
                    </a:lnTo>
                    <a:lnTo>
                      <a:pt x="40" y="26"/>
                    </a:lnTo>
                    <a:lnTo>
                      <a:pt x="38" y="26"/>
                    </a:lnTo>
                    <a:lnTo>
                      <a:pt x="38" y="26"/>
                    </a:lnTo>
                    <a:lnTo>
                      <a:pt x="38" y="26"/>
                    </a:lnTo>
                    <a:lnTo>
                      <a:pt x="38" y="26"/>
                    </a:lnTo>
                    <a:lnTo>
                      <a:pt x="36" y="26"/>
                    </a:lnTo>
                    <a:lnTo>
                      <a:pt x="36" y="26"/>
                    </a:lnTo>
                    <a:lnTo>
                      <a:pt x="36" y="28"/>
                    </a:lnTo>
                    <a:lnTo>
                      <a:pt x="34" y="30"/>
                    </a:lnTo>
                    <a:lnTo>
                      <a:pt x="34" y="30"/>
                    </a:lnTo>
                    <a:lnTo>
                      <a:pt x="34" y="30"/>
                    </a:lnTo>
                    <a:lnTo>
                      <a:pt x="34" y="30"/>
                    </a:lnTo>
                    <a:lnTo>
                      <a:pt x="34" y="30"/>
                    </a:lnTo>
                    <a:lnTo>
                      <a:pt x="32" y="30"/>
                    </a:lnTo>
                    <a:lnTo>
                      <a:pt x="32" y="30"/>
                    </a:lnTo>
                    <a:lnTo>
                      <a:pt x="32" y="30"/>
                    </a:lnTo>
                    <a:lnTo>
                      <a:pt x="32" y="28"/>
                    </a:lnTo>
                    <a:lnTo>
                      <a:pt x="30" y="28"/>
                    </a:lnTo>
                    <a:lnTo>
                      <a:pt x="30" y="26"/>
                    </a:lnTo>
                    <a:lnTo>
                      <a:pt x="30" y="24"/>
                    </a:lnTo>
                    <a:lnTo>
                      <a:pt x="28" y="24"/>
                    </a:lnTo>
                    <a:lnTo>
                      <a:pt x="28" y="24"/>
                    </a:lnTo>
                    <a:lnTo>
                      <a:pt x="28" y="24"/>
                    </a:lnTo>
                    <a:lnTo>
                      <a:pt x="28" y="24"/>
                    </a:lnTo>
                    <a:lnTo>
                      <a:pt x="28" y="24"/>
                    </a:lnTo>
                    <a:lnTo>
                      <a:pt x="26" y="24"/>
                    </a:lnTo>
                    <a:lnTo>
                      <a:pt x="26" y="26"/>
                    </a:lnTo>
                    <a:lnTo>
                      <a:pt x="26" y="26"/>
                    </a:lnTo>
                    <a:lnTo>
                      <a:pt x="24" y="28"/>
                    </a:lnTo>
                    <a:lnTo>
                      <a:pt x="22" y="28"/>
                    </a:lnTo>
                    <a:lnTo>
                      <a:pt x="22" y="30"/>
                    </a:lnTo>
                    <a:lnTo>
                      <a:pt x="20" y="30"/>
                    </a:lnTo>
                    <a:lnTo>
                      <a:pt x="18" y="30"/>
                    </a:lnTo>
                    <a:lnTo>
                      <a:pt x="16" y="30"/>
                    </a:lnTo>
                    <a:lnTo>
                      <a:pt x="14" y="30"/>
                    </a:lnTo>
                    <a:lnTo>
                      <a:pt x="10" y="30"/>
                    </a:lnTo>
                    <a:lnTo>
                      <a:pt x="8" y="30"/>
                    </a:lnTo>
                    <a:close/>
                  </a:path>
                </a:pathLst>
              </a:custGeom>
              <a:solidFill>
                <a:schemeClr val="accent5">
                  <a:lumMod val="20000"/>
                  <a:lumOff val="80000"/>
                </a:schemeClr>
              </a:solidFill>
              <a:ln w="9525">
                <a:solidFill>
                  <a:srgbClr val="FFFFFF"/>
                </a:solidFill>
                <a:round/>
                <a:headEnd/>
                <a:tailEnd/>
              </a:ln>
            </p:spPr>
            <p:txBody>
              <a:bodyPr vert="horz" wrap="square" lIns="49449" tIns="24725" rIns="49449" bIns="24725" numCol="1" anchor="t" anchorCtr="0" compatLnSpc="1">
                <a:prstTxWarp prst="textNoShape">
                  <a:avLst/>
                </a:prstTxWarp>
              </a:bodyPr>
              <a:lstStyle/>
              <a:p>
                <a:endParaRPr lang="fr-FR" sz="1242" dirty="0">
                  <a:latin typeface="Calibri" panose="020F0502020204030204" pitchFamily="34" charset="0"/>
                  <a:cs typeface="Calibri" panose="020F0502020204030204" pitchFamily="34" charset="0"/>
                </a:endParaRPr>
              </a:p>
            </p:txBody>
          </p:sp>
          <p:sp>
            <p:nvSpPr>
              <p:cNvPr id="42" name="Freeform 283">
                <a:extLst>
                  <a:ext uri="{FF2B5EF4-FFF2-40B4-BE49-F238E27FC236}">
                    <a16:creationId xmlns:a16="http://schemas.microsoft.com/office/drawing/2014/main" id="{31577D72-A9F2-48ED-B166-6A8AFAA89CE1}"/>
                  </a:ext>
                </a:extLst>
              </p:cNvPr>
              <p:cNvSpPr>
                <a:spLocks/>
              </p:cNvSpPr>
              <p:nvPr/>
            </p:nvSpPr>
            <p:spPr bwMode="auto">
              <a:xfrm>
                <a:off x="8143930" y="2174111"/>
                <a:ext cx="1217949" cy="1289590"/>
              </a:xfrm>
              <a:custGeom>
                <a:avLst/>
                <a:gdLst>
                  <a:gd name="T0" fmla="*/ 88 w 170"/>
                  <a:gd name="T1" fmla="*/ 8 h 180"/>
                  <a:gd name="T2" fmla="*/ 84 w 170"/>
                  <a:gd name="T3" fmla="*/ 18 h 180"/>
                  <a:gd name="T4" fmla="*/ 78 w 170"/>
                  <a:gd name="T5" fmla="*/ 24 h 180"/>
                  <a:gd name="T6" fmla="*/ 74 w 170"/>
                  <a:gd name="T7" fmla="*/ 30 h 180"/>
                  <a:gd name="T8" fmla="*/ 66 w 170"/>
                  <a:gd name="T9" fmla="*/ 28 h 180"/>
                  <a:gd name="T10" fmla="*/ 64 w 170"/>
                  <a:gd name="T11" fmla="*/ 30 h 180"/>
                  <a:gd name="T12" fmla="*/ 62 w 170"/>
                  <a:gd name="T13" fmla="*/ 38 h 180"/>
                  <a:gd name="T14" fmla="*/ 54 w 170"/>
                  <a:gd name="T15" fmla="*/ 40 h 180"/>
                  <a:gd name="T16" fmla="*/ 48 w 170"/>
                  <a:gd name="T17" fmla="*/ 38 h 180"/>
                  <a:gd name="T18" fmla="*/ 44 w 170"/>
                  <a:gd name="T19" fmla="*/ 30 h 180"/>
                  <a:gd name="T20" fmla="*/ 38 w 170"/>
                  <a:gd name="T21" fmla="*/ 30 h 180"/>
                  <a:gd name="T22" fmla="*/ 36 w 170"/>
                  <a:gd name="T23" fmla="*/ 34 h 180"/>
                  <a:gd name="T24" fmla="*/ 38 w 170"/>
                  <a:gd name="T25" fmla="*/ 42 h 180"/>
                  <a:gd name="T26" fmla="*/ 36 w 170"/>
                  <a:gd name="T27" fmla="*/ 50 h 180"/>
                  <a:gd name="T28" fmla="*/ 26 w 170"/>
                  <a:gd name="T29" fmla="*/ 50 h 180"/>
                  <a:gd name="T30" fmla="*/ 18 w 170"/>
                  <a:gd name="T31" fmla="*/ 54 h 180"/>
                  <a:gd name="T32" fmla="*/ 6 w 170"/>
                  <a:gd name="T33" fmla="*/ 56 h 180"/>
                  <a:gd name="T34" fmla="*/ 0 w 170"/>
                  <a:gd name="T35" fmla="*/ 58 h 180"/>
                  <a:gd name="T36" fmla="*/ 0 w 170"/>
                  <a:gd name="T37" fmla="*/ 66 h 180"/>
                  <a:gd name="T38" fmla="*/ 2 w 170"/>
                  <a:gd name="T39" fmla="*/ 70 h 180"/>
                  <a:gd name="T40" fmla="*/ 18 w 170"/>
                  <a:gd name="T41" fmla="*/ 76 h 180"/>
                  <a:gd name="T42" fmla="*/ 32 w 170"/>
                  <a:gd name="T43" fmla="*/ 86 h 180"/>
                  <a:gd name="T44" fmla="*/ 38 w 170"/>
                  <a:gd name="T45" fmla="*/ 102 h 180"/>
                  <a:gd name="T46" fmla="*/ 46 w 170"/>
                  <a:gd name="T47" fmla="*/ 110 h 180"/>
                  <a:gd name="T48" fmla="*/ 48 w 170"/>
                  <a:gd name="T49" fmla="*/ 114 h 180"/>
                  <a:gd name="T50" fmla="*/ 42 w 170"/>
                  <a:gd name="T51" fmla="*/ 116 h 180"/>
                  <a:gd name="T52" fmla="*/ 38 w 170"/>
                  <a:gd name="T53" fmla="*/ 128 h 180"/>
                  <a:gd name="T54" fmla="*/ 38 w 170"/>
                  <a:gd name="T55" fmla="*/ 150 h 180"/>
                  <a:gd name="T56" fmla="*/ 32 w 170"/>
                  <a:gd name="T57" fmla="*/ 162 h 180"/>
                  <a:gd name="T58" fmla="*/ 54 w 170"/>
                  <a:gd name="T59" fmla="*/ 170 h 180"/>
                  <a:gd name="T60" fmla="*/ 70 w 170"/>
                  <a:gd name="T61" fmla="*/ 170 h 180"/>
                  <a:gd name="T62" fmla="*/ 80 w 170"/>
                  <a:gd name="T63" fmla="*/ 178 h 180"/>
                  <a:gd name="T64" fmla="*/ 88 w 170"/>
                  <a:gd name="T65" fmla="*/ 180 h 180"/>
                  <a:gd name="T66" fmla="*/ 108 w 170"/>
                  <a:gd name="T67" fmla="*/ 176 h 180"/>
                  <a:gd name="T68" fmla="*/ 106 w 170"/>
                  <a:gd name="T69" fmla="*/ 164 h 180"/>
                  <a:gd name="T70" fmla="*/ 110 w 170"/>
                  <a:gd name="T71" fmla="*/ 156 h 180"/>
                  <a:gd name="T72" fmla="*/ 122 w 170"/>
                  <a:gd name="T73" fmla="*/ 156 h 180"/>
                  <a:gd name="T74" fmla="*/ 136 w 170"/>
                  <a:gd name="T75" fmla="*/ 156 h 180"/>
                  <a:gd name="T76" fmla="*/ 150 w 170"/>
                  <a:gd name="T77" fmla="*/ 164 h 180"/>
                  <a:gd name="T78" fmla="*/ 156 w 170"/>
                  <a:gd name="T79" fmla="*/ 164 h 180"/>
                  <a:gd name="T80" fmla="*/ 162 w 170"/>
                  <a:gd name="T81" fmla="*/ 154 h 180"/>
                  <a:gd name="T82" fmla="*/ 164 w 170"/>
                  <a:gd name="T83" fmla="*/ 144 h 180"/>
                  <a:gd name="T84" fmla="*/ 162 w 170"/>
                  <a:gd name="T85" fmla="*/ 140 h 180"/>
                  <a:gd name="T86" fmla="*/ 152 w 170"/>
                  <a:gd name="T87" fmla="*/ 136 h 180"/>
                  <a:gd name="T88" fmla="*/ 150 w 170"/>
                  <a:gd name="T89" fmla="*/ 126 h 180"/>
                  <a:gd name="T90" fmla="*/ 154 w 170"/>
                  <a:gd name="T91" fmla="*/ 118 h 180"/>
                  <a:gd name="T92" fmla="*/ 158 w 170"/>
                  <a:gd name="T93" fmla="*/ 106 h 180"/>
                  <a:gd name="T94" fmla="*/ 150 w 170"/>
                  <a:gd name="T95" fmla="*/ 98 h 180"/>
                  <a:gd name="T96" fmla="*/ 150 w 170"/>
                  <a:gd name="T97" fmla="*/ 92 h 180"/>
                  <a:gd name="T98" fmla="*/ 156 w 170"/>
                  <a:gd name="T99" fmla="*/ 78 h 180"/>
                  <a:gd name="T100" fmla="*/ 168 w 170"/>
                  <a:gd name="T101" fmla="*/ 74 h 180"/>
                  <a:gd name="T102" fmla="*/ 164 w 170"/>
                  <a:gd name="T103" fmla="*/ 54 h 180"/>
                  <a:gd name="T104" fmla="*/ 170 w 170"/>
                  <a:gd name="T105" fmla="*/ 46 h 180"/>
                  <a:gd name="T106" fmla="*/ 170 w 170"/>
                  <a:gd name="T107" fmla="*/ 42 h 180"/>
                  <a:gd name="T108" fmla="*/ 158 w 170"/>
                  <a:gd name="T109" fmla="*/ 34 h 180"/>
                  <a:gd name="T110" fmla="*/ 122 w 170"/>
                  <a:gd name="T111" fmla="*/ 30 h 180"/>
                  <a:gd name="T112" fmla="*/ 118 w 170"/>
                  <a:gd name="T113" fmla="*/ 24 h 180"/>
                  <a:gd name="T114" fmla="*/ 112 w 170"/>
                  <a:gd name="T115" fmla="*/ 14 h 180"/>
                  <a:gd name="T116" fmla="*/ 102 w 170"/>
                  <a:gd name="T117" fmla="*/ 10 h 180"/>
                  <a:gd name="T118" fmla="*/ 104 w 170"/>
                  <a:gd name="T119" fmla="*/ 0 h 180"/>
                  <a:gd name="T120" fmla="*/ 90 w 170"/>
                  <a:gd name="T12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0" h="180">
                    <a:moveTo>
                      <a:pt x="90" y="4"/>
                    </a:moveTo>
                    <a:lnTo>
                      <a:pt x="90" y="4"/>
                    </a:lnTo>
                    <a:lnTo>
                      <a:pt x="90" y="4"/>
                    </a:lnTo>
                    <a:lnTo>
                      <a:pt x="88" y="4"/>
                    </a:lnTo>
                    <a:lnTo>
                      <a:pt x="88" y="6"/>
                    </a:lnTo>
                    <a:lnTo>
                      <a:pt x="88" y="8"/>
                    </a:lnTo>
                    <a:lnTo>
                      <a:pt x="88" y="10"/>
                    </a:lnTo>
                    <a:lnTo>
                      <a:pt x="86" y="14"/>
                    </a:lnTo>
                    <a:lnTo>
                      <a:pt x="86" y="16"/>
                    </a:lnTo>
                    <a:lnTo>
                      <a:pt x="86" y="16"/>
                    </a:lnTo>
                    <a:lnTo>
                      <a:pt x="86" y="18"/>
                    </a:lnTo>
                    <a:lnTo>
                      <a:pt x="84" y="18"/>
                    </a:lnTo>
                    <a:lnTo>
                      <a:pt x="82" y="20"/>
                    </a:lnTo>
                    <a:lnTo>
                      <a:pt x="80" y="22"/>
                    </a:lnTo>
                    <a:lnTo>
                      <a:pt x="78" y="22"/>
                    </a:lnTo>
                    <a:lnTo>
                      <a:pt x="78" y="22"/>
                    </a:lnTo>
                    <a:lnTo>
                      <a:pt x="78" y="24"/>
                    </a:lnTo>
                    <a:lnTo>
                      <a:pt x="78" y="24"/>
                    </a:lnTo>
                    <a:lnTo>
                      <a:pt x="78" y="26"/>
                    </a:lnTo>
                    <a:lnTo>
                      <a:pt x="76" y="28"/>
                    </a:lnTo>
                    <a:lnTo>
                      <a:pt x="76" y="28"/>
                    </a:lnTo>
                    <a:lnTo>
                      <a:pt x="76" y="30"/>
                    </a:lnTo>
                    <a:lnTo>
                      <a:pt x="76" y="30"/>
                    </a:lnTo>
                    <a:lnTo>
                      <a:pt x="74" y="30"/>
                    </a:lnTo>
                    <a:lnTo>
                      <a:pt x="74" y="30"/>
                    </a:lnTo>
                    <a:lnTo>
                      <a:pt x="74" y="30"/>
                    </a:lnTo>
                    <a:lnTo>
                      <a:pt x="72" y="30"/>
                    </a:lnTo>
                    <a:lnTo>
                      <a:pt x="70" y="30"/>
                    </a:lnTo>
                    <a:lnTo>
                      <a:pt x="68" y="30"/>
                    </a:lnTo>
                    <a:lnTo>
                      <a:pt x="66" y="28"/>
                    </a:lnTo>
                    <a:lnTo>
                      <a:pt x="66" y="28"/>
                    </a:lnTo>
                    <a:lnTo>
                      <a:pt x="64" y="28"/>
                    </a:lnTo>
                    <a:lnTo>
                      <a:pt x="64" y="30"/>
                    </a:lnTo>
                    <a:lnTo>
                      <a:pt x="64" y="30"/>
                    </a:lnTo>
                    <a:lnTo>
                      <a:pt x="64" y="30"/>
                    </a:lnTo>
                    <a:lnTo>
                      <a:pt x="64" y="30"/>
                    </a:lnTo>
                    <a:lnTo>
                      <a:pt x="62" y="32"/>
                    </a:lnTo>
                    <a:lnTo>
                      <a:pt x="62" y="34"/>
                    </a:lnTo>
                    <a:lnTo>
                      <a:pt x="62" y="34"/>
                    </a:lnTo>
                    <a:lnTo>
                      <a:pt x="62" y="36"/>
                    </a:lnTo>
                    <a:lnTo>
                      <a:pt x="62" y="38"/>
                    </a:lnTo>
                    <a:lnTo>
                      <a:pt x="62" y="38"/>
                    </a:lnTo>
                    <a:lnTo>
                      <a:pt x="62" y="38"/>
                    </a:lnTo>
                    <a:lnTo>
                      <a:pt x="60" y="38"/>
                    </a:lnTo>
                    <a:lnTo>
                      <a:pt x="60" y="38"/>
                    </a:lnTo>
                    <a:lnTo>
                      <a:pt x="58" y="40"/>
                    </a:lnTo>
                    <a:lnTo>
                      <a:pt x="56" y="40"/>
                    </a:lnTo>
                    <a:lnTo>
                      <a:pt x="54" y="40"/>
                    </a:lnTo>
                    <a:lnTo>
                      <a:pt x="52" y="40"/>
                    </a:lnTo>
                    <a:lnTo>
                      <a:pt x="52" y="40"/>
                    </a:lnTo>
                    <a:lnTo>
                      <a:pt x="50" y="40"/>
                    </a:lnTo>
                    <a:lnTo>
                      <a:pt x="50" y="38"/>
                    </a:lnTo>
                    <a:lnTo>
                      <a:pt x="50" y="38"/>
                    </a:lnTo>
                    <a:lnTo>
                      <a:pt x="48" y="38"/>
                    </a:lnTo>
                    <a:lnTo>
                      <a:pt x="48" y="36"/>
                    </a:lnTo>
                    <a:lnTo>
                      <a:pt x="46" y="34"/>
                    </a:lnTo>
                    <a:lnTo>
                      <a:pt x="46" y="32"/>
                    </a:lnTo>
                    <a:lnTo>
                      <a:pt x="44" y="32"/>
                    </a:lnTo>
                    <a:lnTo>
                      <a:pt x="44" y="30"/>
                    </a:lnTo>
                    <a:lnTo>
                      <a:pt x="44" y="30"/>
                    </a:lnTo>
                    <a:lnTo>
                      <a:pt x="42" y="30"/>
                    </a:lnTo>
                    <a:lnTo>
                      <a:pt x="42" y="30"/>
                    </a:lnTo>
                    <a:lnTo>
                      <a:pt x="40" y="30"/>
                    </a:lnTo>
                    <a:lnTo>
                      <a:pt x="40" y="30"/>
                    </a:lnTo>
                    <a:lnTo>
                      <a:pt x="38" y="30"/>
                    </a:lnTo>
                    <a:lnTo>
                      <a:pt x="38" y="30"/>
                    </a:lnTo>
                    <a:lnTo>
                      <a:pt x="36" y="32"/>
                    </a:lnTo>
                    <a:lnTo>
                      <a:pt x="36" y="32"/>
                    </a:lnTo>
                    <a:lnTo>
                      <a:pt x="36" y="32"/>
                    </a:lnTo>
                    <a:lnTo>
                      <a:pt x="36" y="32"/>
                    </a:lnTo>
                    <a:lnTo>
                      <a:pt x="36" y="34"/>
                    </a:lnTo>
                    <a:lnTo>
                      <a:pt x="36" y="34"/>
                    </a:lnTo>
                    <a:lnTo>
                      <a:pt x="36" y="36"/>
                    </a:lnTo>
                    <a:lnTo>
                      <a:pt x="36" y="36"/>
                    </a:lnTo>
                    <a:lnTo>
                      <a:pt x="38" y="38"/>
                    </a:lnTo>
                    <a:lnTo>
                      <a:pt x="38" y="40"/>
                    </a:lnTo>
                    <a:lnTo>
                      <a:pt x="38" y="40"/>
                    </a:lnTo>
                    <a:lnTo>
                      <a:pt x="38" y="42"/>
                    </a:lnTo>
                    <a:lnTo>
                      <a:pt x="38" y="44"/>
                    </a:lnTo>
                    <a:lnTo>
                      <a:pt x="38" y="46"/>
                    </a:lnTo>
                    <a:lnTo>
                      <a:pt x="38" y="48"/>
                    </a:lnTo>
                    <a:lnTo>
                      <a:pt x="36" y="48"/>
                    </a:lnTo>
                    <a:lnTo>
                      <a:pt x="36" y="50"/>
                    </a:lnTo>
                    <a:lnTo>
                      <a:pt x="36" y="50"/>
                    </a:lnTo>
                    <a:lnTo>
                      <a:pt x="36" y="50"/>
                    </a:lnTo>
                    <a:lnTo>
                      <a:pt x="34" y="50"/>
                    </a:lnTo>
                    <a:lnTo>
                      <a:pt x="32" y="50"/>
                    </a:lnTo>
                    <a:lnTo>
                      <a:pt x="30" y="50"/>
                    </a:lnTo>
                    <a:lnTo>
                      <a:pt x="26" y="50"/>
                    </a:lnTo>
                    <a:lnTo>
                      <a:pt x="26" y="50"/>
                    </a:lnTo>
                    <a:lnTo>
                      <a:pt x="24" y="50"/>
                    </a:lnTo>
                    <a:lnTo>
                      <a:pt x="24" y="50"/>
                    </a:lnTo>
                    <a:lnTo>
                      <a:pt x="22" y="52"/>
                    </a:lnTo>
                    <a:lnTo>
                      <a:pt x="20" y="52"/>
                    </a:lnTo>
                    <a:lnTo>
                      <a:pt x="18" y="54"/>
                    </a:lnTo>
                    <a:lnTo>
                      <a:pt x="18" y="54"/>
                    </a:lnTo>
                    <a:lnTo>
                      <a:pt x="16" y="56"/>
                    </a:lnTo>
                    <a:lnTo>
                      <a:pt x="14" y="56"/>
                    </a:lnTo>
                    <a:lnTo>
                      <a:pt x="14" y="56"/>
                    </a:lnTo>
                    <a:lnTo>
                      <a:pt x="12" y="56"/>
                    </a:lnTo>
                    <a:lnTo>
                      <a:pt x="8" y="56"/>
                    </a:lnTo>
                    <a:lnTo>
                      <a:pt x="6" y="56"/>
                    </a:lnTo>
                    <a:lnTo>
                      <a:pt x="4" y="56"/>
                    </a:lnTo>
                    <a:lnTo>
                      <a:pt x="2" y="56"/>
                    </a:lnTo>
                    <a:lnTo>
                      <a:pt x="2" y="58"/>
                    </a:lnTo>
                    <a:lnTo>
                      <a:pt x="2" y="58"/>
                    </a:lnTo>
                    <a:lnTo>
                      <a:pt x="0" y="58"/>
                    </a:lnTo>
                    <a:lnTo>
                      <a:pt x="0" y="58"/>
                    </a:lnTo>
                    <a:lnTo>
                      <a:pt x="0" y="58"/>
                    </a:lnTo>
                    <a:lnTo>
                      <a:pt x="0" y="60"/>
                    </a:lnTo>
                    <a:lnTo>
                      <a:pt x="0" y="60"/>
                    </a:lnTo>
                    <a:lnTo>
                      <a:pt x="0" y="62"/>
                    </a:lnTo>
                    <a:lnTo>
                      <a:pt x="0" y="64"/>
                    </a:lnTo>
                    <a:lnTo>
                      <a:pt x="0" y="66"/>
                    </a:lnTo>
                    <a:lnTo>
                      <a:pt x="0" y="66"/>
                    </a:lnTo>
                    <a:lnTo>
                      <a:pt x="0" y="68"/>
                    </a:lnTo>
                    <a:lnTo>
                      <a:pt x="0" y="68"/>
                    </a:lnTo>
                    <a:lnTo>
                      <a:pt x="0" y="68"/>
                    </a:lnTo>
                    <a:lnTo>
                      <a:pt x="2" y="70"/>
                    </a:lnTo>
                    <a:lnTo>
                      <a:pt x="2" y="70"/>
                    </a:lnTo>
                    <a:lnTo>
                      <a:pt x="4" y="72"/>
                    </a:lnTo>
                    <a:lnTo>
                      <a:pt x="6" y="72"/>
                    </a:lnTo>
                    <a:lnTo>
                      <a:pt x="8" y="74"/>
                    </a:lnTo>
                    <a:lnTo>
                      <a:pt x="14" y="76"/>
                    </a:lnTo>
                    <a:lnTo>
                      <a:pt x="16" y="76"/>
                    </a:lnTo>
                    <a:lnTo>
                      <a:pt x="18" y="76"/>
                    </a:lnTo>
                    <a:lnTo>
                      <a:pt x="22" y="78"/>
                    </a:lnTo>
                    <a:lnTo>
                      <a:pt x="24" y="80"/>
                    </a:lnTo>
                    <a:lnTo>
                      <a:pt x="26" y="80"/>
                    </a:lnTo>
                    <a:lnTo>
                      <a:pt x="28" y="82"/>
                    </a:lnTo>
                    <a:lnTo>
                      <a:pt x="28" y="82"/>
                    </a:lnTo>
                    <a:lnTo>
                      <a:pt x="32" y="86"/>
                    </a:lnTo>
                    <a:lnTo>
                      <a:pt x="34" y="88"/>
                    </a:lnTo>
                    <a:lnTo>
                      <a:pt x="36" y="90"/>
                    </a:lnTo>
                    <a:lnTo>
                      <a:pt x="36" y="92"/>
                    </a:lnTo>
                    <a:lnTo>
                      <a:pt x="36" y="94"/>
                    </a:lnTo>
                    <a:lnTo>
                      <a:pt x="38" y="98"/>
                    </a:lnTo>
                    <a:lnTo>
                      <a:pt x="38" y="102"/>
                    </a:lnTo>
                    <a:lnTo>
                      <a:pt x="40" y="104"/>
                    </a:lnTo>
                    <a:lnTo>
                      <a:pt x="40" y="104"/>
                    </a:lnTo>
                    <a:lnTo>
                      <a:pt x="40" y="106"/>
                    </a:lnTo>
                    <a:lnTo>
                      <a:pt x="42" y="106"/>
                    </a:lnTo>
                    <a:lnTo>
                      <a:pt x="46" y="110"/>
                    </a:lnTo>
                    <a:lnTo>
                      <a:pt x="46" y="110"/>
                    </a:lnTo>
                    <a:lnTo>
                      <a:pt x="48" y="112"/>
                    </a:lnTo>
                    <a:lnTo>
                      <a:pt x="48" y="112"/>
                    </a:lnTo>
                    <a:lnTo>
                      <a:pt x="48" y="112"/>
                    </a:lnTo>
                    <a:lnTo>
                      <a:pt x="48" y="112"/>
                    </a:lnTo>
                    <a:lnTo>
                      <a:pt x="48" y="114"/>
                    </a:lnTo>
                    <a:lnTo>
                      <a:pt x="48" y="114"/>
                    </a:lnTo>
                    <a:lnTo>
                      <a:pt x="48" y="114"/>
                    </a:lnTo>
                    <a:lnTo>
                      <a:pt x="48" y="114"/>
                    </a:lnTo>
                    <a:lnTo>
                      <a:pt x="46" y="116"/>
                    </a:lnTo>
                    <a:lnTo>
                      <a:pt x="46" y="116"/>
                    </a:lnTo>
                    <a:lnTo>
                      <a:pt x="44" y="116"/>
                    </a:lnTo>
                    <a:lnTo>
                      <a:pt x="42" y="116"/>
                    </a:lnTo>
                    <a:lnTo>
                      <a:pt x="42" y="118"/>
                    </a:lnTo>
                    <a:lnTo>
                      <a:pt x="40" y="118"/>
                    </a:lnTo>
                    <a:lnTo>
                      <a:pt x="40" y="120"/>
                    </a:lnTo>
                    <a:lnTo>
                      <a:pt x="40" y="122"/>
                    </a:lnTo>
                    <a:lnTo>
                      <a:pt x="38" y="126"/>
                    </a:lnTo>
                    <a:lnTo>
                      <a:pt x="38" y="128"/>
                    </a:lnTo>
                    <a:lnTo>
                      <a:pt x="38" y="130"/>
                    </a:lnTo>
                    <a:lnTo>
                      <a:pt x="38" y="136"/>
                    </a:lnTo>
                    <a:lnTo>
                      <a:pt x="38" y="140"/>
                    </a:lnTo>
                    <a:lnTo>
                      <a:pt x="38" y="146"/>
                    </a:lnTo>
                    <a:lnTo>
                      <a:pt x="38" y="148"/>
                    </a:lnTo>
                    <a:lnTo>
                      <a:pt x="38" y="150"/>
                    </a:lnTo>
                    <a:lnTo>
                      <a:pt x="36" y="152"/>
                    </a:lnTo>
                    <a:lnTo>
                      <a:pt x="36" y="154"/>
                    </a:lnTo>
                    <a:lnTo>
                      <a:pt x="36" y="154"/>
                    </a:lnTo>
                    <a:lnTo>
                      <a:pt x="36" y="156"/>
                    </a:lnTo>
                    <a:lnTo>
                      <a:pt x="34" y="160"/>
                    </a:lnTo>
                    <a:lnTo>
                      <a:pt x="32" y="162"/>
                    </a:lnTo>
                    <a:lnTo>
                      <a:pt x="40" y="166"/>
                    </a:lnTo>
                    <a:lnTo>
                      <a:pt x="46" y="168"/>
                    </a:lnTo>
                    <a:lnTo>
                      <a:pt x="48" y="168"/>
                    </a:lnTo>
                    <a:lnTo>
                      <a:pt x="50" y="170"/>
                    </a:lnTo>
                    <a:lnTo>
                      <a:pt x="52" y="170"/>
                    </a:lnTo>
                    <a:lnTo>
                      <a:pt x="54" y="170"/>
                    </a:lnTo>
                    <a:lnTo>
                      <a:pt x="60" y="170"/>
                    </a:lnTo>
                    <a:lnTo>
                      <a:pt x="64" y="170"/>
                    </a:lnTo>
                    <a:lnTo>
                      <a:pt x="66" y="170"/>
                    </a:lnTo>
                    <a:lnTo>
                      <a:pt x="68" y="170"/>
                    </a:lnTo>
                    <a:lnTo>
                      <a:pt x="70" y="170"/>
                    </a:lnTo>
                    <a:lnTo>
                      <a:pt x="70" y="170"/>
                    </a:lnTo>
                    <a:lnTo>
                      <a:pt x="72" y="170"/>
                    </a:lnTo>
                    <a:lnTo>
                      <a:pt x="72" y="172"/>
                    </a:lnTo>
                    <a:lnTo>
                      <a:pt x="76" y="174"/>
                    </a:lnTo>
                    <a:lnTo>
                      <a:pt x="76" y="176"/>
                    </a:lnTo>
                    <a:lnTo>
                      <a:pt x="78" y="178"/>
                    </a:lnTo>
                    <a:lnTo>
                      <a:pt x="80" y="178"/>
                    </a:lnTo>
                    <a:lnTo>
                      <a:pt x="80" y="178"/>
                    </a:lnTo>
                    <a:lnTo>
                      <a:pt x="80" y="180"/>
                    </a:lnTo>
                    <a:lnTo>
                      <a:pt x="82" y="180"/>
                    </a:lnTo>
                    <a:lnTo>
                      <a:pt x="84" y="180"/>
                    </a:lnTo>
                    <a:lnTo>
                      <a:pt x="86" y="180"/>
                    </a:lnTo>
                    <a:lnTo>
                      <a:pt x="88" y="180"/>
                    </a:lnTo>
                    <a:lnTo>
                      <a:pt x="92" y="180"/>
                    </a:lnTo>
                    <a:lnTo>
                      <a:pt x="96" y="180"/>
                    </a:lnTo>
                    <a:lnTo>
                      <a:pt x="102" y="178"/>
                    </a:lnTo>
                    <a:lnTo>
                      <a:pt x="104" y="178"/>
                    </a:lnTo>
                    <a:lnTo>
                      <a:pt x="108" y="178"/>
                    </a:lnTo>
                    <a:lnTo>
                      <a:pt x="108" y="176"/>
                    </a:lnTo>
                    <a:lnTo>
                      <a:pt x="108" y="174"/>
                    </a:lnTo>
                    <a:lnTo>
                      <a:pt x="106" y="170"/>
                    </a:lnTo>
                    <a:lnTo>
                      <a:pt x="106" y="170"/>
                    </a:lnTo>
                    <a:lnTo>
                      <a:pt x="106" y="168"/>
                    </a:lnTo>
                    <a:lnTo>
                      <a:pt x="106" y="166"/>
                    </a:lnTo>
                    <a:lnTo>
                      <a:pt x="106" y="164"/>
                    </a:lnTo>
                    <a:lnTo>
                      <a:pt x="106" y="164"/>
                    </a:lnTo>
                    <a:lnTo>
                      <a:pt x="108" y="162"/>
                    </a:lnTo>
                    <a:lnTo>
                      <a:pt x="108" y="160"/>
                    </a:lnTo>
                    <a:lnTo>
                      <a:pt x="108" y="158"/>
                    </a:lnTo>
                    <a:lnTo>
                      <a:pt x="110" y="158"/>
                    </a:lnTo>
                    <a:lnTo>
                      <a:pt x="110" y="156"/>
                    </a:lnTo>
                    <a:lnTo>
                      <a:pt x="112" y="156"/>
                    </a:lnTo>
                    <a:lnTo>
                      <a:pt x="114" y="156"/>
                    </a:lnTo>
                    <a:lnTo>
                      <a:pt x="114" y="156"/>
                    </a:lnTo>
                    <a:lnTo>
                      <a:pt x="116" y="156"/>
                    </a:lnTo>
                    <a:lnTo>
                      <a:pt x="120" y="156"/>
                    </a:lnTo>
                    <a:lnTo>
                      <a:pt x="122" y="156"/>
                    </a:lnTo>
                    <a:lnTo>
                      <a:pt x="128" y="154"/>
                    </a:lnTo>
                    <a:lnTo>
                      <a:pt x="132" y="154"/>
                    </a:lnTo>
                    <a:lnTo>
                      <a:pt x="134" y="154"/>
                    </a:lnTo>
                    <a:lnTo>
                      <a:pt x="134" y="156"/>
                    </a:lnTo>
                    <a:lnTo>
                      <a:pt x="136" y="156"/>
                    </a:lnTo>
                    <a:lnTo>
                      <a:pt x="136" y="156"/>
                    </a:lnTo>
                    <a:lnTo>
                      <a:pt x="140" y="158"/>
                    </a:lnTo>
                    <a:lnTo>
                      <a:pt x="142" y="160"/>
                    </a:lnTo>
                    <a:lnTo>
                      <a:pt x="142" y="162"/>
                    </a:lnTo>
                    <a:lnTo>
                      <a:pt x="144" y="162"/>
                    </a:lnTo>
                    <a:lnTo>
                      <a:pt x="146" y="164"/>
                    </a:lnTo>
                    <a:lnTo>
                      <a:pt x="150" y="164"/>
                    </a:lnTo>
                    <a:lnTo>
                      <a:pt x="152" y="164"/>
                    </a:lnTo>
                    <a:lnTo>
                      <a:pt x="152" y="166"/>
                    </a:lnTo>
                    <a:lnTo>
                      <a:pt x="154" y="166"/>
                    </a:lnTo>
                    <a:lnTo>
                      <a:pt x="154" y="166"/>
                    </a:lnTo>
                    <a:lnTo>
                      <a:pt x="156" y="166"/>
                    </a:lnTo>
                    <a:lnTo>
                      <a:pt x="156" y="164"/>
                    </a:lnTo>
                    <a:lnTo>
                      <a:pt x="156" y="164"/>
                    </a:lnTo>
                    <a:lnTo>
                      <a:pt x="158" y="164"/>
                    </a:lnTo>
                    <a:lnTo>
                      <a:pt x="158" y="162"/>
                    </a:lnTo>
                    <a:lnTo>
                      <a:pt x="160" y="160"/>
                    </a:lnTo>
                    <a:lnTo>
                      <a:pt x="160" y="158"/>
                    </a:lnTo>
                    <a:lnTo>
                      <a:pt x="162" y="154"/>
                    </a:lnTo>
                    <a:lnTo>
                      <a:pt x="162" y="152"/>
                    </a:lnTo>
                    <a:lnTo>
                      <a:pt x="164" y="150"/>
                    </a:lnTo>
                    <a:lnTo>
                      <a:pt x="164" y="150"/>
                    </a:lnTo>
                    <a:lnTo>
                      <a:pt x="164" y="146"/>
                    </a:lnTo>
                    <a:lnTo>
                      <a:pt x="164" y="144"/>
                    </a:lnTo>
                    <a:lnTo>
                      <a:pt x="164" y="144"/>
                    </a:lnTo>
                    <a:lnTo>
                      <a:pt x="164" y="142"/>
                    </a:lnTo>
                    <a:lnTo>
                      <a:pt x="164" y="142"/>
                    </a:lnTo>
                    <a:lnTo>
                      <a:pt x="164" y="140"/>
                    </a:lnTo>
                    <a:lnTo>
                      <a:pt x="162" y="140"/>
                    </a:lnTo>
                    <a:lnTo>
                      <a:pt x="162" y="140"/>
                    </a:lnTo>
                    <a:lnTo>
                      <a:pt x="162" y="140"/>
                    </a:lnTo>
                    <a:lnTo>
                      <a:pt x="160" y="138"/>
                    </a:lnTo>
                    <a:lnTo>
                      <a:pt x="158" y="138"/>
                    </a:lnTo>
                    <a:lnTo>
                      <a:pt x="156" y="138"/>
                    </a:lnTo>
                    <a:lnTo>
                      <a:pt x="154" y="138"/>
                    </a:lnTo>
                    <a:lnTo>
                      <a:pt x="152" y="136"/>
                    </a:lnTo>
                    <a:lnTo>
                      <a:pt x="152" y="136"/>
                    </a:lnTo>
                    <a:lnTo>
                      <a:pt x="152" y="136"/>
                    </a:lnTo>
                    <a:lnTo>
                      <a:pt x="152" y="134"/>
                    </a:lnTo>
                    <a:lnTo>
                      <a:pt x="150" y="132"/>
                    </a:lnTo>
                    <a:lnTo>
                      <a:pt x="150" y="130"/>
                    </a:lnTo>
                    <a:lnTo>
                      <a:pt x="150" y="128"/>
                    </a:lnTo>
                    <a:lnTo>
                      <a:pt x="150" y="126"/>
                    </a:lnTo>
                    <a:lnTo>
                      <a:pt x="150" y="124"/>
                    </a:lnTo>
                    <a:lnTo>
                      <a:pt x="150" y="124"/>
                    </a:lnTo>
                    <a:lnTo>
                      <a:pt x="150" y="122"/>
                    </a:lnTo>
                    <a:lnTo>
                      <a:pt x="152" y="120"/>
                    </a:lnTo>
                    <a:lnTo>
                      <a:pt x="152" y="120"/>
                    </a:lnTo>
                    <a:lnTo>
                      <a:pt x="154" y="118"/>
                    </a:lnTo>
                    <a:lnTo>
                      <a:pt x="156" y="116"/>
                    </a:lnTo>
                    <a:lnTo>
                      <a:pt x="156" y="114"/>
                    </a:lnTo>
                    <a:lnTo>
                      <a:pt x="158" y="112"/>
                    </a:lnTo>
                    <a:lnTo>
                      <a:pt x="158" y="112"/>
                    </a:lnTo>
                    <a:lnTo>
                      <a:pt x="158" y="110"/>
                    </a:lnTo>
                    <a:lnTo>
                      <a:pt x="158" y="106"/>
                    </a:lnTo>
                    <a:lnTo>
                      <a:pt x="158" y="104"/>
                    </a:lnTo>
                    <a:lnTo>
                      <a:pt x="158" y="102"/>
                    </a:lnTo>
                    <a:lnTo>
                      <a:pt x="156" y="102"/>
                    </a:lnTo>
                    <a:lnTo>
                      <a:pt x="154" y="100"/>
                    </a:lnTo>
                    <a:lnTo>
                      <a:pt x="152" y="98"/>
                    </a:lnTo>
                    <a:lnTo>
                      <a:pt x="150" y="98"/>
                    </a:lnTo>
                    <a:lnTo>
                      <a:pt x="150" y="96"/>
                    </a:lnTo>
                    <a:lnTo>
                      <a:pt x="150" y="96"/>
                    </a:lnTo>
                    <a:lnTo>
                      <a:pt x="148" y="96"/>
                    </a:lnTo>
                    <a:lnTo>
                      <a:pt x="148" y="94"/>
                    </a:lnTo>
                    <a:lnTo>
                      <a:pt x="148" y="94"/>
                    </a:lnTo>
                    <a:lnTo>
                      <a:pt x="150" y="92"/>
                    </a:lnTo>
                    <a:lnTo>
                      <a:pt x="150" y="90"/>
                    </a:lnTo>
                    <a:lnTo>
                      <a:pt x="150" y="88"/>
                    </a:lnTo>
                    <a:lnTo>
                      <a:pt x="152" y="86"/>
                    </a:lnTo>
                    <a:lnTo>
                      <a:pt x="152" y="84"/>
                    </a:lnTo>
                    <a:lnTo>
                      <a:pt x="154" y="80"/>
                    </a:lnTo>
                    <a:lnTo>
                      <a:pt x="156" y="78"/>
                    </a:lnTo>
                    <a:lnTo>
                      <a:pt x="158" y="78"/>
                    </a:lnTo>
                    <a:lnTo>
                      <a:pt x="158" y="76"/>
                    </a:lnTo>
                    <a:lnTo>
                      <a:pt x="158" y="76"/>
                    </a:lnTo>
                    <a:lnTo>
                      <a:pt x="160" y="76"/>
                    </a:lnTo>
                    <a:lnTo>
                      <a:pt x="164" y="74"/>
                    </a:lnTo>
                    <a:lnTo>
                      <a:pt x="168" y="74"/>
                    </a:lnTo>
                    <a:lnTo>
                      <a:pt x="166" y="72"/>
                    </a:lnTo>
                    <a:lnTo>
                      <a:pt x="166" y="66"/>
                    </a:lnTo>
                    <a:lnTo>
                      <a:pt x="164" y="62"/>
                    </a:lnTo>
                    <a:lnTo>
                      <a:pt x="164" y="58"/>
                    </a:lnTo>
                    <a:lnTo>
                      <a:pt x="164" y="54"/>
                    </a:lnTo>
                    <a:lnTo>
                      <a:pt x="164" y="54"/>
                    </a:lnTo>
                    <a:lnTo>
                      <a:pt x="164" y="52"/>
                    </a:lnTo>
                    <a:lnTo>
                      <a:pt x="164" y="52"/>
                    </a:lnTo>
                    <a:lnTo>
                      <a:pt x="166" y="50"/>
                    </a:lnTo>
                    <a:lnTo>
                      <a:pt x="168" y="48"/>
                    </a:lnTo>
                    <a:lnTo>
                      <a:pt x="170" y="48"/>
                    </a:lnTo>
                    <a:lnTo>
                      <a:pt x="170" y="46"/>
                    </a:lnTo>
                    <a:lnTo>
                      <a:pt x="170" y="46"/>
                    </a:lnTo>
                    <a:lnTo>
                      <a:pt x="170" y="46"/>
                    </a:lnTo>
                    <a:lnTo>
                      <a:pt x="170" y="44"/>
                    </a:lnTo>
                    <a:lnTo>
                      <a:pt x="170" y="44"/>
                    </a:lnTo>
                    <a:lnTo>
                      <a:pt x="170" y="44"/>
                    </a:lnTo>
                    <a:lnTo>
                      <a:pt x="170" y="42"/>
                    </a:lnTo>
                    <a:lnTo>
                      <a:pt x="168" y="42"/>
                    </a:lnTo>
                    <a:lnTo>
                      <a:pt x="166" y="40"/>
                    </a:lnTo>
                    <a:lnTo>
                      <a:pt x="164" y="38"/>
                    </a:lnTo>
                    <a:lnTo>
                      <a:pt x="162" y="36"/>
                    </a:lnTo>
                    <a:lnTo>
                      <a:pt x="160" y="34"/>
                    </a:lnTo>
                    <a:lnTo>
                      <a:pt x="158" y="34"/>
                    </a:lnTo>
                    <a:lnTo>
                      <a:pt x="136" y="34"/>
                    </a:lnTo>
                    <a:lnTo>
                      <a:pt x="134" y="34"/>
                    </a:lnTo>
                    <a:lnTo>
                      <a:pt x="130" y="32"/>
                    </a:lnTo>
                    <a:lnTo>
                      <a:pt x="128" y="32"/>
                    </a:lnTo>
                    <a:lnTo>
                      <a:pt x="124" y="30"/>
                    </a:lnTo>
                    <a:lnTo>
                      <a:pt x="122" y="30"/>
                    </a:lnTo>
                    <a:lnTo>
                      <a:pt x="120" y="28"/>
                    </a:lnTo>
                    <a:lnTo>
                      <a:pt x="120" y="28"/>
                    </a:lnTo>
                    <a:lnTo>
                      <a:pt x="120" y="28"/>
                    </a:lnTo>
                    <a:lnTo>
                      <a:pt x="120" y="28"/>
                    </a:lnTo>
                    <a:lnTo>
                      <a:pt x="118" y="26"/>
                    </a:lnTo>
                    <a:lnTo>
                      <a:pt x="118" y="24"/>
                    </a:lnTo>
                    <a:lnTo>
                      <a:pt x="118" y="22"/>
                    </a:lnTo>
                    <a:lnTo>
                      <a:pt x="116" y="18"/>
                    </a:lnTo>
                    <a:lnTo>
                      <a:pt x="114" y="16"/>
                    </a:lnTo>
                    <a:lnTo>
                      <a:pt x="114" y="16"/>
                    </a:lnTo>
                    <a:lnTo>
                      <a:pt x="112" y="14"/>
                    </a:lnTo>
                    <a:lnTo>
                      <a:pt x="112" y="14"/>
                    </a:lnTo>
                    <a:lnTo>
                      <a:pt x="108" y="12"/>
                    </a:lnTo>
                    <a:lnTo>
                      <a:pt x="106" y="12"/>
                    </a:lnTo>
                    <a:lnTo>
                      <a:pt x="104" y="12"/>
                    </a:lnTo>
                    <a:lnTo>
                      <a:pt x="104" y="10"/>
                    </a:lnTo>
                    <a:lnTo>
                      <a:pt x="102" y="10"/>
                    </a:lnTo>
                    <a:lnTo>
                      <a:pt x="102" y="10"/>
                    </a:lnTo>
                    <a:lnTo>
                      <a:pt x="102" y="8"/>
                    </a:lnTo>
                    <a:lnTo>
                      <a:pt x="102" y="8"/>
                    </a:lnTo>
                    <a:lnTo>
                      <a:pt x="102" y="6"/>
                    </a:lnTo>
                    <a:lnTo>
                      <a:pt x="102" y="4"/>
                    </a:lnTo>
                    <a:lnTo>
                      <a:pt x="104" y="2"/>
                    </a:lnTo>
                    <a:lnTo>
                      <a:pt x="104" y="0"/>
                    </a:lnTo>
                    <a:lnTo>
                      <a:pt x="102" y="0"/>
                    </a:lnTo>
                    <a:lnTo>
                      <a:pt x="98" y="2"/>
                    </a:lnTo>
                    <a:lnTo>
                      <a:pt x="96" y="2"/>
                    </a:lnTo>
                    <a:lnTo>
                      <a:pt x="92" y="2"/>
                    </a:lnTo>
                    <a:lnTo>
                      <a:pt x="90" y="2"/>
                    </a:lnTo>
                    <a:lnTo>
                      <a:pt x="90" y="4"/>
                    </a:lnTo>
                    <a:lnTo>
                      <a:pt x="90" y="4"/>
                    </a:lnTo>
                    <a:close/>
                  </a:path>
                </a:pathLst>
              </a:custGeom>
              <a:solidFill>
                <a:schemeClr val="accent5">
                  <a:lumMod val="20000"/>
                  <a:lumOff val="80000"/>
                </a:schemeClr>
              </a:solidFill>
              <a:ln w="9525">
                <a:solidFill>
                  <a:srgbClr val="FFFFFF"/>
                </a:solidFill>
                <a:round/>
                <a:headEnd/>
                <a:tailEnd/>
              </a:ln>
            </p:spPr>
            <p:txBody>
              <a:bodyPr vert="horz" wrap="square" lIns="49449" tIns="24725" rIns="49449" bIns="24725" numCol="1" anchor="t" anchorCtr="0" compatLnSpc="1">
                <a:prstTxWarp prst="textNoShape">
                  <a:avLst/>
                </a:prstTxWarp>
              </a:bodyPr>
              <a:lstStyle/>
              <a:p>
                <a:endParaRPr lang="fr-FR" sz="1242" dirty="0">
                  <a:latin typeface="Calibri" panose="020F0502020204030204" pitchFamily="34" charset="0"/>
                  <a:cs typeface="Calibri" panose="020F0502020204030204" pitchFamily="34" charset="0"/>
                </a:endParaRPr>
              </a:p>
            </p:txBody>
          </p:sp>
          <p:sp>
            <p:nvSpPr>
              <p:cNvPr id="43" name="Freeform 293">
                <a:extLst>
                  <a:ext uri="{FF2B5EF4-FFF2-40B4-BE49-F238E27FC236}">
                    <a16:creationId xmlns:a16="http://schemas.microsoft.com/office/drawing/2014/main" id="{2D5A06FA-9B51-4174-8FFB-B8507FF7323A}"/>
                  </a:ext>
                </a:extLst>
              </p:cNvPr>
              <p:cNvSpPr>
                <a:spLocks/>
              </p:cNvSpPr>
              <p:nvPr/>
            </p:nvSpPr>
            <p:spPr bwMode="auto">
              <a:xfrm>
                <a:off x="9132615" y="1672600"/>
                <a:ext cx="874056" cy="1074659"/>
              </a:xfrm>
              <a:custGeom>
                <a:avLst/>
                <a:gdLst>
                  <a:gd name="T0" fmla="*/ 118 w 122"/>
                  <a:gd name="T1" fmla="*/ 62 h 150"/>
                  <a:gd name="T2" fmla="*/ 112 w 122"/>
                  <a:gd name="T3" fmla="*/ 48 h 150"/>
                  <a:gd name="T4" fmla="*/ 112 w 122"/>
                  <a:gd name="T5" fmla="*/ 38 h 150"/>
                  <a:gd name="T6" fmla="*/ 114 w 122"/>
                  <a:gd name="T7" fmla="*/ 18 h 150"/>
                  <a:gd name="T8" fmla="*/ 110 w 122"/>
                  <a:gd name="T9" fmla="*/ 12 h 150"/>
                  <a:gd name="T10" fmla="*/ 102 w 122"/>
                  <a:gd name="T11" fmla="*/ 12 h 150"/>
                  <a:gd name="T12" fmla="*/ 88 w 122"/>
                  <a:gd name="T13" fmla="*/ 18 h 150"/>
                  <a:gd name="T14" fmla="*/ 78 w 122"/>
                  <a:gd name="T15" fmla="*/ 20 h 150"/>
                  <a:gd name="T16" fmla="*/ 74 w 122"/>
                  <a:gd name="T17" fmla="*/ 18 h 150"/>
                  <a:gd name="T18" fmla="*/ 70 w 122"/>
                  <a:gd name="T19" fmla="*/ 12 h 150"/>
                  <a:gd name="T20" fmla="*/ 62 w 122"/>
                  <a:gd name="T21" fmla="*/ 0 h 150"/>
                  <a:gd name="T22" fmla="*/ 44 w 122"/>
                  <a:gd name="T23" fmla="*/ 16 h 150"/>
                  <a:gd name="T24" fmla="*/ 46 w 122"/>
                  <a:gd name="T25" fmla="*/ 20 h 150"/>
                  <a:gd name="T26" fmla="*/ 46 w 122"/>
                  <a:gd name="T27" fmla="*/ 24 h 150"/>
                  <a:gd name="T28" fmla="*/ 42 w 122"/>
                  <a:gd name="T29" fmla="*/ 24 h 150"/>
                  <a:gd name="T30" fmla="*/ 38 w 122"/>
                  <a:gd name="T31" fmla="*/ 24 h 150"/>
                  <a:gd name="T32" fmla="*/ 22 w 122"/>
                  <a:gd name="T33" fmla="*/ 32 h 150"/>
                  <a:gd name="T34" fmla="*/ 22 w 122"/>
                  <a:gd name="T35" fmla="*/ 42 h 150"/>
                  <a:gd name="T36" fmla="*/ 20 w 122"/>
                  <a:gd name="T37" fmla="*/ 50 h 150"/>
                  <a:gd name="T38" fmla="*/ 14 w 122"/>
                  <a:gd name="T39" fmla="*/ 58 h 150"/>
                  <a:gd name="T40" fmla="*/ 6 w 122"/>
                  <a:gd name="T41" fmla="*/ 62 h 150"/>
                  <a:gd name="T42" fmla="*/ 2 w 122"/>
                  <a:gd name="T43" fmla="*/ 66 h 150"/>
                  <a:gd name="T44" fmla="*/ 0 w 122"/>
                  <a:gd name="T45" fmla="*/ 72 h 150"/>
                  <a:gd name="T46" fmla="*/ 10 w 122"/>
                  <a:gd name="T47" fmla="*/ 88 h 150"/>
                  <a:gd name="T48" fmla="*/ 8 w 122"/>
                  <a:gd name="T49" fmla="*/ 94 h 150"/>
                  <a:gd name="T50" fmla="*/ 8 w 122"/>
                  <a:gd name="T51" fmla="*/ 98 h 150"/>
                  <a:gd name="T52" fmla="*/ 14 w 122"/>
                  <a:gd name="T53" fmla="*/ 102 h 150"/>
                  <a:gd name="T54" fmla="*/ 22 w 122"/>
                  <a:gd name="T55" fmla="*/ 106 h 150"/>
                  <a:gd name="T56" fmla="*/ 30 w 122"/>
                  <a:gd name="T57" fmla="*/ 112 h 150"/>
                  <a:gd name="T58" fmla="*/ 32 w 122"/>
                  <a:gd name="T59" fmla="*/ 116 h 150"/>
                  <a:gd name="T60" fmla="*/ 30 w 122"/>
                  <a:gd name="T61" fmla="*/ 118 h 150"/>
                  <a:gd name="T62" fmla="*/ 26 w 122"/>
                  <a:gd name="T63" fmla="*/ 124 h 150"/>
                  <a:gd name="T64" fmla="*/ 26 w 122"/>
                  <a:gd name="T65" fmla="*/ 136 h 150"/>
                  <a:gd name="T66" fmla="*/ 36 w 122"/>
                  <a:gd name="T67" fmla="*/ 146 h 150"/>
                  <a:gd name="T68" fmla="*/ 40 w 122"/>
                  <a:gd name="T69" fmla="*/ 146 h 150"/>
                  <a:gd name="T70" fmla="*/ 48 w 122"/>
                  <a:gd name="T71" fmla="*/ 142 h 150"/>
                  <a:gd name="T72" fmla="*/ 54 w 122"/>
                  <a:gd name="T73" fmla="*/ 148 h 150"/>
                  <a:gd name="T74" fmla="*/ 64 w 122"/>
                  <a:gd name="T75" fmla="*/ 150 h 150"/>
                  <a:gd name="T76" fmla="*/ 72 w 122"/>
                  <a:gd name="T77" fmla="*/ 150 h 150"/>
                  <a:gd name="T78" fmla="*/ 84 w 122"/>
                  <a:gd name="T79" fmla="*/ 142 h 150"/>
                  <a:gd name="T80" fmla="*/ 98 w 122"/>
                  <a:gd name="T81" fmla="*/ 134 h 150"/>
                  <a:gd name="T82" fmla="*/ 104 w 122"/>
                  <a:gd name="T83" fmla="*/ 130 h 150"/>
                  <a:gd name="T84" fmla="*/ 104 w 122"/>
                  <a:gd name="T85" fmla="*/ 120 h 150"/>
                  <a:gd name="T86" fmla="*/ 96 w 122"/>
                  <a:gd name="T87" fmla="*/ 108 h 150"/>
                  <a:gd name="T88" fmla="*/ 86 w 122"/>
                  <a:gd name="T89" fmla="*/ 98 h 150"/>
                  <a:gd name="T90" fmla="*/ 82 w 122"/>
                  <a:gd name="T91" fmla="*/ 92 h 150"/>
                  <a:gd name="T92" fmla="*/ 82 w 122"/>
                  <a:gd name="T93" fmla="*/ 88 h 150"/>
                  <a:gd name="T94" fmla="*/ 84 w 122"/>
                  <a:gd name="T95" fmla="*/ 84 h 150"/>
                  <a:gd name="T96" fmla="*/ 96 w 122"/>
                  <a:gd name="T97" fmla="*/ 78 h 150"/>
                  <a:gd name="T98" fmla="*/ 110 w 122"/>
                  <a:gd name="T99" fmla="*/ 7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2" h="150">
                    <a:moveTo>
                      <a:pt x="122" y="72"/>
                    </a:moveTo>
                    <a:lnTo>
                      <a:pt x="122" y="72"/>
                    </a:lnTo>
                    <a:lnTo>
                      <a:pt x="120" y="70"/>
                    </a:lnTo>
                    <a:lnTo>
                      <a:pt x="118" y="62"/>
                    </a:lnTo>
                    <a:lnTo>
                      <a:pt x="116" y="58"/>
                    </a:lnTo>
                    <a:lnTo>
                      <a:pt x="114" y="54"/>
                    </a:lnTo>
                    <a:lnTo>
                      <a:pt x="114" y="50"/>
                    </a:lnTo>
                    <a:lnTo>
                      <a:pt x="112" y="48"/>
                    </a:lnTo>
                    <a:lnTo>
                      <a:pt x="112" y="46"/>
                    </a:lnTo>
                    <a:lnTo>
                      <a:pt x="112" y="44"/>
                    </a:lnTo>
                    <a:lnTo>
                      <a:pt x="112" y="42"/>
                    </a:lnTo>
                    <a:lnTo>
                      <a:pt x="112" y="38"/>
                    </a:lnTo>
                    <a:lnTo>
                      <a:pt x="112" y="34"/>
                    </a:lnTo>
                    <a:lnTo>
                      <a:pt x="114" y="30"/>
                    </a:lnTo>
                    <a:lnTo>
                      <a:pt x="114" y="20"/>
                    </a:lnTo>
                    <a:lnTo>
                      <a:pt x="114" y="18"/>
                    </a:lnTo>
                    <a:lnTo>
                      <a:pt x="114" y="16"/>
                    </a:lnTo>
                    <a:lnTo>
                      <a:pt x="112" y="14"/>
                    </a:lnTo>
                    <a:lnTo>
                      <a:pt x="110" y="12"/>
                    </a:lnTo>
                    <a:lnTo>
                      <a:pt x="110" y="12"/>
                    </a:lnTo>
                    <a:lnTo>
                      <a:pt x="108" y="12"/>
                    </a:lnTo>
                    <a:lnTo>
                      <a:pt x="106" y="12"/>
                    </a:lnTo>
                    <a:lnTo>
                      <a:pt x="104" y="12"/>
                    </a:lnTo>
                    <a:lnTo>
                      <a:pt x="102" y="12"/>
                    </a:lnTo>
                    <a:lnTo>
                      <a:pt x="100" y="14"/>
                    </a:lnTo>
                    <a:lnTo>
                      <a:pt x="98" y="14"/>
                    </a:lnTo>
                    <a:lnTo>
                      <a:pt x="92" y="16"/>
                    </a:lnTo>
                    <a:lnTo>
                      <a:pt x="88" y="18"/>
                    </a:lnTo>
                    <a:lnTo>
                      <a:pt x="86" y="18"/>
                    </a:lnTo>
                    <a:lnTo>
                      <a:pt x="84" y="20"/>
                    </a:lnTo>
                    <a:lnTo>
                      <a:pt x="82" y="20"/>
                    </a:lnTo>
                    <a:lnTo>
                      <a:pt x="78" y="20"/>
                    </a:lnTo>
                    <a:lnTo>
                      <a:pt x="76" y="20"/>
                    </a:lnTo>
                    <a:lnTo>
                      <a:pt x="76" y="20"/>
                    </a:lnTo>
                    <a:lnTo>
                      <a:pt x="76" y="20"/>
                    </a:lnTo>
                    <a:lnTo>
                      <a:pt x="74" y="18"/>
                    </a:lnTo>
                    <a:lnTo>
                      <a:pt x="74" y="18"/>
                    </a:lnTo>
                    <a:lnTo>
                      <a:pt x="72" y="16"/>
                    </a:lnTo>
                    <a:lnTo>
                      <a:pt x="72" y="16"/>
                    </a:lnTo>
                    <a:lnTo>
                      <a:pt x="70" y="12"/>
                    </a:lnTo>
                    <a:lnTo>
                      <a:pt x="68" y="10"/>
                    </a:lnTo>
                    <a:lnTo>
                      <a:pt x="66" y="8"/>
                    </a:lnTo>
                    <a:lnTo>
                      <a:pt x="64" y="4"/>
                    </a:lnTo>
                    <a:lnTo>
                      <a:pt x="62" y="0"/>
                    </a:lnTo>
                    <a:lnTo>
                      <a:pt x="46" y="4"/>
                    </a:lnTo>
                    <a:lnTo>
                      <a:pt x="44" y="8"/>
                    </a:lnTo>
                    <a:lnTo>
                      <a:pt x="44" y="14"/>
                    </a:lnTo>
                    <a:lnTo>
                      <a:pt x="44" y="16"/>
                    </a:lnTo>
                    <a:lnTo>
                      <a:pt x="44" y="18"/>
                    </a:lnTo>
                    <a:lnTo>
                      <a:pt x="44" y="18"/>
                    </a:lnTo>
                    <a:lnTo>
                      <a:pt x="44" y="18"/>
                    </a:lnTo>
                    <a:lnTo>
                      <a:pt x="46" y="20"/>
                    </a:lnTo>
                    <a:lnTo>
                      <a:pt x="46" y="22"/>
                    </a:lnTo>
                    <a:lnTo>
                      <a:pt x="46" y="22"/>
                    </a:lnTo>
                    <a:lnTo>
                      <a:pt x="46" y="22"/>
                    </a:lnTo>
                    <a:lnTo>
                      <a:pt x="46" y="24"/>
                    </a:lnTo>
                    <a:lnTo>
                      <a:pt x="44" y="24"/>
                    </a:lnTo>
                    <a:lnTo>
                      <a:pt x="44" y="24"/>
                    </a:lnTo>
                    <a:lnTo>
                      <a:pt x="44" y="24"/>
                    </a:lnTo>
                    <a:lnTo>
                      <a:pt x="42" y="24"/>
                    </a:lnTo>
                    <a:lnTo>
                      <a:pt x="42" y="24"/>
                    </a:lnTo>
                    <a:lnTo>
                      <a:pt x="40" y="24"/>
                    </a:lnTo>
                    <a:lnTo>
                      <a:pt x="40" y="24"/>
                    </a:lnTo>
                    <a:lnTo>
                      <a:pt x="38" y="24"/>
                    </a:lnTo>
                    <a:lnTo>
                      <a:pt x="36" y="24"/>
                    </a:lnTo>
                    <a:lnTo>
                      <a:pt x="30" y="26"/>
                    </a:lnTo>
                    <a:lnTo>
                      <a:pt x="22" y="30"/>
                    </a:lnTo>
                    <a:lnTo>
                      <a:pt x="22" y="32"/>
                    </a:lnTo>
                    <a:lnTo>
                      <a:pt x="22" y="36"/>
                    </a:lnTo>
                    <a:lnTo>
                      <a:pt x="22" y="38"/>
                    </a:lnTo>
                    <a:lnTo>
                      <a:pt x="22" y="40"/>
                    </a:lnTo>
                    <a:lnTo>
                      <a:pt x="22" y="42"/>
                    </a:lnTo>
                    <a:lnTo>
                      <a:pt x="22" y="44"/>
                    </a:lnTo>
                    <a:lnTo>
                      <a:pt x="22" y="46"/>
                    </a:lnTo>
                    <a:lnTo>
                      <a:pt x="20" y="48"/>
                    </a:lnTo>
                    <a:lnTo>
                      <a:pt x="20" y="50"/>
                    </a:lnTo>
                    <a:lnTo>
                      <a:pt x="18" y="52"/>
                    </a:lnTo>
                    <a:lnTo>
                      <a:pt x="16" y="56"/>
                    </a:lnTo>
                    <a:lnTo>
                      <a:pt x="14" y="58"/>
                    </a:lnTo>
                    <a:lnTo>
                      <a:pt x="14" y="58"/>
                    </a:lnTo>
                    <a:lnTo>
                      <a:pt x="12" y="60"/>
                    </a:lnTo>
                    <a:lnTo>
                      <a:pt x="10" y="60"/>
                    </a:lnTo>
                    <a:lnTo>
                      <a:pt x="8" y="62"/>
                    </a:lnTo>
                    <a:lnTo>
                      <a:pt x="6" y="62"/>
                    </a:lnTo>
                    <a:lnTo>
                      <a:pt x="4" y="64"/>
                    </a:lnTo>
                    <a:lnTo>
                      <a:pt x="4" y="64"/>
                    </a:lnTo>
                    <a:lnTo>
                      <a:pt x="2" y="64"/>
                    </a:lnTo>
                    <a:lnTo>
                      <a:pt x="2" y="66"/>
                    </a:lnTo>
                    <a:lnTo>
                      <a:pt x="2" y="66"/>
                    </a:lnTo>
                    <a:lnTo>
                      <a:pt x="2" y="68"/>
                    </a:lnTo>
                    <a:lnTo>
                      <a:pt x="2" y="70"/>
                    </a:lnTo>
                    <a:lnTo>
                      <a:pt x="0" y="72"/>
                    </a:lnTo>
                    <a:lnTo>
                      <a:pt x="0" y="76"/>
                    </a:lnTo>
                    <a:lnTo>
                      <a:pt x="0" y="80"/>
                    </a:lnTo>
                    <a:lnTo>
                      <a:pt x="0" y="82"/>
                    </a:lnTo>
                    <a:lnTo>
                      <a:pt x="10" y="88"/>
                    </a:lnTo>
                    <a:lnTo>
                      <a:pt x="10" y="88"/>
                    </a:lnTo>
                    <a:lnTo>
                      <a:pt x="8" y="92"/>
                    </a:lnTo>
                    <a:lnTo>
                      <a:pt x="8" y="94"/>
                    </a:lnTo>
                    <a:lnTo>
                      <a:pt x="8" y="94"/>
                    </a:lnTo>
                    <a:lnTo>
                      <a:pt x="8" y="96"/>
                    </a:lnTo>
                    <a:lnTo>
                      <a:pt x="8" y="96"/>
                    </a:lnTo>
                    <a:lnTo>
                      <a:pt x="8" y="98"/>
                    </a:lnTo>
                    <a:lnTo>
                      <a:pt x="8" y="98"/>
                    </a:lnTo>
                    <a:lnTo>
                      <a:pt x="8" y="98"/>
                    </a:lnTo>
                    <a:lnTo>
                      <a:pt x="10" y="100"/>
                    </a:lnTo>
                    <a:lnTo>
                      <a:pt x="12" y="100"/>
                    </a:lnTo>
                    <a:lnTo>
                      <a:pt x="14" y="102"/>
                    </a:lnTo>
                    <a:lnTo>
                      <a:pt x="16" y="104"/>
                    </a:lnTo>
                    <a:lnTo>
                      <a:pt x="18" y="104"/>
                    </a:lnTo>
                    <a:lnTo>
                      <a:pt x="20" y="104"/>
                    </a:lnTo>
                    <a:lnTo>
                      <a:pt x="22" y="106"/>
                    </a:lnTo>
                    <a:lnTo>
                      <a:pt x="26" y="108"/>
                    </a:lnTo>
                    <a:lnTo>
                      <a:pt x="28" y="110"/>
                    </a:lnTo>
                    <a:lnTo>
                      <a:pt x="30" y="112"/>
                    </a:lnTo>
                    <a:lnTo>
                      <a:pt x="30" y="112"/>
                    </a:lnTo>
                    <a:lnTo>
                      <a:pt x="32" y="114"/>
                    </a:lnTo>
                    <a:lnTo>
                      <a:pt x="32" y="114"/>
                    </a:lnTo>
                    <a:lnTo>
                      <a:pt x="32" y="114"/>
                    </a:lnTo>
                    <a:lnTo>
                      <a:pt x="32" y="116"/>
                    </a:lnTo>
                    <a:lnTo>
                      <a:pt x="32" y="116"/>
                    </a:lnTo>
                    <a:lnTo>
                      <a:pt x="32" y="116"/>
                    </a:lnTo>
                    <a:lnTo>
                      <a:pt x="30" y="118"/>
                    </a:lnTo>
                    <a:lnTo>
                      <a:pt x="30" y="118"/>
                    </a:lnTo>
                    <a:lnTo>
                      <a:pt x="28" y="120"/>
                    </a:lnTo>
                    <a:lnTo>
                      <a:pt x="26" y="122"/>
                    </a:lnTo>
                    <a:lnTo>
                      <a:pt x="26" y="122"/>
                    </a:lnTo>
                    <a:lnTo>
                      <a:pt x="26" y="124"/>
                    </a:lnTo>
                    <a:lnTo>
                      <a:pt x="26" y="124"/>
                    </a:lnTo>
                    <a:lnTo>
                      <a:pt x="26" y="128"/>
                    </a:lnTo>
                    <a:lnTo>
                      <a:pt x="26" y="132"/>
                    </a:lnTo>
                    <a:lnTo>
                      <a:pt x="26" y="136"/>
                    </a:lnTo>
                    <a:lnTo>
                      <a:pt x="28" y="142"/>
                    </a:lnTo>
                    <a:lnTo>
                      <a:pt x="28" y="144"/>
                    </a:lnTo>
                    <a:lnTo>
                      <a:pt x="32" y="146"/>
                    </a:lnTo>
                    <a:lnTo>
                      <a:pt x="36" y="146"/>
                    </a:lnTo>
                    <a:lnTo>
                      <a:pt x="36" y="146"/>
                    </a:lnTo>
                    <a:lnTo>
                      <a:pt x="38" y="146"/>
                    </a:lnTo>
                    <a:lnTo>
                      <a:pt x="38" y="146"/>
                    </a:lnTo>
                    <a:lnTo>
                      <a:pt x="40" y="146"/>
                    </a:lnTo>
                    <a:lnTo>
                      <a:pt x="42" y="144"/>
                    </a:lnTo>
                    <a:lnTo>
                      <a:pt x="46" y="144"/>
                    </a:lnTo>
                    <a:lnTo>
                      <a:pt x="46" y="142"/>
                    </a:lnTo>
                    <a:lnTo>
                      <a:pt x="48" y="142"/>
                    </a:lnTo>
                    <a:lnTo>
                      <a:pt x="48" y="144"/>
                    </a:lnTo>
                    <a:lnTo>
                      <a:pt x="50" y="144"/>
                    </a:lnTo>
                    <a:lnTo>
                      <a:pt x="52" y="146"/>
                    </a:lnTo>
                    <a:lnTo>
                      <a:pt x="54" y="148"/>
                    </a:lnTo>
                    <a:lnTo>
                      <a:pt x="56" y="148"/>
                    </a:lnTo>
                    <a:lnTo>
                      <a:pt x="58" y="148"/>
                    </a:lnTo>
                    <a:lnTo>
                      <a:pt x="62" y="150"/>
                    </a:lnTo>
                    <a:lnTo>
                      <a:pt x="64" y="150"/>
                    </a:lnTo>
                    <a:lnTo>
                      <a:pt x="66" y="150"/>
                    </a:lnTo>
                    <a:lnTo>
                      <a:pt x="68" y="150"/>
                    </a:lnTo>
                    <a:lnTo>
                      <a:pt x="70" y="150"/>
                    </a:lnTo>
                    <a:lnTo>
                      <a:pt x="72" y="150"/>
                    </a:lnTo>
                    <a:lnTo>
                      <a:pt x="74" y="148"/>
                    </a:lnTo>
                    <a:lnTo>
                      <a:pt x="76" y="146"/>
                    </a:lnTo>
                    <a:lnTo>
                      <a:pt x="82" y="144"/>
                    </a:lnTo>
                    <a:lnTo>
                      <a:pt x="84" y="142"/>
                    </a:lnTo>
                    <a:lnTo>
                      <a:pt x="88" y="142"/>
                    </a:lnTo>
                    <a:lnTo>
                      <a:pt x="92" y="138"/>
                    </a:lnTo>
                    <a:lnTo>
                      <a:pt x="96" y="136"/>
                    </a:lnTo>
                    <a:lnTo>
                      <a:pt x="98" y="134"/>
                    </a:lnTo>
                    <a:lnTo>
                      <a:pt x="102" y="132"/>
                    </a:lnTo>
                    <a:lnTo>
                      <a:pt x="102" y="130"/>
                    </a:lnTo>
                    <a:lnTo>
                      <a:pt x="102" y="130"/>
                    </a:lnTo>
                    <a:lnTo>
                      <a:pt x="104" y="130"/>
                    </a:lnTo>
                    <a:lnTo>
                      <a:pt x="104" y="128"/>
                    </a:lnTo>
                    <a:lnTo>
                      <a:pt x="104" y="126"/>
                    </a:lnTo>
                    <a:lnTo>
                      <a:pt x="104" y="124"/>
                    </a:lnTo>
                    <a:lnTo>
                      <a:pt x="104" y="120"/>
                    </a:lnTo>
                    <a:lnTo>
                      <a:pt x="104" y="116"/>
                    </a:lnTo>
                    <a:lnTo>
                      <a:pt x="104" y="114"/>
                    </a:lnTo>
                    <a:lnTo>
                      <a:pt x="100" y="112"/>
                    </a:lnTo>
                    <a:lnTo>
                      <a:pt x="96" y="108"/>
                    </a:lnTo>
                    <a:lnTo>
                      <a:pt x="92" y="104"/>
                    </a:lnTo>
                    <a:lnTo>
                      <a:pt x="90" y="102"/>
                    </a:lnTo>
                    <a:lnTo>
                      <a:pt x="88" y="100"/>
                    </a:lnTo>
                    <a:lnTo>
                      <a:pt x="86" y="98"/>
                    </a:lnTo>
                    <a:lnTo>
                      <a:pt x="84" y="96"/>
                    </a:lnTo>
                    <a:lnTo>
                      <a:pt x="82" y="94"/>
                    </a:lnTo>
                    <a:lnTo>
                      <a:pt x="82" y="92"/>
                    </a:lnTo>
                    <a:lnTo>
                      <a:pt x="82" y="92"/>
                    </a:lnTo>
                    <a:lnTo>
                      <a:pt x="82" y="90"/>
                    </a:lnTo>
                    <a:lnTo>
                      <a:pt x="82" y="90"/>
                    </a:lnTo>
                    <a:lnTo>
                      <a:pt x="82" y="88"/>
                    </a:lnTo>
                    <a:lnTo>
                      <a:pt x="82" y="88"/>
                    </a:lnTo>
                    <a:lnTo>
                      <a:pt x="82" y="86"/>
                    </a:lnTo>
                    <a:lnTo>
                      <a:pt x="82" y="86"/>
                    </a:lnTo>
                    <a:lnTo>
                      <a:pt x="84" y="84"/>
                    </a:lnTo>
                    <a:lnTo>
                      <a:pt x="84" y="84"/>
                    </a:lnTo>
                    <a:lnTo>
                      <a:pt x="86" y="84"/>
                    </a:lnTo>
                    <a:lnTo>
                      <a:pt x="88" y="82"/>
                    </a:lnTo>
                    <a:lnTo>
                      <a:pt x="92" y="80"/>
                    </a:lnTo>
                    <a:lnTo>
                      <a:pt x="96" y="78"/>
                    </a:lnTo>
                    <a:lnTo>
                      <a:pt x="98" y="78"/>
                    </a:lnTo>
                    <a:lnTo>
                      <a:pt x="102" y="76"/>
                    </a:lnTo>
                    <a:lnTo>
                      <a:pt x="106" y="76"/>
                    </a:lnTo>
                    <a:lnTo>
                      <a:pt x="110" y="74"/>
                    </a:lnTo>
                    <a:lnTo>
                      <a:pt x="116" y="74"/>
                    </a:lnTo>
                    <a:lnTo>
                      <a:pt x="122" y="72"/>
                    </a:lnTo>
                    <a:close/>
                  </a:path>
                </a:pathLst>
              </a:custGeom>
              <a:solidFill>
                <a:schemeClr val="accent5">
                  <a:lumMod val="20000"/>
                  <a:lumOff val="80000"/>
                </a:schemeClr>
              </a:solidFill>
              <a:ln w="9525">
                <a:solidFill>
                  <a:srgbClr val="FFFFFF"/>
                </a:solidFill>
                <a:round/>
                <a:headEnd/>
                <a:tailEnd/>
              </a:ln>
            </p:spPr>
            <p:txBody>
              <a:bodyPr vert="horz" wrap="square" lIns="49449" tIns="24725" rIns="49449" bIns="24725" numCol="1" anchor="t" anchorCtr="0" compatLnSpc="1">
                <a:prstTxWarp prst="textNoShape">
                  <a:avLst/>
                </a:prstTxWarp>
              </a:bodyPr>
              <a:lstStyle/>
              <a:p>
                <a:endParaRPr lang="fr-FR" sz="1242" dirty="0">
                  <a:latin typeface="Calibri" panose="020F0502020204030204" pitchFamily="34" charset="0"/>
                  <a:cs typeface="Calibri" panose="020F0502020204030204" pitchFamily="34" charset="0"/>
                </a:endParaRPr>
              </a:p>
            </p:txBody>
          </p:sp>
          <p:grpSp>
            <p:nvGrpSpPr>
              <p:cNvPr id="44" name="Groupe 28">
                <a:extLst>
                  <a:ext uri="{FF2B5EF4-FFF2-40B4-BE49-F238E27FC236}">
                    <a16:creationId xmlns:a16="http://schemas.microsoft.com/office/drawing/2014/main" id="{EF6F9748-E600-4624-8404-784024C1C757}"/>
                  </a:ext>
                </a:extLst>
              </p:cNvPr>
              <p:cNvGrpSpPr/>
              <p:nvPr/>
            </p:nvGrpSpPr>
            <p:grpSpPr>
              <a:xfrm>
                <a:off x="8143930" y="1672600"/>
                <a:ext cx="1862741" cy="1791101"/>
                <a:chOff x="8973408" y="2652430"/>
                <a:chExt cx="1862741" cy="1791101"/>
              </a:xfrm>
              <a:solidFill>
                <a:schemeClr val="bg1">
                  <a:lumMod val="75000"/>
                </a:schemeClr>
              </a:solidFill>
            </p:grpSpPr>
            <p:sp>
              <p:nvSpPr>
                <p:cNvPr id="50" name="Freeform 245">
                  <a:extLst>
                    <a:ext uri="{FF2B5EF4-FFF2-40B4-BE49-F238E27FC236}">
                      <a16:creationId xmlns:a16="http://schemas.microsoft.com/office/drawing/2014/main" id="{E64D4106-CBFB-4040-B059-A9900BB12C41}"/>
                    </a:ext>
                  </a:extLst>
                </p:cNvPr>
                <p:cNvSpPr>
                  <a:spLocks/>
                </p:cNvSpPr>
                <p:nvPr/>
              </p:nvSpPr>
              <p:spPr bwMode="auto">
                <a:xfrm>
                  <a:off x="10033738" y="3669776"/>
                  <a:ext cx="343893" cy="214931"/>
                </a:xfrm>
                <a:custGeom>
                  <a:avLst/>
                  <a:gdLst>
                    <a:gd name="T0" fmla="*/ 8 w 48"/>
                    <a:gd name="T1" fmla="*/ 30 h 30"/>
                    <a:gd name="T2" fmla="*/ 4 w 48"/>
                    <a:gd name="T3" fmla="*/ 28 h 30"/>
                    <a:gd name="T4" fmla="*/ 2 w 48"/>
                    <a:gd name="T5" fmla="*/ 26 h 30"/>
                    <a:gd name="T6" fmla="*/ 0 w 48"/>
                    <a:gd name="T7" fmla="*/ 24 h 30"/>
                    <a:gd name="T8" fmla="*/ 0 w 48"/>
                    <a:gd name="T9" fmla="*/ 22 h 30"/>
                    <a:gd name="T10" fmla="*/ 0 w 48"/>
                    <a:gd name="T11" fmla="*/ 20 h 30"/>
                    <a:gd name="T12" fmla="*/ 2 w 48"/>
                    <a:gd name="T13" fmla="*/ 16 h 30"/>
                    <a:gd name="T14" fmla="*/ 4 w 48"/>
                    <a:gd name="T15" fmla="*/ 10 h 30"/>
                    <a:gd name="T16" fmla="*/ 8 w 48"/>
                    <a:gd name="T17" fmla="*/ 6 h 30"/>
                    <a:gd name="T18" fmla="*/ 8 w 48"/>
                    <a:gd name="T19" fmla="*/ 4 h 30"/>
                    <a:gd name="T20" fmla="*/ 12 w 48"/>
                    <a:gd name="T21" fmla="*/ 2 h 30"/>
                    <a:gd name="T22" fmla="*/ 18 w 48"/>
                    <a:gd name="T23" fmla="*/ 2 h 30"/>
                    <a:gd name="T24" fmla="*/ 24 w 48"/>
                    <a:gd name="T25" fmla="*/ 2 h 30"/>
                    <a:gd name="T26" fmla="*/ 28 w 48"/>
                    <a:gd name="T27" fmla="*/ 2 h 30"/>
                    <a:gd name="T28" fmla="*/ 30 w 48"/>
                    <a:gd name="T29" fmla="*/ 2 h 30"/>
                    <a:gd name="T30" fmla="*/ 36 w 48"/>
                    <a:gd name="T31" fmla="*/ 0 h 30"/>
                    <a:gd name="T32" fmla="*/ 38 w 48"/>
                    <a:gd name="T33" fmla="*/ 0 h 30"/>
                    <a:gd name="T34" fmla="*/ 40 w 48"/>
                    <a:gd name="T35" fmla="*/ 0 h 30"/>
                    <a:gd name="T36" fmla="*/ 44 w 48"/>
                    <a:gd name="T37" fmla="*/ 4 h 30"/>
                    <a:gd name="T38" fmla="*/ 48 w 48"/>
                    <a:gd name="T39" fmla="*/ 16 h 30"/>
                    <a:gd name="T40" fmla="*/ 46 w 48"/>
                    <a:gd name="T41" fmla="*/ 22 h 30"/>
                    <a:gd name="T42" fmla="*/ 46 w 48"/>
                    <a:gd name="T43" fmla="*/ 26 h 30"/>
                    <a:gd name="T44" fmla="*/ 44 w 48"/>
                    <a:gd name="T45" fmla="*/ 26 h 30"/>
                    <a:gd name="T46" fmla="*/ 44 w 48"/>
                    <a:gd name="T47" fmla="*/ 28 h 30"/>
                    <a:gd name="T48" fmla="*/ 42 w 48"/>
                    <a:gd name="T49" fmla="*/ 28 h 30"/>
                    <a:gd name="T50" fmla="*/ 38 w 48"/>
                    <a:gd name="T51" fmla="*/ 26 h 30"/>
                    <a:gd name="T52" fmla="*/ 38 w 48"/>
                    <a:gd name="T53" fmla="*/ 26 h 30"/>
                    <a:gd name="T54" fmla="*/ 36 w 48"/>
                    <a:gd name="T55" fmla="*/ 26 h 30"/>
                    <a:gd name="T56" fmla="*/ 36 w 48"/>
                    <a:gd name="T57" fmla="*/ 28 h 30"/>
                    <a:gd name="T58" fmla="*/ 34 w 48"/>
                    <a:gd name="T59" fmla="*/ 30 h 30"/>
                    <a:gd name="T60" fmla="*/ 34 w 48"/>
                    <a:gd name="T61" fmla="*/ 30 h 30"/>
                    <a:gd name="T62" fmla="*/ 32 w 48"/>
                    <a:gd name="T63" fmla="*/ 30 h 30"/>
                    <a:gd name="T64" fmla="*/ 32 w 48"/>
                    <a:gd name="T65" fmla="*/ 30 h 30"/>
                    <a:gd name="T66" fmla="*/ 30 w 48"/>
                    <a:gd name="T67" fmla="*/ 28 h 30"/>
                    <a:gd name="T68" fmla="*/ 30 w 48"/>
                    <a:gd name="T69" fmla="*/ 24 h 30"/>
                    <a:gd name="T70" fmla="*/ 28 w 48"/>
                    <a:gd name="T71" fmla="*/ 24 h 30"/>
                    <a:gd name="T72" fmla="*/ 28 w 48"/>
                    <a:gd name="T73" fmla="*/ 24 h 30"/>
                    <a:gd name="T74" fmla="*/ 26 w 48"/>
                    <a:gd name="T75" fmla="*/ 24 h 30"/>
                    <a:gd name="T76" fmla="*/ 26 w 48"/>
                    <a:gd name="T77" fmla="*/ 26 h 30"/>
                    <a:gd name="T78" fmla="*/ 22 w 48"/>
                    <a:gd name="T79" fmla="*/ 28 h 30"/>
                    <a:gd name="T80" fmla="*/ 20 w 48"/>
                    <a:gd name="T81" fmla="*/ 30 h 30"/>
                    <a:gd name="T82" fmla="*/ 16 w 48"/>
                    <a:gd name="T83" fmla="*/ 30 h 30"/>
                    <a:gd name="T84" fmla="*/ 10 w 48"/>
                    <a:gd name="T85"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 h="30">
                      <a:moveTo>
                        <a:pt x="8" y="30"/>
                      </a:moveTo>
                      <a:lnTo>
                        <a:pt x="8" y="30"/>
                      </a:lnTo>
                      <a:lnTo>
                        <a:pt x="8" y="30"/>
                      </a:lnTo>
                      <a:lnTo>
                        <a:pt x="4" y="28"/>
                      </a:lnTo>
                      <a:lnTo>
                        <a:pt x="4" y="26"/>
                      </a:lnTo>
                      <a:lnTo>
                        <a:pt x="2" y="26"/>
                      </a:lnTo>
                      <a:lnTo>
                        <a:pt x="0" y="24"/>
                      </a:lnTo>
                      <a:lnTo>
                        <a:pt x="0" y="24"/>
                      </a:lnTo>
                      <a:lnTo>
                        <a:pt x="0" y="24"/>
                      </a:lnTo>
                      <a:lnTo>
                        <a:pt x="0" y="22"/>
                      </a:lnTo>
                      <a:lnTo>
                        <a:pt x="0" y="22"/>
                      </a:lnTo>
                      <a:lnTo>
                        <a:pt x="0" y="20"/>
                      </a:lnTo>
                      <a:lnTo>
                        <a:pt x="0" y="18"/>
                      </a:lnTo>
                      <a:lnTo>
                        <a:pt x="2" y="16"/>
                      </a:lnTo>
                      <a:lnTo>
                        <a:pt x="2" y="14"/>
                      </a:lnTo>
                      <a:lnTo>
                        <a:pt x="4" y="10"/>
                      </a:lnTo>
                      <a:lnTo>
                        <a:pt x="6" y="8"/>
                      </a:lnTo>
                      <a:lnTo>
                        <a:pt x="8" y="6"/>
                      </a:lnTo>
                      <a:lnTo>
                        <a:pt x="8" y="4"/>
                      </a:lnTo>
                      <a:lnTo>
                        <a:pt x="8" y="4"/>
                      </a:lnTo>
                      <a:lnTo>
                        <a:pt x="10" y="4"/>
                      </a:lnTo>
                      <a:lnTo>
                        <a:pt x="12" y="2"/>
                      </a:lnTo>
                      <a:lnTo>
                        <a:pt x="14" y="2"/>
                      </a:lnTo>
                      <a:lnTo>
                        <a:pt x="18" y="2"/>
                      </a:lnTo>
                      <a:lnTo>
                        <a:pt x="22" y="2"/>
                      </a:lnTo>
                      <a:lnTo>
                        <a:pt x="24" y="2"/>
                      </a:lnTo>
                      <a:lnTo>
                        <a:pt x="26" y="2"/>
                      </a:lnTo>
                      <a:lnTo>
                        <a:pt x="28" y="2"/>
                      </a:lnTo>
                      <a:lnTo>
                        <a:pt x="28" y="2"/>
                      </a:lnTo>
                      <a:lnTo>
                        <a:pt x="30" y="2"/>
                      </a:lnTo>
                      <a:lnTo>
                        <a:pt x="32" y="2"/>
                      </a:lnTo>
                      <a:lnTo>
                        <a:pt x="36" y="0"/>
                      </a:lnTo>
                      <a:lnTo>
                        <a:pt x="36" y="0"/>
                      </a:lnTo>
                      <a:lnTo>
                        <a:pt x="38" y="0"/>
                      </a:lnTo>
                      <a:lnTo>
                        <a:pt x="38" y="0"/>
                      </a:lnTo>
                      <a:lnTo>
                        <a:pt x="40" y="0"/>
                      </a:lnTo>
                      <a:lnTo>
                        <a:pt x="42" y="2"/>
                      </a:lnTo>
                      <a:lnTo>
                        <a:pt x="44" y="4"/>
                      </a:lnTo>
                      <a:lnTo>
                        <a:pt x="46" y="6"/>
                      </a:lnTo>
                      <a:lnTo>
                        <a:pt x="48" y="16"/>
                      </a:lnTo>
                      <a:lnTo>
                        <a:pt x="48" y="18"/>
                      </a:lnTo>
                      <a:lnTo>
                        <a:pt x="46" y="22"/>
                      </a:lnTo>
                      <a:lnTo>
                        <a:pt x="46" y="24"/>
                      </a:lnTo>
                      <a:lnTo>
                        <a:pt x="46" y="26"/>
                      </a:lnTo>
                      <a:lnTo>
                        <a:pt x="44" y="26"/>
                      </a:lnTo>
                      <a:lnTo>
                        <a:pt x="44" y="26"/>
                      </a:lnTo>
                      <a:lnTo>
                        <a:pt x="44" y="28"/>
                      </a:lnTo>
                      <a:lnTo>
                        <a:pt x="44" y="28"/>
                      </a:lnTo>
                      <a:lnTo>
                        <a:pt x="42" y="28"/>
                      </a:lnTo>
                      <a:lnTo>
                        <a:pt x="42" y="28"/>
                      </a:lnTo>
                      <a:lnTo>
                        <a:pt x="40" y="26"/>
                      </a:lnTo>
                      <a:lnTo>
                        <a:pt x="38" y="26"/>
                      </a:lnTo>
                      <a:lnTo>
                        <a:pt x="38" y="26"/>
                      </a:lnTo>
                      <a:lnTo>
                        <a:pt x="38" y="26"/>
                      </a:lnTo>
                      <a:lnTo>
                        <a:pt x="38" y="26"/>
                      </a:lnTo>
                      <a:lnTo>
                        <a:pt x="36" y="26"/>
                      </a:lnTo>
                      <a:lnTo>
                        <a:pt x="36" y="26"/>
                      </a:lnTo>
                      <a:lnTo>
                        <a:pt x="36" y="28"/>
                      </a:lnTo>
                      <a:lnTo>
                        <a:pt x="34" y="30"/>
                      </a:lnTo>
                      <a:lnTo>
                        <a:pt x="34" y="30"/>
                      </a:lnTo>
                      <a:lnTo>
                        <a:pt x="34" y="30"/>
                      </a:lnTo>
                      <a:lnTo>
                        <a:pt x="34" y="30"/>
                      </a:lnTo>
                      <a:lnTo>
                        <a:pt x="34" y="30"/>
                      </a:lnTo>
                      <a:lnTo>
                        <a:pt x="32" y="30"/>
                      </a:lnTo>
                      <a:lnTo>
                        <a:pt x="32" y="30"/>
                      </a:lnTo>
                      <a:lnTo>
                        <a:pt x="32" y="30"/>
                      </a:lnTo>
                      <a:lnTo>
                        <a:pt x="32" y="28"/>
                      </a:lnTo>
                      <a:lnTo>
                        <a:pt x="30" y="28"/>
                      </a:lnTo>
                      <a:lnTo>
                        <a:pt x="30" y="26"/>
                      </a:lnTo>
                      <a:lnTo>
                        <a:pt x="30" y="24"/>
                      </a:lnTo>
                      <a:lnTo>
                        <a:pt x="28" y="24"/>
                      </a:lnTo>
                      <a:lnTo>
                        <a:pt x="28" y="24"/>
                      </a:lnTo>
                      <a:lnTo>
                        <a:pt x="28" y="24"/>
                      </a:lnTo>
                      <a:lnTo>
                        <a:pt x="28" y="24"/>
                      </a:lnTo>
                      <a:lnTo>
                        <a:pt x="28" y="24"/>
                      </a:lnTo>
                      <a:lnTo>
                        <a:pt x="26" y="24"/>
                      </a:lnTo>
                      <a:lnTo>
                        <a:pt x="26" y="26"/>
                      </a:lnTo>
                      <a:lnTo>
                        <a:pt x="26" y="26"/>
                      </a:lnTo>
                      <a:lnTo>
                        <a:pt x="24" y="28"/>
                      </a:lnTo>
                      <a:lnTo>
                        <a:pt x="22" y="28"/>
                      </a:lnTo>
                      <a:lnTo>
                        <a:pt x="22" y="30"/>
                      </a:lnTo>
                      <a:lnTo>
                        <a:pt x="20" y="30"/>
                      </a:lnTo>
                      <a:lnTo>
                        <a:pt x="18" y="30"/>
                      </a:lnTo>
                      <a:lnTo>
                        <a:pt x="16" y="30"/>
                      </a:lnTo>
                      <a:lnTo>
                        <a:pt x="14" y="30"/>
                      </a:lnTo>
                      <a:lnTo>
                        <a:pt x="10" y="30"/>
                      </a:lnTo>
                      <a:lnTo>
                        <a:pt x="8" y="30"/>
                      </a:lnTo>
                      <a:close/>
                    </a:path>
                  </a:pathLst>
                </a:custGeom>
                <a:grpFill/>
                <a:ln w="6350">
                  <a:solidFill>
                    <a:srgbClr val="FFFFFF"/>
                  </a:solidFill>
                  <a:prstDash val="solid"/>
                  <a:round/>
                  <a:headEnd/>
                  <a:tailEnd/>
                </a:ln>
              </p:spPr>
              <p:txBody>
                <a:bodyPr vert="horz" wrap="square" lIns="49449" tIns="24725" rIns="49449" bIns="24725" numCol="1" anchor="t" anchorCtr="0" compatLnSpc="1">
                  <a:prstTxWarp prst="textNoShape">
                    <a:avLst/>
                  </a:prstTxWarp>
                </a:bodyPr>
                <a:lstStyle/>
                <a:p>
                  <a:endParaRPr lang="fr-FR" sz="1242" dirty="0">
                    <a:latin typeface="Calibri" panose="020F0502020204030204" pitchFamily="34" charset="0"/>
                    <a:cs typeface="Calibri" panose="020F0502020204030204" pitchFamily="34" charset="0"/>
                  </a:endParaRPr>
                </a:p>
              </p:txBody>
            </p:sp>
            <p:sp>
              <p:nvSpPr>
                <p:cNvPr id="51" name="Freeform 284">
                  <a:extLst>
                    <a:ext uri="{FF2B5EF4-FFF2-40B4-BE49-F238E27FC236}">
                      <a16:creationId xmlns:a16="http://schemas.microsoft.com/office/drawing/2014/main" id="{F32C0BA5-FFB4-4132-B26F-06F375E8E003}"/>
                    </a:ext>
                  </a:extLst>
                </p:cNvPr>
                <p:cNvSpPr>
                  <a:spLocks/>
                </p:cNvSpPr>
                <p:nvPr/>
              </p:nvSpPr>
              <p:spPr bwMode="auto">
                <a:xfrm>
                  <a:off x="8973408" y="3153941"/>
                  <a:ext cx="1217949" cy="1289590"/>
                </a:xfrm>
                <a:custGeom>
                  <a:avLst/>
                  <a:gdLst>
                    <a:gd name="T0" fmla="*/ 88 w 170"/>
                    <a:gd name="T1" fmla="*/ 8 h 180"/>
                    <a:gd name="T2" fmla="*/ 84 w 170"/>
                    <a:gd name="T3" fmla="*/ 18 h 180"/>
                    <a:gd name="T4" fmla="*/ 78 w 170"/>
                    <a:gd name="T5" fmla="*/ 24 h 180"/>
                    <a:gd name="T6" fmla="*/ 74 w 170"/>
                    <a:gd name="T7" fmla="*/ 30 h 180"/>
                    <a:gd name="T8" fmla="*/ 66 w 170"/>
                    <a:gd name="T9" fmla="*/ 28 h 180"/>
                    <a:gd name="T10" fmla="*/ 64 w 170"/>
                    <a:gd name="T11" fmla="*/ 30 h 180"/>
                    <a:gd name="T12" fmla="*/ 62 w 170"/>
                    <a:gd name="T13" fmla="*/ 38 h 180"/>
                    <a:gd name="T14" fmla="*/ 54 w 170"/>
                    <a:gd name="T15" fmla="*/ 40 h 180"/>
                    <a:gd name="T16" fmla="*/ 48 w 170"/>
                    <a:gd name="T17" fmla="*/ 38 h 180"/>
                    <a:gd name="T18" fmla="*/ 44 w 170"/>
                    <a:gd name="T19" fmla="*/ 30 h 180"/>
                    <a:gd name="T20" fmla="*/ 38 w 170"/>
                    <a:gd name="T21" fmla="*/ 30 h 180"/>
                    <a:gd name="T22" fmla="*/ 36 w 170"/>
                    <a:gd name="T23" fmla="*/ 34 h 180"/>
                    <a:gd name="T24" fmla="*/ 38 w 170"/>
                    <a:gd name="T25" fmla="*/ 42 h 180"/>
                    <a:gd name="T26" fmla="*/ 36 w 170"/>
                    <a:gd name="T27" fmla="*/ 50 h 180"/>
                    <a:gd name="T28" fmla="*/ 26 w 170"/>
                    <a:gd name="T29" fmla="*/ 50 h 180"/>
                    <a:gd name="T30" fmla="*/ 18 w 170"/>
                    <a:gd name="T31" fmla="*/ 54 h 180"/>
                    <a:gd name="T32" fmla="*/ 6 w 170"/>
                    <a:gd name="T33" fmla="*/ 56 h 180"/>
                    <a:gd name="T34" fmla="*/ 0 w 170"/>
                    <a:gd name="T35" fmla="*/ 58 h 180"/>
                    <a:gd name="T36" fmla="*/ 0 w 170"/>
                    <a:gd name="T37" fmla="*/ 66 h 180"/>
                    <a:gd name="T38" fmla="*/ 2 w 170"/>
                    <a:gd name="T39" fmla="*/ 70 h 180"/>
                    <a:gd name="T40" fmla="*/ 18 w 170"/>
                    <a:gd name="T41" fmla="*/ 76 h 180"/>
                    <a:gd name="T42" fmla="*/ 32 w 170"/>
                    <a:gd name="T43" fmla="*/ 86 h 180"/>
                    <a:gd name="T44" fmla="*/ 38 w 170"/>
                    <a:gd name="T45" fmla="*/ 102 h 180"/>
                    <a:gd name="T46" fmla="*/ 46 w 170"/>
                    <a:gd name="T47" fmla="*/ 110 h 180"/>
                    <a:gd name="T48" fmla="*/ 48 w 170"/>
                    <a:gd name="T49" fmla="*/ 114 h 180"/>
                    <a:gd name="T50" fmla="*/ 42 w 170"/>
                    <a:gd name="T51" fmla="*/ 116 h 180"/>
                    <a:gd name="T52" fmla="*/ 38 w 170"/>
                    <a:gd name="T53" fmla="*/ 128 h 180"/>
                    <a:gd name="T54" fmla="*/ 38 w 170"/>
                    <a:gd name="T55" fmla="*/ 150 h 180"/>
                    <a:gd name="T56" fmla="*/ 32 w 170"/>
                    <a:gd name="T57" fmla="*/ 162 h 180"/>
                    <a:gd name="T58" fmla="*/ 54 w 170"/>
                    <a:gd name="T59" fmla="*/ 170 h 180"/>
                    <a:gd name="T60" fmla="*/ 70 w 170"/>
                    <a:gd name="T61" fmla="*/ 170 h 180"/>
                    <a:gd name="T62" fmla="*/ 80 w 170"/>
                    <a:gd name="T63" fmla="*/ 178 h 180"/>
                    <a:gd name="T64" fmla="*/ 88 w 170"/>
                    <a:gd name="T65" fmla="*/ 180 h 180"/>
                    <a:gd name="T66" fmla="*/ 108 w 170"/>
                    <a:gd name="T67" fmla="*/ 176 h 180"/>
                    <a:gd name="T68" fmla="*/ 106 w 170"/>
                    <a:gd name="T69" fmla="*/ 164 h 180"/>
                    <a:gd name="T70" fmla="*/ 110 w 170"/>
                    <a:gd name="T71" fmla="*/ 156 h 180"/>
                    <a:gd name="T72" fmla="*/ 122 w 170"/>
                    <a:gd name="T73" fmla="*/ 156 h 180"/>
                    <a:gd name="T74" fmla="*/ 136 w 170"/>
                    <a:gd name="T75" fmla="*/ 156 h 180"/>
                    <a:gd name="T76" fmla="*/ 150 w 170"/>
                    <a:gd name="T77" fmla="*/ 164 h 180"/>
                    <a:gd name="T78" fmla="*/ 156 w 170"/>
                    <a:gd name="T79" fmla="*/ 164 h 180"/>
                    <a:gd name="T80" fmla="*/ 162 w 170"/>
                    <a:gd name="T81" fmla="*/ 154 h 180"/>
                    <a:gd name="T82" fmla="*/ 164 w 170"/>
                    <a:gd name="T83" fmla="*/ 144 h 180"/>
                    <a:gd name="T84" fmla="*/ 162 w 170"/>
                    <a:gd name="T85" fmla="*/ 140 h 180"/>
                    <a:gd name="T86" fmla="*/ 152 w 170"/>
                    <a:gd name="T87" fmla="*/ 136 h 180"/>
                    <a:gd name="T88" fmla="*/ 150 w 170"/>
                    <a:gd name="T89" fmla="*/ 126 h 180"/>
                    <a:gd name="T90" fmla="*/ 154 w 170"/>
                    <a:gd name="T91" fmla="*/ 118 h 180"/>
                    <a:gd name="T92" fmla="*/ 158 w 170"/>
                    <a:gd name="T93" fmla="*/ 106 h 180"/>
                    <a:gd name="T94" fmla="*/ 150 w 170"/>
                    <a:gd name="T95" fmla="*/ 98 h 180"/>
                    <a:gd name="T96" fmla="*/ 150 w 170"/>
                    <a:gd name="T97" fmla="*/ 92 h 180"/>
                    <a:gd name="T98" fmla="*/ 156 w 170"/>
                    <a:gd name="T99" fmla="*/ 78 h 180"/>
                    <a:gd name="T100" fmla="*/ 168 w 170"/>
                    <a:gd name="T101" fmla="*/ 74 h 180"/>
                    <a:gd name="T102" fmla="*/ 164 w 170"/>
                    <a:gd name="T103" fmla="*/ 54 h 180"/>
                    <a:gd name="T104" fmla="*/ 170 w 170"/>
                    <a:gd name="T105" fmla="*/ 46 h 180"/>
                    <a:gd name="T106" fmla="*/ 170 w 170"/>
                    <a:gd name="T107" fmla="*/ 42 h 180"/>
                    <a:gd name="T108" fmla="*/ 158 w 170"/>
                    <a:gd name="T109" fmla="*/ 34 h 180"/>
                    <a:gd name="T110" fmla="*/ 122 w 170"/>
                    <a:gd name="T111" fmla="*/ 30 h 180"/>
                    <a:gd name="T112" fmla="*/ 118 w 170"/>
                    <a:gd name="T113" fmla="*/ 24 h 180"/>
                    <a:gd name="T114" fmla="*/ 112 w 170"/>
                    <a:gd name="T115" fmla="*/ 14 h 180"/>
                    <a:gd name="T116" fmla="*/ 102 w 170"/>
                    <a:gd name="T117" fmla="*/ 10 h 180"/>
                    <a:gd name="T118" fmla="*/ 104 w 170"/>
                    <a:gd name="T119" fmla="*/ 0 h 180"/>
                    <a:gd name="T120" fmla="*/ 90 w 170"/>
                    <a:gd name="T12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0" h="180">
                      <a:moveTo>
                        <a:pt x="90" y="4"/>
                      </a:moveTo>
                      <a:lnTo>
                        <a:pt x="90" y="4"/>
                      </a:lnTo>
                      <a:lnTo>
                        <a:pt x="90" y="4"/>
                      </a:lnTo>
                      <a:lnTo>
                        <a:pt x="88" y="4"/>
                      </a:lnTo>
                      <a:lnTo>
                        <a:pt x="88" y="6"/>
                      </a:lnTo>
                      <a:lnTo>
                        <a:pt x="88" y="8"/>
                      </a:lnTo>
                      <a:lnTo>
                        <a:pt x="88" y="10"/>
                      </a:lnTo>
                      <a:lnTo>
                        <a:pt x="86" y="14"/>
                      </a:lnTo>
                      <a:lnTo>
                        <a:pt x="86" y="16"/>
                      </a:lnTo>
                      <a:lnTo>
                        <a:pt x="86" y="16"/>
                      </a:lnTo>
                      <a:lnTo>
                        <a:pt x="86" y="18"/>
                      </a:lnTo>
                      <a:lnTo>
                        <a:pt x="84" y="18"/>
                      </a:lnTo>
                      <a:lnTo>
                        <a:pt x="82" y="20"/>
                      </a:lnTo>
                      <a:lnTo>
                        <a:pt x="80" y="22"/>
                      </a:lnTo>
                      <a:lnTo>
                        <a:pt x="78" y="22"/>
                      </a:lnTo>
                      <a:lnTo>
                        <a:pt x="78" y="22"/>
                      </a:lnTo>
                      <a:lnTo>
                        <a:pt x="78" y="24"/>
                      </a:lnTo>
                      <a:lnTo>
                        <a:pt x="78" y="24"/>
                      </a:lnTo>
                      <a:lnTo>
                        <a:pt x="78" y="26"/>
                      </a:lnTo>
                      <a:lnTo>
                        <a:pt x="76" y="28"/>
                      </a:lnTo>
                      <a:lnTo>
                        <a:pt x="76" y="28"/>
                      </a:lnTo>
                      <a:lnTo>
                        <a:pt x="76" y="30"/>
                      </a:lnTo>
                      <a:lnTo>
                        <a:pt x="76" y="30"/>
                      </a:lnTo>
                      <a:lnTo>
                        <a:pt x="74" y="30"/>
                      </a:lnTo>
                      <a:lnTo>
                        <a:pt x="74" y="30"/>
                      </a:lnTo>
                      <a:lnTo>
                        <a:pt x="74" y="30"/>
                      </a:lnTo>
                      <a:lnTo>
                        <a:pt x="72" y="30"/>
                      </a:lnTo>
                      <a:lnTo>
                        <a:pt x="70" y="30"/>
                      </a:lnTo>
                      <a:lnTo>
                        <a:pt x="68" y="30"/>
                      </a:lnTo>
                      <a:lnTo>
                        <a:pt x="66" y="28"/>
                      </a:lnTo>
                      <a:lnTo>
                        <a:pt x="66" y="28"/>
                      </a:lnTo>
                      <a:lnTo>
                        <a:pt x="64" y="28"/>
                      </a:lnTo>
                      <a:lnTo>
                        <a:pt x="64" y="30"/>
                      </a:lnTo>
                      <a:lnTo>
                        <a:pt x="64" y="30"/>
                      </a:lnTo>
                      <a:lnTo>
                        <a:pt x="64" y="30"/>
                      </a:lnTo>
                      <a:lnTo>
                        <a:pt x="64" y="30"/>
                      </a:lnTo>
                      <a:lnTo>
                        <a:pt x="62" y="32"/>
                      </a:lnTo>
                      <a:lnTo>
                        <a:pt x="62" y="34"/>
                      </a:lnTo>
                      <a:lnTo>
                        <a:pt x="62" y="34"/>
                      </a:lnTo>
                      <a:lnTo>
                        <a:pt x="62" y="36"/>
                      </a:lnTo>
                      <a:lnTo>
                        <a:pt x="62" y="38"/>
                      </a:lnTo>
                      <a:lnTo>
                        <a:pt x="62" y="38"/>
                      </a:lnTo>
                      <a:lnTo>
                        <a:pt x="62" y="38"/>
                      </a:lnTo>
                      <a:lnTo>
                        <a:pt x="60" y="38"/>
                      </a:lnTo>
                      <a:lnTo>
                        <a:pt x="60" y="38"/>
                      </a:lnTo>
                      <a:lnTo>
                        <a:pt x="58" y="40"/>
                      </a:lnTo>
                      <a:lnTo>
                        <a:pt x="56" y="40"/>
                      </a:lnTo>
                      <a:lnTo>
                        <a:pt x="54" y="40"/>
                      </a:lnTo>
                      <a:lnTo>
                        <a:pt x="52" y="40"/>
                      </a:lnTo>
                      <a:lnTo>
                        <a:pt x="52" y="40"/>
                      </a:lnTo>
                      <a:lnTo>
                        <a:pt x="50" y="40"/>
                      </a:lnTo>
                      <a:lnTo>
                        <a:pt x="50" y="38"/>
                      </a:lnTo>
                      <a:lnTo>
                        <a:pt x="50" y="38"/>
                      </a:lnTo>
                      <a:lnTo>
                        <a:pt x="48" y="38"/>
                      </a:lnTo>
                      <a:lnTo>
                        <a:pt x="48" y="36"/>
                      </a:lnTo>
                      <a:lnTo>
                        <a:pt x="46" y="34"/>
                      </a:lnTo>
                      <a:lnTo>
                        <a:pt x="46" y="32"/>
                      </a:lnTo>
                      <a:lnTo>
                        <a:pt x="44" y="32"/>
                      </a:lnTo>
                      <a:lnTo>
                        <a:pt x="44" y="30"/>
                      </a:lnTo>
                      <a:lnTo>
                        <a:pt x="44" y="30"/>
                      </a:lnTo>
                      <a:lnTo>
                        <a:pt x="42" y="30"/>
                      </a:lnTo>
                      <a:lnTo>
                        <a:pt x="42" y="30"/>
                      </a:lnTo>
                      <a:lnTo>
                        <a:pt x="40" y="30"/>
                      </a:lnTo>
                      <a:lnTo>
                        <a:pt x="40" y="30"/>
                      </a:lnTo>
                      <a:lnTo>
                        <a:pt x="38" y="30"/>
                      </a:lnTo>
                      <a:lnTo>
                        <a:pt x="38" y="30"/>
                      </a:lnTo>
                      <a:lnTo>
                        <a:pt x="36" y="32"/>
                      </a:lnTo>
                      <a:lnTo>
                        <a:pt x="36" y="32"/>
                      </a:lnTo>
                      <a:lnTo>
                        <a:pt x="36" y="32"/>
                      </a:lnTo>
                      <a:lnTo>
                        <a:pt x="36" y="32"/>
                      </a:lnTo>
                      <a:lnTo>
                        <a:pt x="36" y="34"/>
                      </a:lnTo>
                      <a:lnTo>
                        <a:pt x="36" y="34"/>
                      </a:lnTo>
                      <a:lnTo>
                        <a:pt x="36" y="36"/>
                      </a:lnTo>
                      <a:lnTo>
                        <a:pt x="36" y="36"/>
                      </a:lnTo>
                      <a:lnTo>
                        <a:pt x="38" y="38"/>
                      </a:lnTo>
                      <a:lnTo>
                        <a:pt x="38" y="40"/>
                      </a:lnTo>
                      <a:lnTo>
                        <a:pt x="38" y="40"/>
                      </a:lnTo>
                      <a:lnTo>
                        <a:pt x="38" y="42"/>
                      </a:lnTo>
                      <a:lnTo>
                        <a:pt x="38" y="44"/>
                      </a:lnTo>
                      <a:lnTo>
                        <a:pt x="38" y="46"/>
                      </a:lnTo>
                      <a:lnTo>
                        <a:pt x="38" y="48"/>
                      </a:lnTo>
                      <a:lnTo>
                        <a:pt x="36" y="48"/>
                      </a:lnTo>
                      <a:lnTo>
                        <a:pt x="36" y="50"/>
                      </a:lnTo>
                      <a:lnTo>
                        <a:pt x="36" y="50"/>
                      </a:lnTo>
                      <a:lnTo>
                        <a:pt x="36" y="50"/>
                      </a:lnTo>
                      <a:lnTo>
                        <a:pt x="34" y="50"/>
                      </a:lnTo>
                      <a:lnTo>
                        <a:pt x="32" y="50"/>
                      </a:lnTo>
                      <a:lnTo>
                        <a:pt x="30" y="50"/>
                      </a:lnTo>
                      <a:lnTo>
                        <a:pt x="26" y="50"/>
                      </a:lnTo>
                      <a:lnTo>
                        <a:pt x="26" y="50"/>
                      </a:lnTo>
                      <a:lnTo>
                        <a:pt x="24" y="50"/>
                      </a:lnTo>
                      <a:lnTo>
                        <a:pt x="24" y="50"/>
                      </a:lnTo>
                      <a:lnTo>
                        <a:pt x="22" y="52"/>
                      </a:lnTo>
                      <a:lnTo>
                        <a:pt x="20" y="52"/>
                      </a:lnTo>
                      <a:lnTo>
                        <a:pt x="18" y="54"/>
                      </a:lnTo>
                      <a:lnTo>
                        <a:pt x="18" y="54"/>
                      </a:lnTo>
                      <a:lnTo>
                        <a:pt x="16" y="56"/>
                      </a:lnTo>
                      <a:lnTo>
                        <a:pt x="14" y="56"/>
                      </a:lnTo>
                      <a:lnTo>
                        <a:pt x="14" y="56"/>
                      </a:lnTo>
                      <a:lnTo>
                        <a:pt x="12" y="56"/>
                      </a:lnTo>
                      <a:lnTo>
                        <a:pt x="8" y="56"/>
                      </a:lnTo>
                      <a:lnTo>
                        <a:pt x="6" y="56"/>
                      </a:lnTo>
                      <a:lnTo>
                        <a:pt x="4" y="56"/>
                      </a:lnTo>
                      <a:lnTo>
                        <a:pt x="2" y="56"/>
                      </a:lnTo>
                      <a:lnTo>
                        <a:pt x="2" y="58"/>
                      </a:lnTo>
                      <a:lnTo>
                        <a:pt x="2" y="58"/>
                      </a:lnTo>
                      <a:lnTo>
                        <a:pt x="0" y="58"/>
                      </a:lnTo>
                      <a:lnTo>
                        <a:pt x="0" y="58"/>
                      </a:lnTo>
                      <a:lnTo>
                        <a:pt x="0" y="58"/>
                      </a:lnTo>
                      <a:lnTo>
                        <a:pt x="0" y="60"/>
                      </a:lnTo>
                      <a:lnTo>
                        <a:pt x="0" y="60"/>
                      </a:lnTo>
                      <a:lnTo>
                        <a:pt x="0" y="62"/>
                      </a:lnTo>
                      <a:lnTo>
                        <a:pt x="0" y="64"/>
                      </a:lnTo>
                      <a:lnTo>
                        <a:pt x="0" y="66"/>
                      </a:lnTo>
                      <a:lnTo>
                        <a:pt x="0" y="66"/>
                      </a:lnTo>
                      <a:lnTo>
                        <a:pt x="0" y="68"/>
                      </a:lnTo>
                      <a:lnTo>
                        <a:pt x="0" y="68"/>
                      </a:lnTo>
                      <a:lnTo>
                        <a:pt x="0" y="68"/>
                      </a:lnTo>
                      <a:lnTo>
                        <a:pt x="2" y="70"/>
                      </a:lnTo>
                      <a:lnTo>
                        <a:pt x="2" y="70"/>
                      </a:lnTo>
                      <a:lnTo>
                        <a:pt x="4" y="72"/>
                      </a:lnTo>
                      <a:lnTo>
                        <a:pt x="6" y="72"/>
                      </a:lnTo>
                      <a:lnTo>
                        <a:pt x="8" y="74"/>
                      </a:lnTo>
                      <a:lnTo>
                        <a:pt x="14" y="76"/>
                      </a:lnTo>
                      <a:lnTo>
                        <a:pt x="16" y="76"/>
                      </a:lnTo>
                      <a:lnTo>
                        <a:pt x="18" y="76"/>
                      </a:lnTo>
                      <a:lnTo>
                        <a:pt x="22" y="78"/>
                      </a:lnTo>
                      <a:lnTo>
                        <a:pt x="24" y="80"/>
                      </a:lnTo>
                      <a:lnTo>
                        <a:pt x="26" y="80"/>
                      </a:lnTo>
                      <a:lnTo>
                        <a:pt x="28" y="82"/>
                      </a:lnTo>
                      <a:lnTo>
                        <a:pt x="28" y="82"/>
                      </a:lnTo>
                      <a:lnTo>
                        <a:pt x="32" y="86"/>
                      </a:lnTo>
                      <a:lnTo>
                        <a:pt x="34" y="88"/>
                      </a:lnTo>
                      <a:lnTo>
                        <a:pt x="36" y="90"/>
                      </a:lnTo>
                      <a:lnTo>
                        <a:pt x="36" y="92"/>
                      </a:lnTo>
                      <a:lnTo>
                        <a:pt x="36" y="94"/>
                      </a:lnTo>
                      <a:lnTo>
                        <a:pt x="38" y="98"/>
                      </a:lnTo>
                      <a:lnTo>
                        <a:pt x="38" y="102"/>
                      </a:lnTo>
                      <a:lnTo>
                        <a:pt x="40" y="104"/>
                      </a:lnTo>
                      <a:lnTo>
                        <a:pt x="40" y="104"/>
                      </a:lnTo>
                      <a:lnTo>
                        <a:pt x="40" y="106"/>
                      </a:lnTo>
                      <a:lnTo>
                        <a:pt x="42" y="106"/>
                      </a:lnTo>
                      <a:lnTo>
                        <a:pt x="46" y="110"/>
                      </a:lnTo>
                      <a:lnTo>
                        <a:pt x="46" y="110"/>
                      </a:lnTo>
                      <a:lnTo>
                        <a:pt x="48" y="112"/>
                      </a:lnTo>
                      <a:lnTo>
                        <a:pt x="48" y="112"/>
                      </a:lnTo>
                      <a:lnTo>
                        <a:pt x="48" y="112"/>
                      </a:lnTo>
                      <a:lnTo>
                        <a:pt x="48" y="112"/>
                      </a:lnTo>
                      <a:lnTo>
                        <a:pt x="48" y="114"/>
                      </a:lnTo>
                      <a:lnTo>
                        <a:pt x="48" y="114"/>
                      </a:lnTo>
                      <a:lnTo>
                        <a:pt x="48" y="114"/>
                      </a:lnTo>
                      <a:lnTo>
                        <a:pt x="48" y="114"/>
                      </a:lnTo>
                      <a:lnTo>
                        <a:pt x="46" y="116"/>
                      </a:lnTo>
                      <a:lnTo>
                        <a:pt x="46" y="116"/>
                      </a:lnTo>
                      <a:lnTo>
                        <a:pt x="44" y="116"/>
                      </a:lnTo>
                      <a:lnTo>
                        <a:pt x="42" y="116"/>
                      </a:lnTo>
                      <a:lnTo>
                        <a:pt x="42" y="118"/>
                      </a:lnTo>
                      <a:lnTo>
                        <a:pt x="40" y="118"/>
                      </a:lnTo>
                      <a:lnTo>
                        <a:pt x="40" y="120"/>
                      </a:lnTo>
                      <a:lnTo>
                        <a:pt x="40" y="122"/>
                      </a:lnTo>
                      <a:lnTo>
                        <a:pt x="38" y="126"/>
                      </a:lnTo>
                      <a:lnTo>
                        <a:pt x="38" y="128"/>
                      </a:lnTo>
                      <a:lnTo>
                        <a:pt x="38" y="130"/>
                      </a:lnTo>
                      <a:lnTo>
                        <a:pt x="38" y="136"/>
                      </a:lnTo>
                      <a:lnTo>
                        <a:pt x="38" y="140"/>
                      </a:lnTo>
                      <a:lnTo>
                        <a:pt x="38" y="146"/>
                      </a:lnTo>
                      <a:lnTo>
                        <a:pt x="38" y="148"/>
                      </a:lnTo>
                      <a:lnTo>
                        <a:pt x="38" y="150"/>
                      </a:lnTo>
                      <a:lnTo>
                        <a:pt x="36" y="152"/>
                      </a:lnTo>
                      <a:lnTo>
                        <a:pt x="36" y="154"/>
                      </a:lnTo>
                      <a:lnTo>
                        <a:pt x="36" y="154"/>
                      </a:lnTo>
                      <a:lnTo>
                        <a:pt x="36" y="156"/>
                      </a:lnTo>
                      <a:lnTo>
                        <a:pt x="34" y="160"/>
                      </a:lnTo>
                      <a:lnTo>
                        <a:pt x="32" y="162"/>
                      </a:lnTo>
                      <a:lnTo>
                        <a:pt x="40" y="166"/>
                      </a:lnTo>
                      <a:lnTo>
                        <a:pt x="46" y="168"/>
                      </a:lnTo>
                      <a:lnTo>
                        <a:pt x="48" y="168"/>
                      </a:lnTo>
                      <a:lnTo>
                        <a:pt x="50" y="170"/>
                      </a:lnTo>
                      <a:lnTo>
                        <a:pt x="52" y="170"/>
                      </a:lnTo>
                      <a:lnTo>
                        <a:pt x="54" y="170"/>
                      </a:lnTo>
                      <a:lnTo>
                        <a:pt x="60" y="170"/>
                      </a:lnTo>
                      <a:lnTo>
                        <a:pt x="64" y="170"/>
                      </a:lnTo>
                      <a:lnTo>
                        <a:pt x="66" y="170"/>
                      </a:lnTo>
                      <a:lnTo>
                        <a:pt x="68" y="170"/>
                      </a:lnTo>
                      <a:lnTo>
                        <a:pt x="70" y="170"/>
                      </a:lnTo>
                      <a:lnTo>
                        <a:pt x="70" y="170"/>
                      </a:lnTo>
                      <a:lnTo>
                        <a:pt x="72" y="170"/>
                      </a:lnTo>
                      <a:lnTo>
                        <a:pt x="72" y="172"/>
                      </a:lnTo>
                      <a:lnTo>
                        <a:pt x="76" y="174"/>
                      </a:lnTo>
                      <a:lnTo>
                        <a:pt x="76" y="176"/>
                      </a:lnTo>
                      <a:lnTo>
                        <a:pt x="78" y="178"/>
                      </a:lnTo>
                      <a:lnTo>
                        <a:pt x="80" y="178"/>
                      </a:lnTo>
                      <a:lnTo>
                        <a:pt x="80" y="178"/>
                      </a:lnTo>
                      <a:lnTo>
                        <a:pt x="80" y="180"/>
                      </a:lnTo>
                      <a:lnTo>
                        <a:pt x="82" y="180"/>
                      </a:lnTo>
                      <a:lnTo>
                        <a:pt x="84" y="180"/>
                      </a:lnTo>
                      <a:lnTo>
                        <a:pt x="86" y="180"/>
                      </a:lnTo>
                      <a:lnTo>
                        <a:pt x="88" y="180"/>
                      </a:lnTo>
                      <a:lnTo>
                        <a:pt x="92" y="180"/>
                      </a:lnTo>
                      <a:lnTo>
                        <a:pt x="96" y="180"/>
                      </a:lnTo>
                      <a:lnTo>
                        <a:pt x="102" y="178"/>
                      </a:lnTo>
                      <a:lnTo>
                        <a:pt x="104" y="178"/>
                      </a:lnTo>
                      <a:lnTo>
                        <a:pt x="108" y="178"/>
                      </a:lnTo>
                      <a:lnTo>
                        <a:pt x="108" y="176"/>
                      </a:lnTo>
                      <a:lnTo>
                        <a:pt x="108" y="174"/>
                      </a:lnTo>
                      <a:lnTo>
                        <a:pt x="106" y="170"/>
                      </a:lnTo>
                      <a:lnTo>
                        <a:pt x="106" y="170"/>
                      </a:lnTo>
                      <a:lnTo>
                        <a:pt x="106" y="168"/>
                      </a:lnTo>
                      <a:lnTo>
                        <a:pt x="106" y="166"/>
                      </a:lnTo>
                      <a:lnTo>
                        <a:pt x="106" y="164"/>
                      </a:lnTo>
                      <a:lnTo>
                        <a:pt x="106" y="164"/>
                      </a:lnTo>
                      <a:lnTo>
                        <a:pt x="108" y="162"/>
                      </a:lnTo>
                      <a:lnTo>
                        <a:pt x="108" y="160"/>
                      </a:lnTo>
                      <a:lnTo>
                        <a:pt x="108" y="158"/>
                      </a:lnTo>
                      <a:lnTo>
                        <a:pt x="110" y="158"/>
                      </a:lnTo>
                      <a:lnTo>
                        <a:pt x="110" y="156"/>
                      </a:lnTo>
                      <a:lnTo>
                        <a:pt x="112" y="156"/>
                      </a:lnTo>
                      <a:lnTo>
                        <a:pt x="114" y="156"/>
                      </a:lnTo>
                      <a:lnTo>
                        <a:pt x="114" y="156"/>
                      </a:lnTo>
                      <a:lnTo>
                        <a:pt x="116" y="156"/>
                      </a:lnTo>
                      <a:lnTo>
                        <a:pt x="120" y="156"/>
                      </a:lnTo>
                      <a:lnTo>
                        <a:pt x="122" y="156"/>
                      </a:lnTo>
                      <a:lnTo>
                        <a:pt x="128" y="154"/>
                      </a:lnTo>
                      <a:lnTo>
                        <a:pt x="132" y="154"/>
                      </a:lnTo>
                      <a:lnTo>
                        <a:pt x="134" y="154"/>
                      </a:lnTo>
                      <a:lnTo>
                        <a:pt x="134" y="156"/>
                      </a:lnTo>
                      <a:lnTo>
                        <a:pt x="136" y="156"/>
                      </a:lnTo>
                      <a:lnTo>
                        <a:pt x="136" y="156"/>
                      </a:lnTo>
                      <a:lnTo>
                        <a:pt x="140" y="158"/>
                      </a:lnTo>
                      <a:lnTo>
                        <a:pt x="142" y="160"/>
                      </a:lnTo>
                      <a:lnTo>
                        <a:pt x="142" y="162"/>
                      </a:lnTo>
                      <a:lnTo>
                        <a:pt x="144" y="162"/>
                      </a:lnTo>
                      <a:lnTo>
                        <a:pt x="146" y="164"/>
                      </a:lnTo>
                      <a:lnTo>
                        <a:pt x="150" y="164"/>
                      </a:lnTo>
                      <a:lnTo>
                        <a:pt x="152" y="164"/>
                      </a:lnTo>
                      <a:lnTo>
                        <a:pt x="152" y="166"/>
                      </a:lnTo>
                      <a:lnTo>
                        <a:pt x="154" y="166"/>
                      </a:lnTo>
                      <a:lnTo>
                        <a:pt x="154" y="166"/>
                      </a:lnTo>
                      <a:lnTo>
                        <a:pt x="156" y="166"/>
                      </a:lnTo>
                      <a:lnTo>
                        <a:pt x="156" y="164"/>
                      </a:lnTo>
                      <a:lnTo>
                        <a:pt x="156" y="164"/>
                      </a:lnTo>
                      <a:lnTo>
                        <a:pt x="158" y="164"/>
                      </a:lnTo>
                      <a:lnTo>
                        <a:pt x="158" y="162"/>
                      </a:lnTo>
                      <a:lnTo>
                        <a:pt x="160" y="160"/>
                      </a:lnTo>
                      <a:lnTo>
                        <a:pt x="160" y="158"/>
                      </a:lnTo>
                      <a:lnTo>
                        <a:pt x="162" y="154"/>
                      </a:lnTo>
                      <a:lnTo>
                        <a:pt x="162" y="152"/>
                      </a:lnTo>
                      <a:lnTo>
                        <a:pt x="164" y="150"/>
                      </a:lnTo>
                      <a:lnTo>
                        <a:pt x="164" y="150"/>
                      </a:lnTo>
                      <a:lnTo>
                        <a:pt x="164" y="146"/>
                      </a:lnTo>
                      <a:lnTo>
                        <a:pt x="164" y="144"/>
                      </a:lnTo>
                      <a:lnTo>
                        <a:pt x="164" y="144"/>
                      </a:lnTo>
                      <a:lnTo>
                        <a:pt x="164" y="142"/>
                      </a:lnTo>
                      <a:lnTo>
                        <a:pt x="164" y="142"/>
                      </a:lnTo>
                      <a:lnTo>
                        <a:pt x="164" y="140"/>
                      </a:lnTo>
                      <a:lnTo>
                        <a:pt x="162" y="140"/>
                      </a:lnTo>
                      <a:lnTo>
                        <a:pt x="162" y="140"/>
                      </a:lnTo>
                      <a:lnTo>
                        <a:pt x="162" y="140"/>
                      </a:lnTo>
                      <a:lnTo>
                        <a:pt x="160" y="138"/>
                      </a:lnTo>
                      <a:lnTo>
                        <a:pt x="158" y="138"/>
                      </a:lnTo>
                      <a:lnTo>
                        <a:pt x="156" y="138"/>
                      </a:lnTo>
                      <a:lnTo>
                        <a:pt x="154" y="138"/>
                      </a:lnTo>
                      <a:lnTo>
                        <a:pt x="152" y="136"/>
                      </a:lnTo>
                      <a:lnTo>
                        <a:pt x="152" y="136"/>
                      </a:lnTo>
                      <a:lnTo>
                        <a:pt x="152" y="136"/>
                      </a:lnTo>
                      <a:lnTo>
                        <a:pt x="152" y="134"/>
                      </a:lnTo>
                      <a:lnTo>
                        <a:pt x="150" y="132"/>
                      </a:lnTo>
                      <a:lnTo>
                        <a:pt x="150" y="130"/>
                      </a:lnTo>
                      <a:lnTo>
                        <a:pt x="150" y="128"/>
                      </a:lnTo>
                      <a:lnTo>
                        <a:pt x="150" y="126"/>
                      </a:lnTo>
                      <a:lnTo>
                        <a:pt x="150" y="124"/>
                      </a:lnTo>
                      <a:lnTo>
                        <a:pt x="150" y="124"/>
                      </a:lnTo>
                      <a:lnTo>
                        <a:pt x="150" y="122"/>
                      </a:lnTo>
                      <a:lnTo>
                        <a:pt x="152" y="120"/>
                      </a:lnTo>
                      <a:lnTo>
                        <a:pt x="152" y="120"/>
                      </a:lnTo>
                      <a:lnTo>
                        <a:pt x="154" y="118"/>
                      </a:lnTo>
                      <a:lnTo>
                        <a:pt x="156" y="116"/>
                      </a:lnTo>
                      <a:lnTo>
                        <a:pt x="156" y="114"/>
                      </a:lnTo>
                      <a:lnTo>
                        <a:pt x="158" y="112"/>
                      </a:lnTo>
                      <a:lnTo>
                        <a:pt x="158" y="112"/>
                      </a:lnTo>
                      <a:lnTo>
                        <a:pt x="158" y="110"/>
                      </a:lnTo>
                      <a:lnTo>
                        <a:pt x="158" y="106"/>
                      </a:lnTo>
                      <a:lnTo>
                        <a:pt x="158" y="104"/>
                      </a:lnTo>
                      <a:lnTo>
                        <a:pt x="158" y="102"/>
                      </a:lnTo>
                      <a:lnTo>
                        <a:pt x="156" y="102"/>
                      </a:lnTo>
                      <a:lnTo>
                        <a:pt x="154" y="100"/>
                      </a:lnTo>
                      <a:lnTo>
                        <a:pt x="152" y="98"/>
                      </a:lnTo>
                      <a:lnTo>
                        <a:pt x="150" y="98"/>
                      </a:lnTo>
                      <a:lnTo>
                        <a:pt x="150" y="96"/>
                      </a:lnTo>
                      <a:lnTo>
                        <a:pt x="150" y="96"/>
                      </a:lnTo>
                      <a:lnTo>
                        <a:pt x="148" y="96"/>
                      </a:lnTo>
                      <a:lnTo>
                        <a:pt x="148" y="94"/>
                      </a:lnTo>
                      <a:lnTo>
                        <a:pt x="148" y="94"/>
                      </a:lnTo>
                      <a:lnTo>
                        <a:pt x="150" y="92"/>
                      </a:lnTo>
                      <a:lnTo>
                        <a:pt x="150" y="90"/>
                      </a:lnTo>
                      <a:lnTo>
                        <a:pt x="150" y="88"/>
                      </a:lnTo>
                      <a:lnTo>
                        <a:pt x="152" y="86"/>
                      </a:lnTo>
                      <a:lnTo>
                        <a:pt x="152" y="84"/>
                      </a:lnTo>
                      <a:lnTo>
                        <a:pt x="154" y="80"/>
                      </a:lnTo>
                      <a:lnTo>
                        <a:pt x="156" y="78"/>
                      </a:lnTo>
                      <a:lnTo>
                        <a:pt x="158" y="78"/>
                      </a:lnTo>
                      <a:lnTo>
                        <a:pt x="158" y="76"/>
                      </a:lnTo>
                      <a:lnTo>
                        <a:pt x="158" y="76"/>
                      </a:lnTo>
                      <a:lnTo>
                        <a:pt x="160" y="76"/>
                      </a:lnTo>
                      <a:lnTo>
                        <a:pt x="164" y="74"/>
                      </a:lnTo>
                      <a:lnTo>
                        <a:pt x="168" y="74"/>
                      </a:lnTo>
                      <a:lnTo>
                        <a:pt x="166" y="72"/>
                      </a:lnTo>
                      <a:lnTo>
                        <a:pt x="166" y="66"/>
                      </a:lnTo>
                      <a:lnTo>
                        <a:pt x="164" y="62"/>
                      </a:lnTo>
                      <a:lnTo>
                        <a:pt x="164" y="58"/>
                      </a:lnTo>
                      <a:lnTo>
                        <a:pt x="164" y="54"/>
                      </a:lnTo>
                      <a:lnTo>
                        <a:pt x="164" y="54"/>
                      </a:lnTo>
                      <a:lnTo>
                        <a:pt x="164" y="52"/>
                      </a:lnTo>
                      <a:lnTo>
                        <a:pt x="164" y="52"/>
                      </a:lnTo>
                      <a:lnTo>
                        <a:pt x="166" y="50"/>
                      </a:lnTo>
                      <a:lnTo>
                        <a:pt x="168" y="48"/>
                      </a:lnTo>
                      <a:lnTo>
                        <a:pt x="170" y="48"/>
                      </a:lnTo>
                      <a:lnTo>
                        <a:pt x="170" y="46"/>
                      </a:lnTo>
                      <a:lnTo>
                        <a:pt x="170" y="46"/>
                      </a:lnTo>
                      <a:lnTo>
                        <a:pt x="170" y="46"/>
                      </a:lnTo>
                      <a:lnTo>
                        <a:pt x="170" y="44"/>
                      </a:lnTo>
                      <a:lnTo>
                        <a:pt x="170" y="44"/>
                      </a:lnTo>
                      <a:lnTo>
                        <a:pt x="170" y="44"/>
                      </a:lnTo>
                      <a:lnTo>
                        <a:pt x="170" y="42"/>
                      </a:lnTo>
                      <a:lnTo>
                        <a:pt x="168" y="42"/>
                      </a:lnTo>
                      <a:lnTo>
                        <a:pt x="166" y="40"/>
                      </a:lnTo>
                      <a:lnTo>
                        <a:pt x="164" y="38"/>
                      </a:lnTo>
                      <a:lnTo>
                        <a:pt x="162" y="36"/>
                      </a:lnTo>
                      <a:lnTo>
                        <a:pt x="160" y="34"/>
                      </a:lnTo>
                      <a:lnTo>
                        <a:pt x="158" y="34"/>
                      </a:lnTo>
                      <a:lnTo>
                        <a:pt x="136" y="34"/>
                      </a:lnTo>
                      <a:lnTo>
                        <a:pt x="134" y="34"/>
                      </a:lnTo>
                      <a:lnTo>
                        <a:pt x="130" y="32"/>
                      </a:lnTo>
                      <a:lnTo>
                        <a:pt x="128" y="32"/>
                      </a:lnTo>
                      <a:lnTo>
                        <a:pt x="124" y="30"/>
                      </a:lnTo>
                      <a:lnTo>
                        <a:pt x="122" y="30"/>
                      </a:lnTo>
                      <a:lnTo>
                        <a:pt x="120" y="28"/>
                      </a:lnTo>
                      <a:lnTo>
                        <a:pt x="120" y="28"/>
                      </a:lnTo>
                      <a:lnTo>
                        <a:pt x="120" y="28"/>
                      </a:lnTo>
                      <a:lnTo>
                        <a:pt x="120" y="28"/>
                      </a:lnTo>
                      <a:lnTo>
                        <a:pt x="118" y="26"/>
                      </a:lnTo>
                      <a:lnTo>
                        <a:pt x="118" y="24"/>
                      </a:lnTo>
                      <a:lnTo>
                        <a:pt x="118" y="22"/>
                      </a:lnTo>
                      <a:lnTo>
                        <a:pt x="116" y="18"/>
                      </a:lnTo>
                      <a:lnTo>
                        <a:pt x="114" y="16"/>
                      </a:lnTo>
                      <a:lnTo>
                        <a:pt x="114" y="16"/>
                      </a:lnTo>
                      <a:lnTo>
                        <a:pt x="112" y="14"/>
                      </a:lnTo>
                      <a:lnTo>
                        <a:pt x="112" y="14"/>
                      </a:lnTo>
                      <a:lnTo>
                        <a:pt x="108" y="12"/>
                      </a:lnTo>
                      <a:lnTo>
                        <a:pt x="106" y="12"/>
                      </a:lnTo>
                      <a:lnTo>
                        <a:pt x="104" y="12"/>
                      </a:lnTo>
                      <a:lnTo>
                        <a:pt x="104" y="10"/>
                      </a:lnTo>
                      <a:lnTo>
                        <a:pt x="102" y="10"/>
                      </a:lnTo>
                      <a:lnTo>
                        <a:pt x="102" y="10"/>
                      </a:lnTo>
                      <a:lnTo>
                        <a:pt x="102" y="8"/>
                      </a:lnTo>
                      <a:lnTo>
                        <a:pt x="102" y="8"/>
                      </a:lnTo>
                      <a:lnTo>
                        <a:pt x="102" y="6"/>
                      </a:lnTo>
                      <a:lnTo>
                        <a:pt x="102" y="4"/>
                      </a:lnTo>
                      <a:lnTo>
                        <a:pt x="104" y="2"/>
                      </a:lnTo>
                      <a:lnTo>
                        <a:pt x="104" y="0"/>
                      </a:lnTo>
                      <a:lnTo>
                        <a:pt x="102" y="0"/>
                      </a:lnTo>
                      <a:lnTo>
                        <a:pt x="98" y="2"/>
                      </a:lnTo>
                      <a:lnTo>
                        <a:pt x="96" y="2"/>
                      </a:lnTo>
                      <a:lnTo>
                        <a:pt x="92" y="2"/>
                      </a:lnTo>
                      <a:lnTo>
                        <a:pt x="90" y="2"/>
                      </a:lnTo>
                      <a:lnTo>
                        <a:pt x="90" y="4"/>
                      </a:lnTo>
                      <a:lnTo>
                        <a:pt x="90" y="4"/>
                      </a:lnTo>
                      <a:close/>
                    </a:path>
                  </a:pathLst>
                </a:custGeom>
                <a:grpFill/>
                <a:ln w="6350">
                  <a:solidFill>
                    <a:srgbClr val="FFFFFF"/>
                  </a:solidFill>
                  <a:prstDash val="solid"/>
                  <a:round/>
                  <a:headEnd/>
                  <a:tailEnd/>
                </a:ln>
              </p:spPr>
              <p:txBody>
                <a:bodyPr vert="horz" wrap="square" lIns="49449" tIns="24725" rIns="49449" bIns="24725" numCol="1" anchor="t" anchorCtr="0" compatLnSpc="1">
                  <a:prstTxWarp prst="textNoShape">
                    <a:avLst/>
                  </a:prstTxWarp>
                </a:bodyPr>
                <a:lstStyle/>
                <a:p>
                  <a:endParaRPr lang="fr-FR" sz="1242" dirty="0">
                    <a:latin typeface="Calibri" panose="020F0502020204030204" pitchFamily="34" charset="0"/>
                    <a:cs typeface="Calibri" panose="020F0502020204030204" pitchFamily="34" charset="0"/>
                  </a:endParaRPr>
                </a:p>
              </p:txBody>
            </p:sp>
            <p:sp>
              <p:nvSpPr>
                <p:cNvPr id="52" name="Freeform 294">
                  <a:extLst>
                    <a:ext uri="{FF2B5EF4-FFF2-40B4-BE49-F238E27FC236}">
                      <a16:creationId xmlns:a16="http://schemas.microsoft.com/office/drawing/2014/main" id="{65C4FA25-377B-48C7-A12C-C0E3905A9E8B}"/>
                    </a:ext>
                  </a:extLst>
                </p:cNvPr>
                <p:cNvSpPr>
                  <a:spLocks/>
                </p:cNvSpPr>
                <p:nvPr/>
              </p:nvSpPr>
              <p:spPr bwMode="auto">
                <a:xfrm>
                  <a:off x="9962093" y="2652430"/>
                  <a:ext cx="874056" cy="1074659"/>
                </a:xfrm>
                <a:custGeom>
                  <a:avLst/>
                  <a:gdLst>
                    <a:gd name="T0" fmla="*/ 118 w 122"/>
                    <a:gd name="T1" fmla="*/ 62 h 150"/>
                    <a:gd name="T2" fmla="*/ 112 w 122"/>
                    <a:gd name="T3" fmla="*/ 48 h 150"/>
                    <a:gd name="T4" fmla="*/ 112 w 122"/>
                    <a:gd name="T5" fmla="*/ 38 h 150"/>
                    <a:gd name="T6" fmla="*/ 114 w 122"/>
                    <a:gd name="T7" fmla="*/ 18 h 150"/>
                    <a:gd name="T8" fmla="*/ 110 w 122"/>
                    <a:gd name="T9" fmla="*/ 12 h 150"/>
                    <a:gd name="T10" fmla="*/ 102 w 122"/>
                    <a:gd name="T11" fmla="*/ 12 h 150"/>
                    <a:gd name="T12" fmla="*/ 88 w 122"/>
                    <a:gd name="T13" fmla="*/ 18 h 150"/>
                    <a:gd name="T14" fmla="*/ 78 w 122"/>
                    <a:gd name="T15" fmla="*/ 20 h 150"/>
                    <a:gd name="T16" fmla="*/ 74 w 122"/>
                    <a:gd name="T17" fmla="*/ 18 h 150"/>
                    <a:gd name="T18" fmla="*/ 70 w 122"/>
                    <a:gd name="T19" fmla="*/ 12 h 150"/>
                    <a:gd name="T20" fmla="*/ 62 w 122"/>
                    <a:gd name="T21" fmla="*/ 0 h 150"/>
                    <a:gd name="T22" fmla="*/ 44 w 122"/>
                    <a:gd name="T23" fmla="*/ 16 h 150"/>
                    <a:gd name="T24" fmla="*/ 46 w 122"/>
                    <a:gd name="T25" fmla="*/ 20 h 150"/>
                    <a:gd name="T26" fmla="*/ 46 w 122"/>
                    <a:gd name="T27" fmla="*/ 24 h 150"/>
                    <a:gd name="T28" fmla="*/ 42 w 122"/>
                    <a:gd name="T29" fmla="*/ 24 h 150"/>
                    <a:gd name="T30" fmla="*/ 38 w 122"/>
                    <a:gd name="T31" fmla="*/ 24 h 150"/>
                    <a:gd name="T32" fmla="*/ 22 w 122"/>
                    <a:gd name="T33" fmla="*/ 32 h 150"/>
                    <a:gd name="T34" fmla="*/ 22 w 122"/>
                    <a:gd name="T35" fmla="*/ 42 h 150"/>
                    <a:gd name="T36" fmla="*/ 20 w 122"/>
                    <a:gd name="T37" fmla="*/ 50 h 150"/>
                    <a:gd name="T38" fmla="*/ 14 w 122"/>
                    <a:gd name="T39" fmla="*/ 58 h 150"/>
                    <a:gd name="T40" fmla="*/ 6 w 122"/>
                    <a:gd name="T41" fmla="*/ 62 h 150"/>
                    <a:gd name="T42" fmla="*/ 2 w 122"/>
                    <a:gd name="T43" fmla="*/ 66 h 150"/>
                    <a:gd name="T44" fmla="*/ 0 w 122"/>
                    <a:gd name="T45" fmla="*/ 72 h 150"/>
                    <a:gd name="T46" fmla="*/ 10 w 122"/>
                    <a:gd name="T47" fmla="*/ 88 h 150"/>
                    <a:gd name="T48" fmla="*/ 8 w 122"/>
                    <a:gd name="T49" fmla="*/ 94 h 150"/>
                    <a:gd name="T50" fmla="*/ 8 w 122"/>
                    <a:gd name="T51" fmla="*/ 98 h 150"/>
                    <a:gd name="T52" fmla="*/ 14 w 122"/>
                    <a:gd name="T53" fmla="*/ 102 h 150"/>
                    <a:gd name="T54" fmla="*/ 22 w 122"/>
                    <a:gd name="T55" fmla="*/ 106 h 150"/>
                    <a:gd name="T56" fmla="*/ 30 w 122"/>
                    <a:gd name="T57" fmla="*/ 112 h 150"/>
                    <a:gd name="T58" fmla="*/ 32 w 122"/>
                    <a:gd name="T59" fmla="*/ 116 h 150"/>
                    <a:gd name="T60" fmla="*/ 30 w 122"/>
                    <a:gd name="T61" fmla="*/ 118 h 150"/>
                    <a:gd name="T62" fmla="*/ 26 w 122"/>
                    <a:gd name="T63" fmla="*/ 124 h 150"/>
                    <a:gd name="T64" fmla="*/ 26 w 122"/>
                    <a:gd name="T65" fmla="*/ 136 h 150"/>
                    <a:gd name="T66" fmla="*/ 36 w 122"/>
                    <a:gd name="T67" fmla="*/ 146 h 150"/>
                    <a:gd name="T68" fmla="*/ 40 w 122"/>
                    <a:gd name="T69" fmla="*/ 146 h 150"/>
                    <a:gd name="T70" fmla="*/ 48 w 122"/>
                    <a:gd name="T71" fmla="*/ 142 h 150"/>
                    <a:gd name="T72" fmla="*/ 54 w 122"/>
                    <a:gd name="T73" fmla="*/ 148 h 150"/>
                    <a:gd name="T74" fmla="*/ 64 w 122"/>
                    <a:gd name="T75" fmla="*/ 150 h 150"/>
                    <a:gd name="T76" fmla="*/ 72 w 122"/>
                    <a:gd name="T77" fmla="*/ 150 h 150"/>
                    <a:gd name="T78" fmla="*/ 84 w 122"/>
                    <a:gd name="T79" fmla="*/ 142 h 150"/>
                    <a:gd name="T80" fmla="*/ 98 w 122"/>
                    <a:gd name="T81" fmla="*/ 134 h 150"/>
                    <a:gd name="T82" fmla="*/ 104 w 122"/>
                    <a:gd name="T83" fmla="*/ 130 h 150"/>
                    <a:gd name="T84" fmla="*/ 104 w 122"/>
                    <a:gd name="T85" fmla="*/ 120 h 150"/>
                    <a:gd name="T86" fmla="*/ 96 w 122"/>
                    <a:gd name="T87" fmla="*/ 108 h 150"/>
                    <a:gd name="T88" fmla="*/ 86 w 122"/>
                    <a:gd name="T89" fmla="*/ 98 h 150"/>
                    <a:gd name="T90" fmla="*/ 82 w 122"/>
                    <a:gd name="T91" fmla="*/ 92 h 150"/>
                    <a:gd name="T92" fmla="*/ 82 w 122"/>
                    <a:gd name="T93" fmla="*/ 88 h 150"/>
                    <a:gd name="T94" fmla="*/ 84 w 122"/>
                    <a:gd name="T95" fmla="*/ 84 h 150"/>
                    <a:gd name="T96" fmla="*/ 96 w 122"/>
                    <a:gd name="T97" fmla="*/ 78 h 150"/>
                    <a:gd name="T98" fmla="*/ 110 w 122"/>
                    <a:gd name="T99" fmla="*/ 7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2" h="150">
                      <a:moveTo>
                        <a:pt x="122" y="72"/>
                      </a:moveTo>
                      <a:lnTo>
                        <a:pt x="122" y="72"/>
                      </a:lnTo>
                      <a:lnTo>
                        <a:pt x="120" y="70"/>
                      </a:lnTo>
                      <a:lnTo>
                        <a:pt x="118" y="62"/>
                      </a:lnTo>
                      <a:lnTo>
                        <a:pt x="116" y="58"/>
                      </a:lnTo>
                      <a:lnTo>
                        <a:pt x="114" y="54"/>
                      </a:lnTo>
                      <a:lnTo>
                        <a:pt x="114" y="50"/>
                      </a:lnTo>
                      <a:lnTo>
                        <a:pt x="112" y="48"/>
                      </a:lnTo>
                      <a:lnTo>
                        <a:pt x="112" y="46"/>
                      </a:lnTo>
                      <a:lnTo>
                        <a:pt x="112" y="44"/>
                      </a:lnTo>
                      <a:lnTo>
                        <a:pt x="112" y="42"/>
                      </a:lnTo>
                      <a:lnTo>
                        <a:pt x="112" y="38"/>
                      </a:lnTo>
                      <a:lnTo>
                        <a:pt x="112" y="34"/>
                      </a:lnTo>
                      <a:lnTo>
                        <a:pt x="114" y="30"/>
                      </a:lnTo>
                      <a:lnTo>
                        <a:pt x="114" y="20"/>
                      </a:lnTo>
                      <a:lnTo>
                        <a:pt x="114" y="18"/>
                      </a:lnTo>
                      <a:lnTo>
                        <a:pt x="114" y="16"/>
                      </a:lnTo>
                      <a:lnTo>
                        <a:pt x="112" y="14"/>
                      </a:lnTo>
                      <a:lnTo>
                        <a:pt x="110" y="12"/>
                      </a:lnTo>
                      <a:lnTo>
                        <a:pt x="110" y="12"/>
                      </a:lnTo>
                      <a:lnTo>
                        <a:pt x="108" y="12"/>
                      </a:lnTo>
                      <a:lnTo>
                        <a:pt x="106" y="12"/>
                      </a:lnTo>
                      <a:lnTo>
                        <a:pt x="104" y="12"/>
                      </a:lnTo>
                      <a:lnTo>
                        <a:pt x="102" y="12"/>
                      </a:lnTo>
                      <a:lnTo>
                        <a:pt x="100" y="14"/>
                      </a:lnTo>
                      <a:lnTo>
                        <a:pt x="98" y="14"/>
                      </a:lnTo>
                      <a:lnTo>
                        <a:pt x="92" y="16"/>
                      </a:lnTo>
                      <a:lnTo>
                        <a:pt x="88" y="18"/>
                      </a:lnTo>
                      <a:lnTo>
                        <a:pt x="86" y="18"/>
                      </a:lnTo>
                      <a:lnTo>
                        <a:pt x="84" y="20"/>
                      </a:lnTo>
                      <a:lnTo>
                        <a:pt x="82" y="20"/>
                      </a:lnTo>
                      <a:lnTo>
                        <a:pt x="78" y="20"/>
                      </a:lnTo>
                      <a:lnTo>
                        <a:pt x="76" y="20"/>
                      </a:lnTo>
                      <a:lnTo>
                        <a:pt x="76" y="20"/>
                      </a:lnTo>
                      <a:lnTo>
                        <a:pt x="76" y="20"/>
                      </a:lnTo>
                      <a:lnTo>
                        <a:pt x="74" y="18"/>
                      </a:lnTo>
                      <a:lnTo>
                        <a:pt x="74" y="18"/>
                      </a:lnTo>
                      <a:lnTo>
                        <a:pt x="72" y="16"/>
                      </a:lnTo>
                      <a:lnTo>
                        <a:pt x="72" y="16"/>
                      </a:lnTo>
                      <a:lnTo>
                        <a:pt x="70" y="12"/>
                      </a:lnTo>
                      <a:lnTo>
                        <a:pt x="68" y="10"/>
                      </a:lnTo>
                      <a:lnTo>
                        <a:pt x="66" y="8"/>
                      </a:lnTo>
                      <a:lnTo>
                        <a:pt x="64" y="4"/>
                      </a:lnTo>
                      <a:lnTo>
                        <a:pt x="62" y="0"/>
                      </a:lnTo>
                      <a:lnTo>
                        <a:pt x="46" y="4"/>
                      </a:lnTo>
                      <a:lnTo>
                        <a:pt x="44" y="8"/>
                      </a:lnTo>
                      <a:lnTo>
                        <a:pt x="44" y="14"/>
                      </a:lnTo>
                      <a:lnTo>
                        <a:pt x="44" y="16"/>
                      </a:lnTo>
                      <a:lnTo>
                        <a:pt x="44" y="18"/>
                      </a:lnTo>
                      <a:lnTo>
                        <a:pt x="44" y="18"/>
                      </a:lnTo>
                      <a:lnTo>
                        <a:pt x="44" y="18"/>
                      </a:lnTo>
                      <a:lnTo>
                        <a:pt x="46" y="20"/>
                      </a:lnTo>
                      <a:lnTo>
                        <a:pt x="46" y="22"/>
                      </a:lnTo>
                      <a:lnTo>
                        <a:pt x="46" y="22"/>
                      </a:lnTo>
                      <a:lnTo>
                        <a:pt x="46" y="22"/>
                      </a:lnTo>
                      <a:lnTo>
                        <a:pt x="46" y="24"/>
                      </a:lnTo>
                      <a:lnTo>
                        <a:pt x="44" y="24"/>
                      </a:lnTo>
                      <a:lnTo>
                        <a:pt x="44" y="24"/>
                      </a:lnTo>
                      <a:lnTo>
                        <a:pt x="44" y="24"/>
                      </a:lnTo>
                      <a:lnTo>
                        <a:pt x="42" y="24"/>
                      </a:lnTo>
                      <a:lnTo>
                        <a:pt x="42" y="24"/>
                      </a:lnTo>
                      <a:lnTo>
                        <a:pt x="40" y="24"/>
                      </a:lnTo>
                      <a:lnTo>
                        <a:pt x="40" y="24"/>
                      </a:lnTo>
                      <a:lnTo>
                        <a:pt x="38" y="24"/>
                      </a:lnTo>
                      <a:lnTo>
                        <a:pt x="36" y="24"/>
                      </a:lnTo>
                      <a:lnTo>
                        <a:pt x="30" y="26"/>
                      </a:lnTo>
                      <a:lnTo>
                        <a:pt x="22" y="30"/>
                      </a:lnTo>
                      <a:lnTo>
                        <a:pt x="22" y="32"/>
                      </a:lnTo>
                      <a:lnTo>
                        <a:pt x="22" y="36"/>
                      </a:lnTo>
                      <a:lnTo>
                        <a:pt x="22" y="38"/>
                      </a:lnTo>
                      <a:lnTo>
                        <a:pt x="22" y="40"/>
                      </a:lnTo>
                      <a:lnTo>
                        <a:pt x="22" y="42"/>
                      </a:lnTo>
                      <a:lnTo>
                        <a:pt x="22" y="44"/>
                      </a:lnTo>
                      <a:lnTo>
                        <a:pt x="22" y="46"/>
                      </a:lnTo>
                      <a:lnTo>
                        <a:pt x="20" y="48"/>
                      </a:lnTo>
                      <a:lnTo>
                        <a:pt x="20" y="50"/>
                      </a:lnTo>
                      <a:lnTo>
                        <a:pt x="18" y="52"/>
                      </a:lnTo>
                      <a:lnTo>
                        <a:pt x="16" y="56"/>
                      </a:lnTo>
                      <a:lnTo>
                        <a:pt x="14" y="58"/>
                      </a:lnTo>
                      <a:lnTo>
                        <a:pt x="14" y="58"/>
                      </a:lnTo>
                      <a:lnTo>
                        <a:pt x="12" y="60"/>
                      </a:lnTo>
                      <a:lnTo>
                        <a:pt x="10" y="60"/>
                      </a:lnTo>
                      <a:lnTo>
                        <a:pt x="8" y="62"/>
                      </a:lnTo>
                      <a:lnTo>
                        <a:pt x="6" y="62"/>
                      </a:lnTo>
                      <a:lnTo>
                        <a:pt x="4" y="64"/>
                      </a:lnTo>
                      <a:lnTo>
                        <a:pt x="4" y="64"/>
                      </a:lnTo>
                      <a:lnTo>
                        <a:pt x="2" y="64"/>
                      </a:lnTo>
                      <a:lnTo>
                        <a:pt x="2" y="66"/>
                      </a:lnTo>
                      <a:lnTo>
                        <a:pt x="2" y="66"/>
                      </a:lnTo>
                      <a:lnTo>
                        <a:pt x="2" y="68"/>
                      </a:lnTo>
                      <a:lnTo>
                        <a:pt x="2" y="70"/>
                      </a:lnTo>
                      <a:lnTo>
                        <a:pt x="0" y="72"/>
                      </a:lnTo>
                      <a:lnTo>
                        <a:pt x="0" y="76"/>
                      </a:lnTo>
                      <a:lnTo>
                        <a:pt x="0" y="80"/>
                      </a:lnTo>
                      <a:lnTo>
                        <a:pt x="0" y="82"/>
                      </a:lnTo>
                      <a:lnTo>
                        <a:pt x="10" y="88"/>
                      </a:lnTo>
                      <a:lnTo>
                        <a:pt x="10" y="88"/>
                      </a:lnTo>
                      <a:lnTo>
                        <a:pt x="8" y="92"/>
                      </a:lnTo>
                      <a:lnTo>
                        <a:pt x="8" y="94"/>
                      </a:lnTo>
                      <a:lnTo>
                        <a:pt x="8" y="94"/>
                      </a:lnTo>
                      <a:lnTo>
                        <a:pt x="8" y="96"/>
                      </a:lnTo>
                      <a:lnTo>
                        <a:pt x="8" y="96"/>
                      </a:lnTo>
                      <a:lnTo>
                        <a:pt x="8" y="98"/>
                      </a:lnTo>
                      <a:lnTo>
                        <a:pt x="8" y="98"/>
                      </a:lnTo>
                      <a:lnTo>
                        <a:pt x="8" y="98"/>
                      </a:lnTo>
                      <a:lnTo>
                        <a:pt x="10" y="100"/>
                      </a:lnTo>
                      <a:lnTo>
                        <a:pt x="12" y="100"/>
                      </a:lnTo>
                      <a:lnTo>
                        <a:pt x="14" y="102"/>
                      </a:lnTo>
                      <a:lnTo>
                        <a:pt x="16" y="104"/>
                      </a:lnTo>
                      <a:lnTo>
                        <a:pt x="18" y="104"/>
                      </a:lnTo>
                      <a:lnTo>
                        <a:pt x="20" y="104"/>
                      </a:lnTo>
                      <a:lnTo>
                        <a:pt x="22" y="106"/>
                      </a:lnTo>
                      <a:lnTo>
                        <a:pt x="26" y="108"/>
                      </a:lnTo>
                      <a:lnTo>
                        <a:pt x="28" y="110"/>
                      </a:lnTo>
                      <a:lnTo>
                        <a:pt x="30" y="112"/>
                      </a:lnTo>
                      <a:lnTo>
                        <a:pt x="30" y="112"/>
                      </a:lnTo>
                      <a:lnTo>
                        <a:pt x="32" y="114"/>
                      </a:lnTo>
                      <a:lnTo>
                        <a:pt x="32" y="114"/>
                      </a:lnTo>
                      <a:lnTo>
                        <a:pt x="32" y="114"/>
                      </a:lnTo>
                      <a:lnTo>
                        <a:pt x="32" y="116"/>
                      </a:lnTo>
                      <a:lnTo>
                        <a:pt x="32" y="116"/>
                      </a:lnTo>
                      <a:lnTo>
                        <a:pt x="32" y="116"/>
                      </a:lnTo>
                      <a:lnTo>
                        <a:pt x="30" y="118"/>
                      </a:lnTo>
                      <a:lnTo>
                        <a:pt x="30" y="118"/>
                      </a:lnTo>
                      <a:lnTo>
                        <a:pt x="28" y="120"/>
                      </a:lnTo>
                      <a:lnTo>
                        <a:pt x="26" y="122"/>
                      </a:lnTo>
                      <a:lnTo>
                        <a:pt x="26" y="122"/>
                      </a:lnTo>
                      <a:lnTo>
                        <a:pt x="26" y="124"/>
                      </a:lnTo>
                      <a:lnTo>
                        <a:pt x="26" y="124"/>
                      </a:lnTo>
                      <a:lnTo>
                        <a:pt x="26" y="128"/>
                      </a:lnTo>
                      <a:lnTo>
                        <a:pt x="26" y="132"/>
                      </a:lnTo>
                      <a:lnTo>
                        <a:pt x="26" y="136"/>
                      </a:lnTo>
                      <a:lnTo>
                        <a:pt x="28" y="142"/>
                      </a:lnTo>
                      <a:lnTo>
                        <a:pt x="28" y="144"/>
                      </a:lnTo>
                      <a:lnTo>
                        <a:pt x="32" y="146"/>
                      </a:lnTo>
                      <a:lnTo>
                        <a:pt x="36" y="146"/>
                      </a:lnTo>
                      <a:lnTo>
                        <a:pt x="36" y="146"/>
                      </a:lnTo>
                      <a:lnTo>
                        <a:pt x="38" y="146"/>
                      </a:lnTo>
                      <a:lnTo>
                        <a:pt x="38" y="146"/>
                      </a:lnTo>
                      <a:lnTo>
                        <a:pt x="40" y="146"/>
                      </a:lnTo>
                      <a:lnTo>
                        <a:pt x="42" y="144"/>
                      </a:lnTo>
                      <a:lnTo>
                        <a:pt x="46" y="144"/>
                      </a:lnTo>
                      <a:lnTo>
                        <a:pt x="46" y="142"/>
                      </a:lnTo>
                      <a:lnTo>
                        <a:pt x="48" y="142"/>
                      </a:lnTo>
                      <a:lnTo>
                        <a:pt x="48" y="144"/>
                      </a:lnTo>
                      <a:lnTo>
                        <a:pt x="50" y="144"/>
                      </a:lnTo>
                      <a:lnTo>
                        <a:pt x="52" y="146"/>
                      </a:lnTo>
                      <a:lnTo>
                        <a:pt x="54" y="148"/>
                      </a:lnTo>
                      <a:lnTo>
                        <a:pt x="56" y="148"/>
                      </a:lnTo>
                      <a:lnTo>
                        <a:pt x="58" y="148"/>
                      </a:lnTo>
                      <a:lnTo>
                        <a:pt x="62" y="150"/>
                      </a:lnTo>
                      <a:lnTo>
                        <a:pt x="64" y="150"/>
                      </a:lnTo>
                      <a:lnTo>
                        <a:pt x="66" y="150"/>
                      </a:lnTo>
                      <a:lnTo>
                        <a:pt x="68" y="150"/>
                      </a:lnTo>
                      <a:lnTo>
                        <a:pt x="70" y="150"/>
                      </a:lnTo>
                      <a:lnTo>
                        <a:pt x="72" y="150"/>
                      </a:lnTo>
                      <a:lnTo>
                        <a:pt x="74" y="148"/>
                      </a:lnTo>
                      <a:lnTo>
                        <a:pt x="76" y="146"/>
                      </a:lnTo>
                      <a:lnTo>
                        <a:pt x="82" y="144"/>
                      </a:lnTo>
                      <a:lnTo>
                        <a:pt x="84" y="142"/>
                      </a:lnTo>
                      <a:lnTo>
                        <a:pt x="88" y="142"/>
                      </a:lnTo>
                      <a:lnTo>
                        <a:pt x="92" y="138"/>
                      </a:lnTo>
                      <a:lnTo>
                        <a:pt x="96" y="136"/>
                      </a:lnTo>
                      <a:lnTo>
                        <a:pt x="98" y="134"/>
                      </a:lnTo>
                      <a:lnTo>
                        <a:pt x="102" y="132"/>
                      </a:lnTo>
                      <a:lnTo>
                        <a:pt x="102" y="130"/>
                      </a:lnTo>
                      <a:lnTo>
                        <a:pt x="102" y="130"/>
                      </a:lnTo>
                      <a:lnTo>
                        <a:pt x="104" y="130"/>
                      </a:lnTo>
                      <a:lnTo>
                        <a:pt x="104" y="128"/>
                      </a:lnTo>
                      <a:lnTo>
                        <a:pt x="104" y="126"/>
                      </a:lnTo>
                      <a:lnTo>
                        <a:pt x="104" y="124"/>
                      </a:lnTo>
                      <a:lnTo>
                        <a:pt x="104" y="120"/>
                      </a:lnTo>
                      <a:lnTo>
                        <a:pt x="104" y="116"/>
                      </a:lnTo>
                      <a:lnTo>
                        <a:pt x="104" y="114"/>
                      </a:lnTo>
                      <a:lnTo>
                        <a:pt x="100" y="112"/>
                      </a:lnTo>
                      <a:lnTo>
                        <a:pt x="96" y="108"/>
                      </a:lnTo>
                      <a:lnTo>
                        <a:pt x="92" y="104"/>
                      </a:lnTo>
                      <a:lnTo>
                        <a:pt x="90" y="102"/>
                      </a:lnTo>
                      <a:lnTo>
                        <a:pt x="88" y="100"/>
                      </a:lnTo>
                      <a:lnTo>
                        <a:pt x="86" y="98"/>
                      </a:lnTo>
                      <a:lnTo>
                        <a:pt x="84" y="96"/>
                      </a:lnTo>
                      <a:lnTo>
                        <a:pt x="82" y="94"/>
                      </a:lnTo>
                      <a:lnTo>
                        <a:pt x="82" y="92"/>
                      </a:lnTo>
                      <a:lnTo>
                        <a:pt x="82" y="92"/>
                      </a:lnTo>
                      <a:lnTo>
                        <a:pt x="82" y="90"/>
                      </a:lnTo>
                      <a:lnTo>
                        <a:pt x="82" y="90"/>
                      </a:lnTo>
                      <a:lnTo>
                        <a:pt x="82" y="88"/>
                      </a:lnTo>
                      <a:lnTo>
                        <a:pt x="82" y="88"/>
                      </a:lnTo>
                      <a:lnTo>
                        <a:pt x="82" y="86"/>
                      </a:lnTo>
                      <a:lnTo>
                        <a:pt x="82" y="86"/>
                      </a:lnTo>
                      <a:lnTo>
                        <a:pt x="84" y="84"/>
                      </a:lnTo>
                      <a:lnTo>
                        <a:pt x="84" y="84"/>
                      </a:lnTo>
                      <a:lnTo>
                        <a:pt x="86" y="84"/>
                      </a:lnTo>
                      <a:lnTo>
                        <a:pt x="88" y="82"/>
                      </a:lnTo>
                      <a:lnTo>
                        <a:pt x="92" y="80"/>
                      </a:lnTo>
                      <a:lnTo>
                        <a:pt x="96" y="78"/>
                      </a:lnTo>
                      <a:lnTo>
                        <a:pt x="98" y="78"/>
                      </a:lnTo>
                      <a:lnTo>
                        <a:pt x="102" y="76"/>
                      </a:lnTo>
                      <a:lnTo>
                        <a:pt x="106" y="76"/>
                      </a:lnTo>
                      <a:lnTo>
                        <a:pt x="110" y="74"/>
                      </a:lnTo>
                      <a:lnTo>
                        <a:pt x="116" y="74"/>
                      </a:lnTo>
                      <a:lnTo>
                        <a:pt x="122" y="72"/>
                      </a:lnTo>
                      <a:close/>
                    </a:path>
                  </a:pathLst>
                </a:custGeom>
                <a:grpFill/>
                <a:ln w="6350">
                  <a:solidFill>
                    <a:srgbClr val="FFFFFF"/>
                  </a:solidFill>
                  <a:prstDash val="solid"/>
                  <a:round/>
                  <a:headEnd/>
                  <a:tailEnd/>
                </a:ln>
              </p:spPr>
              <p:txBody>
                <a:bodyPr vert="horz" wrap="square" lIns="49449" tIns="24725" rIns="49449" bIns="24725" numCol="1" anchor="t" anchorCtr="0" compatLnSpc="1">
                  <a:prstTxWarp prst="textNoShape">
                    <a:avLst/>
                  </a:prstTxWarp>
                </a:bodyPr>
                <a:lstStyle/>
                <a:p>
                  <a:endParaRPr lang="fr-FR" sz="1242" dirty="0">
                    <a:latin typeface="Calibri" panose="020F0502020204030204" pitchFamily="34" charset="0"/>
                    <a:cs typeface="Calibri" panose="020F0502020204030204" pitchFamily="34" charset="0"/>
                  </a:endParaRPr>
                </a:p>
              </p:txBody>
            </p:sp>
          </p:grpSp>
          <p:sp>
            <p:nvSpPr>
              <p:cNvPr id="45" name="Ellipse 29">
                <a:extLst>
                  <a:ext uri="{FF2B5EF4-FFF2-40B4-BE49-F238E27FC236}">
                    <a16:creationId xmlns:a16="http://schemas.microsoft.com/office/drawing/2014/main" id="{F98DBC90-C3AF-44AB-8812-287666EFC220}"/>
                  </a:ext>
                </a:extLst>
              </p:cNvPr>
              <p:cNvSpPr/>
              <p:nvPr/>
            </p:nvSpPr>
            <p:spPr bwMode="auto">
              <a:xfrm>
                <a:off x="8614906" y="3205266"/>
                <a:ext cx="108000" cy="108000"/>
              </a:xfrm>
              <a:prstGeom prst="ellipse">
                <a:avLst/>
              </a:prstGeom>
              <a:solidFill>
                <a:schemeClr val="tx2"/>
              </a:solidFill>
              <a:ln w="9525" cap="flat" cmpd="sng" algn="ctr">
                <a:solidFill>
                  <a:schemeClr val="tx1"/>
                </a:solidFill>
                <a:prstDash val="solid"/>
                <a:round/>
                <a:headEnd type="none" w="med" len="med"/>
                <a:tailEnd type="none" w="med" len="med"/>
              </a:ln>
              <a:effectLst/>
            </p:spPr>
            <p:txBody>
              <a:bodyPr vert="horz" wrap="square" lIns="49449" tIns="24725" rIns="49449" bIns="24725" numCol="1" rtlCol="0" anchor="ctr" anchorCtr="0" compatLnSpc="1">
                <a:prstTxWarp prst="textNoShape">
                  <a:avLst/>
                </a:prstTxWarp>
              </a:bodyPr>
              <a:lstStyle/>
              <a:p>
                <a:pPr algn="ctr" defTabSz="563949">
                  <a:lnSpc>
                    <a:spcPct val="115000"/>
                  </a:lnSpc>
                </a:pPr>
                <a:endParaRPr lang="fr-FR" sz="1242" dirty="0">
                  <a:latin typeface="Calibri" panose="020F0502020204030204" pitchFamily="34" charset="0"/>
                  <a:cs typeface="Calibri" panose="020F0502020204030204" pitchFamily="34" charset="0"/>
                </a:endParaRPr>
              </a:p>
            </p:txBody>
          </p:sp>
          <p:sp>
            <p:nvSpPr>
              <p:cNvPr id="46" name="Ellipse 30">
                <a:extLst>
                  <a:ext uri="{FF2B5EF4-FFF2-40B4-BE49-F238E27FC236}">
                    <a16:creationId xmlns:a16="http://schemas.microsoft.com/office/drawing/2014/main" id="{478B232B-2C75-427A-8F10-70E6104D41FA}"/>
                  </a:ext>
                </a:extLst>
              </p:cNvPr>
              <p:cNvSpPr/>
              <p:nvPr/>
            </p:nvSpPr>
            <p:spPr bwMode="auto">
              <a:xfrm>
                <a:off x="8778304" y="2516098"/>
                <a:ext cx="108000" cy="108000"/>
              </a:xfrm>
              <a:prstGeom prst="ellipse">
                <a:avLst/>
              </a:prstGeom>
              <a:solidFill>
                <a:schemeClr val="accent5"/>
              </a:solidFill>
              <a:ln w="9525" cap="flat" cmpd="sng" algn="ctr">
                <a:solidFill>
                  <a:schemeClr val="tx1"/>
                </a:solidFill>
                <a:prstDash val="solid"/>
                <a:round/>
                <a:headEnd type="none" w="med" len="med"/>
                <a:tailEnd type="none" w="med" len="med"/>
              </a:ln>
              <a:effectLst/>
            </p:spPr>
            <p:txBody>
              <a:bodyPr vert="horz" wrap="square" lIns="49449" tIns="24725" rIns="49449" bIns="24725" numCol="1" rtlCol="0" anchor="ctr" anchorCtr="0" compatLnSpc="1">
                <a:prstTxWarp prst="textNoShape">
                  <a:avLst/>
                </a:prstTxWarp>
              </a:bodyPr>
              <a:lstStyle/>
              <a:p>
                <a:pPr algn="ctr" defTabSz="563949">
                  <a:lnSpc>
                    <a:spcPct val="115000"/>
                  </a:lnSpc>
                </a:pPr>
                <a:endParaRPr lang="fr-FR" sz="1242" dirty="0">
                  <a:latin typeface="Calibri" panose="020F0502020204030204" pitchFamily="34" charset="0"/>
                  <a:cs typeface="Calibri" panose="020F0502020204030204" pitchFamily="34" charset="0"/>
                </a:endParaRPr>
              </a:p>
            </p:txBody>
          </p:sp>
          <p:sp>
            <p:nvSpPr>
              <p:cNvPr id="47" name="Ellipse 31">
                <a:extLst>
                  <a:ext uri="{FF2B5EF4-FFF2-40B4-BE49-F238E27FC236}">
                    <a16:creationId xmlns:a16="http://schemas.microsoft.com/office/drawing/2014/main" id="{68DE1E1F-1E77-4AE2-A2CF-71BE69343E2C}"/>
                  </a:ext>
                </a:extLst>
              </p:cNvPr>
              <p:cNvSpPr/>
              <p:nvPr/>
            </p:nvSpPr>
            <p:spPr bwMode="auto">
              <a:xfrm>
                <a:off x="9569643" y="1801098"/>
                <a:ext cx="108000" cy="108000"/>
              </a:xfrm>
              <a:prstGeom prst="ellipse">
                <a:avLst/>
              </a:prstGeom>
              <a:solidFill>
                <a:schemeClr val="tx2"/>
              </a:solidFill>
              <a:ln w="9525" cap="flat" cmpd="sng" algn="ctr">
                <a:solidFill>
                  <a:schemeClr val="tx1"/>
                </a:solidFill>
                <a:prstDash val="solid"/>
                <a:round/>
                <a:headEnd type="none" w="med" len="med"/>
                <a:tailEnd type="none" w="med" len="med"/>
              </a:ln>
              <a:effectLst/>
            </p:spPr>
            <p:txBody>
              <a:bodyPr vert="horz" wrap="square" lIns="49449" tIns="24725" rIns="49449" bIns="24725" numCol="1" rtlCol="0" anchor="ctr" anchorCtr="0" compatLnSpc="1">
                <a:prstTxWarp prst="textNoShape">
                  <a:avLst/>
                </a:prstTxWarp>
              </a:bodyPr>
              <a:lstStyle/>
              <a:p>
                <a:pPr algn="ctr" defTabSz="563949">
                  <a:lnSpc>
                    <a:spcPct val="115000"/>
                  </a:lnSpc>
                </a:pPr>
                <a:endParaRPr lang="fr-FR" sz="1242" dirty="0">
                  <a:latin typeface="Calibri" panose="020F0502020204030204" pitchFamily="34" charset="0"/>
                  <a:cs typeface="Calibri" panose="020F0502020204030204" pitchFamily="34" charset="0"/>
                </a:endParaRPr>
              </a:p>
            </p:txBody>
          </p:sp>
          <p:sp>
            <p:nvSpPr>
              <p:cNvPr id="48" name="Ellipse 32">
                <a:extLst>
                  <a:ext uri="{FF2B5EF4-FFF2-40B4-BE49-F238E27FC236}">
                    <a16:creationId xmlns:a16="http://schemas.microsoft.com/office/drawing/2014/main" id="{9DAC6EEE-8B61-400B-8052-C0C1A70E243B}"/>
                  </a:ext>
                </a:extLst>
              </p:cNvPr>
              <p:cNvSpPr/>
              <p:nvPr/>
            </p:nvSpPr>
            <p:spPr bwMode="auto">
              <a:xfrm>
                <a:off x="9322206" y="2721255"/>
                <a:ext cx="108000" cy="108000"/>
              </a:xfrm>
              <a:prstGeom prst="ellipse">
                <a:avLst/>
              </a:prstGeom>
              <a:solidFill>
                <a:schemeClr val="tx2"/>
              </a:solidFill>
              <a:ln w="9525" cap="flat" cmpd="sng" algn="ctr">
                <a:solidFill>
                  <a:schemeClr val="tx1"/>
                </a:solidFill>
                <a:prstDash val="solid"/>
                <a:round/>
                <a:headEnd type="none" w="med" len="med"/>
                <a:tailEnd type="none" w="med" len="med"/>
              </a:ln>
              <a:effectLst/>
            </p:spPr>
            <p:txBody>
              <a:bodyPr vert="horz" wrap="square" lIns="49449" tIns="24725" rIns="49449" bIns="24725" numCol="1" rtlCol="0" anchor="ctr" anchorCtr="0" compatLnSpc="1">
                <a:prstTxWarp prst="textNoShape">
                  <a:avLst/>
                </a:prstTxWarp>
              </a:bodyPr>
              <a:lstStyle/>
              <a:p>
                <a:pPr algn="ctr" defTabSz="563949">
                  <a:lnSpc>
                    <a:spcPct val="115000"/>
                  </a:lnSpc>
                </a:pPr>
                <a:endParaRPr lang="fr-FR" sz="1242" dirty="0">
                  <a:latin typeface="Calibri" panose="020F0502020204030204" pitchFamily="34" charset="0"/>
                  <a:cs typeface="Calibri" panose="020F0502020204030204" pitchFamily="34" charset="0"/>
                </a:endParaRPr>
              </a:p>
            </p:txBody>
          </p:sp>
          <p:sp>
            <p:nvSpPr>
              <p:cNvPr id="49" name="Ellipse 32">
                <a:extLst>
                  <a:ext uri="{FF2B5EF4-FFF2-40B4-BE49-F238E27FC236}">
                    <a16:creationId xmlns:a16="http://schemas.microsoft.com/office/drawing/2014/main" id="{83752F05-9815-4D63-9D2A-862BBE80ADD3}"/>
                  </a:ext>
                </a:extLst>
              </p:cNvPr>
              <p:cNvSpPr/>
              <p:nvPr/>
            </p:nvSpPr>
            <p:spPr bwMode="auto">
              <a:xfrm>
                <a:off x="9441416" y="4401882"/>
                <a:ext cx="108000" cy="108000"/>
              </a:xfrm>
              <a:prstGeom prst="ellipse">
                <a:avLst/>
              </a:prstGeom>
              <a:solidFill>
                <a:schemeClr val="tx2"/>
              </a:solidFill>
              <a:ln w="9525" cap="flat" cmpd="sng" algn="ctr">
                <a:solidFill>
                  <a:schemeClr val="tx1"/>
                </a:solidFill>
                <a:prstDash val="solid"/>
                <a:round/>
                <a:headEnd type="none" w="med" len="med"/>
                <a:tailEnd type="none" w="med" len="med"/>
              </a:ln>
              <a:effectLst/>
            </p:spPr>
            <p:txBody>
              <a:bodyPr vert="horz" wrap="square" lIns="49449" tIns="24725" rIns="49449" bIns="24725" numCol="1" rtlCol="0" anchor="ctr" anchorCtr="0" compatLnSpc="1">
                <a:prstTxWarp prst="textNoShape">
                  <a:avLst/>
                </a:prstTxWarp>
              </a:bodyPr>
              <a:lstStyle/>
              <a:p>
                <a:pPr algn="ctr" defTabSz="563949">
                  <a:lnSpc>
                    <a:spcPct val="115000"/>
                  </a:lnSpc>
                </a:pPr>
                <a:endParaRPr lang="fr-FR" sz="1242" dirty="0">
                  <a:latin typeface="Calibri" panose="020F0502020204030204" pitchFamily="34" charset="0"/>
                  <a:cs typeface="Calibri" panose="020F0502020204030204" pitchFamily="34" charset="0"/>
                </a:endParaRPr>
              </a:p>
            </p:txBody>
          </p:sp>
        </p:grpSp>
        <p:sp>
          <p:nvSpPr>
            <p:cNvPr id="7" name="Rectangle 6">
              <a:extLst>
                <a:ext uri="{FF2B5EF4-FFF2-40B4-BE49-F238E27FC236}">
                  <a16:creationId xmlns:a16="http://schemas.microsoft.com/office/drawing/2014/main" id="{FAE56538-A618-480E-9446-94E710955259}"/>
                </a:ext>
              </a:extLst>
            </p:cNvPr>
            <p:cNvSpPr/>
            <p:nvPr/>
          </p:nvSpPr>
          <p:spPr bwMode="auto">
            <a:xfrm>
              <a:off x="5174220" y="1842208"/>
              <a:ext cx="3240000" cy="2190259"/>
            </a:xfrm>
            <a:prstGeom prst="rect">
              <a:avLst/>
            </a:prstGeom>
            <a:noFill/>
            <a:ln w="12700" cap="flat" cmpd="sng" algn="ctr">
              <a:solidFill>
                <a:schemeClr val="accent2">
                  <a:lumMod val="75000"/>
                </a:schemeClr>
              </a:solidFill>
              <a:prstDash val="solid"/>
              <a:round/>
              <a:headEnd type="none" w="med" len="med"/>
              <a:tailEnd type="none" w="med" len="med"/>
            </a:ln>
            <a:effectLst/>
          </p:spPr>
          <p:txBody>
            <a:bodyPr rot="0" spcFirstLastPara="0" vertOverflow="overflow" horzOverflow="overflow" vert="horz" wrap="square" lIns="74582" tIns="74582" rIns="74582" bIns="74582" numCol="1" spcCol="0" rtlCol="0" fromWordArt="0" anchor="t" anchorCtr="0" forceAA="0" compatLnSpc="1">
              <a:prstTxWarp prst="textNoShape">
                <a:avLst/>
              </a:prstTxWarp>
              <a:noAutofit/>
            </a:bodyPr>
            <a:lstStyle/>
            <a:p>
              <a:pPr defTabSz="1080357">
                <a:spcBef>
                  <a:spcPts val="622"/>
                </a:spcBef>
                <a:buSzPct val="80000"/>
              </a:pPr>
              <a:endParaRPr lang="fr-FR" sz="1449" dirty="0">
                <a:latin typeface="Calibri" panose="020F0502020204030204" pitchFamily="34" charset="0"/>
                <a:cs typeface="Calibri" panose="020F0502020204030204" pitchFamily="34" charset="0"/>
              </a:endParaRPr>
            </a:p>
          </p:txBody>
        </p:sp>
        <p:sp>
          <p:nvSpPr>
            <p:cNvPr id="8" name="ZoneTexte 7">
              <a:extLst>
                <a:ext uri="{FF2B5EF4-FFF2-40B4-BE49-F238E27FC236}">
                  <a16:creationId xmlns:a16="http://schemas.microsoft.com/office/drawing/2014/main" id="{F8950ACD-FDA7-4510-B73D-083A8B85282B}"/>
                </a:ext>
              </a:extLst>
            </p:cNvPr>
            <p:cNvSpPr txBox="1"/>
            <p:nvPr/>
          </p:nvSpPr>
          <p:spPr>
            <a:xfrm>
              <a:off x="5057512" y="1641613"/>
              <a:ext cx="2520000" cy="298844"/>
            </a:xfrm>
            <a:prstGeom prst="rect">
              <a:avLst/>
            </a:prstGeom>
            <a:solidFill>
              <a:schemeClr val="tx2"/>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52926" tIns="52926" rIns="52926" bIns="52926" numCol="1" rtlCol="0" anchor="ctr" anchorCtr="0" compatLnSpc="1">
              <a:prstTxWarp prst="textNoShape">
                <a:avLst/>
              </a:prstTxWarp>
            </a:bodyPr>
            <a:lstStyle>
              <a:defPPr>
                <a:defRPr lang="en-US"/>
              </a:defPPr>
              <a:lvl1pPr marR="0" lvl="0" indent="0" defTabSz="1042988" fontAlgn="auto">
                <a:lnSpc>
                  <a:spcPct val="115000"/>
                </a:lnSpc>
                <a:spcBef>
                  <a:spcPts val="600"/>
                </a:spcBef>
                <a:spcAft>
                  <a:spcPts val="0"/>
                </a:spcAft>
                <a:buClrTx/>
                <a:buSzPct val="80000"/>
                <a:buFontTx/>
                <a:buNone/>
                <a:tabLst/>
                <a:defRPr kumimoji="0" sz="1400" b="1" i="0" u="none" strike="noStrike" kern="0" cap="none" spc="0" normalizeH="0" baseline="0">
                  <a:ln>
                    <a:noFill/>
                  </a:ln>
                  <a:solidFill>
                    <a:srgbClr val="FFFFFF"/>
                  </a:solidFill>
                  <a:effectLst/>
                  <a:uLnTx/>
                  <a:uFillTx/>
                  <a:latin typeface="Calibri" panose="020F0502020204030204" pitchFamily="34" charset="0"/>
                  <a:cs typeface="Calibri" panose="020F0502020204030204" pitchFamily="34" charset="0"/>
                </a:defRPr>
              </a:lvl1pPr>
            </a:lstStyle>
            <a:p>
              <a:r>
                <a:rPr lang="fr-FR" dirty="0"/>
                <a:t>Spécialiste de l’Industrie</a:t>
              </a:r>
            </a:p>
          </p:txBody>
        </p:sp>
        <p:sp>
          <p:nvSpPr>
            <p:cNvPr id="13" name="ZoneTexte 12">
              <a:extLst>
                <a:ext uri="{FF2B5EF4-FFF2-40B4-BE49-F238E27FC236}">
                  <a16:creationId xmlns:a16="http://schemas.microsoft.com/office/drawing/2014/main" id="{16E87C5D-A0AF-4CE6-91B4-C4BB6717BB42}"/>
                </a:ext>
              </a:extLst>
            </p:cNvPr>
            <p:cNvSpPr txBox="1"/>
            <p:nvPr/>
          </p:nvSpPr>
          <p:spPr>
            <a:xfrm>
              <a:off x="5289676" y="3706460"/>
              <a:ext cx="844738" cy="270997"/>
            </a:xfrm>
            <a:prstGeom prst="rect">
              <a:avLst/>
            </a:prstGeom>
          </p:spPr>
          <p:txBody>
            <a:bodyPr vert="horz" wrap="square" lIns="0" tIns="36005" rIns="0" bIns="36005" rtlCol="0">
              <a:noAutofit/>
            </a:bodyPr>
            <a:lstStyle/>
            <a:p>
              <a:pPr defTabSz="391036">
                <a:spcBef>
                  <a:spcPts val="600"/>
                </a:spcBef>
                <a:buClr>
                  <a:schemeClr val="tx1"/>
                </a:buClr>
                <a:buSzPct val="100000"/>
              </a:pPr>
              <a:r>
                <a:rPr lang="fr-FR" sz="1200" dirty="0">
                  <a:solidFill>
                    <a:schemeClr val="tx2"/>
                  </a:solidFill>
                  <a:latin typeface="Calibri" panose="020F0502020204030204" pitchFamily="34" charset="0"/>
                  <a:cs typeface="Calibri" panose="020F0502020204030204" pitchFamily="34" charset="0"/>
                </a:rPr>
                <a:t>Transports</a:t>
              </a:r>
            </a:p>
          </p:txBody>
        </p:sp>
        <p:sp>
          <p:nvSpPr>
            <p:cNvPr id="14" name="ZoneTexte 13">
              <a:extLst>
                <a:ext uri="{FF2B5EF4-FFF2-40B4-BE49-F238E27FC236}">
                  <a16:creationId xmlns:a16="http://schemas.microsoft.com/office/drawing/2014/main" id="{A94D66E1-24DA-409F-8481-E275F5B298BA}"/>
                </a:ext>
              </a:extLst>
            </p:cNvPr>
            <p:cNvSpPr txBox="1"/>
            <p:nvPr/>
          </p:nvSpPr>
          <p:spPr>
            <a:xfrm>
              <a:off x="6377149" y="2772487"/>
              <a:ext cx="860434" cy="182179"/>
            </a:xfrm>
            <a:prstGeom prst="rect">
              <a:avLst/>
            </a:prstGeom>
          </p:spPr>
          <p:txBody>
            <a:bodyPr vert="horz" wrap="square" lIns="0" tIns="36005" rIns="0" bIns="36005" rtlCol="0">
              <a:noAutofit/>
            </a:bodyPr>
            <a:lstStyle/>
            <a:p>
              <a:pPr algn="ctr" defTabSz="391036">
                <a:spcBef>
                  <a:spcPts val="600"/>
                </a:spcBef>
                <a:buClr>
                  <a:schemeClr val="tx1"/>
                </a:buClr>
                <a:buSzPct val="100000"/>
              </a:pPr>
              <a:r>
                <a:rPr lang="fr-FR" sz="1200" dirty="0">
                  <a:solidFill>
                    <a:schemeClr val="tx2"/>
                  </a:solidFill>
                  <a:latin typeface="Calibri" panose="020F0502020204030204" pitchFamily="34" charset="0"/>
                  <a:cs typeface="Calibri" panose="020F0502020204030204" pitchFamily="34" charset="0"/>
                </a:rPr>
                <a:t>Pharma &amp; Santé</a:t>
              </a:r>
            </a:p>
          </p:txBody>
        </p:sp>
        <p:sp>
          <p:nvSpPr>
            <p:cNvPr id="16" name="ZoneTexte 15">
              <a:extLst>
                <a:ext uri="{FF2B5EF4-FFF2-40B4-BE49-F238E27FC236}">
                  <a16:creationId xmlns:a16="http://schemas.microsoft.com/office/drawing/2014/main" id="{545A64DF-F424-41E1-8C64-256B2C1C1026}"/>
                </a:ext>
              </a:extLst>
            </p:cNvPr>
            <p:cNvSpPr txBox="1"/>
            <p:nvPr/>
          </p:nvSpPr>
          <p:spPr>
            <a:xfrm>
              <a:off x="5273980" y="2756619"/>
              <a:ext cx="860434" cy="238334"/>
            </a:xfrm>
            <a:prstGeom prst="rect">
              <a:avLst/>
            </a:prstGeom>
          </p:spPr>
          <p:txBody>
            <a:bodyPr vert="horz" wrap="square" lIns="0" tIns="36005" rIns="0" bIns="36005" rtlCol="0">
              <a:noAutofit/>
            </a:bodyPr>
            <a:lstStyle/>
            <a:p>
              <a:pPr algn="ctr" defTabSz="391036">
                <a:spcBef>
                  <a:spcPts val="600"/>
                </a:spcBef>
                <a:buClr>
                  <a:schemeClr val="tx1"/>
                </a:buClr>
                <a:buSzPct val="100000"/>
              </a:pPr>
              <a:r>
                <a:rPr lang="fr-FR" sz="1200" dirty="0">
                  <a:solidFill>
                    <a:schemeClr val="tx2"/>
                  </a:solidFill>
                  <a:latin typeface="Calibri" panose="020F0502020204030204" pitchFamily="34" charset="0"/>
                  <a:cs typeface="Calibri" panose="020F0502020204030204" pitchFamily="34" charset="0"/>
                </a:rPr>
                <a:t>Aéronautique &amp; Défense</a:t>
              </a:r>
            </a:p>
          </p:txBody>
        </p:sp>
        <p:sp>
          <p:nvSpPr>
            <p:cNvPr id="17" name="ZoneTexte 16">
              <a:extLst>
                <a:ext uri="{FF2B5EF4-FFF2-40B4-BE49-F238E27FC236}">
                  <a16:creationId xmlns:a16="http://schemas.microsoft.com/office/drawing/2014/main" id="{D6382326-C516-424C-9EA7-04D8BDE169C0}"/>
                </a:ext>
              </a:extLst>
            </p:cNvPr>
            <p:cNvSpPr txBox="1"/>
            <p:nvPr/>
          </p:nvSpPr>
          <p:spPr>
            <a:xfrm>
              <a:off x="5287563" y="1976735"/>
              <a:ext cx="2636309" cy="279128"/>
            </a:xfrm>
            <a:prstGeom prst="rect">
              <a:avLst/>
            </a:prstGeom>
          </p:spPr>
          <p:txBody>
            <a:bodyPr vert="horz" wrap="square" lIns="0" tIns="36005" rIns="0" bIns="36005" rtlCol="0">
              <a:noAutofit/>
            </a:bodyPr>
            <a:lstStyle/>
            <a:p>
              <a:pPr defTabSz="391036">
                <a:spcBef>
                  <a:spcPts val="600"/>
                </a:spcBef>
                <a:buClr>
                  <a:schemeClr val="tx1"/>
                </a:buClr>
                <a:buSzPct val="100000"/>
              </a:pPr>
              <a:r>
                <a:rPr lang="fr-FR" sz="1400" dirty="0">
                  <a:solidFill>
                    <a:schemeClr val="tx2"/>
                  </a:solidFill>
                  <a:latin typeface="Calibri" panose="020F0502020204030204" pitchFamily="34" charset="0"/>
                  <a:cs typeface="Calibri" panose="020F0502020204030204" pitchFamily="34" charset="0"/>
                </a:rPr>
                <a:t>90% de l’activité du cabinet</a:t>
              </a:r>
            </a:p>
          </p:txBody>
        </p:sp>
        <p:sp>
          <p:nvSpPr>
            <p:cNvPr id="18" name="Rectangle 17">
              <a:extLst>
                <a:ext uri="{FF2B5EF4-FFF2-40B4-BE49-F238E27FC236}">
                  <a16:creationId xmlns:a16="http://schemas.microsoft.com/office/drawing/2014/main" id="{3DA93AF5-B22E-4B1B-8258-F04234E4D7EC}"/>
                </a:ext>
              </a:extLst>
            </p:cNvPr>
            <p:cNvSpPr/>
            <p:nvPr/>
          </p:nvSpPr>
          <p:spPr bwMode="auto">
            <a:xfrm>
              <a:off x="1059763" y="1790800"/>
              <a:ext cx="3240000" cy="2241666"/>
            </a:xfrm>
            <a:prstGeom prst="rect">
              <a:avLst/>
            </a:prstGeom>
            <a:noFill/>
            <a:ln w="12700" cap="flat" cmpd="sng" algn="ctr">
              <a:solidFill>
                <a:schemeClr val="accent2">
                  <a:lumMod val="75000"/>
                </a:schemeClr>
              </a:solidFill>
              <a:prstDash val="solid"/>
              <a:round/>
              <a:headEnd type="none" w="med" len="med"/>
              <a:tailEnd type="none" w="med" len="med"/>
            </a:ln>
            <a:effectLst/>
          </p:spPr>
          <p:txBody>
            <a:bodyPr rot="0" spcFirstLastPara="0" vertOverflow="overflow" horzOverflow="overflow" vert="horz" wrap="square" lIns="45449" tIns="45449" rIns="45449" bIns="45449" numCol="1" spcCol="0" rtlCol="0" fromWordArt="0" anchor="t" anchorCtr="0" forceAA="0" compatLnSpc="1">
              <a:prstTxWarp prst="textNoShape">
                <a:avLst/>
              </a:prstTxWarp>
              <a:noAutofit/>
            </a:bodyPr>
            <a:lstStyle/>
            <a:p>
              <a:pPr defTabSz="658343">
                <a:spcBef>
                  <a:spcPts val="379"/>
                </a:spcBef>
                <a:buSzPct val="80000"/>
              </a:pPr>
              <a:endParaRPr lang="fr-FR" sz="1400" dirty="0">
                <a:latin typeface="Calibri" panose="020F0502020204030204" pitchFamily="34" charset="0"/>
                <a:cs typeface="Calibri" panose="020F0502020204030204" pitchFamily="34" charset="0"/>
              </a:endParaRPr>
            </a:p>
          </p:txBody>
        </p:sp>
        <p:sp>
          <p:nvSpPr>
            <p:cNvPr id="19" name="ZoneTexte 18">
              <a:extLst>
                <a:ext uri="{FF2B5EF4-FFF2-40B4-BE49-F238E27FC236}">
                  <a16:creationId xmlns:a16="http://schemas.microsoft.com/office/drawing/2014/main" id="{4A39425D-7881-418B-B33B-D12D7585E6E7}"/>
                </a:ext>
              </a:extLst>
            </p:cNvPr>
            <p:cNvSpPr txBox="1"/>
            <p:nvPr/>
          </p:nvSpPr>
          <p:spPr>
            <a:xfrm>
              <a:off x="913694" y="1642319"/>
              <a:ext cx="2520000" cy="297435"/>
            </a:xfrm>
            <a:prstGeom prst="rect">
              <a:avLst/>
            </a:prstGeom>
            <a:solidFill>
              <a:schemeClr val="tx2"/>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52926" tIns="52926" rIns="52926" bIns="52926" numCol="1" rtlCol="0" anchor="ctr" anchorCtr="0" compatLnSpc="1">
              <a:prstTxWarp prst="textNoShape">
                <a:avLst/>
              </a:prstTxWarp>
            </a:bodyPr>
            <a:lstStyle>
              <a:defPPr>
                <a:defRPr lang="en-GB"/>
              </a:defPPr>
              <a:lvl1pPr marL="0" marR="0" lvl="0" indent="0" algn="ctr" defTabSz="1042988" eaLnBrk="1" fontAlgn="auto" latinLnBrk="0" hangingPunct="1">
                <a:lnSpc>
                  <a:spcPct val="115000"/>
                </a:lnSpc>
                <a:spcBef>
                  <a:spcPts val="600"/>
                </a:spcBef>
                <a:spcAft>
                  <a:spcPts val="0"/>
                </a:spcAft>
                <a:buClrTx/>
                <a:buSzPct val="80000"/>
                <a:buFontTx/>
                <a:buNone/>
                <a:tabLst/>
                <a:defRPr kumimoji="0" sz="1568" b="1" i="0" u="none" strike="noStrike" kern="0" cap="none" spc="0" normalizeH="0" baseline="0">
                  <a:ln>
                    <a:noFill/>
                  </a:ln>
                  <a:solidFill>
                    <a:srgbClr val="FFFFFF"/>
                  </a:solidFill>
                  <a:effectLst/>
                  <a:uLnTx/>
                  <a:uFillTx/>
                  <a:latin typeface="Arial" pitchFamily="34" charset="0"/>
                  <a:cs typeface="Arial" pitchFamily="34" charset="0"/>
                </a:defRPr>
              </a:lvl1pPr>
            </a:lstStyle>
            <a:p>
              <a:pPr algn="l"/>
              <a:r>
                <a:rPr lang="fr-FR" sz="1400" dirty="0">
                  <a:latin typeface="Calibri" panose="020F0502020204030204" pitchFamily="34" charset="0"/>
                  <a:cs typeface="Calibri" panose="020F0502020204030204" pitchFamily="34" charset="0"/>
                </a:rPr>
                <a:t>CYLAD Consulting</a:t>
              </a:r>
            </a:p>
          </p:txBody>
        </p:sp>
        <p:sp>
          <p:nvSpPr>
            <p:cNvPr id="20" name="ZoneTexte 19">
              <a:extLst>
                <a:ext uri="{FF2B5EF4-FFF2-40B4-BE49-F238E27FC236}">
                  <a16:creationId xmlns:a16="http://schemas.microsoft.com/office/drawing/2014/main" id="{DD174056-DA88-4609-A1ED-E9D22DDFE27B}"/>
                </a:ext>
              </a:extLst>
            </p:cNvPr>
            <p:cNvSpPr txBox="1"/>
            <p:nvPr/>
          </p:nvSpPr>
          <p:spPr>
            <a:xfrm>
              <a:off x="1890662" y="2113613"/>
              <a:ext cx="2224980" cy="1814480"/>
            </a:xfrm>
            <a:prstGeom prst="rect">
              <a:avLst/>
            </a:prstGeom>
            <a:noFill/>
          </p:spPr>
          <p:txBody>
            <a:bodyPr wrap="square" rtlCol="0">
              <a:noAutofit/>
            </a:bodyPr>
            <a:lstStyle/>
            <a:p>
              <a:pPr marL="168744" indent="-168744">
                <a:spcBef>
                  <a:spcPts val="757"/>
                </a:spcBef>
                <a:buSzPct val="80000"/>
                <a:buFont typeface="Webdings"/>
                <a:buChar char="4"/>
              </a:pPr>
              <a:r>
                <a:rPr lang="fr-FR" sz="1400" dirty="0">
                  <a:solidFill>
                    <a:schemeClr val="tx2"/>
                  </a:solidFill>
                  <a:latin typeface="Calibri" panose="020F0502020204030204" pitchFamily="34" charset="0"/>
                  <a:cs typeface="Calibri" panose="020F0502020204030204" pitchFamily="34" charset="0"/>
                </a:rPr>
                <a:t>Cabinet </a:t>
              </a:r>
              <a:r>
                <a:rPr lang="fr-FR" sz="1400" b="1" dirty="0">
                  <a:solidFill>
                    <a:schemeClr val="tx2"/>
                  </a:solidFill>
                  <a:latin typeface="Calibri" panose="020F0502020204030204" pitchFamily="34" charset="0"/>
                  <a:cs typeface="Calibri" panose="020F0502020204030204" pitchFamily="34" charset="0"/>
                </a:rPr>
                <a:t>indépendant </a:t>
              </a:r>
            </a:p>
            <a:p>
              <a:pPr marL="168744" indent="-168744">
                <a:spcBef>
                  <a:spcPts val="757"/>
                </a:spcBef>
                <a:buSzPct val="80000"/>
                <a:buFont typeface="Webdings"/>
                <a:buChar char="4"/>
              </a:pPr>
              <a:r>
                <a:rPr lang="fr-FR" sz="1400" dirty="0">
                  <a:solidFill>
                    <a:schemeClr val="tx2"/>
                  </a:solidFill>
                  <a:latin typeface="Calibri" panose="020F0502020204030204" pitchFamily="34" charset="0"/>
                  <a:cs typeface="Calibri" panose="020F0502020204030204" pitchFamily="34" charset="0"/>
                </a:rPr>
                <a:t>Créé en </a:t>
              </a:r>
              <a:r>
                <a:rPr lang="fr-FR" sz="1400" b="1" dirty="0">
                  <a:solidFill>
                    <a:schemeClr val="tx2"/>
                  </a:solidFill>
                  <a:latin typeface="Calibri" panose="020F0502020204030204" pitchFamily="34" charset="0"/>
                  <a:cs typeface="Calibri" panose="020F0502020204030204" pitchFamily="34" charset="0"/>
                </a:rPr>
                <a:t>2007</a:t>
              </a:r>
            </a:p>
            <a:p>
              <a:pPr marL="168744" indent="-168744">
                <a:spcBef>
                  <a:spcPts val="757"/>
                </a:spcBef>
                <a:buSzPct val="80000"/>
                <a:buFont typeface="Webdings"/>
                <a:buChar char="4"/>
              </a:pPr>
              <a:r>
                <a:rPr lang="fr-FR" sz="1400" b="1" dirty="0">
                  <a:solidFill>
                    <a:schemeClr val="tx2"/>
                  </a:solidFill>
                  <a:latin typeface="Calibri" panose="020F0502020204030204" pitchFamily="34" charset="0"/>
                  <a:cs typeface="Calibri" panose="020F0502020204030204" pitchFamily="34" charset="0"/>
                </a:rPr>
                <a:t>90</a:t>
              </a:r>
              <a:r>
                <a:rPr lang="fr-FR" sz="1400" dirty="0">
                  <a:solidFill>
                    <a:schemeClr val="tx2"/>
                  </a:solidFill>
                  <a:latin typeface="Calibri" panose="020F0502020204030204" pitchFamily="34" charset="0"/>
                  <a:cs typeface="Calibri" panose="020F0502020204030204" pitchFamily="34" charset="0"/>
                </a:rPr>
                <a:t> Consultants</a:t>
              </a:r>
            </a:p>
            <a:p>
              <a:pPr marL="168744" indent="-168744">
                <a:spcBef>
                  <a:spcPts val="757"/>
                </a:spcBef>
                <a:buSzPct val="80000"/>
                <a:buFont typeface="Webdings"/>
                <a:buChar char="4"/>
              </a:pPr>
              <a:r>
                <a:rPr lang="fr-FR" sz="1400" b="1" dirty="0">
                  <a:solidFill>
                    <a:schemeClr val="tx2"/>
                  </a:solidFill>
                  <a:latin typeface="Calibri" panose="020F0502020204030204" pitchFamily="34" charset="0"/>
                  <a:cs typeface="Calibri" panose="020F0502020204030204" pitchFamily="34" charset="0"/>
                </a:rPr>
                <a:t>5</a:t>
              </a:r>
              <a:r>
                <a:rPr lang="fr-FR" sz="1400" dirty="0">
                  <a:solidFill>
                    <a:schemeClr val="tx2"/>
                  </a:solidFill>
                  <a:latin typeface="Calibri" panose="020F0502020204030204" pitchFamily="34" charset="0"/>
                  <a:cs typeface="Calibri" panose="020F0502020204030204" pitchFamily="34" charset="0"/>
                </a:rPr>
                <a:t> analystes </a:t>
              </a:r>
              <a:r>
                <a:rPr lang="fr-FR" sz="1400" b="1" dirty="0">
                  <a:solidFill>
                    <a:schemeClr val="tx2"/>
                  </a:solidFill>
                  <a:latin typeface="Calibri" panose="020F0502020204030204" pitchFamily="34" charset="0"/>
                  <a:cs typeface="Calibri" panose="020F0502020204030204" pitchFamily="34" charset="0"/>
                </a:rPr>
                <a:t>Big Data et IA</a:t>
              </a:r>
            </a:p>
            <a:p>
              <a:pPr marL="168744" indent="-168744">
                <a:spcBef>
                  <a:spcPts val="757"/>
                </a:spcBef>
                <a:buSzPct val="80000"/>
                <a:buFont typeface="Webdings"/>
                <a:buChar char="4"/>
              </a:pPr>
              <a:r>
                <a:rPr lang="fr-FR" sz="1400" b="1" dirty="0">
                  <a:solidFill>
                    <a:schemeClr val="tx2"/>
                  </a:solidFill>
                  <a:latin typeface="Calibri" panose="020F0502020204030204" pitchFamily="34" charset="0"/>
                  <a:cs typeface="Calibri" panose="020F0502020204030204" pitchFamily="34" charset="0"/>
                </a:rPr>
                <a:t>12</a:t>
              </a:r>
              <a:r>
                <a:rPr lang="fr-FR" sz="1400" dirty="0">
                  <a:solidFill>
                    <a:schemeClr val="tx2"/>
                  </a:solidFill>
                  <a:latin typeface="Calibri" panose="020F0502020204030204" pitchFamily="34" charset="0"/>
                  <a:cs typeface="Calibri" panose="020F0502020204030204" pitchFamily="34" charset="0"/>
                </a:rPr>
                <a:t> Directeurs associés</a:t>
              </a:r>
            </a:p>
            <a:p>
              <a:pPr marL="168744" indent="-168744">
                <a:spcBef>
                  <a:spcPts val="757"/>
                </a:spcBef>
                <a:buSzPct val="80000"/>
                <a:buFont typeface="Webdings"/>
                <a:buChar char="4"/>
              </a:pPr>
              <a:r>
                <a:rPr lang="fr-FR" sz="1400" dirty="0">
                  <a:solidFill>
                    <a:schemeClr val="tx2"/>
                  </a:solidFill>
                  <a:latin typeface="Calibri" panose="020F0502020204030204" pitchFamily="34" charset="0"/>
                  <a:cs typeface="Calibri" panose="020F0502020204030204" pitchFamily="34" charset="0"/>
                </a:rPr>
                <a:t>Politique </a:t>
              </a:r>
              <a:r>
                <a:rPr lang="fr-FR" sz="1400" b="1" dirty="0">
                  <a:solidFill>
                    <a:schemeClr val="tx2"/>
                  </a:solidFill>
                  <a:latin typeface="Calibri" panose="020F0502020204030204" pitchFamily="34" charset="0"/>
                  <a:cs typeface="Calibri" panose="020F0502020204030204" pitchFamily="34" charset="0"/>
                </a:rPr>
                <a:t>RSE</a:t>
              </a:r>
            </a:p>
          </p:txBody>
        </p:sp>
        <p:sp>
          <p:nvSpPr>
            <p:cNvPr id="21" name="Rectangle 20">
              <a:extLst>
                <a:ext uri="{FF2B5EF4-FFF2-40B4-BE49-F238E27FC236}">
                  <a16:creationId xmlns:a16="http://schemas.microsoft.com/office/drawing/2014/main" id="{FB248A7E-B0BC-4B3F-BE24-58834F4301E9}"/>
                </a:ext>
              </a:extLst>
            </p:cNvPr>
            <p:cNvSpPr/>
            <p:nvPr/>
          </p:nvSpPr>
          <p:spPr bwMode="auto">
            <a:xfrm>
              <a:off x="1059763" y="4492304"/>
              <a:ext cx="3240000" cy="2241666"/>
            </a:xfrm>
            <a:prstGeom prst="rect">
              <a:avLst/>
            </a:prstGeom>
            <a:noFill/>
            <a:ln w="12700" cap="flat" cmpd="sng" algn="ctr">
              <a:solidFill>
                <a:schemeClr val="accent2">
                  <a:lumMod val="75000"/>
                </a:schemeClr>
              </a:solidFill>
              <a:prstDash val="solid"/>
              <a:round/>
              <a:headEnd type="none" w="med" len="med"/>
              <a:tailEnd type="none" w="med" len="med"/>
            </a:ln>
            <a:effectLst/>
          </p:spPr>
          <p:txBody>
            <a:bodyPr rot="0" spcFirstLastPara="0" vertOverflow="overflow" horzOverflow="overflow" vert="horz" wrap="square" lIns="45449" tIns="45449" rIns="45449" bIns="45449" numCol="1" spcCol="0" rtlCol="0" fromWordArt="0" anchor="t" anchorCtr="0" forceAA="0" compatLnSpc="1">
              <a:prstTxWarp prst="textNoShape">
                <a:avLst/>
              </a:prstTxWarp>
              <a:noAutofit/>
            </a:bodyPr>
            <a:lstStyle/>
            <a:p>
              <a:pPr defTabSz="658343">
                <a:spcBef>
                  <a:spcPts val="379"/>
                </a:spcBef>
                <a:buSzPct val="80000"/>
              </a:pPr>
              <a:endParaRPr lang="fr-FR" sz="1400" dirty="0">
                <a:latin typeface="Calibri" panose="020F0502020204030204" pitchFamily="34" charset="0"/>
                <a:cs typeface="Calibri" panose="020F0502020204030204" pitchFamily="34" charset="0"/>
              </a:endParaRPr>
            </a:p>
          </p:txBody>
        </p:sp>
        <p:sp>
          <p:nvSpPr>
            <p:cNvPr id="22" name="ZoneTexte 21">
              <a:extLst>
                <a:ext uri="{FF2B5EF4-FFF2-40B4-BE49-F238E27FC236}">
                  <a16:creationId xmlns:a16="http://schemas.microsoft.com/office/drawing/2014/main" id="{89663B94-F28D-4AAD-A21D-EA1E337F6471}"/>
                </a:ext>
              </a:extLst>
            </p:cNvPr>
            <p:cNvSpPr txBox="1"/>
            <p:nvPr/>
          </p:nvSpPr>
          <p:spPr>
            <a:xfrm>
              <a:off x="913694" y="4338256"/>
              <a:ext cx="2520000" cy="297435"/>
            </a:xfrm>
            <a:prstGeom prst="rect">
              <a:avLst/>
            </a:prstGeom>
            <a:solidFill>
              <a:schemeClr val="tx2"/>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52926" tIns="52926" rIns="52926" bIns="52926" numCol="1" rtlCol="0" anchor="ctr" anchorCtr="0" compatLnSpc="1">
              <a:prstTxWarp prst="textNoShape">
                <a:avLst/>
              </a:prstTxWarp>
            </a:bodyPr>
            <a:lstStyle>
              <a:defPPr>
                <a:defRPr lang="en-GB"/>
              </a:defPPr>
              <a:lvl1pPr marL="0" marR="0" lvl="0" indent="0" algn="ctr" defTabSz="1042988" eaLnBrk="1" fontAlgn="auto" latinLnBrk="0" hangingPunct="1">
                <a:lnSpc>
                  <a:spcPct val="115000"/>
                </a:lnSpc>
                <a:spcBef>
                  <a:spcPts val="600"/>
                </a:spcBef>
                <a:spcAft>
                  <a:spcPts val="0"/>
                </a:spcAft>
                <a:buClrTx/>
                <a:buSzPct val="80000"/>
                <a:buFontTx/>
                <a:buNone/>
                <a:tabLst/>
                <a:defRPr kumimoji="0" sz="1568" b="1" i="0" u="none" strike="noStrike" kern="0" cap="none" spc="0" normalizeH="0" baseline="0">
                  <a:ln>
                    <a:noFill/>
                  </a:ln>
                  <a:solidFill>
                    <a:srgbClr val="FFFFFF"/>
                  </a:solidFill>
                  <a:effectLst/>
                  <a:uLnTx/>
                  <a:uFillTx/>
                  <a:latin typeface="Arial" pitchFamily="34" charset="0"/>
                  <a:cs typeface="Arial" pitchFamily="34" charset="0"/>
                </a:defRPr>
              </a:lvl1pPr>
            </a:lstStyle>
            <a:p>
              <a:pPr algn="l"/>
              <a:r>
                <a:rPr lang="fr-FR" sz="1400" dirty="0">
                  <a:latin typeface="Calibri" panose="020F0502020204030204" pitchFamily="34" charset="0"/>
                  <a:cs typeface="Calibri" panose="020F0502020204030204" pitchFamily="34" charset="0"/>
                </a:rPr>
                <a:t>CYLAD Training</a:t>
              </a:r>
            </a:p>
          </p:txBody>
        </p:sp>
        <p:sp>
          <p:nvSpPr>
            <p:cNvPr id="23" name="ZoneTexte 22">
              <a:extLst>
                <a:ext uri="{FF2B5EF4-FFF2-40B4-BE49-F238E27FC236}">
                  <a16:creationId xmlns:a16="http://schemas.microsoft.com/office/drawing/2014/main" id="{FD41A362-11EB-4C3C-B0DF-BECAB084E439}"/>
                </a:ext>
              </a:extLst>
            </p:cNvPr>
            <p:cNvSpPr txBox="1"/>
            <p:nvPr/>
          </p:nvSpPr>
          <p:spPr>
            <a:xfrm>
              <a:off x="1893735" y="4687778"/>
              <a:ext cx="2406028" cy="1272143"/>
            </a:xfrm>
            <a:prstGeom prst="rect">
              <a:avLst/>
            </a:prstGeom>
            <a:noFill/>
          </p:spPr>
          <p:txBody>
            <a:bodyPr wrap="square" rtlCol="0">
              <a:spAutoFit/>
            </a:bodyPr>
            <a:lstStyle/>
            <a:p>
              <a:pPr marL="168744" indent="-168744">
                <a:spcBef>
                  <a:spcPts val="379"/>
                </a:spcBef>
                <a:buSzPct val="80000"/>
                <a:buFont typeface="Webdings"/>
                <a:buChar char="4"/>
              </a:pPr>
              <a:r>
                <a:rPr lang="fr-FR" sz="1400" dirty="0">
                  <a:solidFill>
                    <a:schemeClr val="tx2"/>
                  </a:solidFill>
                  <a:latin typeface="Calibri" panose="020F0502020204030204" pitchFamily="34" charset="0"/>
                  <a:cs typeface="Calibri" panose="020F0502020204030204" pitchFamily="34" charset="0"/>
                </a:rPr>
                <a:t>Formation et coaching</a:t>
              </a:r>
            </a:p>
            <a:p>
              <a:pPr marL="168744" indent="-168744">
                <a:spcBef>
                  <a:spcPts val="379"/>
                </a:spcBef>
                <a:buSzPct val="80000"/>
                <a:buFont typeface="Webdings"/>
                <a:buChar char="4"/>
              </a:pPr>
              <a:r>
                <a:rPr lang="fr-FR" sz="1400" dirty="0">
                  <a:solidFill>
                    <a:schemeClr val="tx2"/>
                  </a:solidFill>
                  <a:latin typeface="Calibri" panose="020F0502020204030204" pitchFamily="34" charset="0"/>
                  <a:cs typeface="Calibri" panose="020F0502020204030204" pitchFamily="34" charset="0"/>
                </a:rPr>
                <a:t>Equipes de direction / management </a:t>
              </a:r>
            </a:p>
            <a:p>
              <a:pPr marL="168744" indent="-168744">
                <a:spcBef>
                  <a:spcPts val="379"/>
                </a:spcBef>
                <a:buSzPct val="80000"/>
                <a:buFont typeface="Webdings"/>
                <a:buChar char="4"/>
              </a:pPr>
              <a:r>
                <a:rPr lang="fr-FR" sz="1400" dirty="0" err="1">
                  <a:solidFill>
                    <a:schemeClr val="tx2"/>
                  </a:solidFill>
                  <a:latin typeface="Calibri" panose="020F0502020204030204" pitchFamily="34" charset="0"/>
                  <a:cs typeface="Calibri" panose="020F0502020204030204" pitchFamily="34" charset="0"/>
                </a:rPr>
                <a:t>Supply</a:t>
              </a:r>
              <a:r>
                <a:rPr lang="fr-FR" sz="1400" dirty="0">
                  <a:solidFill>
                    <a:schemeClr val="tx2"/>
                  </a:solidFill>
                  <a:latin typeface="Calibri" panose="020F0502020204030204" pitchFamily="34" charset="0"/>
                  <a:cs typeface="Calibri" panose="020F0502020204030204" pitchFamily="34" charset="0"/>
                </a:rPr>
                <a:t> </a:t>
              </a:r>
              <a:r>
                <a:rPr lang="fr-FR" sz="1400" dirty="0" err="1">
                  <a:solidFill>
                    <a:schemeClr val="tx2"/>
                  </a:solidFill>
                  <a:latin typeface="Calibri" panose="020F0502020204030204" pitchFamily="34" charset="0"/>
                  <a:cs typeface="Calibri" panose="020F0502020204030204" pitchFamily="34" charset="0"/>
                </a:rPr>
                <a:t>chain</a:t>
              </a:r>
              <a:r>
                <a:rPr lang="fr-FR" sz="1400" dirty="0">
                  <a:solidFill>
                    <a:schemeClr val="tx2"/>
                  </a:solidFill>
                  <a:latin typeface="Calibri" panose="020F0502020204030204" pitchFamily="34" charset="0"/>
                  <a:cs typeface="Calibri" panose="020F0502020204030204" pitchFamily="34" charset="0"/>
                </a:rPr>
                <a:t>, agilité, </a:t>
              </a:r>
              <a:r>
                <a:rPr lang="fr-FR" sz="1400" dirty="0" err="1">
                  <a:solidFill>
                    <a:schemeClr val="tx2"/>
                  </a:solidFill>
                  <a:latin typeface="Calibri" panose="020F0502020204030204" pitchFamily="34" charset="0"/>
                  <a:cs typeface="Calibri" panose="020F0502020204030204" pitchFamily="34" charset="0"/>
                </a:rPr>
                <a:t>lean</a:t>
              </a:r>
              <a:r>
                <a:rPr lang="fr-FR" sz="1400" dirty="0">
                  <a:solidFill>
                    <a:schemeClr val="tx2"/>
                  </a:solidFill>
                  <a:latin typeface="Calibri" panose="020F0502020204030204" pitchFamily="34" charset="0"/>
                  <a:cs typeface="Calibri" panose="020F0502020204030204" pitchFamily="34" charset="0"/>
                </a:rPr>
                <a:t>, gestion de projet …</a:t>
              </a:r>
            </a:p>
          </p:txBody>
        </p:sp>
        <p:pic>
          <p:nvPicPr>
            <p:cNvPr id="24" name="Picture 2">
              <a:extLst>
                <a:ext uri="{FF2B5EF4-FFF2-40B4-BE49-F238E27FC236}">
                  <a16:creationId xmlns:a16="http://schemas.microsoft.com/office/drawing/2014/main" id="{0F670351-F6DD-4C41-AE8F-2F72E26D6B94}"/>
                </a:ext>
              </a:extLst>
            </p:cNvPr>
            <p:cNvPicPr>
              <a:picLocks noChangeAspect="1" noChangeArrowheads="1"/>
            </p:cNvPicPr>
            <p:nvPr/>
          </p:nvPicPr>
          <p:blipFill>
            <a:blip r:embed="rId9" cstate="screen">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246164" y="2823196"/>
              <a:ext cx="574342" cy="58555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6">
              <a:extLst>
                <a:ext uri="{FF2B5EF4-FFF2-40B4-BE49-F238E27FC236}">
                  <a16:creationId xmlns:a16="http://schemas.microsoft.com/office/drawing/2014/main" id="{F6CB233A-AF07-4647-BA1B-E0F71E71E6E4}"/>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199819" y="4942751"/>
              <a:ext cx="626367" cy="669544"/>
            </a:xfrm>
            <a:prstGeom prst="rect">
              <a:avLst/>
            </a:prstGeom>
            <a:noFill/>
            <a:extLst>
              <a:ext uri="{909E8E84-426E-40DD-AFC4-6F175D3DCCD1}">
                <a14:hiddenFill xmlns:a14="http://schemas.microsoft.com/office/drawing/2010/main">
                  <a:solidFill>
                    <a:srgbClr val="FFFFFF"/>
                  </a:solidFill>
                </a14:hiddenFill>
              </a:ext>
            </a:extLst>
          </p:spPr>
        </p:pic>
        <p:pic>
          <p:nvPicPr>
            <p:cNvPr id="26" name="Image 25">
              <a:extLst>
                <a:ext uri="{FF2B5EF4-FFF2-40B4-BE49-F238E27FC236}">
                  <a16:creationId xmlns:a16="http://schemas.microsoft.com/office/drawing/2014/main" id="{394BA97E-15DB-4292-A79A-90B76D6D3A69}"/>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172363" y="5726585"/>
              <a:ext cx="816121" cy="879953"/>
            </a:xfrm>
            <a:prstGeom prst="rect">
              <a:avLst/>
            </a:prstGeom>
          </p:spPr>
        </p:pic>
        <p:pic>
          <p:nvPicPr>
            <p:cNvPr id="27" name="Image 26">
              <a:extLst>
                <a:ext uri="{FF2B5EF4-FFF2-40B4-BE49-F238E27FC236}">
                  <a16:creationId xmlns:a16="http://schemas.microsoft.com/office/drawing/2014/main" id="{D7E92070-690A-45EC-9D43-CE28F8970A30}"/>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178294" y="2305706"/>
              <a:ext cx="717124" cy="297435"/>
            </a:xfrm>
            <a:prstGeom prst="rect">
              <a:avLst/>
            </a:prstGeom>
          </p:spPr>
        </p:pic>
        <p:sp>
          <p:nvSpPr>
            <p:cNvPr id="28" name="Rectangle 27">
              <a:extLst>
                <a:ext uri="{FF2B5EF4-FFF2-40B4-BE49-F238E27FC236}">
                  <a16:creationId xmlns:a16="http://schemas.microsoft.com/office/drawing/2014/main" id="{B3415E09-E203-4C45-9280-EC8796F94174}"/>
                </a:ext>
              </a:extLst>
            </p:cNvPr>
            <p:cNvSpPr/>
            <p:nvPr/>
          </p:nvSpPr>
          <p:spPr bwMode="auto">
            <a:xfrm>
              <a:off x="9414810" y="1790799"/>
              <a:ext cx="3240000" cy="2236300"/>
            </a:xfrm>
            <a:prstGeom prst="rect">
              <a:avLst/>
            </a:prstGeom>
            <a:noFill/>
            <a:ln w="12700" cap="flat" cmpd="sng" algn="ctr">
              <a:solidFill>
                <a:schemeClr val="accent2">
                  <a:lumMod val="75000"/>
                </a:schemeClr>
              </a:solidFill>
              <a:prstDash val="solid"/>
              <a:round/>
              <a:headEnd type="none" w="med" len="med"/>
              <a:tailEnd type="none" w="med" len="med"/>
            </a:ln>
            <a:effectLst/>
          </p:spPr>
          <p:txBody>
            <a:bodyPr rot="0" spcFirstLastPara="0" vertOverflow="overflow" horzOverflow="overflow" vert="horz" wrap="square" lIns="45449" tIns="45449" rIns="45449" bIns="45449" numCol="1" spcCol="0" rtlCol="0" fromWordArt="0" anchor="t" anchorCtr="0" forceAA="0" compatLnSpc="1">
              <a:prstTxWarp prst="textNoShape">
                <a:avLst/>
              </a:prstTxWarp>
              <a:noAutofit/>
            </a:bodyPr>
            <a:lstStyle/>
            <a:p>
              <a:pPr marL="168744" indent="-168744" defTabSz="658343">
                <a:spcBef>
                  <a:spcPts val="379"/>
                </a:spcBef>
                <a:buSzPct val="80000"/>
                <a:buFont typeface="Webdings"/>
                <a:buChar char="4"/>
              </a:pPr>
              <a:endParaRPr lang="fr-FR" sz="1400" dirty="0">
                <a:latin typeface="Calibri" panose="020F0502020204030204" pitchFamily="34" charset="0"/>
                <a:cs typeface="Calibri" panose="020F0502020204030204" pitchFamily="34" charset="0"/>
              </a:endParaRPr>
            </a:p>
          </p:txBody>
        </p:sp>
        <p:sp>
          <p:nvSpPr>
            <p:cNvPr id="29" name="ZoneTexte 28">
              <a:extLst>
                <a:ext uri="{FF2B5EF4-FFF2-40B4-BE49-F238E27FC236}">
                  <a16:creationId xmlns:a16="http://schemas.microsoft.com/office/drawing/2014/main" id="{FDD07129-1906-476A-8698-8B66A84913A3}"/>
                </a:ext>
              </a:extLst>
            </p:cNvPr>
            <p:cNvSpPr txBox="1"/>
            <p:nvPr/>
          </p:nvSpPr>
          <p:spPr>
            <a:xfrm>
              <a:off x="9344655" y="1642319"/>
              <a:ext cx="2520000" cy="297435"/>
            </a:xfrm>
            <a:prstGeom prst="rect">
              <a:avLst/>
            </a:prstGeom>
            <a:solidFill>
              <a:schemeClr val="tx2"/>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52926" tIns="52926" rIns="52926" bIns="52926" numCol="1" rtlCol="0" anchor="ctr" anchorCtr="0" compatLnSpc="1">
              <a:prstTxWarp prst="textNoShape">
                <a:avLst/>
              </a:prstTxWarp>
            </a:bodyPr>
            <a:lstStyle>
              <a:defPPr>
                <a:defRPr lang="en-GB"/>
              </a:defPPr>
              <a:lvl1pPr marL="0" marR="0" lvl="0" indent="0" algn="ctr" defTabSz="1042988" eaLnBrk="1" fontAlgn="auto" latinLnBrk="0" hangingPunct="1">
                <a:lnSpc>
                  <a:spcPct val="115000"/>
                </a:lnSpc>
                <a:spcBef>
                  <a:spcPts val="600"/>
                </a:spcBef>
                <a:spcAft>
                  <a:spcPts val="0"/>
                </a:spcAft>
                <a:buClrTx/>
                <a:buSzPct val="80000"/>
                <a:buFontTx/>
                <a:buNone/>
                <a:tabLst/>
                <a:defRPr kumimoji="0" sz="1568" b="1" i="0" u="none" strike="noStrike" kern="0" cap="none" spc="0" normalizeH="0" baseline="0">
                  <a:ln>
                    <a:noFill/>
                  </a:ln>
                  <a:solidFill>
                    <a:srgbClr val="FFFFFF"/>
                  </a:solidFill>
                  <a:effectLst/>
                  <a:uLnTx/>
                  <a:uFillTx/>
                  <a:latin typeface="Arial" pitchFamily="34" charset="0"/>
                  <a:cs typeface="Arial" pitchFamily="34" charset="0"/>
                </a:defRPr>
              </a:lvl1pPr>
            </a:lstStyle>
            <a:p>
              <a:pPr algn="l"/>
              <a:r>
                <a:rPr lang="fr-FR" sz="1400" dirty="0">
                  <a:latin typeface="Calibri" panose="020F0502020204030204" pitchFamily="34" charset="0"/>
                  <a:cs typeface="Calibri" panose="020F0502020204030204" pitchFamily="34" charset="0"/>
                </a:rPr>
                <a:t>Présence internationale</a:t>
              </a:r>
            </a:p>
          </p:txBody>
        </p:sp>
        <p:sp>
          <p:nvSpPr>
            <p:cNvPr id="30" name="ZoneTexte 29">
              <a:extLst>
                <a:ext uri="{FF2B5EF4-FFF2-40B4-BE49-F238E27FC236}">
                  <a16:creationId xmlns:a16="http://schemas.microsoft.com/office/drawing/2014/main" id="{73E963D2-A2EB-4E7E-A5F5-E372F1CFEA7D}"/>
                </a:ext>
              </a:extLst>
            </p:cNvPr>
            <p:cNvSpPr txBox="1"/>
            <p:nvPr/>
          </p:nvSpPr>
          <p:spPr>
            <a:xfrm>
              <a:off x="10850599" y="2053744"/>
              <a:ext cx="1696246" cy="1897955"/>
            </a:xfrm>
            <a:prstGeom prst="rect">
              <a:avLst/>
            </a:prstGeom>
            <a:noFill/>
          </p:spPr>
          <p:txBody>
            <a:bodyPr wrap="square" rtlCol="0">
              <a:spAutoFit/>
            </a:bodyPr>
            <a:lstStyle/>
            <a:p>
              <a:pPr marL="168744" indent="-168744">
                <a:spcBef>
                  <a:spcPts val="757"/>
                </a:spcBef>
                <a:buSzPct val="80000"/>
                <a:buFont typeface="Webdings"/>
                <a:buChar char="4"/>
              </a:pPr>
              <a:r>
                <a:rPr lang="fr-FR" sz="1400" dirty="0">
                  <a:solidFill>
                    <a:schemeClr val="tx2"/>
                  </a:solidFill>
                  <a:latin typeface="Calibri" panose="020F0502020204030204" pitchFamily="34" charset="0"/>
                  <a:cs typeface="Calibri" panose="020F0502020204030204" pitchFamily="34" charset="0"/>
                </a:rPr>
                <a:t>Paris</a:t>
              </a:r>
            </a:p>
            <a:p>
              <a:pPr marL="168744" indent="-168744">
                <a:spcBef>
                  <a:spcPts val="757"/>
                </a:spcBef>
                <a:buSzPct val="80000"/>
                <a:buFont typeface="Webdings"/>
                <a:buChar char="4"/>
              </a:pPr>
              <a:r>
                <a:rPr lang="fr-FR" sz="1400" dirty="0">
                  <a:solidFill>
                    <a:schemeClr val="tx2"/>
                  </a:solidFill>
                  <a:latin typeface="Calibri" panose="020F0502020204030204" pitchFamily="34" charset="0"/>
                  <a:cs typeface="Calibri" panose="020F0502020204030204" pitchFamily="34" charset="0"/>
                </a:rPr>
                <a:t>Toulouse</a:t>
              </a:r>
            </a:p>
            <a:p>
              <a:pPr marL="168744" indent="-168744">
                <a:spcBef>
                  <a:spcPts val="757"/>
                </a:spcBef>
                <a:buSzPct val="80000"/>
                <a:buFont typeface="Webdings"/>
                <a:buChar char="4"/>
              </a:pPr>
              <a:r>
                <a:rPr lang="fr-FR" sz="1400" dirty="0">
                  <a:solidFill>
                    <a:schemeClr val="tx2"/>
                  </a:solidFill>
                  <a:latin typeface="Calibri" panose="020F0502020204030204" pitchFamily="34" charset="0"/>
                  <a:cs typeface="Calibri" panose="020F0502020204030204" pitchFamily="34" charset="0"/>
                </a:rPr>
                <a:t>Hambourg </a:t>
              </a:r>
            </a:p>
            <a:p>
              <a:pPr marL="168744" indent="-168744">
                <a:spcBef>
                  <a:spcPts val="757"/>
                </a:spcBef>
                <a:buSzPct val="80000"/>
                <a:buFont typeface="Webdings"/>
                <a:buChar char="4"/>
              </a:pPr>
              <a:r>
                <a:rPr lang="fr-FR" sz="1400" dirty="0">
                  <a:solidFill>
                    <a:schemeClr val="tx2"/>
                  </a:solidFill>
                  <a:latin typeface="Calibri" panose="020F0502020204030204" pitchFamily="34" charset="0"/>
                  <a:cs typeface="Calibri" panose="020F0502020204030204" pitchFamily="34" charset="0"/>
                </a:rPr>
                <a:t>Zurich / Zug</a:t>
              </a:r>
            </a:p>
            <a:p>
              <a:pPr marL="168744" indent="-168744">
                <a:spcBef>
                  <a:spcPts val="757"/>
                </a:spcBef>
                <a:buSzPct val="80000"/>
                <a:buFont typeface="Webdings"/>
                <a:buChar char="4"/>
              </a:pPr>
              <a:r>
                <a:rPr lang="fr-FR" sz="1400" dirty="0">
                  <a:solidFill>
                    <a:schemeClr val="tx2"/>
                  </a:solidFill>
                  <a:latin typeface="Calibri" panose="020F0502020204030204" pitchFamily="34" charset="0"/>
                  <a:cs typeface="Calibri" panose="020F0502020204030204" pitchFamily="34" charset="0"/>
                </a:rPr>
                <a:t>Melbourne (Aus.)</a:t>
              </a:r>
            </a:p>
            <a:p>
              <a:pPr marL="168744" indent="-168744">
                <a:spcBef>
                  <a:spcPts val="757"/>
                </a:spcBef>
                <a:buSzPct val="80000"/>
                <a:buFont typeface="Webdings"/>
                <a:buChar char="4"/>
              </a:pPr>
              <a:r>
                <a:rPr lang="fr-FR" sz="1400" dirty="0">
                  <a:solidFill>
                    <a:schemeClr val="tx2"/>
                  </a:solidFill>
                  <a:latin typeface="Calibri" panose="020F0502020204030204" pitchFamily="34" charset="0"/>
                  <a:cs typeface="Calibri" panose="020F0502020204030204" pitchFamily="34" charset="0"/>
                </a:rPr>
                <a:t>Montréal (Can.)</a:t>
              </a:r>
            </a:p>
          </p:txBody>
        </p:sp>
        <p:sp>
          <p:nvSpPr>
            <p:cNvPr id="31" name="Rectangle 30">
              <a:extLst>
                <a:ext uri="{FF2B5EF4-FFF2-40B4-BE49-F238E27FC236}">
                  <a16:creationId xmlns:a16="http://schemas.microsoft.com/office/drawing/2014/main" id="{70FA8963-539C-462A-9EC5-FE29CA76B48E}"/>
                </a:ext>
              </a:extLst>
            </p:cNvPr>
            <p:cNvSpPr/>
            <p:nvPr/>
          </p:nvSpPr>
          <p:spPr bwMode="auto">
            <a:xfrm>
              <a:off x="9414810" y="4492304"/>
              <a:ext cx="3240000" cy="2241666"/>
            </a:xfrm>
            <a:prstGeom prst="rect">
              <a:avLst/>
            </a:prstGeom>
            <a:noFill/>
            <a:ln w="12700" cap="flat" cmpd="sng" algn="ctr">
              <a:solidFill>
                <a:schemeClr val="accent2">
                  <a:lumMod val="75000"/>
                </a:schemeClr>
              </a:solidFill>
              <a:prstDash val="solid"/>
              <a:round/>
              <a:headEnd type="none" w="med" len="med"/>
              <a:tailEnd type="none" w="med" len="med"/>
            </a:ln>
            <a:effectLst/>
          </p:spPr>
          <p:txBody>
            <a:bodyPr rot="0" spcFirstLastPara="0" vertOverflow="overflow" horzOverflow="overflow" vert="horz" wrap="square" lIns="45449" tIns="45449" rIns="45449" bIns="45449" numCol="1" spcCol="0" rtlCol="0" fromWordArt="0" anchor="t" anchorCtr="0" forceAA="0" compatLnSpc="1">
              <a:prstTxWarp prst="textNoShape">
                <a:avLst/>
              </a:prstTxWarp>
              <a:noAutofit/>
            </a:bodyPr>
            <a:lstStyle/>
            <a:p>
              <a:pPr defTabSz="658343">
                <a:spcBef>
                  <a:spcPts val="379"/>
                </a:spcBef>
                <a:buSzPct val="80000"/>
              </a:pPr>
              <a:endParaRPr lang="fr-FR" sz="1400" dirty="0">
                <a:latin typeface="Calibri" panose="020F0502020204030204" pitchFamily="34" charset="0"/>
                <a:cs typeface="Calibri" panose="020F0502020204030204" pitchFamily="34" charset="0"/>
              </a:endParaRPr>
            </a:p>
          </p:txBody>
        </p:sp>
        <p:sp>
          <p:nvSpPr>
            <p:cNvPr id="32" name="ZoneTexte 31">
              <a:extLst>
                <a:ext uri="{FF2B5EF4-FFF2-40B4-BE49-F238E27FC236}">
                  <a16:creationId xmlns:a16="http://schemas.microsoft.com/office/drawing/2014/main" id="{A6030D30-BCCB-4EF0-8B7F-8723D9BADA61}"/>
                </a:ext>
              </a:extLst>
            </p:cNvPr>
            <p:cNvSpPr txBox="1"/>
            <p:nvPr/>
          </p:nvSpPr>
          <p:spPr>
            <a:xfrm>
              <a:off x="9344655" y="4338256"/>
              <a:ext cx="2520000" cy="297435"/>
            </a:xfrm>
            <a:prstGeom prst="rect">
              <a:avLst/>
            </a:prstGeom>
            <a:solidFill>
              <a:schemeClr val="tx2"/>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52926" tIns="52926" rIns="52926" bIns="52926" numCol="1" rtlCol="0" anchor="ctr" anchorCtr="0" compatLnSpc="1">
              <a:prstTxWarp prst="textNoShape">
                <a:avLst/>
              </a:prstTxWarp>
            </a:bodyPr>
            <a:lstStyle>
              <a:defPPr>
                <a:defRPr lang="en-GB"/>
              </a:defPPr>
              <a:lvl1pPr marL="0" marR="0" lvl="0" indent="0" algn="ctr" defTabSz="1042988" eaLnBrk="1" fontAlgn="auto" latinLnBrk="0" hangingPunct="1">
                <a:lnSpc>
                  <a:spcPct val="115000"/>
                </a:lnSpc>
                <a:spcBef>
                  <a:spcPts val="600"/>
                </a:spcBef>
                <a:spcAft>
                  <a:spcPts val="0"/>
                </a:spcAft>
                <a:buClrTx/>
                <a:buSzPct val="80000"/>
                <a:buFontTx/>
                <a:buNone/>
                <a:tabLst/>
                <a:defRPr kumimoji="0" sz="1568" b="1" i="0" u="none" strike="noStrike" kern="0" cap="none" spc="0" normalizeH="0" baseline="0">
                  <a:ln>
                    <a:noFill/>
                  </a:ln>
                  <a:solidFill>
                    <a:srgbClr val="FFFFFF"/>
                  </a:solidFill>
                  <a:effectLst/>
                  <a:uLnTx/>
                  <a:uFillTx/>
                  <a:latin typeface="Arial" pitchFamily="34" charset="0"/>
                  <a:cs typeface="Arial" pitchFamily="34" charset="0"/>
                </a:defRPr>
              </a:lvl1pPr>
            </a:lstStyle>
            <a:p>
              <a:pPr algn="l"/>
              <a:r>
                <a:rPr lang="fr-FR" sz="1400" dirty="0">
                  <a:latin typeface="Calibri" panose="020F0502020204030204" pitchFamily="34" charset="0"/>
                  <a:cs typeface="Calibri" panose="020F0502020204030204" pitchFamily="34" charset="0"/>
                </a:rPr>
                <a:t>Fondation CYLAD</a:t>
              </a:r>
            </a:p>
          </p:txBody>
        </p:sp>
        <p:sp>
          <p:nvSpPr>
            <p:cNvPr id="33" name="ZoneTexte 32">
              <a:extLst>
                <a:ext uri="{FF2B5EF4-FFF2-40B4-BE49-F238E27FC236}">
                  <a16:creationId xmlns:a16="http://schemas.microsoft.com/office/drawing/2014/main" id="{2CCA97D8-BB84-4B45-AAFB-2B2706A26FD1}"/>
                </a:ext>
              </a:extLst>
            </p:cNvPr>
            <p:cNvSpPr txBox="1"/>
            <p:nvPr/>
          </p:nvSpPr>
          <p:spPr>
            <a:xfrm>
              <a:off x="10558303" y="4722355"/>
              <a:ext cx="2166662" cy="1220847"/>
            </a:xfrm>
            <a:prstGeom prst="rect">
              <a:avLst/>
            </a:prstGeom>
            <a:noFill/>
          </p:spPr>
          <p:txBody>
            <a:bodyPr wrap="square" rtlCol="0">
              <a:spAutoFit/>
            </a:bodyPr>
            <a:lstStyle/>
            <a:p>
              <a:pPr marL="168744" indent="-168744">
                <a:spcBef>
                  <a:spcPts val="379"/>
                </a:spcBef>
                <a:buSzPct val="80000"/>
                <a:buFont typeface="Webdings"/>
                <a:buChar char="4"/>
              </a:pPr>
              <a:r>
                <a:rPr lang="fr-FR" sz="1400" dirty="0">
                  <a:solidFill>
                    <a:schemeClr val="tx2"/>
                  </a:solidFill>
                  <a:latin typeface="Calibri" panose="020F0502020204030204" pitchFamily="34" charset="0"/>
                  <a:cs typeface="Calibri" panose="020F0502020204030204" pitchFamily="34" charset="0"/>
                </a:rPr>
                <a:t>Accompagnement d’entrepreneurs</a:t>
              </a:r>
            </a:p>
            <a:p>
              <a:pPr marL="168744" indent="-168744">
                <a:spcBef>
                  <a:spcPts val="379"/>
                </a:spcBef>
                <a:buSzPct val="80000"/>
                <a:buFont typeface="Webdings"/>
                <a:buChar char="4"/>
              </a:pPr>
              <a:r>
                <a:rPr lang="fr-FR" sz="1400" dirty="0">
                  <a:solidFill>
                    <a:schemeClr val="tx2"/>
                  </a:solidFill>
                  <a:latin typeface="Calibri" panose="020F0502020204030204" pitchFamily="34" charset="0"/>
                  <a:cs typeface="Calibri" panose="020F0502020204030204" pitchFamily="34" charset="0"/>
                </a:rPr>
                <a:t>Partenariat avec le Réseau Entreprendre et l’association </a:t>
              </a:r>
              <a:r>
                <a:rPr lang="fr-FR" sz="1400" dirty="0" err="1">
                  <a:solidFill>
                    <a:schemeClr val="tx2"/>
                  </a:solidFill>
                  <a:latin typeface="Calibri" panose="020F0502020204030204" pitchFamily="34" charset="0"/>
                  <a:cs typeface="Calibri" panose="020F0502020204030204" pitchFamily="34" charset="0"/>
                </a:rPr>
                <a:t>Adie</a:t>
              </a:r>
              <a:endParaRPr lang="fr-FR" sz="1400" dirty="0">
                <a:solidFill>
                  <a:schemeClr val="tx2"/>
                </a:solidFill>
                <a:latin typeface="Calibri" panose="020F0502020204030204" pitchFamily="34" charset="0"/>
                <a:cs typeface="Calibri" panose="020F0502020204030204" pitchFamily="34" charset="0"/>
              </a:endParaRPr>
            </a:p>
          </p:txBody>
        </p:sp>
        <p:pic>
          <p:nvPicPr>
            <p:cNvPr id="34" name="Image 33">
              <a:extLst>
                <a:ext uri="{FF2B5EF4-FFF2-40B4-BE49-F238E27FC236}">
                  <a16:creationId xmlns:a16="http://schemas.microsoft.com/office/drawing/2014/main" id="{8568652D-D289-4DFB-BF40-1CB039F69E69}"/>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9552125" y="4900996"/>
              <a:ext cx="1020514" cy="468634"/>
            </a:xfrm>
            <a:prstGeom prst="rect">
              <a:avLst/>
            </a:prstGeom>
          </p:spPr>
        </p:pic>
        <p:pic>
          <p:nvPicPr>
            <p:cNvPr id="35" name="Picture 24">
              <a:extLst>
                <a:ext uri="{FF2B5EF4-FFF2-40B4-BE49-F238E27FC236}">
                  <a16:creationId xmlns:a16="http://schemas.microsoft.com/office/drawing/2014/main" id="{DE0E0288-431B-402C-970E-0BA0BA001FFE}"/>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9669853" y="5537503"/>
              <a:ext cx="945361" cy="563819"/>
            </a:xfrm>
            <a:prstGeom prst="rect">
              <a:avLst/>
            </a:prstGeom>
            <a:noFill/>
            <a:extLst>
              <a:ext uri="{909E8E84-426E-40DD-AFC4-6F175D3DCCD1}">
                <a14:hiddenFill xmlns:a14="http://schemas.microsoft.com/office/drawing/2010/main">
                  <a:solidFill>
                    <a:srgbClr val="FFFFFF"/>
                  </a:solidFill>
                </a14:hiddenFill>
              </a:ext>
            </a:extLst>
          </p:spPr>
        </p:pic>
        <p:sp>
          <p:nvSpPr>
            <p:cNvPr id="36" name="Rectangle 35">
              <a:extLst>
                <a:ext uri="{FF2B5EF4-FFF2-40B4-BE49-F238E27FC236}">
                  <a16:creationId xmlns:a16="http://schemas.microsoft.com/office/drawing/2014/main" id="{E1E59284-86B7-4760-9C94-5D8637990E5A}"/>
                </a:ext>
              </a:extLst>
            </p:cNvPr>
            <p:cNvSpPr/>
            <p:nvPr/>
          </p:nvSpPr>
          <p:spPr bwMode="auto">
            <a:xfrm>
              <a:off x="5174221" y="4492304"/>
              <a:ext cx="3240000" cy="2241666"/>
            </a:xfrm>
            <a:prstGeom prst="rect">
              <a:avLst/>
            </a:prstGeom>
            <a:noFill/>
            <a:ln w="12700" cap="flat" cmpd="sng" algn="ctr">
              <a:solidFill>
                <a:schemeClr val="accent2">
                  <a:lumMod val="75000"/>
                </a:schemeClr>
              </a:solidFill>
              <a:prstDash val="solid"/>
              <a:round/>
              <a:headEnd type="none" w="med" len="med"/>
              <a:tailEnd type="none" w="med" len="med"/>
            </a:ln>
            <a:effectLst/>
          </p:spPr>
          <p:txBody>
            <a:bodyPr rot="0" spcFirstLastPara="0" vertOverflow="overflow" horzOverflow="overflow" vert="horz" wrap="square" lIns="45449" tIns="45449" rIns="45449" bIns="45449" numCol="1" spcCol="0" rtlCol="0" fromWordArt="0" anchor="t" anchorCtr="0" forceAA="0" compatLnSpc="1">
              <a:prstTxWarp prst="textNoShape">
                <a:avLst/>
              </a:prstTxWarp>
              <a:noAutofit/>
            </a:bodyPr>
            <a:lstStyle/>
            <a:p>
              <a:pPr marL="168744" indent="-168744" defTabSz="658343">
                <a:spcBef>
                  <a:spcPts val="379"/>
                </a:spcBef>
                <a:buSzPct val="80000"/>
                <a:buFont typeface="Webdings"/>
                <a:buChar char="4"/>
              </a:pPr>
              <a:endParaRPr lang="fr-FR" sz="1400" dirty="0">
                <a:latin typeface="Calibri" panose="020F0502020204030204" pitchFamily="34" charset="0"/>
                <a:cs typeface="Calibri" panose="020F0502020204030204" pitchFamily="34" charset="0"/>
              </a:endParaRPr>
            </a:p>
          </p:txBody>
        </p:sp>
        <p:sp>
          <p:nvSpPr>
            <p:cNvPr id="37" name="ZoneTexte 36">
              <a:extLst>
                <a:ext uri="{FF2B5EF4-FFF2-40B4-BE49-F238E27FC236}">
                  <a16:creationId xmlns:a16="http://schemas.microsoft.com/office/drawing/2014/main" id="{BBC98A95-C02C-4D9C-ACB0-CEE72EA939F2}"/>
                </a:ext>
              </a:extLst>
            </p:cNvPr>
            <p:cNvSpPr txBox="1"/>
            <p:nvPr/>
          </p:nvSpPr>
          <p:spPr>
            <a:xfrm>
              <a:off x="5058750" y="4338256"/>
              <a:ext cx="2520000" cy="297435"/>
            </a:xfrm>
            <a:prstGeom prst="rect">
              <a:avLst/>
            </a:prstGeom>
            <a:solidFill>
              <a:schemeClr val="tx2"/>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52926" tIns="52926" rIns="52926" bIns="52926" numCol="1" rtlCol="0" anchor="ctr" anchorCtr="0" compatLnSpc="1">
              <a:prstTxWarp prst="textNoShape">
                <a:avLst/>
              </a:prstTxWarp>
            </a:bodyPr>
            <a:lstStyle>
              <a:defPPr>
                <a:defRPr lang="en-GB"/>
              </a:defPPr>
              <a:lvl1pPr marL="0" marR="0" lvl="0" indent="0" algn="ctr" defTabSz="1042988" eaLnBrk="1" fontAlgn="auto" latinLnBrk="0" hangingPunct="1">
                <a:lnSpc>
                  <a:spcPct val="115000"/>
                </a:lnSpc>
                <a:spcBef>
                  <a:spcPts val="600"/>
                </a:spcBef>
                <a:spcAft>
                  <a:spcPts val="0"/>
                </a:spcAft>
                <a:buClrTx/>
                <a:buSzPct val="80000"/>
                <a:buFontTx/>
                <a:buNone/>
                <a:tabLst/>
                <a:defRPr kumimoji="0" sz="1568" b="1" i="0" u="none" strike="noStrike" kern="0" cap="none" spc="0" normalizeH="0" baseline="0">
                  <a:ln>
                    <a:noFill/>
                  </a:ln>
                  <a:solidFill>
                    <a:srgbClr val="FFFFFF"/>
                  </a:solidFill>
                  <a:effectLst/>
                  <a:uLnTx/>
                  <a:uFillTx/>
                  <a:latin typeface="Arial" pitchFamily="34" charset="0"/>
                  <a:cs typeface="Arial" pitchFamily="34" charset="0"/>
                </a:defRPr>
              </a:lvl1pPr>
            </a:lstStyle>
            <a:p>
              <a:pPr algn="l"/>
              <a:r>
                <a:rPr lang="fr-FR" sz="1400" dirty="0">
                  <a:latin typeface="Calibri" panose="020F0502020204030204" pitchFamily="34" charset="0"/>
                  <a:cs typeface="Calibri" panose="020F0502020204030204" pitchFamily="34" charset="0"/>
                </a:rPr>
                <a:t>Expertises</a:t>
              </a:r>
            </a:p>
          </p:txBody>
        </p:sp>
        <p:sp>
          <p:nvSpPr>
            <p:cNvPr id="38" name="ZoneTexte 37">
              <a:extLst>
                <a:ext uri="{FF2B5EF4-FFF2-40B4-BE49-F238E27FC236}">
                  <a16:creationId xmlns:a16="http://schemas.microsoft.com/office/drawing/2014/main" id="{051FD110-2F27-4201-AD37-E27CD8BF0207}"/>
                </a:ext>
              </a:extLst>
            </p:cNvPr>
            <p:cNvSpPr txBox="1"/>
            <p:nvPr/>
          </p:nvSpPr>
          <p:spPr>
            <a:xfrm>
              <a:off x="5104342" y="4687780"/>
              <a:ext cx="3239999" cy="1908215"/>
            </a:xfrm>
            <a:prstGeom prst="rect">
              <a:avLst/>
            </a:prstGeom>
            <a:noFill/>
          </p:spPr>
          <p:txBody>
            <a:bodyPr wrap="square" rtlCol="0">
              <a:spAutoFit/>
            </a:bodyPr>
            <a:lstStyle/>
            <a:p>
              <a:pPr marL="132173" indent="-132173">
                <a:spcBef>
                  <a:spcPts val="379"/>
                </a:spcBef>
                <a:buSzPct val="80000"/>
                <a:buFont typeface="Webdings"/>
                <a:buChar char="4"/>
              </a:pPr>
              <a:r>
                <a:rPr lang="fr-FR" sz="1400" dirty="0">
                  <a:solidFill>
                    <a:schemeClr val="tx2"/>
                  </a:solidFill>
                  <a:latin typeface="Calibri" panose="020F0502020204030204" pitchFamily="34" charset="0"/>
                  <a:cs typeface="Calibri" panose="020F0502020204030204" pitchFamily="34" charset="0"/>
                </a:rPr>
                <a:t>Stratégie de croissance &amp; offres</a:t>
              </a:r>
            </a:p>
            <a:p>
              <a:pPr marL="132173" indent="-132173">
                <a:spcBef>
                  <a:spcPts val="379"/>
                </a:spcBef>
                <a:buSzPct val="80000"/>
                <a:buFont typeface="Webdings"/>
                <a:buChar char="4"/>
              </a:pPr>
              <a:r>
                <a:rPr lang="fr-FR" sz="1400" dirty="0">
                  <a:solidFill>
                    <a:schemeClr val="tx2"/>
                  </a:solidFill>
                  <a:latin typeface="Calibri" panose="020F0502020204030204" pitchFamily="34" charset="0"/>
                  <a:cs typeface="Calibri" panose="020F0502020204030204" pitchFamily="34" charset="0"/>
                </a:rPr>
                <a:t>Développement de produit &amp; services</a:t>
              </a:r>
            </a:p>
            <a:p>
              <a:pPr marL="132173" indent="-132173">
                <a:spcBef>
                  <a:spcPts val="379"/>
                </a:spcBef>
                <a:buSzPct val="80000"/>
                <a:buFont typeface="Webdings"/>
                <a:buChar char="4"/>
              </a:pPr>
              <a:r>
                <a:rPr lang="fr-FR" sz="1400" dirty="0">
                  <a:solidFill>
                    <a:schemeClr val="tx2"/>
                  </a:solidFill>
                  <a:latin typeface="Calibri" panose="020F0502020204030204" pitchFamily="34" charset="0"/>
                  <a:cs typeface="Calibri" panose="020F0502020204030204" pitchFamily="34" charset="0"/>
                </a:rPr>
                <a:t>Gestion de projet &amp; portefeuille</a:t>
              </a:r>
            </a:p>
            <a:p>
              <a:pPr marL="132173" indent="-132173">
                <a:spcBef>
                  <a:spcPts val="379"/>
                </a:spcBef>
                <a:buSzPct val="80000"/>
                <a:buFont typeface="Webdings"/>
                <a:buChar char="4"/>
              </a:pPr>
              <a:r>
                <a:rPr lang="fr-FR" sz="1400" dirty="0">
                  <a:solidFill>
                    <a:schemeClr val="tx2"/>
                  </a:solidFill>
                  <a:latin typeface="Calibri" panose="020F0502020204030204" pitchFamily="34" charset="0"/>
                  <a:cs typeface="Calibri" panose="020F0502020204030204" pitchFamily="34" charset="0"/>
                </a:rPr>
                <a:t>Transformation digitale</a:t>
              </a:r>
            </a:p>
            <a:p>
              <a:pPr marL="132173" indent="-132173">
                <a:spcBef>
                  <a:spcPts val="379"/>
                </a:spcBef>
                <a:buSzPct val="80000"/>
                <a:buFont typeface="Webdings"/>
                <a:buChar char="4"/>
              </a:pPr>
              <a:r>
                <a:rPr lang="fr-FR" sz="1400" dirty="0" err="1">
                  <a:solidFill>
                    <a:schemeClr val="tx2"/>
                  </a:solidFill>
                  <a:latin typeface="Calibri" panose="020F0502020204030204" pitchFamily="34" charset="0"/>
                  <a:cs typeface="Calibri" panose="020F0502020204030204" pitchFamily="34" charset="0"/>
                </a:rPr>
                <a:t>Supply</a:t>
              </a:r>
              <a:r>
                <a:rPr lang="fr-FR" sz="1400" dirty="0">
                  <a:solidFill>
                    <a:schemeClr val="tx2"/>
                  </a:solidFill>
                  <a:latin typeface="Calibri" panose="020F0502020204030204" pitchFamily="34" charset="0"/>
                  <a:cs typeface="Calibri" panose="020F0502020204030204" pitchFamily="34" charset="0"/>
                </a:rPr>
                <a:t> </a:t>
              </a:r>
              <a:r>
                <a:rPr lang="fr-FR" sz="1400" dirty="0" err="1">
                  <a:solidFill>
                    <a:schemeClr val="tx2"/>
                  </a:solidFill>
                  <a:latin typeface="Calibri" panose="020F0502020204030204" pitchFamily="34" charset="0"/>
                  <a:cs typeface="Calibri" panose="020F0502020204030204" pitchFamily="34" charset="0"/>
                </a:rPr>
                <a:t>chain</a:t>
              </a:r>
              <a:r>
                <a:rPr lang="fr-FR" sz="1400" dirty="0">
                  <a:solidFill>
                    <a:schemeClr val="tx2"/>
                  </a:solidFill>
                  <a:latin typeface="Calibri" panose="020F0502020204030204" pitchFamily="34" charset="0"/>
                  <a:cs typeface="Calibri" panose="020F0502020204030204" pitchFamily="34" charset="0"/>
                </a:rPr>
                <a:t> et Achats</a:t>
              </a:r>
            </a:p>
            <a:p>
              <a:pPr marL="132173" indent="-132173">
                <a:spcBef>
                  <a:spcPts val="379"/>
                </a:spcBef>
                <a:buSzPct val="80000"/>
                <a:buFont typeface="Webdings"/>
                <a:buChar char="4"/>
              </a:pPr>
              <a:r>
                <a:rPr lang="fr-FR" sz="1400" dirty="0">
                  <a:solidFill>
                    <a:schemeClr val="tx2"/>
                  </a:solidFill>
                  <a:latin typeface="Calibri" panose="020F0502020204030204" pitchFamily="34" charset="0"/>
                  <a:cs typeface="Calibri" panose="020F0502020204030204" pitchFamily="34" charset="0"/>
                </a:rPr>
                <a:t>Optimisation des coûts</a:t>
              </a:r>
            </a:p>
            <a:p>
              <a:pPr marL="132173" indent="-132173">
                <a:spcBef>
                  <a:spcPts val="379"/>
                </a:spcBef>
                <a:buSzPct val="80000"/>
                <a:buFont typeface="Webdings"/>
                <a:buChar char="4"/>
              </a:pPr>
              <a:r>
                <a:rPr lang="fr-FR" sz="1400" dirty="0">
                  <a:solidFill>
                    <a:schemeClr val="tx2"/>
                  </a:solidFill>
                  <a:latin typeface="Calibri" panose="020F0502020204030204" pitchFamily="34" charset="0"/>
                  <a:cs typeface="Calibri" panose="020F0502020204030204" pitchFamily="34" charset="0"/>
                </a:rPr>
                <a:t>Agilité</a:t>
              </a:r>
            </a:p>
          </p:txBody>
        </p:sp>
        <p:sp>
          <p:nvSpPr>
            <p:cNvPr id="56" name="Ellipse 31">
              <a:extLst>
                <a:ext uri="{FF2B5EF4-FFF2-40B4-BE49-F238E27FC236}">
                  <a16:creationId xmlns:a16="http://schemas.microsoft.com/office/drawing/2014/main" id="{30F71FB3-F872-48B6-A059-9596588069D9}"/>
                </a:ext>
              </a:extLst>
            </p:cNvPr>
            <p:cNvSpPr/>
            <p:nvPr/>
          </p:nvSpPr>
          <p:spPr bwMode="auto">
            <a:xfrm>
              <a:off x="9934607" y="2389111"/>
              <a:ext cx="53981" cy="57256"/>
            </a:xfrm>
            <a:prstGeom prst="ellipse">
              <a:avLst/>
            </a:prstGeom>
            <a:solidFill>
              <a:schemeClr val="tx2"/>
            </a:solidFill>
            <a:ln w="9525" cap="flat" cmpd="sng" algn="ctr">
              <a:solidFill>
                <a:schemeClr val="tx1"/>
              </a:solidFill>
              <a:prstDash val="solid"/>
              <a:round/>
              <a:headEnd type="none" w="med" len="med"/>
              <a:tailEnd type="none" w="med" len="med"/>
            </a:ln>
            <a:effectLst/>
          </p:spPr>
          <p:txBody>
            <a:bodyPr vert="horz" wrap="square" lIns="49449" tIns="24725" rIns="49449" bIns="24725" numCol="1" rtlCol="0" anchor="ctr" anchorCtr="0" compatLnSpc="1">
              <a:prstTxWarp prst="textNoShape">
                <a:avLst/>
              </a:prstTxWarp>
            </a:bodyPr>
            <a:lstStyle/>
            <a:p>
              <a:pPr algn="ctr" defTabSz="563949">
                <a:lnSpc>
                  <a:spcPct val="115000"/>
                </a:lnSpc>
              </a:pPr>
              <a:endParaRPr lang="fr-FR" sz="1242" dirty="0">
                <a:latin typeface="Calibri" panose="020F0502020204030204" pitchFamily="34" charset="0"/>
                <a:cs typeface="Calibri" panose="020F0502020204030204" pitchFamily="34" charset="0"/>
              </a:endParaRPr>
            </a:p>
          </p:txBody>
        </p:sp>
        <p:sp>
          <p:nvSpPr>
            <p:cNvPr id="59" name="ZoneTexte 58">
              <a:extLst>
                <a:ext uri="{FF2B5EF4-FFF2-40B4-BE49-F238E27FC236}">
                  <a16:creationId xmlns:a16="http://schemas.microsoft.com/office/drawing/2014/main" id="{32532DCB-B3C0-49E1-ABD5-72DB0B03000C}"/>
                </a:ext>
              </a:extLst>
            </p:cNvPr>
            <p:cNvSpPr txBox="1"/>
            <p:nvPr/>
          </p:nvSpPr>
          <p:spPr>
            <a:xfrm>
              <a:off x="7414066" y="2772487"/>
              <a:ext cx="860434" cy="182179"/>
            </a:xfrm>
            <a:prstGeom prst="rect">
              <a:avLst/>
            </a:prstGeom>
          </p:spPr>
          <p:txBody>
            <a:bodyPr vert="horz" wrap="square" lIns="0" tIns="36005" rIns="0" bIns="36005" rtlCol="0">
              <a:noAutofit/>
            </a:bodyPr>
            <a:lstStyle/>
            <a:p>
              <a:pPr algn="ctr" defTabSz="391036">
                <a:spcBef>
                  <a:spcPts val="600"/>
                </a:spcBef>
                <a:buClr>
                  <a:schemeClr val="tx1"/>
                </a:buClr>
                <a:buSzPct val="100000"/>
              </a:pPr>
              <a:r>
                <a:rPr lang="fr-FR" sz="1200" dirty="0">
                  <a:solidFill>
                    <a:schemeClr val="tx2"/>
                  </a:solidFill>
                  <a:latin typeface="Calibri" panose="020F0502020204030204" pitchFamily="34" charset="0"/>
                  <a:cs typeface="Calibri" panose="020F0502020204030204" pitchFamily="34" charset="0"/>
                </a:rPr>
                <a:t>Electronique &amp; services IT</a:t>
              </a:r>
            </a:p>
          </p:txBody>
        </p:sp>
        <p:pic>
          <p:nvPicPr>
            <p:cNvPr id="60" name="Image 59">
              <a:extLst>
                <a:ext uri="{FF2B5EF4-FFF2-40B4-BE49-F238E27FC236}">
                  <a16:creationId xmlns:a16="http://schemas.microsoft.com/office/drawing/2014/main" id="{174BC13C-859A-4FFF-860E-65AFF4EF2C23}"/>
                </a:ext>
              </a:extLst>
            </p:cNvPr>
            <p:cNvPicPr>
              <a:picLocks noChangeAspect="1"/>
            </p:cNvPicPr>
            <p:nvPr/>
          </p:nvPicPr>
          <p:blipFill rotWithShape="1">
            <a:blip r:embed="rId15" cstate="screen">
              <a:duotone>
                <a:schemeClr val="accent4">
                  <a:shade val="45000"/>
                  <a:satMod val="135000"/>
                </a:schemeClr>
                <a:prstClr val="white"/>
              </a:duotone>
              <a:extLst>
                <a:ext uri="{28A0092B-C50C-407E-A947-70E740481C1C}">
                  <a14:useLocalDpi xmlns:a14="http://schemas.microsoft.com/office/drawing/2010/main"/>
                </a:ext>
              </a:extLst>
            </a:blip>
            <a:srcRect b="13136"/>
            <a:stretch/>
          </p:blipFill>
          <p:spPr>
            <a:xfrm>
              <a:off x="5492668" y="2401501"/>
              <a:ext cx="356377" cy="309563"/>
            </a:xfrm>
            <a:prstGeom prst="rect">
              <a:avLst/>
            </a:prstGeom>
          </p:spPr>
        </p:pic>
        <p:pic>
          <p:nvPicPr>
            <p:cNvPr id="61" name="Image 60">
              <a:extLst>
                <a:ext uri="{FF2B5EF4-FFF2-40B4-BE49-F238E27FC236}">
                  <a16:creationId xmlns:a16="http://schemas.microsoft.com/office/drawing/2014/main" id="{0585E9E7-4E42-4945-B764-EE4E5418FF93}"/>
                </a:ext>
              </a:extLst>
            </p:cNvPr>
            <p:cNvPicPr>
              <a:picLocks noChangeAspect="1"/>
            </p:cNvPicPr>
            <p:nvPr/>
          </p:nvPicPr>
          <p:blipFill rotWithShape="1">
            <a:blip r:embed="rId16" cstate="screen">
              <a:duotone>
                <a:schemeClr val="accent4">
                  <a:shade val="45000"/>
                  <a:satMod val="135000"/>
                </a:schemeClr>
                <a:prstClr val="white"/>
              </a:duotone>
              <a:extLst>
                <a:ext uri="{28A0092B-C50C-407E-A947-70E740481C1C}">
                  <a14:useLocalDpi xmlns:a14="http://schemas.microsoft.com/office/drawing/2010/main"/>
                </a:ext>
              </a:extLst>
            </a:blip>
            <a:srcRect l="13502" t="14671" r="14646" b="23192"/>
            <a:stretch/>
          </p:blipFill>
          <p:spPr>
            <a:xfrm>
              <a:off x="6581804" y="2404972"/>
              <a:ext cx="357954" cy="309563"/>
            </a:xfrm>
            <a:prstGeom prst="rect">
              <a:avLst/>
            </a:prstGeom>
            <a:ln>
              <a:noFill/>
            </a:ln>
          </p:spPr>
        </p:pic>
        <p:pic>
          <p:nvPicPr>
            <p:cNvPr id="62" name="Image 61">
              <a:extLst>
                <a:ext uri="{FF2B5EF4-FFF2-40B4-BE49-F238E27FC236}">
                  <a16:creationId xmlns:a16="http://schemas.microsoft.com/office/drawing/2014/main" id="{78415106-D280-479E-BC5B-AD8536D0AF5D}"/>
                </a:ext>
              </a:extLst>
            </p:cNvPr>
            <p:cNvPicPr>
              <a:picLocks noChangeAspect="1"/>
            </p:cNvPicPr>
            <p:nvPr/>
          </p:nvPicPr>
          <p:blipFill rotWithShape="1">
            <a:blip r:embed="rId17" cstate="screen">
              <a:duotone>
                <a:schemeClr val="accent4">
                  <a:shade val="45000"/>
                  <a:satMod val="135000"/>
                </a:schemeClr>
                <a:prstClr val="white"/>
              </a:duotone>
              <a:extLst>
                <a:ext uri="{28A0092B-C50C-407E-A947-70E740481C1C}">
                  <a14:useLocalDpi xmlns:a14="http://schemas.microsoft.com/office/drawing/2010/main"/>
                </a:ext>
              </a:extLst>
            </a:blip>
            <a:srcRect l="10565" t="10322" r="11565" b="15300"/>
            <a:stretch/>
          </p:blipFill>
          <p:spPr>
            <a:xfrm>
              <a:off x="7676057" y="2410482"/>
              <a:ext cx="329808" cy="315024"/>
            </a:xfrm>
            <a:prstGeom prst="rect">
              <a:avLst/>
            </a:prstGeom>
          </p:spPr>
        </p:pic>
        <p:pic>
          <p:nvPicPr>
            <p:cNvPr id="63" name="Image 62">
              <a:extLst>
                <a:ext uri="{FF2B5EF4-FFF2-40B4-BE49-F238E27FC236}">
                  <a16:creationId xmlns:a16="http://schemas.microsoft.com/office/drawing/2014/main" id="{8333CF98-4052-44E1-99F9-27BF68013FFE}"/>
                </a:ext>
              </a:extLst>
            </p:cNvPr>
            <p:cNvPicPr>
              <a:picLocks noChangeAspect="1"/>
            </p:cNvPicPr>
            <p:nvPr/>
          </p:nvPicPr>
          <p:blipFill rotWithShape="1">
            <a:blip r:embed="rId18" cstate="screen">
              <a:duotone>
                <a:schemeClr val="accent4">
                  <a:shade val="45000"/>
                  <a:satMod val="135000"/>
                </a:schemeClr>
                <a:prstClr val="white"/>
              </a:duotone>
              <a:extLst>
                <a:ext uri="{28A0092B-C50C-407E-A947-70E740481C1C}">
                  <a14:useLocalDpi xmlns:a14="http://schemas.microsoft.com/office/drawing/2010/main"/>
                </a:ext>
              </a:extLst>
            </a:blip>
            <a:srcRect l="7479" t="14592" r="7671" b="27479"/>
            <a:stretch/>
          </p:blipFill>
          <p:spPr>
            <a:xfrm>
              <a:off x="5504878" y="3423873"/>
              <a:ext cx="362953" cy="247794"/>
            </a:xfrm>
            <a:prstGeom prst="rect">
              <a:avLst/>
            </a:prstGeom>
          </p:spPr>
        </p:pic>
        <p:pic>
          <p:nvPicPr>
            <p:cNvPr id="67" name="Image 66">
              <a:extLst>
                <a:ext uri="{FF2B5EF4-FFF2-40B4-BE49-F238E27FC236}">
                  <a16:creationId xmlns:a16="http://schemas.microsoft.com/office/drawing/2014/main" id="{352A6D5E-7DFE-497B-86B5-B921E72010A7}"/>
                </a:ext>
              </a:extLst>
            </p:cNvPr>
            <p:cNvPicPr>
              <a:picLocks noChangeAspect="1"/>
            </p:cNvPicPr>
            <p:nvPr/>
          </p:nvPicPr>
          <p:blipFill rotWithShape="1">
            <a:blip r:embed="rId19" cstate="screen">
              <a:duotone>
                <a:schemeClr val="accent4">
                  <a:shade val="45000"/>
                  <a:satMod val="135000"/>
                </a:schemeClr>
                <a:prstClr val="white"/>
              </a:duotone>
              <a:extLst>
                <a:ext uri="{28A0092B-C50C-407E-A947-70E740481C1C}">
                  <a14:useLocalDpi xmlns:a14="http://schemas.microsoft.com/office/drawing/2010/main"/>
                </a:ext>
              </a:extLst>
            </a:blip>
            <a:srcRect l="22216" t="-1638" r="25933" b="13805"/>
            <a:stretch/>
          </p:blipFill>
          <p:spPr>
            <a:xfrm>
              <a:off x="6595702" y="3317397"/>
              <a:ext cx="280210" cy="474663"/>
            </a:xfrm>
            <a:prstGeom prst="rect">
              <a:avLst/>
            </a:prstGeom>
          </p:spPr>
        </p:pic>
        <p:sp>
          <p:nvSpPr>
            <p:cNvPr id="68" name="ZoneTexte 67">
              <a:extLst>
                <a:ext uri="{FF2B5EF4-FFF2-40B4-BE49-F238E27FC236}">
                  <a16:creationId xmlns:a16="http://schemas.microsoft.com/office/drawing/2014/main" id="{3FBC3FA9-934D-45D4-AB29-A747AE03659B}"/>
                </a:ext>
              </a:extLst>
            </p:cNvPr>
            <p:cNvSpPr txBox="1"/>
            <p:nvPr/>
          </p:nvSpPr>
          <p:spPr>
            <a:xfrm>
              <a:off x="6338412" y="3706460"/>
              <a:ext cx="844738" cy="270997"/>
            </a:xfrm>
            <a:prstGeom prst="rect">
              <a:avLst/>
            </a:prstGeom>
          </p:spPr>
          <p:txBody>
            <a:bodyPr vert="horz" wrap="square" lIns="0" tIns="36005" rIns="0" bIns="36005" rtlCol="0">
              <a:noAutofit/>
            </a:bodyPr>
            <a:lstStyle/>
            <a:p>
              <a:pPr algn="ctr" defTabSz="391036">
                <a:spcBef>
                  <a:spcPts val="600"/>
                </a:spcBef>
                <a:buClr>
                  <a:schemeClr val="tx1"/>
                </a:buClr>
                <a:buSzPct val="100000"/>
              </a:pPr>
              <a:r>
                <a:rPr lang="fr-FR" sz="1200" dirty="0">
                  <a:solidFill>
                    <a:schemeClr val="tx2"/>
                  </a:solidFill>
                  <a:latin typeface="Calibri" panose="020F0502020204030204" pitchFamily="34" charset="0"/>
                  <a:cs typeface="Calibri" panose="020F0502020204030204" pitchFamily="34" charset="0"/>
                </a:rPr>
                <a:t>Energie</a:t>
              </a:r>
            </a:p>
          </p:txBody>
        </p:sp>
        <p:pic>
          <p:nvPicPr>
            <p:cNvPr id="65" name="Image 64">
              <a:extLst>
                <a:ext uri="{FF2B5EF4-FFF2-40B4-BE49-F238E27FC236}">
                  <a16:creationId xmlns:a16="http://schemas.microsoft.com/office/drawing/2014/main" id="{6BF19FDF-43FD-4AB5-A994-90B72A52C435}"/>
                </a:ext>
              </a:extLst>
            </p:cNvPr>
            <p:cNvPicPr>
              <a:picLocks noChangeAspect="1"/>
            </p:cNvPicPr>
            <p:nvPr/>
          </p:nvPicPr>
          <p:blipFill rotWithShape="1">
            <a:blip r:embed="rId20" cstate="screen">
              <a:duotone>
                <a:schemeClr val="accent4">
                  <a:shade val="45000"/>
                  <a:satMod val="135000"/>
                </a:schemeClr>
                <a:prstClr val="white"/>
              </a:duotone>
              <a:extLst>
                <a:ext uri="{28A0092B-C50C-407E-A947-70E740481C1C}">
                  <a14:useLocalDpi xmlns:a14="http://schemas.microsoft.com/office/drawing/2010/main"/>
                </a:ext>
              </a:extLst>
            </a:blip>
            <a:srcRect l="20463" t="5370" r="18412" b="27385"/>
            <a:stretch/>
          </p:blipFill>
          <p:spPr>
            <a:xfrm>
              <a:off x="7703845" y="3229244"/>
              <a:ext cx="330158" cy="363220"/>
            </a:xfrm>
            <a:prstGeom prst="rect">
              <a:avLst/>
            </a:prstGeom>
          </p:spPr>
        </p:pic>
        <p:sp>
          <p:nvSpPr>
            <p:cNvPr id="66" name="ZoneTexte 65">
              <a:extLst>
                <a:ext uri="{FF2B5EF4-FFF2-40B4-BE49-F238E27FC236}">
                  <a16:creationId xmlns:a16="http://schemas.microsoft.com/office/drawing/2014/main" id="{47B005BB-BAF6-4C81-8C6A-2957336CA88F}"/>
                </a:ext>
              </a:extLst>
            </p:cNvPr>
            <p:cNvSpPr txBox="1"/>
            <p:nvPr/>
          </p:nvSpPr>
          <p:spPr>
            <a:xfrm>
              <a:off x="7414066" y="3706460"/>
              <a:ext cx="844738" cy="270997"/>
            </a:xfrm>
            <a:prstGeom prst="rect">
              <a:avLst/>
            </a:prstGeom>
          </p:spPr>
          <p:txBody>
            <a:bodyPr vert="horz" wrap="square" lIns="0" tIns="36005" rIns="0" bIns="36005" rtlCol="0">
              <a:noAutofit/>
            </a:bodyPr>
            <a:lstStyle/>
            <a:p>
              <a:pPr algn="ctr" defTabSz="391036">
                <a:spcBef>
                  <a:spcPts val="600"/>
                </a:spcBef>
                <a:buClr>
                  <a:schemeClr val="tx1"/>
                </a:buClr>
                <a:buSzPct val="100000"/>
              </a:pPr>
              <a:r>
                <a:rPr lang="fr-FR" sz="1200" dirty="0">
                  <a:solidFill>
                    <a:schemeClr val="tx2"/>
                  </a:solidFill>
                  <a:latin typeface="Calibri" panose="020F0502020204030204" pitchFamily="34" charset="0"/>
                  <a:cs typeface="Calibri" panose="020F0502020204030204" pitchFamily="34" charset="0"/>
                </a:rPr>
                <a:t>Logistique</a:t>
              </a:r>
            </a:p>
          </p:txBody>
        </p:sp>
      </p:grpSp>
    </p:spTree>
    <p:extLst>
      <p:ext uri="{BB962C8B-B14F-4D97-AF65-F5344CB8AC3E}">
        <p14:creationId xmlns:p14="http://schemas.microsoft.com/office/powerpoint/2010/main" val="19038552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Objet 38" hidden="1">
            <a:extLst>
              <a:ext uri="{FF2B5EF4-FFF2-40B4-BE49-F238E27FC236}">
                <a16:creationId xmlns:a16="http://schemas.microsoft.com/office/drawing/2014/main" id="{3815E2EA-D742-4119-93DA-AE09DBAF4441}"/>
              </a:ext>
            </a:extLst>
          </p:cNvPr>
          <p:cNvGraphicFramePr>
            <a:graphicFrameLocks noChangeAspect="1"/>
          </p:cNvGraphicFramePr>
          <p:nvPr>
            <p:custDataLst>
              <p:tags r:id="rId2"/>
            </p:custDataLst>
            <p:extLst>
              <p:ext uri="{D42A27DB-BD31-4B8C-83A1-F6EECF244321}">
                <p14:modId xmlns:p14="http://schemas.microsoft.com/office/powerpoint/2010/main" val="714501335"/>
              </p:ext>
            </p:extLst>
          </p:nvPr>
        </p:nvGraphicFramePr>
        <p:xfrm>
          <a:off x="1377157" y="1588"/>
          <a:ext cx="1588" cy="1588"/>
        </p:xfrm>
        <a:graphic>
          <a:graphicData uri="http://schemas.openxmlformats.org/presentationml/2006/ole">
            <mc:AlternateContent xmlns:mc="http://schemas.openxmlformats.org/markup-compatibility/2006">
              <mc:Choice xmlns:v="urn:schemas-microsoft-com:vml" Requires="v">
                <p:oleObj spid="_x0000_s31846" name="Diapositive think-cell" r:id="rId5" imgW="473" imgH="470" progId="TCLayout.ActiveDocument.1">
                  <p:embed/>
                </p:oleObj>
              </mc:Choice>
              <mc:Fallback>
                <p:oleObj name="Diapositive think-cell" r:id="rId5" imgW="473" imgH="470" progId="TCLayout.ActiveDocument.1">
                  <p:embed/>
                  <p:pic>
                    <p:nvPicPr>
                      <p:cNvPr id="39" name="Objet 38" hidden="1">
                        <a:extLst>
                          <a:ext uri="{FF2B5EF4-FFF2-40B4-BE49-F238E27FC236}">
                            <a16:creationId xmlns:a16="http://schemas.microsoft.com/office/drawing/2014/main" id="{3815E2EA-D742-4119-93DA-AE09DBAF4441}"/>
                          </a:ext>
                        </a:extLst>
                      </p:cNvPr>
                      <p:cNvPicPr/>
                      <p:nvPr/>
                    </p:nvPicPr>
                    <p:blipFill>
                      <a:blip r:embed="rId6"/>
                      <a:stretch>
                        <a:fillRect/>
                      </a:stretch>
                    </p:blipFill>
                    <p:spPr>
                      <a:xfrm>
                        <a:off x="1377157" y="1588"/>
                        <a:ext cx="1588" cy="1588"/>
                      </a:xfrm>
                      <a:prstGeom prst="rect">
                        <a:avLst/>
                      </a:prstGeom>
                    </p:spPr>
                  </p:pic>
                </p:oleObj>
              </mc:Fallback>
            </mc:AlternateContent>
          </a:graphicData>
        </a:graphic>
      </p:graphicFrame>
      <p:sp>
        <p:nvSpPr>
          <p:cNvPr id="38" name="Rectangle 37" hidden="1">
            <a:extLst>
              <a:ext uri="{FF2B5EF4-FFF2-40B4-BE49-F238E27FC236}">
                <a16:creationId xmlns:a16="http://schemas.microsoft.com/office/drawing/2014/main" id="{341492FD-0AF6-49CE-B52C-44F93EC88BF7}"/>
              </a:ext>
            </a:extLst>
          </p:cNvPr>
          <p:cNvSpPr/>
          <p:nvPr>
            <p:custDataLst>
              <p:tags r:id="rId3"/>
            </p:custDataLst>
          </p:nvPr>
        </p:nvSpPr>
        <p:spPr>
          <a:xfrm>
            <a:off x="1375569" y="0"/>
            <a:ext cx="158750" cy="158750"/>
          </a:xfrm>
          <a:prstGeom prst="rect">
            <a:avLst/>
          </a:prstGeom>
          <a:solidFill>
            <a:schemeClr val="tx2"/>
          </a:solidFill>
        </p:spPr>
        <p:txBody>
          <a:bodyPr vert="horz" wrap="none" lIns="0" tIns="0" rIns="0" bIns="0" numCol="1" spcCol="0" rtlCol="0" anchor="ctr" anchorCtr="0">
            <a:noAutofit/>
          </a:bodyPr>
          <a:lstStyle/>
          <a:p>
            <a:pPr algn="ctr">
              <a:spcBef>
                <a:spcPct val="0"/>
              </a:spcBef>
              <a:spcAft>
                <a:spcPct val="0"/>
              </a:spcAft>
            </a:pPr>
            <a:endParaRPr lang="fr-FR" sz="2200" b="1" dirty="0" err="1">
              <a:solidFill>
                <a:schemeClr val="bg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2" name="Titre 1">
            <a:extLst>
              <a:ext uri="{FF2B5EF4-FFF2-40B4-BE49-F238E27FC236}">
                <a16:creationId xmlns:a16="http://schemas.microsoft.com/office/drawing/2014/main" id="{D623F89B-D593-4622-A6E9-B61C5F26BE62}"/>
              </a:ext>
            </a:extLst>
          </p:cNvPr>
          <p:cNvSpPr>
            <a:spLocks noGrp="1"/>
          </p:cNvSpPr>
          <p:nvPr>
            <p:ph type="title"/>
          </p:nvPr>
        </p:nvSpPr>
        <p:spPr>
          <a:xfrm>
            <a:off x="609618" y="207108"/>
            <a:ext cx="12218110" cy="677108"/>
          </a:xfrm>
        </p:spPr>
        <p:txBody>
          <a:bodyPr/>
          <a:lstStyle/>
          <a:p>
            <a:pPr defTabSz="914400"/>
            <a:r>
              <a:rPr lang="fr-FR" dirty="0">
                <a:solidFill>
                  <a:schemeClr val="accent3"/>
                </a:solidFill>
              </a:rPr>
              <a:t>Nos expertises &amp; savoir-faire </a:t>
            </a:r>
            <a:r>
              <a:rPr lang="fr-FR" dirty="0"/>
              <a:t>de la stratégie à l’excellence opérationnelle au service de vos enjeux d’Industrie du futur </a:t>
            </a:r>
            <a:endParaRPr lang="fr-FR" dirty="0">
              <a:solidFill>
                <a:schemeClr val="accent3"/>
              </a:solidFill>
            </a:endParaRPr>
          </a:p>
        </p:txBody>
      </p:sp>
      <p:grpSp>
        <p:nvGrpSpPr>
          <p:cNvPr id="35" name="Groupe 34">
            <a:extLst>
              <a:ext uri="{FF2B5EF4-FFF2-40B4-BE49-F238E27FC236}">
                <a16:creationId xmlns:a16="http://schemas.microsoft.com/office/drawing/2014/main" id="{7BE55D19-B579-4B18-A958-0BA52E4F96DF}"/>
              </a:ext>
            </a:extLst>
          </p:cNvPr>
          <p:cNvGrpSpPr/>
          <p:nvPr/>
        </p:nvGrpSpPr>
        <p:grpSpPr>
          <a:xfrm>
            <a:off x="487226" y="1920240"/>
            <a:ext cx="12488999" cy="4836160"/>
            <a:chOff x="170656" y="1920240"/>
            <a:chExt cx="12488999" cy="4836160"/>
          </a:xfrm>
        </p:grpSpPr>
        <p:grpSp>
          <p:nvGrpSpPr>
            <p:cNvPr id="54" name="Groupe 53">
              <a:extLst>
                <a:ext uri="{FF2B5EF4-FFF2-40B4-BE49-F238E27FC236}">
                  <a16:creationId xmlns:a16="http://schemas.microsoft.com/office/drawing/2014/main" id="{CCF7D0F0-A178-4117-8082-5EF7176AC635}"/>
                </a:ext>
              </a:extLst>
            </p:cNvPr>
            <p:cNvGrpSpPr/>
            <p:nvPr/>
          </p:nvGrpSpPr>
          <p:grpSpPr>
            <a:xfrm>
              <a:off x="2127885" y="4254308"/>
              <a:ext cx="8855370" cy="142875"/>
              <a:chOff x="1942306" y="4406099"/>
              <a:chExt cx="8855370" cy="142875"/>
            </a:xfrm>
          </p:grpSpPr>
          <p:sp>
            <p:nvSpPr>
              <p:cNvPr id="85" name="object 148">
                <a:extLst>
                  <a:ext uri="{FF2B5EF4-FFF2-40B4-BE49-F238E27FC236}">
                    <a16:creationId xmlns:a16="http://schemas.microsoft.com/office/drawing/2014/main" id="{D21FCA4F-7D1D-4647-B28C-EB9EC3E5F557}"/>
                  </a:ext>
                </a:extLst>
              </p:cNvPr>
              <p:cNvSpPr/>
              <p:nvPr/>
            </p:nvSpPr>
            <p:spPr>
              <a:xfrm>
                <a:off x="1942306" y="4406099"/>
                <a:ext cx="285750" cy="142875"/>
              </a:xfrm>
              <a:custGeom>
                <a:avLst/>
                <a:gdLst/>
                <a:ahLst/>
                <a:cxnLst/>
                <a:rect l="l" t="t" r="r" b="b"/>
                <a:pathLst>
                  <a:path w="285750" h="142875">
                    <a:moveTo>
                      <a:pt x="285280" y="142646"/>
                    </a:moveTo>
                    <a:lnTo>
                      <a:pt x="142633" y="0"/>
                    </a:lnTo>
                    <a:lnTo>
                      <a:pt x="0" y="142646"/>
                    </a:lnTo>
                  </a:path>
                </a:pathLst>
              </a:custGeom>
              <a:ln w="25400">
                <a:solidFill>
                  <a:srgbClr val="00CDAE"/>
                </a:solidFill>
              </a:ln>
            </p:spPr>
            <p:txBody>
              <a:bodyPr wrap="square" lIns="0" tIns="0" rIns="0" bIns="0" rtlCol="0"/>
              <a:lstStyle/>
              <a:p>
                <a:endParaRPr lang="en-US" dirty="0"/>
              </a:p>
            </p:txBody>
          </p:sp>
          <p:sp>
            <p:nvSpPr>
              <p:cNvPr id="86" name="object 148">
                <a:extLst>
                  <a:ext uri="{FF2B5EF4-FFF2-40B4-BE49-F238E27FC236}">
                    <a16:creationId xmlns:a16="http://schemas.microsoft.com/office/drawing/2014/main" id="{0E6ED162-0B6F-43E5-A2A3-1B9C04ADE20E}"/>
                  </a:ext>
                </a:extLst>
              </p:cNvPr>
              <p:cNvSpPr/>
              <p:nvPr/>
            </p:nvSpPr>
            <p:spPr>
              <a:xfrm>
                <a:off x="4187326" y="4406099"/>
                <a:ext cx="285750" cy="142875"/>
              </a:xfrm>
              <a:custGeom>
                <a:avLst/>
                <a:gdLst/>
                <a:ahLst/>
                <a:cxnLst/>
                <a:rect l="l" t="t" r="r" b="b"/>
                <a:pathLst>
                  <a:path w="285750" h="142875">
                    <a:moveTo>
                      <a:pt x="285280" y="142646"/>
                    </a:moveTo>
                    <a:lnTo>
                      <a:pt x="142633" y="0"/>
                    </a:lnTo>
                    <a:lnTo>
                      <a:pt x="0" y="142646"/>
                    </a:lnTo>
                  </a:path>
                </a:pathLst>
              </a:custGeom>
              <a:ln w="25400">
                <a:solidFill>
                  <a:srgbClr val="00CDAE"/>
                </a:solidFill>
              </a:ln>
            </p:spPr>
            <p:txBody>
              <a:bodyPr wrap="square" lIns="0" tIns="0" rIns="0" bIns="0" rtlCol="0"/>
              <a:lstStyle/>
              <a:p>
                <a:endParaRPr lang="en-US" dirty="0"/>
              </a:p>
            </p:txBody>
          </p:sp>
          <p:sp>
            <p:nvSpPr>
              <p:cNvPr id="87" name="object 148">
                <a:extLst>
                  <a:ext uri="{FF2B5EF4-FFF2-40B4-BE49-F238E27FC236}">
                    <a16:creationId xmlns:a16="http://schemas.microsoft.com/office/drawing/2014/main" id="{68F26FA5-B901-4BBA-ADBD-6F66B24D6813}"/>
                  </a:ext>
                </a:extLst>
              </p:cNvPr>
              <p:cNvSpPr/>
              <p:nvPr/>
            </p:nvSpPr>
            <p:spPr>
              <a:xfrm>
                <a:off x="6256496" y="4406099"/>
                <a:ext cx="285750" cy="142875"/>
              </a:xfrm>
              <a:custGeom>
                <a:avLst/>
                <a:gdLst/>
                <a:ahLst/>
                <a:cxnLst/>
                <a:rect l="l" t="t" r="r" b="b"/>
                <a:pathLst>
                  <a:path w="285750" h="142875">
                    <a:moveTo>
                      <a:pt x="285280" y="142646"/>
                    </a:moveTo>
                    <a:lnTo>
                      <a:pt x="142633" y="0"/>
                    </a:lnTo>
                    <a:lnTo>
                      <a:pt x="0" y="142646"/>
                    </a:lnTo>
                  </a:path>
                </a:pathLst>
              </a:custGeom>
              <a:ln w="25400">
                <a:solidFill>
                  <a:srgbClr val="00CDAE"/>
                </a:solidFill>
              </a:ln>
            </p:spPr>
            <p:txBody>
              <a:bodyPr wrap="square" lIns="0" tIns="0" rIns="0" bIns="0" rtlCol="0"/>
              <a:lstStyle/>
              <a:p>
                <a:endParaRPr lang="en-US" dirty="0"/>
              </a:p>
            </p:txBody>
          </p:sp>
          <p:sp>
            <p:nvSpPr>
              <p:cNvPr id="88" name="object 148">
                <a:extLst>
                  <a:ext uri="{FF2B5EF4-FFF2-40B4-BE49-F238E27FC236}">
                    <a16:creationId xmlns:a16="http://schemas.microsoft.com/office/drawing/2014/main" id="{01EFDB27-F359-4CE6-8E31-110981725C6F}"/>
                  </a:ext>
                </a:extLst>
              </p:cNvPr>
              <p:cNvSpPr/>
              <p:nvPr/>
            </p:nvSpPr>
            <p:spPr>
              <a:xfrm>
                <a:off x="8390096" y="4406099"/>
                <a:ext cx="285750" cy="142875"/>
              </a:xfrm>
              <a:custGeom>
                <a:avLst/>
                <a:gdLst/>
                <a:ahLst/>
                <a:cxnLst/>
                <a:rect l="l" t="t" r="r" b="b"/>
                <a:pathLst>
                  <a:path w="285750" h="142875">
                    <a:moveTo>
                      <a:pt x="285280" y="142646"/>
                    </a:moveTo>
                    <a:lnTo>
                      <a:pt x="142633" y="0"/>
                    </a:lnTo>
                    <a:lnTo>
                      <a:pt x="0" y="142646"/>
                    </a:lnTo>
                  </a:path>
                </a:pathLst>
              </a:custGeom>
              <a:ln w="25400">
                <a:solidFill>
                  <a:srgbClr val="00CDAE"/>
                </a:solidFill>
              </a:ln>
            </p:spPr>
            <p:txBody>
              <a:bodyPr wrap="square" lIns="0" tIns="0" rIns="0" bIns="0" rtlCol="0"/>
              <a:lstStyle/>
              <a:p>
                <a:endParaRPr lang="en-US" dirty="0"/>
              </a:p>
            </p:txBody>
          </p:sp>
          <p:sp>
            <p:nvSpPr>
              <p:cNvPr id="89" name="object 148">
                <a:extLst>
                  <a:ext uri="{FF2B5EF4-FFF2-40B4-BE49-F238E27FC236}">
                    <a16:creationId xmlns:a16="http://schemas.microsoft.com/office/drawing/2014/main" id="{4846297F-D9AA-4CF5-A85A-51FCCFBA4432}"/>
                  </a:ext>
                </a:extLst>
              </p:cNvPr>
              <p:cNvSpPr/>
              <p:nvPr/>
            </p:nvSpPr>
            <p:spPr>
              <a:xfrm>
                <a:off x="10511926" y="4406099"/>
                <a:ext cx="285750" cy="142875"/>
              </a:xfrm>
              <a:custGeom>
                <a:avLst/>
                <a:gdLst/>
                <a:ahLst/>
                <a:cxnLst/>
                <a:rect l="l" t="t" r="r" b="b"/>
                <a:pathLst>
                  <a:path w="285750" h="142875">
                    <a:moveTo>
                      <a:pt x="285280" y="142646"/>
                    </a:moveTo>
                    <a:lnTo>
                      <a:pt x="142633" y="0"/>
                    </a:lnTo>
                    <a:lnTo>
                      <a:pt x="0" y="142646"/>
                    </a:lnTo>
                  </a:path>
                </a:pathLst>
              </a:custGeom>
              <a:ln w="25400">
                <a:solidFill>
                  <a:srgbClr val="00CDAE"/>
                </a:solidFill>
              </a:ln>
            </p:spPr>
            <p:txBody>
              <a:bodyPr wrap="square" lIns="0" tIns="0" rIns="0" bIns="0" rtlCol="0"/>
              <a:lstStyle/>
              <a:p>
                <a:endParaRPr lang="en-US" dirty="0"/>
              </a:p>
            </p:txBody>
          </p:sp>
        </p:grpSp>
        <p:sp>
          <p:nvSpPr>
            <p:cNvPr id="58" name="Parallelogram 14">
              <a:extLst>
                <a:ext uri="{FF2B5EF4-FFF2-40B4-BE49-F238E27FC236}">
                  <a16:creationId xmlns:a16="http://schemas.microsoft.com/office/drawing/2014/main" id="{501673DE-0F47-44A3-A41F-3AD7FA04205A}"/>
                </a:ext>
              </a:extLst>
            </p:cNvPr>
            <p:cNvSpPr/>
            <p:nvPr/>
          </p:nvSpPr>
          <p:spPr>
            <a:xfrm>
              <a:off x="312256" y="3677162"/>
              <a:ext cx="12240000" cy="252000"/>
            </a:xfrm>
            <a:prstGeom prst="parallelogram">
              <a:avLst/>
            </a:prstGeom>
            <a:solidFill>
              <a:schemeClr val="tx2"/>
            </a:solidFill>
          </p:spPr>
          <p:txBody>
            <a:bodyPr wrap="square" lIns="0" tIns="0" rIns="0" bIns="0" rtlCol="0" anchor="ctr"/>
            <a:lstStyle/>
            <a:p>
              <a:pPr algn="ctr" defTabSz="914400"/>
              <a:r>
                <a:rPr lang="en-US" sz="1600" b="1" spc="600" dirty="0">
                  <a:solidFill>
                    <a:schemeClr val="bg1"/>
                  </a:solidFill>
                </a:rPr>
                <a:t>OFFRES DE SERVICE</a:t>
              </a:r>
            </a:p>
          </p:txBody>
        </p:sp>
        <p:sp>
          <p:nvSpPr>
            <p:cNvPr id="59" name="Parallelogram 76">
              <a:extLst>
                <a:ext uri="{FF2B5EF4-FFF2-40B4-BE49-F238E27FC236}">
                  <a16:creationId xmlns:a16="http://schemas.microsoft.com/office/drawing/2014/main" id="{085D3C94-05BF-406F-8D93-5A6FDB2C2B66}"/>
                </a:ext>
              </a:extLst>
            </p:cNvPr>
            <p:cNvSpPr/>
            <p:nvPr/>
          </p:nvSpPr>
          <p:spPr>
            <a:xfrm>
              <a:off x="419655" y="6504400"/>
              <a:ext cx="12240000" cy="252000"/>
            </a:xfrm>
            <a:prstGeom prst="parallelogram">
              <a:avLst/>
            </a:prstGeom>
            <a:solidFill>
              <a:schemeClr val="accent1"/>
            </a:solidFill>
          </p:spPr>
          <p:txBody>
            <a:bodyPr wrap="square" lIns="0" tIns="0" rIns="0" bIns="0" rtlCol="0" anchor="ctr"/>
            <a:lstStyle/>
            <a:p>
              <a:pPr algn="ctr" defTabSz="914400"/>
              <a:r>
                <a:rPr lang="en-US" sz="1600" b="1" spc="600" dirty="0">
                  <a:solidFill>
                    <a:schemeClr val="bg1"/>
                  </a:solidFill>
                </a:rPr>
                <a:t>SAVOIR-FAIRE</a:t>
              </a:r>
            </a:p>
          </p:txBody>
        </p:sp>
        <p:grpSp>
          <p:nvGrpSpPr>
            <p:cNvPr id="22" name="Groupe 21">
              <a:extLst>
                <a:ext uri="{FF2B5EF4-FFF2-40B4-BE49-F238E27FC236}">
                  <a16:creationId xmlns:a16="http://schemas.microsoft.com/office/drawing/2014/main" id="{DDA14F55-D9E8-4451-BA3D-87A8764E50B4}"/>
                </a:ext>
              </a:extLst>
            </p:cNvPr>
            <p:cNvGrpSpPr/>
            <p:nvPr/>
          </p:nvGrpSpPr>
          <p:grpSpPr>
            <a:xfrm>
              <a:off x="2305050" y="1920240"/>
              <a:ext cx="1676400" cy="1559560"/>
              <a:chOff x="1974098" y="1920240"/>
              <a:chExt cx="1676400" cy="1559560"/>
            </a:xfrm>
          </p:grpSpPr>
          <p:pic>
            <p:nvPicPr>
              <p:cNvPr id="73" name="Picture Placeholder 64">
                <a:extLst>
                  <a:ext uri="{FF2B5EF4-FFF2-40B4-BE49-F238E27FC236}">
                    <a16:creationId xmlns:a16="http://schemas.microsoft.com/office/drawing/2014/main" id="{30810D4A-FCC5-4E1A-9C3E-587E0A16AE92}"/>
                  </a:ext>
                </a:extLst>
              </p:cNvPr>
              <p:cNvPicPr>
                <a:picLocks noChangeAspect="1"/>
              </p:cNvPicPr>
              <p:nvPr/>
            </p:nvPicPr>
            <p:blipFill>
              <a:blip r:embed="rId7">
                <a:extLst>
                  <a:ext uri="{28A0092B-C50C-407E-A947-70E740481C1C}">
                    <a14:useLocalDpi xmlns:a14="http://schemas.microsoft.com/office/drawing/2010/main" val="0"/>
                  </a:ext>
                </a:extLst>
              </a:blip>
              <a:srcRect l="2381" r="2381"/>
              <a:stretch>
                <a:fillRect/>
              </a:stretch>
            </p:blipFill>
            <p:spPr>
              <a:xfrm>
                <a:off x="2481177" y="1920240"/>
                <a:ext cx="684000" cy="684000"/>
              </a:xfrm>
              <a:prstGeom prst="rect">
                <a:avLst/>
              </a:prstGeom>
            </p:spPr>
          </p:pic>
          <p:sp>
            <p:nvSpPr>
              <p:cNvPr id="79" name="Espace réservé du texte 3">
                <a:extLst>
                  <a:ext uri="{FF2B5EF4-FFF2-40B4-BE49-F238E27FC236}">
                    <a16:creationId xmlns:a16="http://schemas.microsoft.com/office/drawing/2014/main" id="{209A6852-053F-47D9-A119-1A3ADA64606E}"/>
                  </a:ext>
                </a:extLst>
              </p:cNvPr>
              <p:cNvSpPr txBox="1">
                <a:spLocks/>
              </p:cNvSpPr>
              <p:nvPr/>
            </p:nvSpPr>
            <p:spPr>
              <a:xfrm>
                <a:off x="1974098" y="2691384"/>
                <a:ext cx="1676400" cy="788416"/>
              </a:xfrm>
              <a:prstGeom prst="rect">
                <a:avLst/>
              </a:prstGeom>
            </p:spPr>
            <p:txBody>
              <a:bodyPr/>
              <a:lstStyle>
                <a:lvl1pPr marL="0" eaLnBrk="1" hangingPunct="1">
                  <a:spcBef>
                    <a:spcPts val="600"/>
                  </a:spcBef>
                  <a:spcAft>
                    <a:spcPts val="0"/>
                  </a:spcAft>
                  <a:defRPr lang="en-US" sz="1600" b="0" kern="1200" cap="none" spc="0" baseline="0" dirty="0" smtClean="0">
                    <a:solidFill>
                      <a:schemeClr val="tx1"/>
                    </a:solidFill>
                    <a:latin typeface="+mn-lt"/>
                    <a:ea typeface="+mn-ea"/>
                    <a:cs typeface="Arial" pitchFamily="34" charset="0"/>
                  </a:defRPr>
                </a:lvl1pPr>
                <a:lvl2pPr marL="246820" indent="-246820" eaLnBrk="1" hangingPunct="1">
                  <a:spcBef>
                    <a:spcPts val="600"/>
                  </a:spcBef>
                  <a:spcAft>
                    <a:spcPts val="0"/>
                  </a:spcAft>
                  <a:buFont typeface="Wingdings" pitchFamily="2" charset="2"/>
                  <a:buChar char="§"/>
                  <a:defRPr sz="1600" b="0" kern="1200" spc="0">
                    <a:solidFill>
                      <a:schemeClr val="tx1"/>
                    </a:solidFill>
                    <a:latin typeface="+mn-lt"/>
                    <a:ea typeface="+mn-ea"/>
                    <a:cs typeface="Arial" pitchFamily="34" charset="0"/>
                  </a:defRPr>
                </a:lvl2pPr>
                <a:lvl3pPr marL="493640" indent="-246820" eaLnBrk="1" hangingPunct="1">
                  <a:spcBef>
                    <a:spcPts val="600"/>
                  </a:spcBef>
                  <a:spcAft>
                    <a:spcPts val="0"/>
                  </a:spcAft>
                  <a:buFont typeface="Webdings" pitchFamily="18" charset="2"/>
                  <a:buChar char="4"/>
                  <a:defRPr sz="1600" b="0" kern="1200" spc="0">
                    <a:solidFill>
                      <a:schemeClr val="tx1"/>
                    </a:solidFill>
                    <a:latin typeface="+mn-lt"/>
                    <a:ea typeface="+mn-ea"/>
                    <a:cs typeface="Arial" pitchFamily="34" charset="0"/>
                  </a:defRPr>
                </a:lvl3pPr>
                <a:lvl4pPr marL="781596" indent="-205683" eaLnBrk="1" hangingPunct="1">
                  <a:spcBef>
                    <a:spcPts val="600"/>
                  </a:spcBef>
                  <a:spcAft>
                    <a:spcPts val="0"/>
                  </a:spcAft>
                  <a:buFont typeface="Symbol" pitchFamily="18" charset="2"/>
                  <a:buChar char="-"/>
                  <a:defRPr sz="1600" b="0" i="0" kern="1200" spc="0" baseline="0">
                    <a:solidFill>
                      <a:schemeClr val="tx1"/>
                    </a:solidFill>
                    <a:latin typeface="+mn-lt"/>
                    <a:ea typeface="+mn-ea"/>
                    <a:cs typeface="+mn-cs"/>
                  </a:defRPr>
                </a:lvl4pPr>
                <a:lvl5pPr marL="1069552" indent="-246820" eaLnBrk="1" hangingPunct="1">
                  <a:spcBef>
                    <a:spcPts val="600"/>
                  </a:spcBef>
                  <a:spcAft>
                    <a:spcPts val="0"/>
                  </a:spcAft>
                  <a:buFont typeface="Arial" pitchFamily="34" charset="0"/>
                  <a:buChar char="•"/>
                  <a:defRPr sz="1600" b="0" i="0" kern="1200" spc="0" baseline="0">
                    <a:solidFill>
                      <a:schemeClr val="tx1"/>
                    </a:solidFill>
                    <a:latin typeface="+mn-lt"/>
                    <a:ea typeface="+mn-ea"/>
                    <a:cs typeface="+mn-cs"/>
                  </a:defRPr>
                </a:lvl5pPr>
                <a:lvl6pPr marL="1357509" indent="-246820" eaLnBrk="1" hangingPunct="1">
                  <a:spcBef>
                    <a:spcPts val="600"/>
                  </a:spcBef>
                  <a:spcAft>
                    <a:spcPts val="0"/>
                  </a:spcAft>
                  <a:buSzPct val="65000"/>
                  <a:buFont typeface="Wingdings" pitchFamily="2" charset="2"/>
                  <a:buChar char="w"/>
                  <a:defRPr sz="1600" b="0" i="0" kern="1200" spc="0" baseline="0">
                    <a:solidFill>
                      <a:schemeClr val="tx1"/>
                    </a:solidFill>
                    <a:latin typeface="+mn-lt"/>
                    <a:ea typeface="+mn-ea"/>
                    <a:cs typeface="+mn-cs"/>
                  </a:defRPr>
                </a:lvl6pPr>
                <a:lvl7pPr marL="1973082" eaLnBrk="1" hangingPunct="1">
                  <a:defRPr>
                    <a:latin typeface="+mn-lt"/>
                    <a:ea typeface="+mn-ea"/>
                    <a:cs typeface="+mn-cs"/>
                  </a:defRPr>
                </a:lvl7pPr>
                <a:lvl8pPr marL="2301932" eaLnBrk="1" hangingPunct="1">
                  <a:defRPr>
                    <a:latin typeface="+mn-lt"/>
                    <a:ea typeface="+mn-ea"/>
                    <a:cs typeface="+mn-cs"/>
                  </a:defRPr>
                </a:lvl8pPr>
                <a:lvl9pPr marL="2630778" eaLnBrk="1" hangingPunct="1">
                  <a:defRPr>
                    <a:latin typeface="+mn-lt"/>
                    <a:ea typeface="+mn-ea"/>
                    <a:cs typeface="+mn-cs"/>
                  </a:defRPr>
                </a:lvl9pPr>
              </a:lstStyle>
              <a:p>
                <a:pPr marL="0" lvl="1" indent="0" algn="ctr" defTabSz="1009040">
                  <a:spcBef>
                    <a:spcPts val="0"/>
                  </a:spcBef>
                  <a:buClr>
                    <a:schemeClr val="tx2"/>
                  </a:buClr>
                  <a:buNone/>
                  <a:defRPr/>
                </a:pPr>
                <a:r>
                  <a:rPr lang="fr-FR" sz="1500" b="1" dirty="0">
                    <a:solidFill>
                      <a:schemeClr val="tx2"/>
                    </a:solidFill>
                  </a:rPr>
                  <a:t>Gestion de projet et de portefeuille (PPM)</a:t>
                </a:r>
              </a:p>
            </p:txBody>
          </p:sp>
        </p:grpSp>
        <p:grpSp>
          <p:nvGrpSpPr>
            <p:cNvPr id="21" name="Groupe 20">
              <a:extLst>
                <a:ext uri="{FF2B5EF4-FFF2-40B4-BE49-F238E27FC236}">
                  <a16:creationId xmlns:a16="http://schemas.microsoft.com/office/drawing/2014/main" id="{7F47D7E9-1EB4-4DAB-A5E3-467B118D2A06}"/>
                </a:ext>
              </a:extLst>
            </p:cNvPr>
            <p:cNvGrpSpPr/>
            <p:nvPr/>
          </p:nvGrpSpPr>
          <p:grpSpPr>
            <a:xfrm>
              <a:off x="4439444" y="1920240"/>
              <a:ext cx="1676400" cy="1328025"/>
              <a:chOff x="3777541" y="1920240"/>
              <a:chExt cx="1676400" cy="1328025"/>
            </a:xfrm>
          </p:grpSpPr>
          <p:pic>
            <p:nvPicPr>
              <p:cNvPr id="74" name="Picture Placeholder 65">
                <a:extLst>
                  <a:ext uri="{FF2B5EF4-FFF2-40B4-BE49-F238E27FC236}">
                    <a16:creationId xmlns:a16="http://schemas.microsoft.com/office/drawing/2014/main" id="{27B12002-B3B5-4FAB-B391-1FE380DE6DB2}"/>
                  </a:ext>
                </a:extLst>
              </p:cNvPr>
              <p:cNvPicPr>
                <a:picLocks noChangeAspect="1"/>
              </p:cNvPicPr>
              <p:nvPr/>
            </p:nvPicPr>
            <p:blipFill>
              <a:blip r:embed="rId8">
                <a:extLst>
                  <a:ext uri="{28A0092B-C50C-407E-A947-70E740481C1C}">
                    <a14:useLocalDpi xmlns:a14="http://schemas.microsoft.com/office/drawing/2010/main" val="0"/>
                  </a:ext>
                </a:extLst>
              </a:blip>
              <a:srcRect l="2830" r="2830"/>
              <a:stretch>
                <a:fillRect/>
              </a:stretch>
            </p:blipFill>
            <p:spPr>
              <a:xfrm>
                <a:off x="4273741" y="1920240"/>
                <a:ext cx="684000" cy="684000"/>
              </a:xfrm>
              <a:prstGeom prst="rect">
                <a:avLst/>
              </a:prstGeom>
            </p:spPr>
          </p:pic>
          <p:sp>
            <p:nvSpPr>
              <p:cNvPr id="80" name="Espace réservé du texte 3">
                <a:extLst>
                  <a:ext uri="{FF2B5EF4-FFF2-40B4-BE49-F238E27FC236}">
                    <a16:creationId xmlns:a16="http://schemas.microsoft.com/office/drawing/2014/main" id="{12CA4860-923B-479B-A407-78449E5C81D2}"/>
                  </a:ext>
                </a:extLst>
              </p:cNvPr>
              <p:cNvSpPr txBox="1">
                <a:spLocks/>
              </p:cNvSpPr>
              <p:nvPr/>
            </p:nvSpPr>
            <p:spPr>
              <a:xfrm>
                <a:off x="3777541" y="2691384"/>
                <a:ext cx="1676400" cy="556881"/>
              </a:xfrm>
              <a:prstGeom prst="rect">
                <a:avLst/>
              </a:prstGeom>
            </p:spPr>
            <p:txBody>
              <a:bodyPr/>
              <a:lstStyle>
                <a:lvl1pPr marL="0" eaLnBrk="1" hangingPunct="1">
                  <a:spcBef>
                    <a:spcPts val="600"/>
                  </a:spcBef>
                  <a:spcAft>
                    <a:spcPts val="0"/>
                  </a:spcAft>
                  <a:defRPr lang="en-US" sz="1600" b="0" kern="1200" cap="none" spc="0" baseline="0" dirty="0" smtClean="0">
                    <a:solidFill>
                      <a:schemeClr val="tx1"/>
                    </a:solidFill>
                    <a:latin typeface="+mn-lt"/>
                    <a:ea typeface="+mn-ea"/>
                    <a:cs typeface="Arial" pitchFamily="34" charset="0"/>
                  </a:defRPr>
                </a:lvl1pPr>
                <a:lvl2pPr marL="246820" indent="-246820" eaLnBrk="1" hangingPunct="1">
                  <a:spcBef>
                    <a:spcPts val="600"/>
                  </a:spcBef>
                  <a:spcAft>
                    <a:spcPts val="0"/>
                  </a:spcAft>
                  <a:buFont typeface="Wingdings" pitchFamily="2" charset="2"/>
                  <a:buChar char="§"/>
                  <a:defRPr sz="1600" b="0" kern="1200" spc="0">
                    <a:solidFill>
                      <a:schemeClr val="tx1"/>
                    </a:solidFill>
                    <a:latin typeface="+mn-lt"/>
                    <a:ea typeface="+mn-ea"/>
                    <a:cs typeface="Arial" pitchFamily="34" charset="0"/>
                  </a:defRPr>
                </a:lvl2pPr>
                <a:lvl3pPr marL="493640" indent="-246820" eaLnBrk="1" hangingPunct="1">
                  <a:spcBef>
                    <a:spcPts val="600"/>
                  </a:spcBef>
                  <a:spcAft>
                    <a:spcPts val="0"/>
                  </a:spcAft>
                  <a:buFont typeface="Webdings" pitchFamily="18" charset="2"/>
                  <a:buChar char="4"/>
                  <a:defRPr sz="1600" b="0" kern="1200" spc="0">
                    <a:solidFill>
                      <a:schemeClr val="tx1"/>
                    </a:solidFill>
                    <a:latin typeface="+mn-lt"/>
                    <a:ea typeface="+mn-ea"/>
                    <a:cs typeface="Arial" pitchFamily="34" charset="0"/>
                  </a:defRPr>
                </a:lvl3pPr>
                <a:lvl4pPr marL="781596" indent="-205683" eaLnBrk="1" hangingPunct="1">
                  <a:spcBef>
                    <a:spcPts val="600"/>
                  </a:spcBef>
                  <a:spcAft>
                    <a:spcPts val="0"/>
                  </a:spcAft>
                  <a:buFont typeface="Symbol" pitchFamily="18" charset="2"/>
                  <a:buChar char="-"/>
                  <a:defRPr sz="1600" b="0" i="0" kern="1200" spc="0" baseline="0">
                    <a:solidFill>
                      <a:schemeClr val="tx1"/>
                    </a:solidFill>
                    <a:latin typeface="+mn-lt"/>
                    <a:ea typeface="+mn-ea"/>
                    <a:cs typeface="+mn-cs"/>
                  </a:defRPr>
                </a:lvl4pPr>
                <a:lvl5pPr marL="1069552" indent="-246820" eaLnBrk="1" hangingPunct="1">
                  <a:spcBef>
                    <a:spcPts val="600"/>
                  </a:spcBef>
                  <a:spcAft>
                    <a:spcPts val="0"/>
                  </a:spcAft>
                  <a:buFont typeface="Arial" pitchFamily="34" charset="0"/>
                  <a:buChar char="•"/>
                  <a:defRPr sz="1600" b="0" i="0" kern="1200" spc="0" baseline="0">
                    <a:solidFill>
                      <a:schemeClr val="tx1"/>
                    </a:solidFill>
                    <a:latin typeface="+mn-lt"/>
                    <a:ea typeface="+mn-ea"/>
                    <a:cs typeface="+mn-cs"/>
                  </a:defRPr>
                </a:lvl5pPr>
                <a:lvl6pPr marL="1357509" indent="-246820" eaLnBrk="1" hangingPunct="1">
                  <a:spcBef>
                    <a:spcPts val="600"/>
                  </a:spcBef>
                  <a:spcAft>
                    <a:spcPts val="0"/>
                  </a:spcAft>
                  <a:buSzPct val="65000"/>
                  <a:buFont typeface="Wingdings" pitchFamily="2" charset="2"/>
                  <a:buChar char="w"/>
                  <a:defRPr sz="1600" b="0" i="0" kern="1200" spc="0" baseline="0">
                    <a:solidFill>
                      <a:schemeClr val="tx1"/>
                    </a:solidFill>
                    <a:latin typeface="+mn-lt"/>
                    <a:ea typeface="+mn-ea"/>
                    <a:cs typeface="+mn-cs"/>
                  </a:defRPr>
                </a:lvl6pPr>
                <a:lvl7pPr marL="1973082" eaLnBrk="1" hangingPunct="1">
                  <a:defRPr>
                    <a:latin typeface="+mn-lt"/>
                    <a:ea typeface="+mn-ea"/>
                    <a:cs typeface="+mn-cs"/>
                  </a:defRPr>
                </a:lvl7pPr>
                <a:lvl8pPr marL="2301932" eaLnBrk="1" hangingPunct="1">
                  <a:defRPr>
                    <a:latin typeface="+mn-lt"/>
                    <a:ea typeface="+mn-ea"/>
                    <a:cs typeface="+mn-cs"/>
                  </a:defRPr>
                </a:lvl8pPr>
                <a:lvl9pPr marL="2630778" eaLnBrk="1" hangingPunct="1">
                  <a:defRPr>
                    <a:latin typeface="+mn-lt"/>
                    <a:ea typeface="+mn-ea"/>
                    <a:cs typeface="+mn-cs"/>
                  </a:defRPr>
                </a:lvl9pPr>
              </a:lstStyle>
              <a:p>
                <a:pPr marL="0" lvl="1" indent="0" algn="ctr" defTabSz="1009040">
                  <a:spcBef>
                    <a:spcPts val="0"/>
                  </a:spcBef>
                  <a:buClr>
                    <a:schemeClr val="tx2"/>
                  </a:buClr>
                  <a:buNone/>
                  <a:defRPr/>
                </a:pPr>
                <a:r>
                  <a:rPr lang="fr-FR" sz="1500" b="1" dirty="0">
                    <a:solidFill>
                      <a:schemeClr val="tx2"/>
                    </a:solidFill>
                  </a:rPr>
                  <a:t>Développement produit</a:t>
                </a:r>
              </a:p>
            </p:txBody>
          </p:sp>
        </p:grpSp>
        <p:grpSp>
          <p:nvGrpSpPr>
            <p:cNvPr id="18" name="Groupe 17">
              <a:extLst>
                <a:ext uri="{FF2B5EF4-FFF2-40B4-BE49-F238E27FC236}">
                  <a16:creationId xmlns:a16="http://schemas.microsoft.com/office/drawing/2014/main" id="{45B1A3C3-F83A-4F33-9882-29AC04CB6122}"/>
                </a:ext>
              </a:extLst>
            </p:cNvPr>
            <p:cNvGrpSpPr/>
            <p:nvPr/>
          </p:nvGrpSpPr>
          <p:grpSpPr>
            <a:xfrm>
              <a:off x="6573838" y="1920240"/>
              <a:ext cx="1676400" cy="1328025"/>
              <a:chOff x="5366862" y="1920240"/>
              <a:chExt cx="1676400" cy="1328025"/>
            </a:xfrm>
          </p:grpSpPr>
          <p:pic>
            <p:nvPicPr>
              <p:cNvPr id="75" name="Picture Placeholder 66">
                <a:extLst>
                  <a:ext uri="{FF2B5EF4-FFF2-40B4-BE49-F238E27FC236}">
                    <a16:creationId xmlns:a16="http://schemas.microsoft.com/office/drawing/2014/main" id="{BE50B29A-1BA0-4091-852C-8A8BBA7B610C}"/>
                  </a:ext>
                </a:extLst>
              </p:cNvPr>
              <p:cNvPicPr>
                <a:picLocks noChangeAspect="1"/>
              </p:cNvPicPr>
              <p:nvPr/>
            </p:nvPicPr>
            <p:blipFill>
              <a:blip r:embed="rId9">
                <a:extLst>
                  <a:ext uri="{28A0092B-C50C-407E-A947-70E740481C1C}">
                    <a14:useLocalDpi xmlns:a14="http://schemas.microsoft.com/office/drawing/2010/main" val="0"/>
                  </a:ext>
                </a:extLst>
              </a:blip>
              <a:srcRect l="2830" r="2830"/>
              <a:stretch>
                <a:fillRect/>
              </a:stretch>
            </p:blipFill>
            <p:spPr>
              <a:xfrm>
                <a:off x="5873941" y="1920240"/>
                <a:ext cx="684000" cy="684000"/>
              </a:xfrm>
              <a:prstGeom prst="rect">
                <a:avLst/>
              </a:prstGeom>
            </p:spPr>
          </p:pic>
          <p:sp>
            <p:nvSpPr>
              <p:cNvPr id="81" name="Espace réservé du texte 3">
                <a:extLst>
                  <a:ext uri="{FF2B5EF4-FFF2-40B4-BE49-F238E27FC236}">
                    <a16:creationId xmlns:a16="http://schemas.microsoft.com/office/drawing/2014/main" id="{6DAFD30A-836E-46F8-8401-E325ECE155EF}"/>
                  </a:ext>
                </a:extLst>
              </p:cNvPr>
              <p:cNvSpPr txBox="1">
                <a:spLocks/>
              </p:cNvSpPr>
              <p:nvPr/>
            </p:nvSpPr>
            <p:spPr>
              <a:xfrm>
                <a:off x="5366862" y="2691384"/>
                <a:ext cx="1676400" cy="556881"/>
              </a:xfrm>
              <a:prstGeom prst="rect">
                <a:avLst/>
              </a:prstGeom>
            </p:spPr>
            <p:txBody>
              <a:bodyPr/>
              <a:lstStyle>
                <a:lvl1pPr marL="0" eaLnBrk="1" hangingPunct="1">
                  <a:spcBef>
                    <a:spcPts val="600"/>
                  </a:spcBef>
                  <a:spcAft>
                    <a:spcPts val="0"/>
                  </a:spcAft>
                  <a:defRPr lang="en-US" sz="1600" b="0" kern="1200" cap="none" spc="0" baseline="0" dirty="0" smtClean="0">
                    <a:solidFill>
                      <a:schemeClr val="tx1"/>
                    </a:solidFill>
                    <a:latin typeface="+mn-lt"/>
                    <a:ea typeface="+mn-ea"/>
                    <a:cs typeface="Arial" pitchFamily="34" charset="0"/>
                  </a:defRPr>
                </a:lvl1pPr>
                <a:lvl2pPr marL="246820" indent="-246820" eaLnBrk="1" hangingPunct="1">
                  <a:spcBef>
                    <a:spcPts val="600"/>
                  </a:spcBef>
                  <a:spcAft>
                    <a:spcPts val="0"/>
                  </a:spcAft>
                  <a:buFont typeface="Wingdings" pitchFamily="2" charset="2"/>
                  <a:buChar char="§"/>
                  <a:defRPr sz="1600" b="0" kern="1200" spc="0">
                    <a:solidFill>
                      <a:schemeClr val="tx1"/>
                    </a:solidFill>
                    <a:latin typeface="+mn-lt"/>
                    <a:ea typeface="+mn-ea"/>
                    <a:cs typeface="Arial" pitchFamily="34" charset="0"/>
                  </a:defRPr>
                </a:lvl2pPr>
                <a:lvl3pPr marL="493640" indent="-246820" eaLnBrk="1" hangingPunct="1">
                  <a:spcBef>
                    <a:spcPts val="600"/>
                  </a:spcBef>
                  <a:spcAft>
                    <a:spcPts val="0"/>
                  </a:spcAft>
                  <a:buFont typeface="Webdings" pitchFamily="18" charset="2"/>
                  <a:buChar char="4"/>
                  <a:defRPr sz="1600" b="0" kern="1200" spc="0">
                    <a:solidFill>
                      <a:schemeClr val="tx1"/>
                    </a:solidFill>
                    <a:latin typeface="+mn-lt"/>
                    <a:ea typeface="+mn-ea"/>
                    <a:cs typeface="Arial" pitchFamily="34" charset="0"/>
                  </a:defRPr>
                </a:lvl3pPr>
                <a:lvl4pPr marL="781596" indent="-205683" eaLnBrk="1" hangingPunct="1">
                  <a:spcBef>
                    <a:spcPts val="600"/>
                  </a:spcBef>
                  <a:spcAft>
                    <a:spcPts val="0"/>
                  </a:spcAft>
                  <a:buFont typeface="Symbol" pitchFamily="18" charset="2"/>
                  <a:buChar char="-"/>
                  <a:defRPr sz="1600" b="0" i="0" kern="1200" spc="0" baseline="0">
                    <a:solidFill>
                      <a:schemeClr val="tx1"/>
                    </a:solidFill>
                    <a:latin typeface="+mn-lt"/>
                    <a:ea typeface="+mn-ea"/>
                    <a:cs typeface="+mn-cs"/>
                  </a:defRPr>
                </a:lvl4pPr>
                <a:lvl5pPr marL="1069552" indent="-246820" eaLnBrk="1" hangingPunct="1">
                  <a:spcBef>
                    <a:spcPts val="600"/>
                  </a:spcBef>
                  <a:spcAft>
                    <a:spcPts val="0"/>
                  </a:spcAft>
                  <a:buFont typeface="Arial" pitchFamily="34" charset="0"/>
                  <a:buChar char="•"/>
                  <a:defRPr sz="1600" b="0" i="0" kern="1200" spc="0" baseline="0">
                    <a:solidFill>
                      <a:schemeClr val="tx1"/>
                    </a:solidFill>
                    <a:latin typeface="+mn-lt"/>
                    <a:ea typeface="+mn-ea"/>
                    <a:cs typeface="+mn-cs"/>
                  </a:defRPr>
                </a:lvl5pPr>
                <a:lvl6pPr marL="1357509" indent="-246820" eaLnBrk="1" hangingPunct="1">
                  <a:spcBef>
                    <a:spcPts val="600"/>
                  </a:spcBef>
                  <a:spcAft>
                    <a:spcPts val="0"/>
                  </a:spcAft>
                  <a:buSzPct val="65000"/>
                  <a:buFont typeface="Wingdings" pitchFamily="2" charset="2"/>
                  <a:buChar char="w"/>
                  <a:defRPr sz="1600" b="0" i="0" kern="1200" spc="0" baseline="0">
                    <a:solidFill>
                      <a:schemeClr val="tx1"/>
                    </a:solidFill>
                    <a:latin typeface="+mn-lt"/>
                    <a:ea typeface="+mn-ea"/>
                    <a:cs typeface="+mn-cs"/>
                  </a:defRPr>
                </a:lvl6pPr>
                <a:lvl7pPr marL="1973082" eaLnBrk="1" hangingPunct="1">
                  <a:defRPr>
                    <a:latin typeface="+mn-lt"/>
                    <a:ea typeface="+mn-ea"/>
                    <a:cs typeface="+mn-cs"/>
                  </a:defRPr>
                </a:lvl7pPr>
                <a:lvl8pPr marL="2301932" eaLnBrk="1" hangingPunct="1">
                  <a:defRPr>
                    <a:latin typeface="+mn-lt"/>
                    <a:ea typeface="+mn-ea"/>
                    <a:cs typeface="+mn-cs"/>
                  </a:defRPr>
                </a:lvl8pPr>
                <a:lvl9pPr marL="2630778" eaLnBrk="1" hangingPunct="1">
                  <a:defRPr>
                    <a:latin typeface="+mn-lt"/>
                    <a:ea typeface="+mn-ea"/>
                    <a:cs typeface="+mn-cs"/>
                  </a:defRPr>
                </a:lvl9pPr>
              </a:lstStyle>
              <a:p>
                <a:pPr marL="0" lvl="1" indent="0" algn="ctr" defTabSz="1009040">
                  <a:spcBef>
                    <a:spcPts val="0"/>
                  </a:spcBef>
                  <a:buClr>
                    <a:schemeClr val="tx2"/>
                  </a:buClr>
                  <a:buNone/>
                  <a:defRPr/>
                </a:pPr>
                <a:r>
                  <a:rPr lang="fr-FR" sz="1500" b="1" dirty="0">
                    <a:solidFill>
                      <a:schemeClr val="tx2"/>
                    </a:solidFill>
                  </a:rPr>
                  <a:t>Transformation business &amp; digitale</a:t>
                </a:r>
              </a:p>
            </p:txBody>
          </p:sp>
        </p:grpSp>
        <p:grpSp>
          <p:nvGrpSpPr>
            <p:cNvPr id="3" name="Groupe 2">
              <a:extLst>
                <a:ext uri="{FF2B5EF4-FFF2-40B4-BE49-F238E27FC236}">
                  <a16:creationId xmlns:a16="http://schemas.microsoft.com/office/drawing/2014/main" id="{0465759F-C945-4FDB-9F93-3F51B6F68C4E}"/>
                </a:ext>
              </a:extLst>
            </p:cNvPr>
            <p:cNvGrpSpPr/>
            <p:nvPr/>
          </p:nvGrpSpPr>
          <p:grpSpPr>
            <a:xfrm>
              <a:off x="8708232" y="1920240"/>
              <a:ext cx="1676400" cy="1328025"/>
              <a:chOff x="8937625" y="1920240"/>
              <a:chExt cx="1676400" cy="1328025"/>
            </a:xfrm>
          </p:grpSpPr>
          <p:pic>
            <p:nvPicPr>
              <p:cNvPr id="76" name="Picture Placeholder 67">
                <a:extLst>
                  <a:ext uri="{FF2B5EF4-FFF2-40B4-BE49-F238E27FC236}">
                    <a16:creationId xmlns:a16="http://schemas.microsoft.com/office/drawing/2014/main" id="{F7990289-E6D8-4A40-92FB-887079CF0CFE}"/>
                  </a:ext>
                </a:extLst>
              </p:cNvPr>
              <p:cNvPicPr>
                <a:picLocks noChangeAspect="1"/>
              </p:cNvPicPr>
              <p:nvPr/>
            </p:nvPicPr>
            <p:blipFill>
              <a:blip r:embed="rId10">
                <a:extLst>
                  <a:ext uri="{28A0092B-C50C-407E-A947-70E740481C1C}">
                    <a14:useLocalDpi xmlns:a14="http://schemas.microsoft.com/office/drawing/2010/main" val="0"/>
                  </a:ext>
                </a:extLst>
              </a:blip>
              <a:srcRect l="2830" r="2830"/>
              <a:stretch>
                <a:fillRect/>
              </a:stretch>
            </p:blipFill>
            <p:spPr>
              <a:xfrm>
                <a:off x="9433825" y="1920240"/>
                <a:ext cx="684000" cy="684000"/>
              </a:xfrm>
              <a:prstGeom prst="rect">
                <a:avLst/>
              </a:prstGeom>
            </p:spPr>
          </p:pic>
          <p:sp>
            <p:nvSpPr>
              <p:cNvPr id="82" name="Espace réservé du texte 3">
                <a:extLst>
                  <a:ext uri="{FF2B5EF4-FFF2-40B4-BE49-F238E27FC236}">
                    <a16:creationId xmlns:a16="http://schemas.microsoft.com/office/drawing/2014/main" id="{0B78CDD8-392E-48FE-A070-111A6E5E8EEE}"/>
                  </a:ext>
                </a:extLst>
              </p:cNvPr>
              <p:cNvSpPr txBox="1">
                <a:spLocks/>
              </p:cNvSpPr>
              <p:nvPr/>
            </p:nvSpPr>
            <p:spPr>
              <a:xfrm>
                <a:off x="8937625" y="2691384"/>
                <a:ext cx="1676400" cy="556881"/>
              </a:xfrm>
              <a:prstGeom prst="rect">
                <a:avLst/>
              </a:prstGeom>
            </p:spPr>
            <p:txBody>
              <a:bodyPr/>
              <a:lstStyle>
                <a:lvl1pPr marL="0" eaLnBrk="1" hangingPunct="1">
                  <a:spcBef>
                    <a:spcPts val="600"/>
                  </a:spcBef>
                  <a:spcAft>
                    <a:spcPts val="0"/>
                  </a:spcAft>
                  <a:defRPr lang="en-US" sz="1600" b="0" kern="1200" cap="none" spc="0" baseline="0" dirty="0" smtClean="0">
                    <a:solidFill>
                      <a:schemeClr val="tx1"/>
                    </a:solidFill>
                    <a:latin typeface="+mn-lt"/>
                    <a:ea typeface="+mn-ea"/>
                    <a:cs typeface="Arial" pitchFamily="34" charset="0"/>
                  </a:defRPr>
                </a:lvl1pPr>
                <a:lvl2pPr marL="246820" indent="-246820" eaLnBrk="1" hangingPunct="1">
                  <a:spcBef>
                    <a:spcPts val="600"/>
                  </a:spcBef>
                  <a:spcAft>
                    <a:spcPts val="0"/>
                  </a:spcAft>
                  <a:buFont typeface="Wingdings" pitchFamily="2" charset="2"/>
                  <a:buChar char="§"/>
                  <a:defRPr sz="1600" b="0" kern="1200" spc="0">
                    <a:solidFill>
                      <a:schemeClr val="tx1"/>
                    </a:solidFill>
                    <a:latin typeface="+mn-lt"/>
                    <a:ea typeface="+mn-ea"/>
                    <a:cs typeface="Arial" pitchFamily="34" charset="0"/>
                  </a:defRPr>
                </a:lvl2pPr>
                <a:lvl3pPr marL="493640" indent="-246820" eaLnBrk="1" hangingPunct="1">
                  <a:spcBef>
                    <a:spcPts val="600"/>
                  </a:spcBef>
                  <a:spcAft>
                    <a:spcPts val="0"/>
                  </a:spcAft>
                  <a:buFont typeface="Webdings" pitchFamily="18" charset="2"/>
                  <a:buChar char="4"/>
                  <a:defRPr sz="1600" b="0" kern="1200" spc="0">
                    <a:solidFill>
                      <a:schemeClr val="tx1"/>
                    </a:solidFill>
                    <a:latin typeface="+mn-lt"/>
                    <a:ea typeface="+mn-ea"/>
                    <a:cs typeface="Arial" pitchFamily="34" charset="0"/>
                  </a:defRPr>
                </a:lvl3pPr>
                <a:lvl4pPr marL="781596" indent="-205683" eaLnBrk="1" hangingPunct="1">
                  <a:spcBef>
                    <a:spcPts val="600"/>
                  </a:spcBef>
                  <a:spcAft>
                    <a:spcPts val="0"/>
                  </a:spcAft>
                  <a:buFont typeface="Symbol" pitchFamily="18" charset="2"/>
                  <a:buChar char="-"/>
                  <a:defRPr sz="1600" b="0" i="0" kern="1200" spc="0" baseline="0">
                    <a:solidFill>
                      <a:schemeClr val="tx1"/>
                    </a:solidFill>
                    <a:latin typeface="+mn-lt"/>
                    <a:ea typeface="+mn-ea"/>
                    <a:cs typeface="+mn-cs"/>
                  </a:defRPr>
                </a:lvl4pPr>
                <a:lvl5pPr marL="1069552" indent="-246820" eaLnBrk="1" hangingPunct="1">
                  <a:spcBef>
                    <a:spcPts val="600"/>
                  </a:spcBef>
                  <a:spcAft>
                    <a:spcPts val="0"/>
                  </a:spcAft>
                  <a:buFont typeface="Arial" pitchFamily="34" charset="0"/>
                  <a:buChar char="•"/>
                  <a:defRPr sz="1600" b="0" i="0" kern="1200" spc="0" baseline="0">
                    <a:solidFill>
                      <a:schemeClr val="tx1"/>
                    </a:solidFill>
                    <a:latin typeface="+mn-lt"/>
                    <a:ea typeface="+mn-ea"/>
                    <a:cs typeface="+mn-cs"/>
                  </a:defRPr>
                </a:lvl5pPr>
                <a:lvl6pPr marL="1357509" indent="-246820" eaLnBrk="1" hangingPunct="1">
                  <a:spcBef>
                    <a:spcPts val="600"/>
                  </a:spcBef>
                  <a:spcAft>
                    <a:spcPts val="0"/>
                  </a:spcAft>
                  <a:buSzPct val="65000"/>
                  <a:buFont typeface="Wingdings" pitchFamily="2" charset="2"/>
                  <a:buChar char="w"/>
                  <a:defRPr sz="1600" b="0" i="0" kern="1200" spc="0" baseline="0">
                    <a:solidFill>
                      <a:schemeClr val="tx1"/>
                    </a:solidFill>
                    <a:latin typeface="+mn-lt"/>
                    <a:ea typeface="+mn-ea"/>
                    <a:cs typeface="+mn-cs"/>
                  </a:defRPr>
                </a:lvl6pPr>
                <a:lvl7pPr marL="1973082" eaLnBrk="1" hangingPunct="1">
                  <a:defRPr>
                    <a:latin typeface="+mn-lt"/>
                    <a:ea typeface="+mn-ea"/>
                    <a:cs typeface="+mn-cs"/>
                  </a:defRPr>
                </a:lvl7pPr>
                <a:lvl8pPr marL="2301932" eaLnBrk="1" hangingPunct="1">
                  <a:defRPr>
                    <a:latin typeface="+mn-lt"/>
                    <a:ea typeface="+mn-ea"/>
                    <a:cs typeface="+mn-cs"/>
                  </a:defRPr>
                </a:lvl8pPr>
                <a:lvl9pPr marL="2630778" eaLnBrk="1" hangingPunct="1">
                  <a:defRPr>
                    <a:latin typeface="+mn-lt"/>
                    <a:ea typeface="+mn-ea"/>
                    <a:cs typeface="+mn-cs"/>
                  </a:defRPr>
                </a:lvl9pPr>
              </a:lstStyle>
              <a:p>
                <a:pPr marL="0" lvl="1" indent="0" algn="ctr" defTabSz="1009040">
                  <a:spcBef>
                    <a:spcPts val="0"/>
                  </a:spcBef>
                  <a:buClr>
                    <a:schemeClr val="tx2"/>
                  </a:buClr>
                  <a:buNone/>
                  <a:defRPr/>
                </a:pPr>
                <a:r>
                  <a:rPr lang="fr-FR" sz="1500" b="1" dirty="0">
                    <a:solidFill>
                      <a:schemeClr val="tx2"/>
                    </a:solidFill>
                  </a:rPr>
                  <a:t>Optimisation </a:t>
                </a:r>
              </a:p>
              <a:p>
                <a:pPr marL="0" lvl="1" indent="0" algn="ctr" defTabSz="1009040">
                  <a:spcBef>
                    <a:spcPts val="0"/>
                  </a:spcBef>
                  <a:buClr>
                    <a:schemeClr val="tx2"/>
                  </a:buClr>
                  <a:buNone/>
                  <a:defRPr/>
                </a:pPr>
                <a:r>
                  <a:rPr lang="fr-FR" sz="1500" b="1" dirty="0">
                    <a:solidFill>
                      <a:schemeClr val="tx2"/>
                    </a:solidFill>
                  </a:rPr>
                  <a:t>des coûts</a:t>
                </a:r>
              </a:p>
            </p:txBody>
          </p:sp>
        </p:grpSp>
        <p:grpSp>
          <p:nvGrpSpPr>
            <p:cNvPr id="12" name="Groupe 11">
              <a:extLst>
                <a:ext uri="{FF2B5EF4-FFF2-40B4-BE49-F238E27FC236}">
                  <a16:creationId xmlns:a16="http://schemas.microsoft.com/office/drawing/2014/main" id="{521FDD72-1E5B-478B-ABA3-F93FBF1BED24}"/>
                </a:ext>
              </a:extLst>
            </p:cNvPr>
            <p:cNvGrpSpPr/>
            <p:nvPr/>
          </p:nvGrpSpPr>
          <p:grpSpPr>
            <a:xfrm>
              <a:off x="10842625" y="1920240"/>
              <a:ext cx="1676400" cy="1328025"/>
              <a:chOff x="10842625" y="1920240"/>
              <a:chExt cx="1676400" cy="1328025"/>
            </a:xfrm>
          </p:grpSpPr>
          <p:pic>
            <p:nvPicPr>
              <p:cNvPr id="77" name="Picture Placeholder 68">
                <a:extLst>
                  <a:ext uri="{FF2B5EF4-FFF2-40B4-BE49-F238E27FC236}">
                    <a16:creationId xmlns:a16="http://schemas.microsoft.com/office/drawing/2014/main" id="{42B5C033-EC76-4722-A558-4228FE7534C9}"/>
                  </a:ext>
                </a:extLst>
              </p:cNvPr>
              <p:cNvPicPr>
                <a:picLocks noChangeAspect="1"/>
              </p:cNvPicPr>
              <p:nvPr/>
            </p:nvPicPr>
            <p:blipFill>
              <a:blip r:embed="rId11">
                <a:extLst>
                  <a:ext uri="{28A0092B-C50C-407E-A947-70E740481C1C}">
                    <a14:useLocalDpi xmlns:a14="http://schemas.microsoft.com/office/drawing/2010/main" val="0"/>
                  </a:ext>
                </a:extLst>
              </a:blip>
              <a:srcRect l="2381" r="2381"/>
              <a:stretch>
                <a:fillRect/>
              </a:stretch>
            </p:blipFill>
            <p:spPr>
              <a:xfrm>
                <a:off x="11349704" y="1920240"/>
                <a:ext cx="684000" cy="684000"/>
              </a:xfrm>
              <a:prstGeom prst="rect">
                <a:avLst/>
              </a:prstGeom>
            </p:spPr>
          </p:pic>
          <p:sp>
            <p:nvSpPr>
              <p:cNvPr id="83" name="Espace réservé du texte 3">
                <a:extLst>
                  <a:ext uri="{FF2B5EF4-FFF2-40B4-BE49-F238E27FC236}">
                    <a16:creationId xmlns:a16="http://schemas.microsoft.com/office/drawing/2014/main" id="{DEB10AB1-381A-461D-AAC5-F92DFD59FCD5}"/>
                  </a:ext>
                </a:extLst>
              </p:cNvPr>
              <p:cNvSpPr txBox="1">
                <a:spLocks/>
              </p:cNvSpPr>
              <p:nvPr/>
            </p:nvSpPr>
            <p:spPr>
              <a:xfrm>
                <a:off x="10842625" y="2691384"/>
                <a:ext cx="1676400" cy="556881"/>
              </a:xfrm>
              <a:prstGeom prst="rect">
                <a:avLst/>
              </a:prstGeom>
            </p:spPr>
            <p:txBody>
              <a:bodyPr/>
              <a:lstStyle>
                <a:lvl1pPr marL="0" eaLnBrk="1" hangingPunct="1">
                  <a:spcBef>
                    <a:spcPts val="600"/>
                  </a:spcBef>
                  <a:spcAft>
                    <a:spcPts val="0"/>
                  </a:spcAft>
                  <a:defRPr lang="en-US" sz="1600" b="0" kern="1200" cap="none" spc="0" baseline="0" dirty="0" smtClean="0">
                    <a:solidFill>
                      <a:schemeClr val="tx1"/>
                    </a:solidFill>
                    <a:latin typeface="+mn-lt"/>
                    <a:ea typeface="+mn-ea"/>
                    <a:cs typeface="Arial" pitchFamily="34" charset="0"/>
                  </a:defRPr>
                </a:lvl1pPr>
                <a:lvl2pPr marL="246820" indent="-246820" eaLnBrk="1" hangingPunct="1">
                  <a:spcBef>
                    <a:spcPts val="600"/>
                  </a:spcBef>
                  <a:spcAft>
                    <a:spcPts val="0"/>
                  </a:spcAft>
                  <a:buFont typeface="Wingdings" pitchFamily="2" charset="2"/>
                  <a:buChar char="§"/>
                  <a:defRPr sz="1600" b="0" kern="1200" spc="0">
                    <a:solidFill>
                      <a:schemeClr val="tx1"/>
                    </a:solidFill>
                    <a:latin typeface="+mn-lt"/>
                    <a:ea typeface="+mn-ea"/>
                    <a:cs typeface="Arial" pitchFamily="34" charset="0"/>
                  </a:defRPr>
                </a:lvl2pPr>
                <a:lvl3pPr marL="493640" indent="-246820" eaLnBrk="1" hangingPunct="1">
                  <a:spcBef>
                    <a:spcPts val="600"/>
                  </a:spcBef>
                  <a:spcAft>
                    <a:spcPts val="0"/>
                  </a:spcAft>
                  <a:buFont typeface="Webdings" pitchFamily="18" charset="2"/>
                  <a:buChar char="4"/>
                  <a:defRPr sz="1600" b="0" kern="1200" spc="0">
                    <a:solidFill>
                      <a:schemeClr val="tx1"/>
                    </a:solidFill>
                    <a:latin typeface="+mn-lt"/>
                    <a:ea typeface="+mn-ea"/>
                    <a:cs typeface="Arial" pitchFamily="34" charset="0"/>
                  </a:defRPr>
                </a:lvl3pPr>
                <a:lvl4pPr marL="781596" indent="-205683" eaLnBrk="1" hangingPunct="1">
                  <a:spcBef>
                    <a:spcPts val="600"/>
                  </a:spcBef>
                  <a:spcAft>
                    <a:spcPts val="0"/>
                  </a:spcAft>
                  <a:buFont typeface="Symbol" pitchFamily="18" charset="2"/>
                  <a:buChar char="-"/>
                  <a:defRPr sz="1600" b="0" i="0" kern="1200" spc="0" baseline="0">
                    <a:solidFill>
                      <a:schemeClr val="tx1"/>
                    </a:solidFill>
                    <a:latin typeface="+mn-lt"/>
                    <a:ea typeface="+mn-ea"/>
                    <a:cs typeface="+mn-cs"/>
                  </a:defRPr>
                </a:lvl4pPr>
                <a:lvl5pPr marL="1069552" indent="-246820" eaLnBrk="1" hangingPunct="1">
                  <a:spcBef>
                    <a:spcPts val="600"/>
                  </a:spcBef>
                  <a:spcAft>
                    <a:spcPts val="0"/>
                  </a:spcAft>
                  <a:buFont typeface="Arial" pitchFamily="34" charset="0"/>
                  <a:buChar char="•"/>
                  <a:defRPr sz="1600" b="0" i="0" kern="1200" spc="0" baseline="0">
                    <a:solidFill>
                      <a:schemeClr val="tx1"/>
                    </a:solidFill>
                    <a:latin typeface="+mn-lt"/>
                    <a:ea typeface="+mn-ea"/>
                    <a:cs typeface="+mn-cs"/>
                  </a:defRPr>
                </a:lvl5pPr>
                <a:lvl6pPr marL="1357509" indent="-246820" eaLnBrk="1" hangingPunct="1">
                  <a:spcBef>
                    <a:spcPts val="600"/>
                  </a:spcBef>
                  <a:spcAft>
                    <a:spcPts val="0"/>
                  </a:spcAft>
                  <a:buSzPct val="65000"/>
                  <a:buFont typeface="Wingdings" pitchFamily="2" charset="2"/>
                  <a:buChar char="w"/>
                  <a:defRPr sz="1600" b="0" i="0" kern="1200" spc="0" baseline="0">
                    <a:solidFill>
                      <a:schemeClr val="tx1"/>
                    </a:solidFill>
                    <a:latin typeface="+mn-lt"/>
                    <a:ea typeface="+mn-ea"/>
                    <a:cs typeface="+mn-cs"/>
                  </a:defRPr>
                </a:lvl6pPr>
                <a:lvl7pPr marL="1973082" eaLnBrk="1" hangingPunct="1">
                  <a:defRPr>
                    <a:latin typeface="+mn-lt"/>
                    <a:ea typeface="+mn-ea"/>
                    <a:cs typeface="+mn-cs"/>
                  </a:defRPr>
                </a:lvl7pPr>
                <a:lvl8pPr marL="2301932" eaLnBrk="1" hangingPunct="1">
                  <a:defRPr>
                    <a:latin typeface="+mn-lt"/>
                    <a:ea typeface="+mn-ea"/>
                    <a:cs typeface="+mn-cs"/>
                  </a:defRPr>
                </a:lvl8pPr>
                <a:lvl9pPr marL="2630778" eaLnBrk="1" hangingPunct="1">
                  <a:defRPr>
                    <a:latin typeface="+mn-lt"/>
                    <a:ea typeface="+mn-ea"/>
                    <a:cs typeface="+mn-cs"/>
                  </a:defRPr>
                </a:lvl9pPr>
              </a:lstStyle>
              <a:p>
                <a:pPr marL="0" lvl="1" indent="0" algn="ctr" defTabSz="1009040">
                  <a:spcBef>
                    <a:spcPts val="0"/>
                  </a:spcBef>
                  <a:buClr>
                    <a:schemeClr val="tx2"/>
                  </a:buClr>
                  <a:buNone/>
                  <a:defRPr/>
                </a:pPr>
                <a:r>
                  <a:rPr lang="fr-FR" sz="1500" b="1" dirty="0" err="1">
                    <a:solidFill>
                      <a:schemeClr val="tx2"/>
                    </a:solidFill>
                  </a:rPr>
                  <a:t>Supply</a:t>
                </a:r>
                <a:r>
                  <a:rPr lang="fr-FR" sz="1500" b="1" dirty="0">
                    <a:solidFill>
                      <a:schemeClr val="tx2"/>
                    </a:solidFill>
                  </a:rPr>
                  <a:t> Chain &amp; Achats</a:t>
                </a:r>
              </a:p>
            </p:txBody>
          </p:sp>
        </p:grpSp>
        <p:grpSp>
          <p:nvGrpSpPr>
            <p:cNvPr id="23" name="Groupe 22">
              <a:extLst>
                <a:ext uri="{FF2B5EF4-FFF2-40B4-BE49-F238E27FC236}">
                  <a16:creationId xmlns:a16="http://schemas.microsoft.com/office/drawing/2014/main" id="{DE76E186-C3D6-41ED-AAD0-1FBAB888BBD0}"/>
                </a:ext>
              </a:extLst>
            </p:cNvPr>
            <p:cNvGrpSpPr/>
            <p:nvPr/>
          </p:nvGrpSpPr>
          <p:grpSpPr>
            <a:xfrm>
              <a:off x="170656" y="1920240"/>
              <a:ext cx="1676400" cy="1328025"/>
              <a:chOff x="170656" y="1920240"/>
              <a:chExt cx="1676400" cy="1328025"/>
            </a:xfrm>
          </p:grpSpPr>
          <p:pic>
            <p:nvPicPr>
              <p:cNvPr id="78" name="Picture Placeholder 69">
                <a:extLst>
                  <a:ext uri="{FF2B5EF4-FFF2-40B4-BE49-F238E27FC236}">
                    <a16:creationId xmlns:a16="http://schemas.microsoft.com/office/drawing/2014/main" id="{1A889C5C-33C1-4D1D-904C-EE6B0F981BBC}"/>
                  </a:ext>
                </a:extLst>
              </p:cNvPr>
              <p:cNvPicPr>
                <a:picLocks noChangeAspect="1"/>
              </p:cNvPicPr>
              <p:nvPr/>
            </p:nvPicPr>
            <p:blipFill>
              <a:blip r:embed="rId12">
                <a:extLst>
                  <a:ext uri="{28A0092B-C50C-407E-A947-70E740481C1C}">
                    <a14:useLocalDpi xmlns:a14="http://schemas.microsoft.com/office/drawing/2010/main" val="0"/>
                  </a:ext>
                </a:extLst>
              </a:blip>
              <a:srcRect l="2830" r="2830"/>
              <a:stretch>
                <a:fillRect/>
              </a:stretch>
            </p:blipFill>
            <p:spPr>
              <a:xfrm>
                <a:off x="666856" y="1920240"/>
                <a:ext cx="684000" cy="684000"/>
              </a:xfrm>
              <a:prstGeom prst="rect">
                <a:avLst/>
              </a:prstGeom>
            </p:spPr>
          </p:pic>
          <p:sp>
            <p:nvSpPr>
              <p:cNvPr id="84" name="Espace réservé du texte 3">
                <a:extLst>
                  <a:ext uri="{FF2B5EF4-FFF2-40B4-BE49-F238E27FC236}">
                    <a16:creationId xmlns:a16="http://schemas.microsoft.com/office/drawing/2014/main" id="{B866BD0F-E904-40BB-9622-09C7357CF1C6}"/>
                  </a:ext>
                </a:extLst>
              </p:cNvPr>
              <p:cNvSpPr txBox="1">
                <a:spLocks/>
              </p:cNvSpPr>
              <p:nvPr/>
            </p:nvSpPr>
            <p:spPr>
              <a:xfrm>
                <a:off x="170656" y="2691384"/>
                <a:ext cx="1676400" cy="556881"/>
              </a:xfrm>
              <a:prstGeom prst="rect">
                <a:avLst/>
              </a:prstGeom>
            </p:spPr>
            <p:txBody>
              <a:bodyPr/>
              <a:lstStyle>
                <a:lvl1pPr marL="0" eaLnBrk="1" hangingPunct="1">
                  <a:spcBef>
                    <a:spcPts val="600"/>
                  </a:spcBef>
                  <a:spcAft>
                    <a:spcPts val="0"/>
                  </a:spcAft>
                  <a:defRPr lang="en-US" sz="1600" b="0" kern="1200" cap="none" spc="0" baseline="0" dirty="0" smtClean="0">
                    <a:solidFill>
                      <a:schemeClr val="tx1"/>
                    </a:solidFill>
                    <a:latin typeface="+mn-lt"/>
                    <a:ea typeface="+mn-ea"/>
                    <a:cs typeface="Arial" pitchFamily="34" charset="0"/>
                  </a:defRPr>
                </a:lvl1pPr>
                <a:lvl2pPr marL="246820" indent="-246820" eaLnBrk="1" hangingPunct="1">
                  <a:spcBef>
                    <a:spcPts val="600"/>
                  </a:spcBef>
                  <a:spcAft>
                    <a:spcPts val="0"/>
                  </a:spcAft>
                  <a:buFont typeface="Wingdings" pitchFamily="2" charset="2"/>
                  <a:buChar char="§"/>
                  <a:defRPr sz="1600" b="0" kern="1200" spc="0">
                    <a:solidFill>
                      <a:schemeClr val="tx1"/>
                    </a:solidFill>
                    <a:latin typeface="+mn-lt"/>
                    <a:ea typeface="+mn-ea"/>
                    <a:cs typeface="Arial" pitchFamily="34" charset="0"/>
                  </a:defRPr>
                </a:lvl2pPr>
                <a:lvl3pPr marL="493640" indent="-246820" eaLnBrk="1" hangingPunct="1">
                  <a:spcBef>
                    <a:spcPts val="600"/>
                  </a:spcBef>
                  <a:spcAft>
                    <a:spcPts val="0"/>
                  </a:spcAft>
                  <a:buFont typeface="Webdings" pitchFamily="18" charset="2"/>
                  <a:buChar char="4"/>
                  <a:defRPr sz="1600" b="0" kern="1200" spc="0">
                    <a:solidFill>
                      <a:schemeClr val="tx1"/>
                    </a:solidFill>
                    <a:latin typeface="+mn-lt"/>
                    <a:ea typeface="+mn-ea"/>
                    <a:cs typeface="Arial" pitchFamily="34" charset="0"/>
                  </a:defRPr>
                </a:lvl3pPr>
                <a:lvl4pPr marL="781596" indent="-205683" eaLnBrk="1" hangingPunct="1">
                  <a:spcBef>
                    <a:spcPts val="600"/>
                  </a:spcBef>
                  <a:spcAft>
                    <a:spcPts val="0"/>
                  </a:spcAft>
                  <a:buFont typeface="Symbol" pitchFamily="18" charset="2"/>
                  <a:buChar char="-"/>
                  <a:defRPr sz="1600" b="0" i="0" kern="1200" spc="0" baseline="0">
                    <a:solidFill>
                      <a:schemeClr val="tx1"/>
                    </a:solidFill>
                    <a:latin typeface="+mn-lt"/>
                    <a:ea typeface="+mn-ea"/>
                    <a:cs typeface="+mn-cs"/>
                  </a:defRPr>
                </a:lvl4pPr>
                <a:lvl5pPr marL="1069552" indent="-246820" eaLnBrk="1" hangingPunct="1">
                  <a:spcBef>
                    <a:spcPts val="600"/>
                  </a:spcBef>
                  <a:spcAft>
                    <a:spcPts val="0"/>
                  </a:spcAft>
                  <a:buFont typeface="Arial" pitchFamily="34" charset="0"/>
                  <a:buChar char="•"/>
                  <a:defRPr sz="1600" b="0" i="0" kern="1200" spc="0" baseline="0">
                    <a:solidFill>
                      <a:schemeClr val="tx1"/>
                    </a:solidFill>
                    <a:latin typeface="+mn-lt"/>
                    <a:ea typeface="+mn-ea"/>
                    <a:cs typeface="+mn-cs"/>
                  </a:defRPr>
                </a:lvl5pPr>
                <a:lvl6pPr marL="1357509" indent="-246820" eaLnBrk="1" hangingPunct="1">
                  <a:spcBef>
                    <a:spcPts val="600"/>
                  </a:spcBef>
                  <a:spcAft>
                    <a:spcPts val="0"/>
                  </a:spcAft>
                  <a:buSzPct val="65000"/>
                  <a:buFont typeface="Wingdings" pitchFamily="2" charset="2"/>
                  <a:buChar char="w"/>
                  <a:defRPr sz="1600" b="0" i="0" kern="1200" spc="0" baseline="0">
                    <a:solidFill>
                      <a:schemeClr val="tx1"/>
                    </a:solidFill>
                    <a:latin typeface="+mn-lt"/>
                    <a:ea typeface="+mn-ea"/>
                    <a:cs typeface="+mn-cs"/>
                  </a:defRPr>
                </a:lvl6pPr>
                <a:lvl7pPr marL="1973082" eaLnBrk="1" hangingPunct="1">
                  <a:defRPr>
                    <a:latin typeface="+mn-lt"/>
                    <a:ea typeface="+mn-ea"/>
                    <a:cs typeface="+mn-cs"/>
                  </a:defRPr>
                </a:lvl7pPr>
                <a:lvl8pPr marL="2301932" eaLnBrk="1" hangingPunct="1">
                  <a:defRPr>
                    <a:latin typeface="+mn-lt"/>
                    <a:ea typeface="+mn-ea"/>
                    <a:cs typeface="+mn-cs"/>
                  </a:defRPr>
                </a:lvl8pPr>
                <a:lvl9pPr marL="2630778" eaLnBrk="1" hangingPunct="1">
                  <a:defRPr>
                    <a:latin typeface="+mn-lt"/>
                    <a:ea typeface="+mn-ea"/>
                    <a:cs typeface="+mn-cs"/>
                  </a:defRPr>
                </a:lvl9pPr>
              </a:lstStyle>
              <a:p>
                <a:pPr marL="0" lvl="1" indent="0" algn="ctr" defTabSz="1009040">
                  <a:spcBef>
                    <a:spcPts val="0"/>
                  </a:spcBef>
                  <a:buClr>
                    <a:schemeClr val="tx2"/>
                  </a:buClr>
                  <a:buNone/>
                  <a:defRPr/>
                </a:pPr>
                <a:r>
                  <a:rPr lang="fr-FR" sz="1500" b="1" dirty="0">
                    <a:solidFill>
                      <a:schemeClr val="tx2"/>
                    </a:solidFill>
                  </a:rPr>
                  <a:t>Stratégie de développement</a:t>
                </a:r>
              </a:p>
            </p:txBody>
          </p:sp>
        </p:grpSp>
        <p:grpSp>
          <p:nvGrpSpPr>
            <p:cNvPr id="31" name="Groupe 30">
              <a:extLst>
                <a:ext uri="{FF2B5EF4-FFF2-40B4-BE49-F238E27FC236}">
                  <a16:creationId xmlns:a16="http://schemas.microsoft.com/office/drawing/2014/main" id="{E74088DE-F318-49EB-B544-36486F275D2E}"/>
                </a:ext>
              </a:extLst>
            </p:cNvPr>
            <p:cNvGrpSpPr/>
            <p:nvPr/>
          </p:nvGrpSpPr>
          <p:grpSpPr>
            <a:xfrm>
              <a:off x="2487930" y="4773129"/>
              <a:ext cx="1676400" cy="1310025"/>
              <a:chOff x="1964633" y="4773129"/>
              <a:chExt cx="1676400" cy="1310025"/>
            </a:xfrm>
          </p:grpSpPr>
          <p:pic>
            <p:nvPicPr>
              <p:cNvPr id="61" name="Picture Placeholder 70">
                <a:extLst>
                  <a:ext uri="{FF2B5EF4-FFF2-40B4-BE49-F238E27FC236}">
                    <a16:creationId xmlns:a16="http://schemas.microsoft.com/office/drawing/2014/main" id="{160E4EF0-9C3E-477B-9C8B-18A647198F6C}"/>
                  </a:ext>
                </a:extLst>
              </p:cNvPr>
              <p:cNvPicPr>
                <a:picLocks noChangeAspect="1"/>
              </p:cNvPicPr>
              <p:nvPr/>
            </p:nvPicPr>
            <p:blipFill>
              <a:blip r:embed="rId13">
                <a:extLst>
                  <a:ext uri="{28A0092B-C50C-407E-A947-70E740481C1C}">
                    <a14:useLocalDpi xmlns:a14="http://schemas.microsoft.com/office/drawing/2010/main" val="0"/>
                  </a:ext>
                </a:extLst>
              </a:blip>
              <a:srcRect l="952" r="952"/>
              <a:stretch>
                <a:fillRect/>
              </a:stretch>
            </p:blipFill>
            <p:spPr>
              <a:xfrm>
                <a:off x="2516073" y="4773129"/>
                <a:ext cx="684000" cy="684000"/>
              </a:xfrm>
              <a:prstGeom prst="rect">
                <a:avLst/>
              </a:prstGeom>
            </p:spPr>
          </p:pic>
          <p:sp>
            <p:nvSpPr>
              <p:cNvPr id="62" name="Espace réservé du texte 3">
                <a:extLst>
                  <a:ext uri="{FF2B5EF4-FFF2-40B4-BE49-F238E27FC236}">
                    <a16:creationId xmlns:a16="http://schemas.microsoft.com/office/drawing/2014/main" id="{227F381F-6DC7-4B45-9347-7596A443B215}"/>
                  </a:ext>
                </a:extLst>
              </p:cNvPr>
              <p:cNvSpPr txBox="1">
                <a:spLocks/>
              </p:cNvSpPr>
              <p:nvPr/>
            </p:nvSpPr>
            <p:spPr>
              <a:xfrm>
                <a:off x="1964633" y="5526273"/>
                <a:ext cx="1676400" cy="556881"/>
              </a:xfrm>
              <a:prstGeom prst="rect">
                <a:avLst/>
              </a:prstGeom>
            </p:spPr>
            <p:txBody>
              <a:bodyPr/>
              <a:lstStyle>
                <a:lvl1pPr marL="0" eaLnBrk="1" hangingPunct="1">
                  <a:spcBef>
                    <a:spcPts val="600"/>
                  </a:spcBef>
                  <a:spcAft>
                    <a:spcPts val="0"/>
                  </a:spcAft>
                  <a:defRPr lang="en-US" sz="1600" b="0" kern="1200" cap="none" spc="0" baseline="0" dirty="0" smtClean="0">
                    <a:solidFill>
                      <a:schemeClr val="tx1"/>
                    </a:solidFill>
                    <a:latin typeface="+mn-lt"/>
                    <a:ea typeface="+mn-ea"/>
                    <a:cs typeface="Arial" pitchFamily="34" charset="0"/>
                  </a:defRPr>
                </a:lvl1pPr>
                <a:lvl2pPr marL="246820" indent="-246820" eaLnBrk="1" hangingPunct="1">
                  <a:spcBef>
                    <a:spcPts val="600"/>
                  </a:spcBef>
                  <a:spcAft>
                    <a:spcPts val="0"/>
                  </a:spcAft>
                  <a:buFont typeface="Wingdings" pitchFamily="2" charset="2"/>
                  <a:buChar char="§"/>
                  <a:defRPr sz="1600" b="0" kern="1200" spc="0">
                    <a:solidFill>
                      <a:schemeClr val="tx1"/>
                    </a:solidFill>
                    <a:latin typeface="+mn-lt"/>
                    <a:ea typeface="+mn-ea"/>
                    <a:cs typeface="Arial" pitchFamily="34" charset="0"/>
                  </a:defRPr>
                </a:lvl2pPr>
                <a:lvl3pPr marL="493640" indent="-246820" eaLnBrk="1" hangingPunct="1">
                  <a:spcBef>
                    <a:spcPts val="600"/>
                  </a:spcBef>
                  <a:spcAft>
                    <a:spcPts val="0"/>
                  </a:spcAft>
                  <a:buFont typeface="Webdings" pitchFamily="18" charset="2"/>
                  <a:buChar char="4"/>
                  <a:defRPr sz="1600" b="0" kern="1200" spc="0">
                    <a:solidFill>
                      <a:schemeClr val="tx1"/>
                    </a:solidFill>
                    <a:latin typeface="+mn-lt"/>
                    <a:ea typeface="+mn-ea"/>
                    <a:cs typeface="Arial" pitchFamily="34" charset="0"/>
                  </a:defRPr>
                </a:lvl3pPr>
                <a:lvl4pPr marL="781596" indent="-205683" eaLnBrk="1" hangingPunct="1">
                  <a:spcBef>
                    <a:spcPts val="600"/>
                  </a:spcBef>
                  <a:spcAft>
                    <a:spcPts val="0"/>
                  </a:spcAft>
                  <a:buFont typeface="Symbol" pitchFamily="18" charset="2"/>
                  <a:buChar char="-"/>
                  <a:defRPr sz="1600" b="0" i="0" kern="1200" spc="0" baseline="0">
                    <a:solidFill>
                      <a:schemeClr val="tx1"/>
                    </a:solidFill>
                    <a:latin typeface="+mn-lt"/>
                    <a:ea typeface="+mn-ea"/>
                    <a:cs typeface="+mn-cs"/>
                  </a:defRPr>
                </a:lvl4pPr>
                <a:lvl5pPr marL="1069552" indent="-246820" eaLnBrk="1" hangingPunct="1">
                  <a:spcBef>
                    <a:spcPts val="600"/>
                  </a:spcBef>
                  <a:spcAft>
                    <a:spcPts val="0"/>
                  </a:spcAft>
                  <a:buFont typeface="Arial" pitchFamily="34" charset="0"/>
                  <a:buChar char="•"/>
                  <a:defRPr sz="1600" b="0" i="0" kern="1200" spc="0" baseline="0">
                    <a:solidFill>
                      <a:schemeClr val="tx1"/>
                    </a:solidFill>
                    <a:latin typeface="+mn-lt"/>
                    <a:ea typeface="+mn-ea"/>
                    <a:cs typeface="+mn-cs"/>
                  </a:defRPr>
                </a:lvl5pPr>
                <a:lvl6pPr marL="1357509" indent="-246820" eaLnBrk="1" hangingPunct="1">
                  <a:spcBef>
                    <a:spcPts val="600"/>
                  </a:spcBef>
                  <a:spcAft>
                    <a:spcPts val="0"/>
                  </a:spcAft>
                  <a:buSzPct val="65000"/>
                  <a:buFont typeface="Wingdings" pitchFamily="2" charset="2"/>
                  <a:buChar char="w"/>
                  <a:defRPr sz="1600" b="0" i="0" kern="1200" spc="0" baseline="0">
                    <a:solidFill>
                      <a:schemeClr val="tx1"/>
                    </a:solidFill>
                    <a:latin typeface="+mn-lt"/>
                    <a:ea typeface="+mn-ea"/>
                    <a:cs typeface="+mn-cs"/>
                  </a:defRPr>
                </a:lvl6pPr>
                <a:lvl7pPr marL="1973082" eaLnBrk="1" hangingPunct="1">
                  <a:defRPr>
                    <a:latin typeface="+mn-lt"/>
                    <a:ea typeface="+mn-ea"/>
                    <a:cs typeface="+mn-cs"/>
                  </a:defRPr>
                </a:lvl7pPr>
                <a:lvl8pPr marL="2301932" eaLnBrk="1" hangingPunct="1">
                  <a:defRPr>
                    <a:latin typeface="+mn-lt"/>
                    <a:ea typeface="+mn-ea"/>
                    <a:cs typeface="+mn-cs"/>
                  </a:defRPr>
                </a:lvl8pPr>
                <a:lvl9pPr marL="2630778" eaLnBrk="1" hangingPunct="1">
                  <a:defRPr>
                    <a:latin typeface="+mn-lt"/>
                    <a:ea typeface="+mn-ea"/>
                    <a:cs typeface="+mn-cs"/>
                  </a:defRPr>
                </a:lvl9pPr>
              </a:lstStyle>
              <a:p>
                <a:pPr marL="0" lvl="1" indent="0" algn="ctr" defTabSz="1009040">
                  <a:spcBef>
                    <a:spcPts val="0"/>
                  </a:spcBef>
                  <a:buClr>
                    <a:schemeClr val="tx2"/>
                  </a:buClr>
                  <a:buNone/>
                  <a:defRPr/>
                </a:pPr>
                <a:r>
                  <a:rPr lang="fr-FR" sz="1500" b="1" dirty="0">
                    <a:solidFill>
                      <a:schemeClr val="tx2"/>
                    </a:solidFill>
                  </a:rPr>
                  <a:t>Smart Data  </a:t>
                </a:r>
                <a:br>
                  <a:rPr lang="fr-FR" sz="1500" b="1" dirty="0">
                    <a:solidFill>
                      <a:schemeClr val="tx2"/>
                    </a:solidFill>
                  </a:rPr>
                </a:br>
                <a:r>
                  <a:rPr lang="fr-FR" sz="1500" b="1" dirty="0">
                    <a:solidFill>
                      <a:schemeClr val="tx2"/>
                    </a:solidFill>
                  </a:rPr>
                  <a:t>&amp; Analytique</a:t>
                </a:r>
              </a:p>
            </p:txBody>
          </p:sp>
        </p:grpSp>
        <p:grpSp>
          <p:nvGrpSpPr>
            <p:cNvPr id="29" name="Groupe 28">
              <a:extLst>
                <a:ext uri="{FF2B5EF4-FFF2-40B4-BE49-F238E27FC236}">
                  <a16:creationId xmlns:a16="http://schemas.microsoft.com/office/drawing/2014/main" id="{0710FCBC-5574-4FA9-9025-D169460D5387}"/>
                </a:ext>
              </a:extLst>
            </p:cNvPr>
            <p:cNvGrpSpPr/>
            <p:nvPr/>
          </p:nvGrpSpPr>
          <p:grpSpPr>
            <a:xfrm>
              <a:off x="4576604" y="4773129"/>
              <a:ext cx="1676400" cy="1526071"/>
              <a:chOff x="3590136" y="4773129"/>
              <a:chExt cx="1676400" cy="1526071"/>
            </a:xfrm>
          </p:grpSpPr>
          <p:pic>
            <p:nvPicPr>
              <p:cNvPr id="63" name="Picture Placeholder 71">
                <a:extLst>
                  <a:ext uri="{FF2B5EF4-FFF2-40B4-BE49-F238E27FC236}">
                    <a16:creationId xmlns:a16="http://schemas.microsoft.com/office/drawing/2014/main" id="{3E6AA846-411B-40D4-915A-4D08D454C0D1}"/>
                  </a:ext>
                </a:extLst>
              </p:cNvPr>
              <p:cNvPicPr>
                <a:picLocks noChangeAspect="1"/>
              </p:cNvPicPr>
              <p:nvPr/>
            </p:nvPicPr>
            <p:blipFill>
              <a:blip r:embed="rId14">
                <a:extLst>
                  <a:ext uri="{28A0092B-C50C-407E-A947-70E740481C1C}">
                    <a14:useLocalDpi xmlns:a14="http://schemas.microsoft.com/office/drawing/2010/main" val="0"/>
                  </a:ext>
                </a:extLst>
              </a:blip>
              <a:srcRect l="1905" r="1905"/>
              <a:stretch>
                <a:fillRect/>
              </a:stretch>
            </p:blipFill>
            <p:spPr>
              <a:xfrm>
                <a:off x="4141576" y="4773129"/>
                <a:ext cx="684000" cy="684000"/>
              </a:xfrm>
              <a:prstGeom prst="rect">
                <a:avLst/>
              </a:prstGeom>
            </p:spPr>
          </p:pic>
          <p:sp>
            <p:nvSpPr>
              <p:cNvPr id="64" name="Espace réservé du texte 3">
                <a:extLst>
                  <a:ext uri="{FF2B5EF4-FFF2-40B4-BE49-F238E27FC236}">
                    <a16:creationId xmlns:a16="http://schemas.microsoft.com/office/drawing/2014/main" id="{F1B5E326-1F05-4F07-811B-3E693A2CE0BE}"/>
                  </a:ext>
                </a:extLst>
              </p:cNvPr>
              <p:cNvSpPr txBox="1">
                <a:spLocks/>
              </p:cNvSpPr>
              <p:nvPr/>
            </p:nvSpPr>
            <p:spPr>
              <a:xfrm>
                <a:off x="3590136" y="5526273"/>
                <a:ext cx="1676400" cy="772927"/>
              </a:xfrm>
              <a:prstGeom prst="rect">
                <a:avLst/>
              </a:prstGeom>
            </p:spPr>
            <p:txBody>
              <a:bodyPr/>
              <a:lstStyle>
                <a:lvl1pPr marL="0" eaLnBrk="1" hangingPunct="1">
                  <a:spcBef>
                    <a:spcPts val="600"/>
                  </a:spcBef>
                  <a:spcAft>
                    <a:spcPts val="0"/>
                  </a:spcAft>
                  <a:defRPr lang="en-US" sz="1600" b="0" kern="1200" cap="none" spc="0" baseline="0" dirty="0" smtClean="0">
                    <a:solidFill>
                      <a:schemeClr val="tx1"/>
                    </a:solidFill>
                    <a:latin typeface="+mn-lt"/>
                    <a:ea typeface="+mn-ea"/>
                    <a:cs typeface="Arial" pitchFamily="34" charset="0"/>
                  </a:defRPr>
                </a:lvl1pPr>
                <a:lvl2pPr marL="246820" indent="-246820" eaLnBrk="1" hangingPunct="1">
                  <a:spcBef>
                    <a:spcPts val="600"/>
                  </a:spcBef>
                  <a:spcAft>
                    <a:spcPts val="0"/>
                  </a:spcAft>
                  <a:buFont typeface="Wingdings" pitchFamily="2" charset="2"/>
                  <a:buChar char="§"/>
                  <a:defRPr sz="1600" b="0" kern="1200" spc="0">
                    <a:solidFill>
                      <a:schemeClr val="tx1"/>
                    </a:solidFill>
                    <a:latin typeface="+mn-lt"/>
                    <a:ea typeface="+mn-ea"/>
                    <a:cs typeface="Arial" pitchFamily="34" charset="0"/>
                  </a:defRPr>
                </a:lvl2pPr>
                <a:lvl3pPr marL="493640" indent="-246820" eaLnBrk="1" hangingPunct="1">
                  <a:spcBef>
                    <a:spcPts val="600"/>
                  </a:spcBef>
                  <a:spcAft>
                    <a:spcPts val="0"/>
                  </a:spcAft>
                  <a:buFont typeface="Webdings" pitchFamily="18" charset="2"/>
                  <a:buChar char="4"/>
                  <a:defRPr sz="1600" b="0" kern="1200" spc="0">
                    <a:solidFill>
                      <a:schemeClr val="tx1"/>
                    </a:solidFill>
                    <a:latin typeface="+mn-lt"/>
                    <a:ea typeface="+mn-ea"/>
                    <a:cs typeface="Arial" pitchFamily="34" charset="0"/>
                  </a:defRPr>
                </a:lvl3pPr>
                <a:lvl4pPr marL="781596" indent="-205683" eaLnBrk="1" hangingPunct="1">
                  <a:spcBef>
                    <a:spcPts val="600"/>
                  </a:spcBef>
                  <a:spcAft>
                    <a:spcPts val="0"/>
                  </a:spcAft>
                  <a:buFont typeface="Symbol" pitchFamily="18" charset="2"/>
                  <a:buChar char="-"/>
                  <a:defRPr sz="1600" b="0" i="0" kern="1200" spc="0" baseline="0">
                    <a:solidFill>
                      <a:schemeClr val="tx1"/>
                    </a:solidFill>
                    <a:latin typeface="+mn-lt"/>
                    <a:ea typeface="+mn-ea"/>
                    <a:cs typeface="+mn-cs"/>
                  </a:defRPr>
                </a:lvl4pPr>
                <a:lvl5pPr marL="1069552" indent="-246820" eaLnBrk="1" hangingPunct="1">
                  <a:spcBef>
                    <a:spcPts val="600"/>
                  </a:spcBef>
                  <a:spcAft>
                    <a:spcPts val="0"/>
                  </a:spcAft>
                  <a:buFont typeface="Arial" pitchFamily="34" charset="0"/>
                  <a:buChar char="•"/>
                  <a:defRPr sz="1600" b="0" i="0" kern="1200" spc="0" baseline="0">
                    <a:solidFill>
                      <a:schemeClr val="tx1"/>
                    </a:solidFill>
                    <a:latin typeface="+mn-lt"/>
                    <a:ea typeface="+mn-ea"/>
                    <a:cs typeface="+mn-cs"/>
                  </a:defRPr>
                </a:lvl5pPr>
                <a:lvl6pPr marL="1357509" indent="-246820" eaLnBrk="1" hangingPunct="1">
                  <a:spcBef>
                    <a:spcPts val="600"/>
                  </a:spcBef>
                  <a:spcAft>
                    <a:spcPts val="0"/>
                  </a:spcAft>
                  <a:buSzPct val="65000"/>
                  <a:buFont typeface="Wingdings" pitchFamily="2" charset="2"/>
                  <a:buChar char="w"/>
                  <a:defRPr sz="1600" b="0" i="0" kern="1200" spc="0" baseline="0">
                    <a:solidFill>
                      <a:schemeClr val="tx1"/>
                    </a:solidFill>
                    <a:latin typeface="+mn-lt"/>
                    <a:ea typeface="+mn-ea"/>
                    <a:cs typeface="+mn-cs"/>
                  </a:defRPr>
                </a:lvl6pPr>
                <a:lvl7pPr marL="1973082" eaLnBrk="1" hangingPunct="1">
                  <a:defRPr>
                    <a:latin typeface="+mn-lt"/>
                    <a:ea typeface="+mn-ea"/>
                    <a:cs typeface="+mn-cs"/>
                  </a:defRPr>
                </a:lvl7pPr>
                <a:lvl8pPr marL="2301932" eaLnBrk="1" hangingPunct="1">
                  <a:defRPr>
                    <a:latin typeface="+mn-lt"/>
                    <a:ea typeface="+mn-ea"/>
                    <a:cs typeface="+mn-cs"/>
                  </a:defRPr>
                </a:lvl8pPr>
                <a:lvl9pPr marL="2630778" eaLnBrk="1" hangingPunct="1">
                  <a:defRPr>
                    <a:latin typeface="+mn-lt"/>
                    <a:ea typeface="+mn-ea"/>
                    <a:cs typeface="+mn-cs"/>
                  </a:defRPr>
                </a:lvl9pPr>
              </a:lstStyle>
              <a:p>
                <a:pPr marL="0" lvl="1" indent="0" algn="ctr" defTabSz="1009040">
                  <a:spcBef>
                    <a:spcPts val="0"/>
                  </a:spcBef>
                  <a:buClr>
                    <a:schemeClr val="tx2"/>
                  </a:buClr>
                  <a:buNone/>
                  <a:defRPr/>
                </a:pPr>
                <a:r>
                  <a:rPr lang="fr-FR" sz="1500" b="1" dirty="0">
                    <a:solidFill>
                      <a:schemeClr val="tx2"/>
                    </a:solidFill>
                  </a:rPr>
                  <a:t>Efficacité &amp; Gestion de la performance</a:t>
                </a:r>
              </a:p>
            </p:txBody>
          </p:sp>
        </p:grpSp>
        <p:grpSp>
          <p:nvGrpSpPr>
            <p:cNvPr id="27" name="Groupe 26">
              <a:extLst>
                <a:ext uri="{FF2B5EF4-FFF2-40B4-BE49-F238E27FC236}">
                  <a16:creationId xmlns:a16="http://schemas.microsoft.com/office/drawing/2014/main" id="{C58A42D5-9894-4517-AAE6-1A43179C60DE}"/>
                </a:ext>
              </a:extLst>
            </p:cNvPr>
            <p:cNvGrpSpPr/>
            <p:nvPr/>
          </p:nvGrpSpPr>
          <p:grpSpPr>
            <a:xfrm>
              <a:off x="6665278" y="4773129"/>
              <a:ext cx="1676400" cy="1310025"/>
              <a:chOff x="5190336" y="4773129"/>
              <a:chExt cx="1676400" cy="1310025"/>
            </a:xfrm>
          </p:grpSpPr>
          <p:pic>
            <p:nvPicPr>
              <p:cNvPr id="65" name="Picture Placeholder 72">
                <a:extLst>
                  <a:ext uri="{FF2B5EF4-FFF2-40B4-BE49-F238E27FC236}">
                    <a16:creationId xmlns:a16="http://schemas.microsoft.com/office/drawing/2014/main" id="{5E6CF253-949F-45D6-B9E6-1C0FC3B84CD7}"/>
                  </a:ext>
                </a:extLst>
              </p:cNvPr>
              <p:cNvPicPr>
                <a:picLocks noChangeAspect="1"/>
              </p:cNvPicPr>
              <p:nvPr/>
            </p:nvPicPr>
            <p:blipFill>
              <a:blip r:embed="rId15">
                <a:extLst>
                  <a:ext uri="{28A0092B-C50C-407E-A947-70E740481C1C}">
                    <a14:useLocalDpi xmlns:a14="http://schemas.microsoft.com/office/drawing/2010/main" val="0"/>
                  </a:ext>
                </a:extLst>
              </a:blip>
              <a:srcRect l="2830" r="2830"/>
              <a:stretch>
                <a:fillRect/>
              </a:stretch>
            </p:blipFill>
            <p:spPr>
              <a:xfrm>
                <a:off x="5741776" y="4773129"/>
                <a:ext cx="684000" cy="684000"/>
              </a:xfrm>
              <a:prstGeom prst="rect">
                <a:avLst/>
              </a:prstGeom>
            </p:spPr>
          </p:pic>
          <p:sp>
            <p:nvSpPr>
              <p:cNvPr id="66" name="Espace réservé du texte 3">
                <a:extLst>
                  <a:ext uri="{FF2B5EF4-FFF2-40B4-BE49-F238E27FC236}">
                    <a16:creationId xmlns:a16="http://schemas.microsoft.com/office/drawing/2014/main" id="{3C62531C-6B2F-4E0E-8290-CAFC25AEEFFA}"/>
                  </a:ext>
                </a:extLst>
              </p:cNvPr>
              <p:cNvSpPr txBox="1">
                <a:spLocks/>
              </p:cNvSpPr>
              <p:nvPr/>
            </p:nvSpPr>
            <p:spPr>
              <a:xfrm>
                <a:off x="5190336" y="5526273"/>
                <a:ext cx="1676400" cy="556881"/>
              </a:xfrm>
              <a:prstGeom prst="rect">
                <a:avLst/>
              </a:prstGeom>
            </p:spPr>
            <p:txBody>
              <a:bodyPr/>
              <a:lstStyle>
                <a:lvl1pPr marL="0" eaLnBrk="1" hangingPunct="1">
                  <a:spcBef>
                    <a:spcPts val="600"/>
                  </a:spcBef>
                  <a:spcAft>
                    <a:spcPts val="0"/>
                  </a:spcAft>
                  <a:defRPr lang="en-US" sz="1600" b="0" kern="1200" cap="none" spc="0" baseline="0" dirty="0" smtClean="0">
                    <a:solidFill>
                      <a:schemeClr val="tx1"/>
                    </a:solidFill>
                    <a:latin typeface="+mn-lt"/>
                    <a:ea typeface="+mn-ea"/>
                    <a:cs typeface="Arial" pitchFamily="34" charset="0"/>
                  </a:defRPr>
                </a:lvl1pPr>
                <a:lvl2pPr marL="246820" indent="-246820" eaLnBrk="1" hangingPunct="1">
                  <a:spcBef>
                    <a:spcPts val="600"/>
                  </a:spcBef>
                  <a:spcAft>
                    <a:spcPts val="0"/>
                  </a:spcAft>
                  <a:buFont typeface="Wingdings" pitchFamily="2" charset="2"/>
                  <a:buChar char="§"/>
                  <a:defRPr sz="1600" b="0" kern="1200" spc="0">
                    <a:solidFill>
                      <a:schemeClr val="tx1"/>
                    </a:solidFill>
                    <a:latin typeface="+mn-lt"/>
                    <a:ea typeface="+mn-ea"/>
                    <a:cs typeface="Arial" pitchFamily="34" charset="0"/>
                  </a:defRPr>
                </a:lvl2pPr>
                <a:lvl3pPr marL="493640" indent="-246820" eaLnBrk="1" hangingPunct="1">
                  <a:spcBef>
                    <a:spcPts val="600"/>
                  </a:spcBef>
                  <a:spcAft>
                    <a:spcPts val="0"/>
                  </a:spcAft>
                  <a:buFont typeface="Webdings" pitchFamily="18" charset="2"/>
                  <a:buChar char="4"/>
                  <a:defRPr sz="1600" b="0" kern="1200" spc="0">
                    <a:solidFill>
                      <a:schemeClr val="tx1"/>
                    </a:solidFill>
                    <a:latin typeface="+mn-lt"/>
                    <a:ea typeface="+mn-ea"/>
                    <a:cs typeface="Arial" pitchFamily="34" charset="0"/>
                  </a:defRPr>
                </a:lvl3pPr>
                <a:lvl4pPr marL="781596" indent="-205683" eaLnBrk="1" hangingPunct="1">
                  <a:spcBef>
                    <a:spcPts val="600"/>
                  </a:spcBef>
                  <a:spcAft>
                    <a:spcPts val="0"/>
                  </a:spcAft>
                  <a:buFont typeface="Symbol" pitchFamily="18" charset="2"/>
                  <a:buChar char="-"/>
                  <a:defRPr sz="1600" b="0" i="0" kern="1200" spc="0" baseline="0">
                    <a:solidFill>
                      <a:schemeClr val="tx1"/>
                    </a:solidFill>
                    <a:latin typeface="+mn-lt"/>
                    <a:ea typeface="+mn-ea"/>
                    <a:cs typeface="+mn-cs"/>
                  </a:defRPr>
                </a:lvl4pPr>
                <a:lvl5pPr marL="1069552" indent="-246820" eaLnBrk="1" hangingPunct="1">
                  <a:spcBef>
                    <a:spcPts val="600"/>
                  </a:spcBef>
                  <a:spcAft>
                    <a:spcPts val="0"/>
                  </a:spcAft>
                  <a:buFont typeface="Arial" pitchFamily="34" charset="0"/>
                  <a:buChar char="•"/>
                  <a:defRPr sz="1600" b="0" i="0" kern="1200" spc="0" baseline="0">
                    <a:solidFill>
                      <a:schemeClr val="tx1"/>
                    </a:solidFill>
                    <a:latin typeface="+mn-lt"/>
                    <a:ea typeface="+mn-ea"/>
                    <a:cs typeface="+mn-cs"/>
                  </a:defRPr>
                </a:lvl5pPr>
                <a:lvl6pPr marL="1357509" indent="-246820" eaLnBrk="1" hangingPunct="1">
                  <a:spcBef>
                    <a:spcPts val="600"/>
                  </a:spcBef>
                  <a:spcAft>
                    <a:spcPts val="0"/>
                  </a:spcAft>
                  <a:buSzPct val="65000"/>
                  <a:buFont typeface="Wingdings" pitchFamily="2" charset="2"/>
                  <a:buChar char="w"/>
                  <a:defRPr sz="1600" b="0" i="0" kern="1200" spc="0" baseline="0">
                    <a:solidFill>
                      <a:schemeClr val="tx1"/>
                    </a:solidFill>
                    <a:latin typeface="+mn-lt"/>
                    <a:ea typeface="+mn-ea"/>
                    <a:cs typeface="+mn-cs"/>
                  </a:defRPr>
                </a:lvl6pPr>
                <a:lvl7pPr marL="1973082" eaLnBrk="1" hangingPunct="1">
                  <a:defRPr>
                    <a:latin typeface="+mn-lt"/>
                    <a:ea typeface="+mn-ea"/>
                    <a:cs typeface="+mn-cs"/>
                  </a:defRPr>
                </a:lvl7pPr>
                <a:lvl8pPr marL="2301932" eaLnBrk="1" hangingPunct="1">
                  <a:defRPr>
                    <a:latin typeface="+mn-lt"/>
                    <a:ea typeface="+mn-ea"/>
                    <a:cs typeface="+mn-cs"/>
                  </a:defRPr>
                </a:lvl8pPr>
                <a:lvl9pPr marL="2630778" eaLnBrk="1" hangingPunct="1">
                  <a:defRPr>
                    <a:latin typeface="+mn-lt"/>
                    <a:ea typeface="+mn-ea"/>
                    <a:cs typeface="+mn-cs"/>
                  </a:defRPr>
                </a:lvl9pPr>
              </a:lstStyle>
              <a:p>
                <a:pPr marL="0" lvl="1" indent="0" algn="ctr" defTabSz="1009040">
                  <a:spcBef>
                    <a:spcPts val="0"/>
                  </a:spcBef>
                  <a:buClr>
                    <a:schemeClr val="tx2"/>
                  </a:buClr>
                  <a:buNone/>
                  <a:defRPr/>
                </a:pPr>
                <a:r>
                  <a:rPr lang="fr-FR" sz="1500" b="1">
                    <a:solidFill>
                      <a:schemeClr val="tx2"/>
                    </a:solidFill>
                  </a:rPr>
                  <a:t>Organisation &amp; Gouvernance</a:t>
                </a:r>
              </a:p>
            </p:txBody>
          </p:sp>
        </p:grpSp>
        <p:grpSp>
          <p:nvGrpSpPr>
            <p:cNvPr id="25" name="Groupe 24">
              <a:extLst>
                <a:ext uri="{FF2B5EF4-FFF2-40B4-BE49-F238E27FC236}">
                  <a16:creationId xmlns:a16="http://schemas.microsoft.com/office/drawing/2014/main" id="{2CA8EC23-9475-43E8-90AE-A98C3A598BF9}"/>
                </a:ext>
              </a:extLst>
            </p:cNvPr>
            <p:cNvGrpSpPr/>
            <p:nvPr/>
          </p:nvGrpSpPr>
          <p:grpSpPr>
            <a:xfrm>
              <a:off x="8753952" y="4773129"/>
              <a:ext cx="1676400" cy="1310025"/>
              <a:chOff x="6790536" y="4773129"/>
              <a:chExt cx="1676400" cy="1310025"/>
            </a:xfrm>
          </p:grpSpPr>
          <p:pic>
            <p:nvPicPr>
              <p:cNvPr id="67" name="Picture Placeholder 74">
                <a:extLst>
                  <a:ext uri="{FF2B5EF4-FFF2-40B4-BE49-F238E27FC236}">
                    <a16:creationId xmlns:a16="http://schemas.microsoft.com/office/drawing/2014/main" id="{40D8D620-31F6-4B1D-A05F-0D3157830C02}"/>
                  </a:ext>
                </a:extLst>
              </p:cNvPr>
              <p:cNvPicPr>
                <a:picLocks noChangeAspect="1"/>
              </p:cNvPicPr>
              <p:nvPr/>
            </p:nvPicPr>
            <p:blipFill>
              <a:blip r:embed="rId16">
                <a:extLst>
                  <a:ext uri="{28A0092B-C50C-407E-A947-70E740481C1C}">
                    <a14:useLocalDpi xmlns:a14="http://schemas.microsoft.com/office/drawing/2010/main" val="0"/>
                  </a:ext>
                </a:extLst>
              </a:blip>
              <a:srcRect l="2381" r="2381"/>
              <a:stretch>
                <a:fillRect/>
              </a:stretch>
            </p:blipFill>
            <p:spPr>
              <a:xfrm>
                <a:off x="7341976" y="4773129"/>
                <a:ext cx="684000" cy="684000"/>
              </a:xfrm>
              <a:prstGeom prst="rect">
                <a:avLst/>
              </a:prstGeom>
            </p:spPr>
          </p:pic>
          <p:sp>
            <p:nvSpPr>
              <p:cNvPr id="68" name="Espace réservé du texte 3">
                <a:extLst>
                  <a:ext uri="{FF2B5EF4-FFF2-40B4-BE49-F238E27FC236}">
                    <a16:creationId xmlns:a16="http://schemas.microsoft.com/office/drawing/2014/main" id="{B6287CC4-0D37-4F03-95A3-83064D842BB7}"/>
                  </a:ext>
                </a:extLst>
              </p:cNvPr>
              <p:cNvSpPr txBox="1">
                <a:spLocks/>
              </p:cNvSpPr>
              <p:nvPr/>
            </p:nvSpPr>
            <p:spPr>
              <a:xfrm>
                <a:off x="6790536" y="5526273"/>
                <a:ext cx="1676400" cy="556881"/>
              </a:xfrm>
              <a:prstGeom prst="rect">
                <a:avLst/>
              </a:prstGeom>
            </p:spPr>
            <p:txBody>
              <a:bodyPr/>
              <a:lstStyle>
                <a:lvl1pPr marL="0" eaLnBrk="1" hangingPunct="1">
                  <a:spcBef>
                    <a:spcPts val="600"/>
                  </a:spcBef>
                  <a:spcAft>
                    <a:spcPts val="0"/>
                  </a:spcAft>
                  <a:defRPr lang="en-US" sz="1600" b="0" kern="1200" cap="none" spc="0" baseline="0" dirty="0" smtClean="0">
                    <a:solidFill>
                      <a:schemeClr val="tx1"/>
                    </a:solidFill>
                    <a:latin typeface="+mn-lt"/>
                    <a:ea typeface="+mn-ea"/>
                    <a:cs typeface="Arial" pitchFamily="34" charset="0"/>
                  </a:defRPr>
                </a:lvl1pPr>
                <a:lvl2pPr marL="246820" indent="-246820" eaLnBrk="1" hangingPunct="1">
                  <a:spcBef>
                    <a:spcPts val="600"/>
                  </a:spcBef>
                  <a:spcAft>
                    <a:spcPts val="0"/>
                  </a:spcAft>
                  <a:buFont typeface="Wingdings" pitchFamily="2" charset="2"/>
                  <a:buChar char="§"/>
                  <a:defRPr sz="1600" b="0" kern="1200" spc="0">
                    <a:solidFill>
                      <a:schemeClr val="tx1"/>
                    </a:solidFill>
                    <a:latin typeface="+mn-lt"/>
                    <a:ea typeface="+mn-ea"/>
                    <a:cs typeface="Arial" pitchFamily="34" charset="0"/>
                  </a:defRPr>
                </a:lvl2pPr>
                <a:lvl3pPr marL="493640" indent="-246820" eaLnBrk="1" hangingPunct="1">
                  <a:spcBef>
                    <a:spcPts val="600"/>
                  </a:spcBef>
                  <a:spcAft>
                    <a:spcPts val="0"/>
                  </a:spcAft>
                  <a:buFont typeface="Webdings" pitchFamily="18" charset="2"/>
                  <a:buChar char="4"/>
                  <a:defRPr sz="1600" b="0" kern="1200" spc="0">
                    <a:solidFill>
                      <a:schemeClr val="tx1"/>
                    </a:solidFill>
                    <a:latin typeface="+mn-lt"/>
                    <a:ea typeface="+mn-ea"/>
                    <a:cs typeface="Arial" pitchFamily="34" charset="0"/>
                  </a:defRPr>
                </a:lvl3pPr>
                <a:lvl4pPr marL="781596" indent="-205683" eaLnBrk="1" hangingPunct="1">
                  <a:spcBef>
                    <a:spcPts val="600"/>
                  </a:spcBef>
                  <a:spcAft>
                    <a:spcPts val="0"/>
                  </a:spcAft>
                  <a:buFont typeface="Symbol" pitchFamily="18" charset="2"/>
                  <a:buChar char="-"/>
                  <a:defRPr sz="1600" b="0" i="0" kern="1200" spc="0" baseline="0">
                    <a:solidFill>
                      <a:schemeClr val="tx1"/>
                    </a:solidFill>
                    <a:latin typeface="+mn-lt"/>
                    <a:ea typeface="+mn-ea"/>
                    <a:cs typeface="+mn-cs"/>
                  </a:defRPr>
                </a:lvl4pPr>
                <a:lvl5pPr marL="1069552" indent="-246820" eaLnBrk="1" hangingPunct="1">
                  <a:spcBef>
                    <a:spcPts val="600"/>
                  </a:spcBef>
                  <a:spcAft>
                    <a:spcPts val="0"/>
                  </a:spcAft>
                  <a:buFont typeface="Arial" pitchFamily="34" charset="0"/>
                  <a:buChar char="•"/>
                  <a:defRPr sz="1600" b="0" i="0" kern="1200" spc="0" baseline="0">
                    <a:solidFill>
                      <a:schemeClr val="tx1"/>
                    </a:solidFill>
                    <a:latin typeface="+mn-lt"/>
                    <a:ea typeface="+mn-ea"/>
                    <a:cs typeface="+mn-cs"/>
                  </a:defRPr>
                </a:lvl5pPr>
                <a:lvl6pPr marL="1357509" indent="-246820" eaLnBrk="1" hangingPunct="1">
                  <a:spcBef>
                    <a:spcPts val="600"/>
                  </a:spcBef>
                  <a:spcAft>
                    <a:spcPts val="0"/>
                  </a:spcAft>
                  <a:buSzPct val="65000"/>
                  <a:buFont typeface="Wingdings" pitchFamily="2" charset="2"/>
                  <a:buChar char="w"/>
                  <a:defRPr sz="1600" b="0" i="0" kern="1200" spc="0" baseline="0">
                    <a:solidFill>
                      <a:schemeClr val="tx1"/>
                    </a:solidFill>
                    <a:latin typeface="+mn-lt"/>
                    <a:ea typeface="+mn-ea"/>
                    <a:cs typeface="+mn-cs"/>
                  </a:defRPr>
                </a:lvl6pPr>
                <a:lvl7pPr marL="1973082" eaLnBrk="1" hangingPunct="1">
                  <a:defRPr>
                    <a:latin typeface="+mn-lt"/>
                    <a:ea typeface="+mn-ea"/>
                    <a:cs typeface="+mn-cs"/>
                  </a:defRPr>
                </a:lvl7pPr>
                <a:lvl8pPr marL="2301932" eaLnBrk="1" hangingPunct="1">
                  <a:defRPr>
                    <a:latin typeface="+mn-lt"/>
                    <a:ea typeface="+mn-ea"/>
                    <a:cs typeface="+mn-cs"/>
                  </a:defRPr>
                </a:lvl8pPr>
                <a:lvl9pPr marL="2630778" eaLnBrk="1" hangingPunct="1">
                  <a:defRPr>
                    <a:latin typeface="+mn-lt"/>
                    <a:ea typeface="+mn-ea"/>
                    <a:cs typeface="+mn-cs"/>
                  </a:defRPr>
                </a:lvl9pPr>
              </a:lstStyle>
              <a:p>
                <a:pPr marL="0" lvl="1" indent="0" algn="ctr" defTabSz="1009040">
                  <a:spcBef>
                    <a:spcPts val="0"/>
                  </a:spcBef>
                  <a:buClr>
                    <a:schemeClr val="tx2"/>
                  </a:buClr>
                  <a:buNone/>
                  <a:defRPr/>
                </a:pPr>
                <a:r>
                  <a:rPr lang="fr-FR" sz="1500" b="1" dirty="0">
                    <a:solidFill>
                      <a:schemeClr val="tx2"/>
                    </a:solidFill>
                  </a:rPr>
                  <a:t>Optimisation de processus</a:t>
                </a:r>
              </a:p>
            </p:txBody>
          </p:sp>
        </p:grpSp>
        <p:grpSp>
          <p:nvGrpSpPr>
            <p:cNvPr id="24" name="Groupe 23">
              <a:extLst>
                <a:ext uri="{FF2B5EF4-FFF2-40B4-BE49-F238E27FC236}">
                  <a16:creationId xmlns:a16="http://schemas.microsoft.com/office/drawing/2014/main" id="{6B4961D6-A5E5-457F-826A-8BE6D22F456D}"/>
                </a:ext>
              </a:extLst>
            </p:cNvPr>
            <p:cNvGrpSpPr/>
            <p:nvPr/>
          </p:nvGrpSpPr>
          <p:grpSpPr>
            <a:xfrm>
              <a:off x="10842625" y="4773129"/>
              <a:ext cx="1676400" cy="1310025"/>
              <a:chOff x="8390736" y="4773129"/>
              <a:chExt cx="1676400" cy="1310025"/>
            </a:xfrm>
          </p:grpSpPr>
          <p:pic>
            <p:nvPicPr>
              <p:cNvPr id="69" name="Picture Placeholder 73">
                <a:extLst>
                  <a:ext uri="{FF2B5EF4-FFF2-40B4-BE49-F238E27FC236}">
                    <a16:creationId xmlns:a16="http://schemas.microsoft.com/office/drawing/2014/main" id="{E6909F58-04F9-4782-A58B-A20A5EF7AC49}"/>
                  </a:ext>
                </a:extLst>
              </p:cNvPr>
              <p:cNvPicPr>
                <a:picLocks noChangeAspect="1"/>
              </p:cNvPicPr>
              <p:nvPr/>
            </p:nvPicPr>
            <p:blipFill>
              <a:blip r:embed="rId17">
                <a:extLst>
                  <a:ext uri="{28A0092B-C50C-407E-A947-70E740481C1C}">
                    <a14:useLocalDpi xmlns:a14="http://schemas.microsoft.com/office/drawing/2010/main" val="0"/>
                  </a:ext>
                </a:extLst>
              </a:blip>
              <a:srcRect l="2381" r="2381"/>
              <a:stretch>
                <a:fillRect/>
              </a:stretch>
            </p:blipFill>
            <p:spPr>
              <a:xfrm>
                <a:off x="8942176" y="4773129"/>
                <a:ext cx="684000" cy="684000"/>
              </a:xfrm>
              <a:prstGeom prst="rect">
                <a:avLst/>
              </a:prstGeom>
            </p:spPr>
          </p:pic>
          <p:sp>
            <p:nvSpPr>
              <p:cNvPr id="70" name="Espace réservé du texte 3">
                <a:extLst>
                  <a:ext uri="{FF2B5EF4-FFF2-40B4-BE49-F238E27FC236}">
                    <a16:creationId xmlns:a16="http://schemas.microsoft.com/office/drawing/2014/main" id="{250AF2B7-CB12-41F3-98B0-5E3C2C2221E7}"/>
                  </a:ext>
                </a:extLst>
              </p:cNvPr>
              <p:cNvSpPr txBox="1">
                <a:spLocks/>
              </p:cNvSpPr>
              <p:nvPr/>
            </p:nvSpPr>
            <p:spPr>
              <a:xfrm>
                <a:off x="8390736" y="5526273"/>
                <a:ext cx="1676400" cy="556881"/>
              </a:xfrm>
              <a:prstGeom prst="rect">
                <a:avLst/>
              </a:prstGeom>
            </p:spPr>
            <p:txBody>
              <a:bodyPr/>
              <a:lstStyle>
                <a:lvl1pPr marL="0" eaLnBrk="1" hangingPunct="1">
                  <a:spcBef>
                    <a:spcPts val="600"/>
                  </a:spcBef>
                  <a:spcAft>
                    <a:spcPts val="0"/>
                  </a:spcAft>
                  <a:defRPr lang="en-US" sz="1600" b="0" kern="1200" cap="none" spc="0" baseline="0" dirty="0" smtClean="0">
                    <a:solidFill>
                      <a:schemeClr val="tx1"/>
                    </a:solidFill>
                    <a:latin typeface="+mn-lt"/>
                    <a:ea typeface="+mn-ea"/>
                    <a:cs typeface="Arial" pitchFamily="34" charset="0"/>
                  </a:defRPr>
                </a:lvl1pPr>
                <a:lvl2pPr marL="246820" indent="-246820" eaLnBrk="1" hangingPunct="1">
                  <a:spcBef>
                    <a:spcPts val="600"/>
                  </a:spcBef>
                  <a:spcAft>
                    <a:spcPts val="0"/>
                  </a:spcAft>
                  <a:buFont typeface="Wingdings" pitchFamily="2" charset="2"/>
                  <a:buChar char="§"/>
                  <a:defRPr sz="1600" b="0" kern="1200" spc="0">
                    <a:solidFill>
                      <a:schemeClr val="tx1"/>
                    </a:solidFill>
                    <a:latin typeface="+mn-lt"/>
                    <a:ea typeface="+mn-ea"/>
                    <a:cs typeface="Arial" pitchFamily="34" charset="0"/>
                  </a:defRPr>
                </a:lvl2pPr>
                <a:lvl3pPr marL="493640" indent="-246820" eaLnBrk="1" hangingPunct="1">
                  <a:spcBef>
                    <a:spcPts val="600"/>
                  </a:spcBef>
                  <a:spcAft>
                    <a:spcPts val="0"/>
                  </a:spcAft>
                  <a:buFont typeface="Webdings" pitchFamily="18" charset="2"/>
                  <a:buChar char="4"/>
                  <a:defRPr sz="1600" b="0" kern="1200" spc="0">
                    <a:solidFill>
                      <a:schemeClr val="tx1"/>
                    </a:solidFill>
                    <a:latin typeface="+mn-lt"/>
                    <a:ea typeface="+mn-ea"/>
                    <a:cs typeface="Arial" pitchFamily="34" charset="0"/>
                  </a:defRPr>
                </a:lvl3pPr>
                <a:lvl4pPr marL="781596" indent="-205683" eaLnBrk="1" hangingPunct="1">
                  <a:spcBef>
                    <a:spcPts val="600"/>
                  </a:spcBef>
                  <a:spcAft>
                    <a:spcPts val="0"/>
                  </a:spcAft>
                  <a:buFont typeface="Symbol" pitchFamily="18" charset="2"/>
                  <a:buChar char="-"/>
                  <a:defRPr sz="1600" b="0" i="0" kern="1200" spc="0" baseline="0">
                    <a:solidFill>
                      <a:schemeClr val="tx1"/>
                    </a:solidFill>
                    <a:latin typeface="+mn-lt"/>
                    <a:ea typeface="+mn-ea"/>
                    <a:cs typeface="+mn-cs"/>
                  </a:defRPr>
                </a:lvl4pPr>
                <a:lvl5pPr marL="1069552" indent="-246820" eaLnBrk="1" hangingPunct="1">
                  <a:spcBef>
                    <a:spcPts val="600"/>
                  </a:spcBef>
                  <a:spcAft>
                    <a:spcPts val="0"/>
                  </a:spcAft>
                  <a:buFont typeface="Arial" pitchFamily="34" charset="0"/>
                  <a:buChar char="•"/>
                  <a:defRPr sz="1600" b="0" i="0" kern="1200" spc="0" baseline="0">
                    <a:solidFill>
                      <a:schemeClr val="tx1"/>
                    </a:solidFill>
                    <a:latin typeface="+mn-lt"/>
                    <a:ea typeface="+mn-ea"/>
                    <a:cs typeface="+mn-cs"/>
                  </a:defRPr>
                </a:lvl5pPr>
                <a:lvl6pPr marL="1357509" indent="-246820" eaLnBrk="1" hangingPunct="1">
                  <a:spcBef>
                    <a:spcPts val="600"/>
                  </a:spcBef>
                  <a:spcAft>
                    <a:spcPts val="0"/>
                  </a:spcAft>
                  <a:buSzPct val="65000"/>
                  <a:buFont typeface="Wingdings" pitchFamily="2" charset="2"/>
                  <a:buChar char="w"/>
                  <a:defRPr sz="1600" b="0" i="0" kern="1200" spc="0" baseline="0">
                    <a:solidFill>
                      <a:schemeClr val="tx1"/>
                    </a:solidFill>
                    <a:latin typeface="+mn-lt"/>
                    <a:ea typeface="+mn-ea"/>
                    <a:cs typeface="+mn-cs"/>
                  </a:defRPr>
                </a:lvl6pPr>
                <a:lvl7pPr marL="1973082" eaLnBrk="1" hangingPunct="1">
                  <a:defRPr>
                    <a:latin typeface="+mn-lt"/>
                    <a:ea typeface="+mn-ea"/>
                    <a:cs typeface="+mn-cs"/>
                  </a:defRPr>
                </a:lvl7pPr>
                <a:lvl8pPr marL="2301932" eaLnBrk="1" hangingPunct="1">
                  <a:defRPr>
                    <a:latin typeface="+mn-lt"/>
                    <a:ea typeface="+mn-ea"/>
                    <a:cs typeface="+mn-cs"/>
                  </a:defRPr>
                </a:lvl8pPr>
                <a:lvl9pPr marL="2630778" eaLnBrk="1" hangingPunct="1">
                  <a:defRPr>
                    <a:latin typeface="+mn-lt"/>
                    <a:ea typeface="+mn-ea"/>
                    <a:cs typeface="+mn-cs"/>
                  </a:defRPr>
                </a:lvl9pPr>
              </a:lstStyle>
              <a:p>
                <a:pPr marL="0" lvl="1" indent="0" algn="ctr" defTabSz="1009040">
                  <a:spcBef>
                    <a:spcPts val="0"/>
                  </a:spcBef>
                  <a:buClr>
                    <a:schemeClr val="tx2"/>
                  </a:buClr>
                  <a:buNone/>
                  <a:defRPr/>
                </a:pPr>
                <a:r>
                  <a:rPr lang="fr-FR" sz="1500" b="1">
                    <a:solidFill>
                      <a:schemeClr val="tx2"/>
                    </a:solidFill>
                  </a:rPr>
                  <a:t>Conduite du changement</a:t>
                </a:r>
              </a:p>
            </p:txBody>
          </p:sp>
        </p:grpSp>
        <p:grpSp>
          <p:nvGrpSpPr>
            <p:cNvPr id="33" name="Groupe 32">
              <a:extLst>
                <a:ext uri="{FF2B5EF4-FFF2-40B4-BE49-F238E27FC236}">
                  <a16:creationId xmlns:a16="http://schemas.microsoft.com/office/drawing/2014/main" id="{FB5F8F2C-2A3F-4497-BE34-3D44D25235C4}"/>
                </a:ext>
              </a:extLst>
            </p:cNvPr>
            <p:cNvGrpSpPr/>
            <p:nvPr/>
          </p:nvGrpSpPr>
          <p:grpSpPr>
            <a:xfrm>
              <a:off x="399256" y="4887230"/>
              <a:ext cx="1676400" cy="1195924"/>
              <a:chOff x="399256" y="4887230"/>
              <a:chExt cx="1676400" cy="1195924"/>
            </a:xfrm>
          </p:grpSpPr>
          <p:pic>
            <p:nvPicPr>
              <p:cNvPr id="71" name="Image 70">
                <a:extLst>
                  <a:ext uri="{FF2B5EF4-FFF2-40B4-BE49-F238E27FC236}">
                    <a16:creationId xmlns:a16="http://schemas.microsoft.com/office/drawing/2014/main" id="{B62384BD-6ADE-4179-9323-47A8E1C08EDE}"/>
                  </a:ext>
                </a:extLst>
              </p:cNvPr>
              <p:cNvPicPr>
                <a:picLocks noChangeAspect="1"/>
              </p:cNvPicPr>
              <p:nvPr/>
            </p:nvPicPr>
            <p:blipFill rotWithShape="1">
              <a:blip r:embed="rId18" cstate="print">
                <a:extLst>
                  <a:ext uri="{28A0092B-C50C-407E-A947-70E740481C1C}">
                    <a14:useLocalDpi xmlns:a14="http://schemas.microsoft.com/office/drawing/2010/main" val="0"/>
                  </a:ext>
                </a:extLst>
              </a:blip>
              <a:srcRect l="10253" t="21297" r="9883" b="20766"/>
              <a:stretch/>
            </p:blipFill>
            <p:spPr>
              <a:xfrm>
                <a:off x="978546" y="4887230"/>
                <a:ext cx="628301" cy="455798"/>
              </a:xfrm>
              <a:prstGeom prst="rect">
                <a:avLst/>
              </a:prstGeom>
            </p:spPr>
          </p:pic>
          <p:sp>
            <p:nvSpPr>
              <p:cNvPr id="72" name="Espace réservé du texte 3">
                <a:extLst>
                  <a:ext uri="{FF2B5EF4-FFF2-40B4-BE49-F238E27FC236}">
                    <a16:creationId xmlns:a16="http://schemas.microsoft.com/office/drawing/2014/main" id="{1BA79E42-8A99-4C16-A024-DAEFFFE11901}"/>
                  </a:ext>
                </a:extLst>
              </p:cNvPr>
              <p:cNvSpPr txBox="1">
                <a:spLocks/>
              </p:cNvSpPr>
              <p:nvPr/>
            </p:nvSpPr>
            <p:spPr>
              <a:xfrm>
                <a:off x="399256" y="5526273"/>
                <a:ext cx="1676400" cy="556881"/>
              </a:xfrm>
              <a:prstGeom prst="rect">
                <a:avLst/>
              </a:prstGeom>
            </p:spPr>
            <p:txBody>
              <a:bodyPr/>
              <a:lstStyle>
                <a:lvl1pPr marL="0" eaLnBrk="1" hangingPunct="1">
                  <a:spcBef>
                    <a:spcPts val="600"/>
                  </a:spcBef>
                  <a:spcAft>
                    <a:spcPts val="0"/>
                  </a:spcAft>
                  <a:defRPr lang="en-US" sz="1600" b="0" kern="1200" cap="none" spc="0" baseline="0" dirty="0" smtClean="0">
                    <a:solidFill>
                      <a:schemeClr val="tx1"/>
                    </a:solidFill>
                    <a:latin typeface="+mn-lt"/>
                    <a:ea typeface="+mn-ea"/>
                    <a:cs typeface="Arial" pitchFamily="34" charset="0"/>
                  </a:defRPr>
                </a:lvl1pPr>
                <a:lvl2pPr marL="246820" indent="-246820" eaLnBrk="1" hangingPunct="1">
                  <a:spcBef>
                    <a:spcPts val="600"/>
                  </a:spcBef>
                  <a:spcAft>
                    <a:spcPts val="0"/>
                  </a:spcAft>
                  <a:buFont typeface="Wingdings" pitchFamily="2" charset="2"/>
                  <a:buChar char="§"/>
                  <a:defRPr sz="1600" b="0" kern="1200" spc="0">
                    <a:solidFill>
                      <a:schemeClr val="tx1"/>
                    </a:solidFill>
                    <a:latin typeface="+mn-lt"/>
                    <a:ea typeface="+mn-ea"/>
                    <a:cs typeface="Arial" pitchFamily="34" charset="0"/>
                  </a:defRPr>
                </a:lvl2pPr>
                <a:lvl3pPr marL="493640" indent="-246820" eaLnBrk="1" hangingPunct="1">
                  <a:spcBef>
                    <a:spcPts val="600"/>
                  </a:spcBef>
                  <a:spcAft>
                    <a:spcPts val="0"/>
                  </a:spcAft>
                  <a:buFont typeface="Webdings" pitchFamily="18" charset="2"/>
                  <a:buChar char="4"/>
                  <a:defRPr sz="1600" b="0" kern="1200" spc="0">
                    <a:solidFill>
                      <a:schemeClr val="tx1"/>
                    </a:solidFill>
                    <a:latin typeface="+mn-lt"/>
                    <a:ea typeface="+mn-ea"/>
                    <a:cs typeface="Arial" pitchFamily="34" charset="0"/>
                  </a:defRPr>
                </a:lvl3pPr>
                <a:lvl4pPr marL="781596" indent="-205683" eaLnBrk="1" hangingPunct="1">
                  <a:spcBef>
                    <a:spcPts val="600"/>
                  </a:spcBef>
                  <a:spcAft>
                    <a:spcPts val="0"/>
                  </a:spcAft>
                  <a:buFont typeface="Symbol" pitchFamily="18" charset="2"/>
                  <a:buChar char="-"/>
                  <a:defRPr sz="1600" b="0" i="0" kern="1200" spc="0" baseline="0">
                    <a:solidFill>
                      <a:schemeClr val="tx1"/>
                    </a:solidFill>
                    <a:latin typeface="+mn-lt"/>
                    <a:ea typeface="+mn-ea"/>
                    <a:cs typeface="+mn-cs"/>
                  </a:defRPr>
                </a:lvl4pPr>
                <a:lvl5pPr marL="1069552" indent="-246820" eaLnBrk="1" hangingPunct="1">
                  <a:spcBef>
                    <a:spcPts val="600"/>
                  </a:spcBef>
                  <a:spcAft>
                    <a:spcPts val="0"/>
                  </a:spcAft>
                  <a:buFont typeface="Arial" pitchFamily="34" charset="0"/>
                  <a:buChar char="•"/>
                  <a:defRPr sz="1600" b="0" i="0" kern="1200" spc="0" baseline="0">
                    <a:solidFill>
                      <a:schemeClr val="tx1"/>
                    </a:solidFill>
                    <a:latin typeface="+mn-lt"/>
                    <a:ea typeface="+mn-ea"/>
                    <a:cs typeface="+mn-cs"/>
                  </a:defRPr>
                </a:lvl5pPr>
                <a:lvl6pPr marL="1357509" indent="-246820" eaLnBrk="1" hangingPunct="1">
                  <a:spcBef>
                    <a:spcPts val="600"/>
                  </a:spcBef>
                  <a:spcAft>
                    <a:spcPts val="0"/>
                  </a:spcAft>
                  <a:buSzPct val="65000"/>
                  <a:buFont typeface="Wingdings" pitchFamily="2" charset="2"/>
                  <a:buChar char="w"/>
                  <a:defRPr sz="1600" b="0" i="0" kern="1200" spc="0" baseline="0">
                    <a:solidFill>
                      <a:schemeClr val="tx1"/>
                    </a:solidFill>
                    <a:latin typeface="+mn-lt"/>
                    <a:ea typeface="+mn-ea"/>
                    <a:cs typeface="+mn-cs"/>
                  </a:defRPr>
                </a:lvl6pPr>
                <a:lvl7pPr marL="1973082" eaLnBrk="1" hangingPunct="1">
                  <a:defRPr>
                    <a:latin typeface="+mn-lt"/>
                    <a:ea typeface="+mn-ea"/>
                    <a:cs typeface="+mn-cs"/>
                  </a:defRPr>
                </a:lvl7pPr>
                <a:lvl8pPr marL="2301932" eaLnBrk="1" hangingPunct="1">
                  <a:defRPr>
                    <a:latin typeface="+mn-lt"/>
                    <a:ea typeface="+mn-ea"/>
                    <a:cs typeface="+mn-cs"/>
                  </a:defRPr>
                </a:lvl8pPr>
                <a:lvl9pPr marL="2630778" eaLnBrk="1" hangingPunct="1">
                  <a:defRPr>
                    <a:latin typeface="+mn-lt"/>
                    <a:ea typeface="+mn-ea"/>
                    <a:cs typeface="+mn-cs"/>
                  </a:defRPr>
                </a:lvl9pPr>
              </a:lstStyle>
              <a:p>
                <a:pPr marL="0" lvl="1" indent="0" algn="ctr" defTabSz="1009040">
                  <a:spcBef>
                    <a:spcPts val="0"/>
                  </a:spcBef>
                  <a:buClr>
                    <a:schemeClr val="tx2"/>
                  </a:buClr>
                  <a:buNone/>
                  <a:defRPr/>
                </a:pPr>
                <a:r>
                  <a:rPr lang="fr-FR" sz="1500" b="1" dirty="0">
                    <a:solidFill>
                      <a:schemeClr val="tx2"/>
                    </a:solidFill>
                  </a:rPr>
                  <a:t>Agilité</a:t>
                </a:r>
              </a:p>
            </p:txBody>
          </p:sp>
        </p:grpSp>
      </p:grpSp>
    </p:spTree>
    <p:extLst>
      <p:ext uri="{BB962C8B-B14F-4D97-AF65-F5344CB8AC3E}">
        <p14:creationId xmlns:p14="http://schemas.microsoft.com/office/powerpoint/2010/main" val="22976459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t 33" hidden="1">
            <a:extLst>
              <a:ext uri="{FF2B5EF4-FFF2-40B4-BE49-F238E27FC236}">
                <a16:creationId xmlns:a16="http://schemas.microsoft.com/office/drawing/2014/main" id="{29FB0DAA-749B-4811-B616-8B8B48372AB5}"/>
              </a:ext>
            </a:extLst>
          </p:cNvPr>
          <p:cNvGraphicFramePr>
            <a:graphicFrameLocks noChangeAspect="1"/>
          </p:cNvGraphicFramePr>
          <p:nvPr>
            <p:custDataLst>
              <p:tags r:id="rId2"/>
            </p:custDataLst>
            <p:extLst>
              <p:ext uri="{D42A27DB-BD31-4B8C-83A1-F6EECF244321}">
                <p14:modId xmlns:p14="http://schemas.microsoft.com/office/powerpoint/2010/main" val="3156237899"/>
              </p:ext>
            </p:extLst>
          </p:nvPr>
        </p:nvGraphicFramePr>
        <p:xfrm>
          <a:off x="1377157" y="1588"/>
          <a:ext cx="1588" cy="1588"/>
        </p:xfrm>
        <a:graphic>
          <a:graphicData uri="http://schemas.openxmlformats.org/presentationml/2006/ole">
            <mc:AlternateContent xmlns:mc="http://schemas.openxmlformats.org/markup-compatibility/2006">
              <mc:Choice xmlns:v="urn:schemas-microsoft-com:vml" Requires="v">
                <p:oleObj spid="_x0000_s32870" name="Diapositive think-cell" r:id="rId5" imgW="473" imgH="470" progId="TCLayout.ActiveDocument.1">
                  <p:embed/>
                </p:oleObj>
              </mc:Choice>
              <mc:Fallback>
                <p:oleObj name="Diapositive think-cell" r:id="rId5" imgW="473" imgH="470" progId="TCLayout.ActiveDocument.1">
                  <p:embed/>
                  <p:pic>
                    <p:nvPicPr>
                      <p:cNvPr id="34" name="Objet 33" hidden="1">
                        <a:extLst>
                          <a:ext uri="{FF2B5EF4-FFF2-40B4-BE49-F238E27FC236}">
                            <a16:creationId xmlns:a16="http://schemas.microsoft.com/office/drawing/2014/main" id="{29FB0DAA-749B-4811-B616-8B8B48372AB5}"/>
                          </a:ext>
                        </a:extLst>
                      </p:cNvPr>
                      <p:cNvPicPr/>
                      <p:nvPr/>
                    </p:nvPicPr>
                    <p:blipFill>
                      <a:blip r:embed="rId6"/>
                      <a:stretch>
                        <a:fillRect/>
                      </a:stretch>
                    </p:blipFill>
                    <p:spPr>
                      <a:xfrm>
                        <a:off x="1377157" y="1588"/>
                        <a:ext cx="1588" cy="1588"/>
                      </a:xfrm>
                      <a:prstGeom prst="rect">
                        <a:avLst/>
                      </a:prstGeom>
                    </p:spPr>
                  </p:pic>
                </p:oleObj>
              </mc:Fallback>
            </mc:AlternateContent>
          </a:graphicData>
        </a:graphic>
      </p:graphicFrame>
      <p:sp>
        <p:nvSpPr>
          <p:cNvPr id="33" name="Rectangle 32" hidden="1">
            <a:extLst>
              <a:ext uri="{FF2B5EF4-FFF2-40B4-BE49-F238E27FC236}">
                <a16:creationId xmlns:a16="http://schemas.microsoft.com/office/drawing/2014/main" id="{F9CF81F6-70A2-4A9E-BA63-0217889A8112}"/>
              </a:ext>
            </a:extLst>
          </p:cNvPr>
          <p:cNvSpPr/>
          <p:nvPr>
            <p:custDataLst>
              <p:tags r:id="rId3"/>
            </p:custDataLst>
          </p:nvPr>
        </p:nvSpPr>
        <p:spPr>
          <a:xfrm>
            <a:off x="1375569" y="0"/>
            <a:ext cx="158750" cy="158750"/>
          </a:xfrm>
          <a:prstGeom prst="rect">
            <a:avLst/>
          </a:prstGeom>
          <a:solidFill>
            <a:schemeClr val="tx2"/>
          </a:solidFill>
        </p:spPr>
        <p:txBody>
          <a:bodyPr vert="horz" wrap="none" lIns="0" tIns="0" rIns="0" bIns="0" numCol="1" spcCol="0" rtlCol="0" anchor="ctr" anchorCtr="0">
            <a:noAutofit/>
          </a:bodyPr>
          <a:lstStyle/>
          <a:p>
            <a:pPr algn="ctr">
              <a:spcBef>
                <a:spcPct val="0"/>
              </a:spcBef>
              <a:spcAft>
                <a:spcPct val="0"/>
              </a:spcAft>
            </a:pPr>
            <a:endParaRPr lang="fr-FR" sz="2200" b="1" dirty="0" err="1">
              <a:solidFill>
                <a:schemeClr val="bg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pic>
        <p:nvPicPr>
          <p:cNvPr id="35" name="Image 34" descr="Une image contenant extérieur, arbre, train, transport&#10;&#10;Description générée automatiquement">
            <a:extLst>
              <a:ext uri="{FF2B5EF4-FFF2-40B4-BE49-F238E27FC236}">
                <a16:creationId xmlns:a16="http://schemas.microsoft.com/office/drawing/2014/main" id="{662E0460-314A-4B4E-A626-417235EE52F2}"/>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25005" t="20744" b="28389"/>
          <a:stretch/>
        </p:blipFill>
        <p:spPr>
          <a:xfrm flipH="1">
            <a:off x="4822825" y="5079865"/>
            <a:ext cx="3549197" cy="1339200"/>
          </a:xfrm>
          <a:prstGeom prst="rect">
            <a:avLst/>
          </a:prstGeom>
        </p:spPr>
      </p:pic>
      <p:sp>
        <p:nvSpPr>
          <p:cNvPr id="2" name="Titre 1">
            <a:extLst>
              <a:ext uri="{FF2B5EF4-FFF2-40B4-BE49-F238E27FC236}">
                <a16:creationId xmlns:a16="http://schemas.microsoft.com/office/drawing/2014/main" id="{2E38D7B0-600A-4216-8BCA-904D46BB2394}"/>
              </a:ext>
            </a:extLst>
          </p:cNvPr>
          <p:cNvSpPr>
            <a:spLocks noGrp="1"/>
          </p:cNvSpPr>
          <p:nvPr>
            <p:ph type="title"/>
          </p:nvPr>
        </p:nvSpPr>
        <p:spPr/>
        <p:txBody>
          <a:bodyPr/>
          <a:lstStyle/>
          <a:p>
            <a:pPr defTabSz="914400"/>
            <a:r>
              <a:rPr lang="fr-FR" spc="80"/>
              <a:t>Une spécialisation dans </a:t>
            </a:r>
            <a:r>
              <a:rPr lang="fr-FR" spc="80">
                <a:solidFill>
                  <a:schemeClr val="accent3"/>
                </a:solidFill>
              </a:rPr>
              <a:t>l’industrie</a:t>
            </a:r>
          </a:p>
        </p:txBody>
      </p:sp>
      <p:pic>
        <p:nvPicPr>
          <p:cNvPr id="8" name="Espace réservé pour une image  27">
            <a:extLst>
              <a:ext uri="{FF2B5EF4-FFF2-40B4-BE49-F238E27FC236}">
                <a16:creationId xmlns:a16="http://schemas.microsoft.com/office/drawing/2014/main" id="{4B8D3643-B823-47B0-AEAF-1507B3345025}"/>
              </a:ext>
            </a:extLst>
          </p:cNvPr>
          <p:cNvPicPr>
            <a:picLocks noChangeAspect="1"/>
          </p:cNvPicPr>
          <p:nvPr/>
        </p:nvPicPr>
        <p:blipFill>
          <a:blip r:embed="rId8" cstate="hqprint">
            <a:extLst>
              <a:ext uri="{28A0092B-C50C-407E-A947-70E740481C1C}">
                <a14:useLocalDpi xmlns:a14="http://schemas.microsoft.com/office/drawing/2010/main"/>
              </a:ext>
            </a:extLst>
          </a:blip>
          <a:srcRect/>
          <a:stretch>
            <a:fillRect/>
          </a:stretch>
        </p:blipFill>
        <p:spPr>
          <a:xfrm>
            <a:off x="5965825" y="1497780"/>
            <a:ext cx="3497507" cy="1313933"/>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11 w 10011"/>
              <a:gd name="connsiteY0" fmla="*/ 10000 h 10000"/>
              <a:gd name="connsiteX1" fmla="*/ 0 w 10011"/>
              <a:gd name="connsiteY1" fmla="*/ 0 h 10000"/>
              <a:gd name="connsiteX2" fmla="*/ 10011 w 10011"/>
              <a:gd name="connsiteY2" fmla="*/ 0 h 10000"/>
              <a:gd name="connsiteX3" fmla="*/ 8011 w 10011"/>
              <a:gd name="connsiteY3" fmla="*/ 10000 h 10000"/>
              <a:gd name="connsiteX4" fmla="*/ 11 w 10011"/>
              <a:gd name="connsiteY4" fmla="*/ 10000 h 10000"/>
              <a:gd name="connsiteX0" fmla="*/ 11 w 10011"/>
              <a:gd name="connsiteY0" fmla="*/ 10000 h 10116"/>
              <a:gd name="connsiteX1" fmla="*/ 0 w 10011"/>
              <a:gd name="connsiteY1" fmla="*/ 0 h 10116"/>
              <a:gd name="connsiteX2" fmla="*/ 10011 w 10011"/>
              <a:gd name="connsiteY2" fmla="*/ 0 h 10116"/>
              <a:gd name="connsiteX3" fmla="*/ 9421 w 10011"/>
              <a:gd name="connsiteY3" fmla="*/ 10116 h 10116"/>
              <a:gd name="connsiteX4" fmla="*/ 11 w 10011"/>
              <a:gd name="connsiteY4" fmla="*/ 10000 h 10116"/>
              <a:gd name="connsiteX0" fmla="*/ 11 w 10011"/>
              <a:gd name="connsiteY0" fmla="*/ 10000 h 10232"/>
              <a:gd name="connsiteX1" fmla="*/ 0 w 10011"/>
              <a:gd name="connsiteY1" fmla="*/ 0 h 10232"/>
              <a:gd name="connsiteX2" fmla="*/ 10011 w 10011"/>
              <a:gd name="connsiteY2" fmla="*/ 0 h 10232"/>
              <a:gd name="connsiteX3" fmla="*/ 9342 w 10011"/>
              <a:gd name="connsiteY3" fmla="*/ 10232 h 10232"/>
              <a:gd name="connsiteX4" fmla="*/ 11 w 10011"/>
              <a:gd name="connsiteY4" fmla="*/ 10000 h 10232"/>
              <a:gd name="connsiteX0" fmla="*/ 11 w 9976"/>
              <a:gd name="connsiteY0" fmla="*/ 10058 h 10290"/>
              <a:gd name="connsiteX1" fmla="*/ 0 w 9976"/>
              <a:gd name="connsiteY1" fmla="*/ 58 h 10290"/>
              <a:gd name="connsiteX2" fmla="*/ 9976 w 9976"/>
              <a:gd name="connsiteY2" fmla="*/ 0 h 10290"/>
              <a:gd name="connsiteX3" fmla="*/ 9342 w 9976"/>
              <a:gd name="connsiteY3" fmla="*/ 10290 h 10290"/>
              <a:gd name="connsiteX4" fmla="*/ 11 w 9976"/>
              <a:gd name="connsiteY4" fmla="*/ 10058 h 10290"/>
              <a:gd name="connsiteX0" fmla="*/ 0 w 10005"/>
              <a:gd name="connsiteY0" fmla="*/ 9933 h 10000"/>
              <a:gd name="connsiteX1" fmla="*/ 5 w 10005"/>
              <a:gd name="connsiteY1" fmla="*/ 56 h 10000"/>
              <a:gd name="connsiteX2" fmla="*/ 10005 w 10005"/>
              <a:gd name="connsiteY2" fmla="*/ 0 h 10000"/>
              <a:gd name="connsiteX3" fmla="*/ 9369 w 10005"/>
              <a:gd name="connsiteY3" fmla="*/ 10000 h 10000"/>
              <a:gd name="connsiteX4" fmla="*/ 0 w 10005"/>
              <a:gd name="connsiteY4" fmla="*/ 9933 h 10000"/>
              <a:gd name="connsiteX0" fmla="*/ 20 w 10025"/>
              <a:gd name="connsiteY0" fmla="*/ 9933 h 10000"/>
              <a:gd name="connsiteX1" fmla="*/ 0 w 10025"/>
              <a:gd name="connsiteY1" fmla="*/ 109 h 10000"/>
              <a:gd name="connsiteX2" fmla="*/ 10025 w 10025"/>
              <a:gd name="connsiteY2" fmla="*/ 0 h 10000"/>
              <a:gd name="connsiteX3" fmla="*/ 9389 w 10025"/>
              <a:gd name="connsiteY3" fmla="*/ 10000 h 10000"/>
              <a:gd name="connsiteX4" fmla="*/ 20 w 10025"/>
              <a:gd name="connsiteY4" fmla="*/ 9933 h 10000"/>
              <a:gd name="connsiteX0" fmla="*/ 20 w 9393"/>
              <a:gd name="connsiteY0" fmla="*/ 9833 h 9900"/>
              <a:gd name="connsiteX1" fmla="*/ 0 w 9393"/>
              <a:gd name="connsiteY1" fmla="*/ 9 h 9900"/>
              <a:gd name="connsiteX2" fmla="*/ 3697 w 9393"/>
              <a:gd name="connsiteY2" fmla="*/ 33 h 9900"/>
              <a:gd name="connsiteX3" fmla="*/ 9389 w 9393"/>
              <a:gd name="connsiteY3" fmla="*/ 9900 h 9900"/>
              <a:gd name="connsiteX4" fmla="*/ 20 w 9393"/>
              <a:gd name="connsiteY4" fmla="*/ 9833 h 9900"/>
              <a:gd name="connsiteX0" fmla="*/ 21 w 3936"/>
              <a:gd name="connsiteY0" fmla="*/ 9932 h 9932"/>
              <a:gd name="connsiteX1" fmla="*/ 0 w 3936"/>
              <a:gd name="connsiteY1" fmla="*/ 9 h 9932"/>
              <a:gd name="connsiteX2" fmla="*/ 3936 w 3936"/>
              <a:gd name="connsiteY2" fmla="*/ 33 h 9932"/>
              <a:gd name="connsiteX3" fmla="*/ 3310 w 3936"/>
              <a:gd name="connsiteY3" fmla="*/ 9820 h 9932"/>
              <a:gd name="connsiteX4" fmla="*/ 21 w 3936"/>
              <a:gd name="connsiteY4" fmla="*/ 9932 h 9932"/>
              <a:gd name="connsiteX0" fmla="*/ 53 w 10075"/>
              <a:gd name="connsiteY0" fmla="*/ 9996 h 9996"/>
              <a:gd name="connsiteX1" fmla="*/ 0 w 10075"/>
              <a:gd name="connsiteY1" fmla="*/ 5 h 9996"/>
              <a:gd name="connsiteX2" fmla="*/ 10075 w 10075"/>
              <a:gd name="connsiteY2" fmla="*/ 119 h 9996"/>
              <a:gd name="connsiteX3" fmla="*/ 8410 w 10075"/>
              <a:gd name="connsiteY3" fmla="*/ 9883 h 9996"/>
              <a:gd name="connsiteX4" fmla="*/ 53 w 10075"/>
              <a:gd name="connsiteY4" fmla="*/ 9996 h 9996"/>
              <a:gd name="connsiteX0" fmla="*/ 53 w 10037"/>
              <a:gd name="connsiteY0" fmla="*/ 10029 h 10029"/>
              <a:gd name="connsiteX1" fmla="*/ 0 w 10037"/>
              <a:gd name="connsiteY1" fmla="*/ 34 h 10029"/>
              <a:gd name="connsiteX2" fmla="*/ 10037 w 10037"/>
              <a:gd name="connsiteY2" fmla="*/ 0 h 10029"/>
              <a:gd name="connsiteX3" fmla="*/ 8347 w 10037"/>
              <a:gd name="connsiteY3" fmla="*/ 9916 h 10029"/>
              <a:gd name="connsiteX4" fmla="*/ 53 w 10037"/>
              <a:gd name="connsiteY4" fmla="*/ 10029 h 10029"/>
              <a:gd name="connsiteX0" fmla="*/ 53 w 10037"/>
              <a:gd name="connsiteY0" fmla="*/ 10029 h 10034"/>
              <a:gd name="connsiteX1" fmla="*/ 0 w 10037"/>
              <a:gd name="connsiteY1" fmla="*/ 34 h 10034"/>
              <a:gd name="connsiteX2" fmla="*/ 10037 w 10037"/>
              <a:gd name="connsiteY2" fmla="*/ 0 h 10034"/>
              <a:gd name="connsiteX3" fmla="*/ 8298 w 10037"/>
              <a:gd name="connsiteY3" fmla="*/ 10034 h 10034"/>
              <a:gd name="connsiteX4" fmla="*/ 53 w 10037"/>
              <a:gd name="connsiteY4" fmla="*/ 10029 h 10034"/>
              <a:gd name="connsiteX0" fmla="*/ 53 w 10037"/>
              <a:gd name="connsiteY0" fmla="*/ 10029 h 10029"/>
              <a:gd name="connsiteX1" fmla="*/ 0 w 10037"/>
              <a:gd name="connsiteY1" fmla="*/ 34 h 10029"/>
              <a:gd name="connsiteX2" fmla="*/ 10037 w 10037"/>
              <a:gd name="connsiteY2" fmla="*/ 0 h 10029"/>
              <a:gd name="connsiteX3" fmla="*/ 8335 w 10037"/>
              <a:gd name="connsiteY3" fmla="*/ 9975 h 10029"/>
              <a:gd name="connsiteX4" fmla="*/ 53 w 10037"/>
              <a:gd name="connsiteY4" fmla="*/ 10029 h 10029"/>
              <a:gd name="connsiteX0" fmla="*/ 53 w 9846"/>
              <a:gd name="connsiteY0" fmla="*/ 10029 h 10029"/>
              <a:gd name="connsiteX1" fmla="*/ 0 w 9846"/>
              <a:gd name="connsiteY1" fmla="*/ 34 h 10029"/>
              <a:gd name="connsiteX2" fmla="*/ 9846 w 9846"/>
              <a:gd name="connsiteY2" fmla="*/ 0 h 10029"/>
              <a:gd name="connsiteX3" fmla="*/ 8335 w 9846"/>
              <a:gd name="connsiteY3" fmla="*/ 9975 h 10029"/>
              <a:gd name="connsiteX4" fmla="*/ 53 w 9846"/>
              <a:gd name="connsiteY4" fmla="*/ 10029 h 10029"/>
              <a:gd name="connsiteX0" fmla="*/ 54 w 10014"/>
              <a:gd name="connsiteY0" fmla="*/ 9966 h 9966"/>
              <a:gd name="connsiteX1" fmla="*/ 0 w 10014"/>
              <a:gd name="connsiteY1" fmla="*/ 0 h 9966"/>
              <a:gd name="connsiteX2" fmla="*/ 10014 w 10014"/>
              <a:gd name="connsiteY2" fmla="*/ 3 h 9966"/>
              <a:gd name="connsiteX3" fmla="*/ 8465 w 10014"/>
              <a:gd name="connsiteY3" fmla="*/ 9912 h 9966"/>
              <a:gd name="connsiteX4" fmla="*/ 54 w 10014"/>
              <a:gd name="connsiteY4" fmla="*/ 9966 h 99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4" h="9966">
                <a:moveTo>
                  <a:pt x="54" y="9966"/>
                </a:moveTo>
                <a:cubicBezTo>
                  <a:pt x="44" y="6681"/>
                  <a:pt x="10" y="3285"/>
                  <a:pt x="0" y="0"/>
                </a:cubicBezTo>
                <a:lnTo>
                  <a:pt x="10014" y="3"/>
                </a:lnTo>
                <a:cubicBezTo>
                  <a:pt x="9476" y="3327"/>
                  <a:pt x="9006" y="6589"/>
                  <a:pt x="8465" y="9912"/>
                </a:cubicBezTo>
                <a:lnTo>
                  <a:pt x="54" y="9966"/>
                </a:lnTo>
                <a:close/>
              </a:path>
            </a:pathLst>
          </a:custGeom>
        </p:spPr>
      </p:pic>
      <p:pic>
        <p:nvPicPr>
          <p:cNvPr id="9" name="Espace réservé pour une image  39" descr="Une image contenant ciel, bateau, extérieur, bâtiment&#10;&#10;Description générée avec un niveau de confiance très élevé">
            <a:extLst>
              <a:ext uri="{FF2B5EF4-FFF2-40B4-BE49-F238E27FC236}">
                <a16:creationId xmlns:a16="http://schemas.microsoft.com/office/drawing/2014/main" id="{CB381D2C-1067-46F6-85F1-DAA61CF3D090}"/>
              </a:ext>
            </a:extLst>
          </p:cNvPr>
          <p:cNvPicPr>
            <a:picLocks noChangeAspect="1"/>
          </p:cNvPicPr>
          <p:nvPr/>
        </p:nvPicPr>
        <p:blipFill>
          <a:blip r:embed="rId9" cstate="hqprint">
            <a:extLst>
              <a:ext uri="{28A0092B-C50C-407E-A947-70E740481C1C}">
                <a14:useLocalDpi xmlns:a14="http://schemas.microsoft.com/office/drawing/2010/main"/>
              </a:ext>
            </a:extLst>
          </a:blip>
          <a:srcRect/>
          <a:stretch>
            <a:fillRect/>
          </a:stretch>
        </p:blipFill>
        <p:spPr>
          <a:xfrm>
            <a:off x="5302172" y="3252198"/>
            <a:ext cx="3501151" cy="1317600"/>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11 w 10011"/>
              <a:gd name="connsiteY0" fmla="*/ 10000 h 10000"/>
              <a:gd name="connsiteX1" fmla="*/ 0 w 10011"/>
              <a:gd name="connsiteY1" fmla="*/ 0 h 10000"/>
              <a:gd name="connsiteX2" fmla="*/ 10011 w 10011"/>
              <a:gd name="connsiteY2" fmla="*/ 0 h 10000"/>
              <a:gd name="connsiteX3" fmla="*/ 8011 w 10011"/>
              <a:gd name="connsiteY3" fmla="*/ 10000 h 10000"/>
              <a:gd name="connsiteX4" fmla="*/ 11 w 10011"/>
              <a:gd name="connsiteY4" fmla="*/ 10000 h 10000"/>
              <a:gd name="connsiteX0" fmla="*/ 11 w 10011"/>
              <a:gd name="connsiteY0" fmla="*/ 10000 h 10116"/>
              <a:gd name="connsiteX1" fmla="*/ 0 w 10011"/>
              <a:gd name="connsiteY1" fmla="*/ 0 h 10116"/>
              <a:gd name="connsiteX2" fmla="*/ 10011 w 10011"/>
              <a:gd name="connsiteY2" fmla="*/ 0 h 10116"/>
              <a:gd name="connsiteX3" fmla="*/ 9421 w 10011"/>
              <a:gd name="connsiteY3" fmla="*/ 10116 h 10116"/>
              <a:gd name="connsiteX4" fmla="*/ 11 w 10011"/>
              <a:gd name="connsiteY4" fmla="*/ 10000 h 10116"/>
              <a:gd name="connsiteX0" fmla="*/ 11 w 10011"/>
              <a:gd name="connsiteY0" fmla="*/ 10000 h 10232"/>
              <a:gd name="connsiteX1" fmla="*/ 0 w 10011"/>
              <a:gd name="connsiteY1" fmla="*/ 0 h 10232"/>
              <a:gd name="connsiteX2" fmla="*/ 10011 w 10011"/>
              <a:gd name="connsiteY2" fmla="*/ 0 h 10232"/>
              <a:gd name="connsiteX3" fmla="*/ 9342 w 10011"/>
              <a:gd name="connsiteY3" fmla="*/ 10232 h 10232"/>
              <a:gd name="connsiteX4" fmla="*/ 11 w 10011"/>
              <a:gd name="connsiteY4" fmla="*/ 10000 h 10232"/>
              <a:gd name="connsiteX0" fmla="*/ 11 w 9976"/>
              <a:gd name="connsiteY0" fmla="*/ 10058 h 10290"/>
              <a:gd name="connsiteX1" fmla="*/ 0 w 9976"/>
              <a:gd name="connsiteY1" fmla="*/ 58 h 10290"/>
              <a:gd name="connsiteX2" fmla="*/ 9976 w 9976"/>
              <a:gd name="connsiteY2" fmla="*/ 0 h 10290"/>
              <a:gd name="connsiteX3" fmla="*/ 9342 w 9976"/>
              <a:gd name="connsiteY3" fmla="*/ 10290 h 10290"/>
              <a:gd name="connsiteX4" fmla="*/ 11 w 9976"/>
              <a:gd name="connsiteY4" fmla="*/ 10058 h 10290"/>
              <a:gd name="connsiteX0" fmla="*/ 0 w 10005"/>
              <a:gd name="connsiteY0" fmla="*/ 9933 h 10000"/>
              <a:gd name="connsiteX1" fmla="*/ 5 w 10005"/>
              <a:gd name="connsiteY1" fmla="*/ 56 h 10000"/>
              <a:gd name="connsiteX2" fmla="*/ 10005 w 10005"/>
              <a:gd name="connsiteY2" fmla="*/ 0 h 10000"/>
              <a:gd name="connsiteX3" fmla="*/ 9369 w 10005"/>
              <a:gd name="connsiteY3" fmla="*/ 10000 h 10000"/>
              <a:gd name="connsiteX4" fmla="*/ 0 w 10005"/>
              <a:gd name="connsiteY4" fmla="*/ 9933 h 10000"/>
              <a:gd name="connsiteX0" fmla="*/ 20 w 10025"/>
              <a:gd name="connsiteY0" fmla="*/ 9933 h 10000"/>
              <a:gd name="connsiteX1" fmla="*/ 0 w 10025"/>
              <a:gd name="connsiteY1" fmla="*/ 109 h 10000"/>
              <a:gd name="connsiteX2" fmla="*/ 10025 w 10025"/>
              <a:gd name="connsiteY2" fmla="*/ 0 h 10000"/>
              <a:gd name="connsiteX3" fmla="*/ 9389 w 10025"/>
              <a:gd name="connsiteY3" fmla="*/ 10000 h 10000"/>
              <a:gd name="connsiteX4" fmla="*/ 20 w 10025"/>
              <a:gd name="connsiteY4" fmla="*/ 9933 h 10000"/>
              <a:gd name="connsiteX0" fmla="*/ 20 w 9393"/>
              <a:gd name="connsiteY0" fmla="*/ 9833 h 9900"/>
              <a:gd name="connsiteX1" fmla="*/ 0 w 9393"/>
              <a:gd name="connsiteY1" fmla="*/ 9 h 9900"/>
              <a:gd name="connsiteX2" fmla="*/ 3697 w 9393"/>
              <a:gd name="connsiteY2" fmla="*/ 33 h 9900"/>
              <a:gd name="connsiteX3" fmla="*/ 9389 w 9393"/>
              <a:gd name="connsiteY3" fmla="*/ 9900 h 9900"/>
              <a:gd name="connsiteX4" fmla="*/ 20 w 9393"/>
              <a:gd name="connsiteY4" fmla="*/ 9833 h 9900"/>
              <a:gd name="connsiteX0" fmla="*/ 21 w 3936"/>
              <a:gd name="connsiteY0" fmla="*/ 9932 h 9932"/>
              <a:gd name="connsiteX1" fmla="*/ 0 w 3936"/>
              <a:gd name="connsiteY1" fmla="*/ 9 h 9932"/>
              <a:gd name="connsiteX2" fmla="*/ 3936 w 3936"/>
              <a:gd name="connsiteY2" fmla="*/ 33 h 9932"/>
              <a:gd name="connsiteX3" fmla="*/ 3310 w 3936"/>
              <a:gd name="connsiteY3" fmla="*/ 9820 h 9932"/>
              <a:gd name="connsiteX4" fmla="*/ 21 w 3936"/>
              <a:gd name="connsiteY4" fmla="*/ 9932 h 9932"/>
              <a:gd name="connsiteX0" fmla="*/ 53 w 10075"/>
              <a:gd name="connsiteY0" fmla="*/ 9996 h 9996"/>
              <a:gd name="connsiteX1" fmla="*/ 0 w 10075"/>
              <a:gd name="connsiteY1" fmla="*/ 5 h 9996"/>
              <a:gd name="connsiteX2" fmla="*/ 10075 w 10075"/>
              <a:gd name="connsiteY2" fmla="*/ 119 h 9996"/>
              <a:gd name="connsiteX3" fmla="*/ 8410 w 10075"/>
              <a:gd name="connsiteY3" fmla="*/ 9883 h 9996"/>
              <a:gd name="connsiteX4" fmla="*/ 53 w 10075"/>
              <a:gd name="connsiteY4" fmla="*/ 9996 h 9996"/>
              <a:gd name="connsiteX0" fmla="*/ 53 w 10037"/>
              <a:gd name="connsiteY0" fmla="*/ 10029 h 10029"/>
              <a:gd name="connsiteX1" fmla="*/ 0 w 10037"/>
              <a:gd name="connsiteY1" fmla="*/ 34 h 10029"/>
              <a:gd name="connsiteX2" fmla="*/ 10037 w 10037"/>
              <a:gd name="connsiteY2" fmla="*/ 0 h 10029"/>
              <a:gd name="connsiteX3" fmla="*/ 8347 w 10037"/>
              <a:gd name="connsiteY3" fmla="*/ 9916 h 10029"/>
              <a:gd name="connsiteX4" fmla="*/ 53 w 10037"/>
              <a:gd name="connsiteY4" fmla="*/ 10029 h 10029"/>
              <a:gd name="connsiteX0" fmla="*/ 53 w 10037"/>
              <a:gd name="connsiteY0" fmla="*/ 10029 h 10034"/>
              <a:gd name="connsiteX1" fmla="*/ 0 w 10037"/>
              <a:gd name="connsiteY1" fmla="*/ 34 h 10034"/>
              <a:gd name="connsiteX2" fmla="*/ 10037 w 10037"/>
              <a:gd name="connsiteY2" fmla="*/ 0 h 10034"/>
              <a:gd name="connsiteX3" fmla="*/ 8298 w 10037"/>
              <a:gd name="connsiteY3" fmla="*/ 10034 h 10034"/>
              <a:gd name="connsiteX4" fmla="*/ 53 w 10037"/>
              <a:gd name="connsiteY4" fmla="*/ 10029 h 10034"/>
              <a:gd name="connsiteX0" fmla="*/ 53 w 10037"/>
              <a:gd name="connsiteY0" fmla="*/ 10029 h 10029"/>
              <a:gd name="connsiteX1" fmla="*/ 0 w 10037"/>
              <a:gd name="connsiteY1" fmla="*/ 34 h 10029"/>
              <a:gd name="connsiteX2" fmla="*/ 10037 w 10037"/>
              <a:gd name="connsiteY2" fmla="*/ 0 h 10029"/>
              <a:gd name="connsiteX3" fmla="*/ 8335 w 10037"/>
              <a:gd name="connsiteY3" fmla="*/ 9975 h 10029"/>
              <a:gd name="connsiteX4" fmla="*/ 53 w 10037"/>
              <a:gd name="connsiteY4" fmla="*/ 10029 h 10029"/>
              <a:gd name="connsiteX0" fmla="*/ 53 w 9846"/>
              <a:gd name="connsiteY0" fmla="*/ 10029 h 10029"/>
              <a:gd name="connsiteX1" fmla="*/ 0 w 9846"/>
              <a:gd name="connsiteY1" fmla="*/ 34 h 10029"/>
              <a:gd name="connsiteX2" fmla="*/ 9846 w 9846"/>
              <a:gd name="connsiteY2" fmla="*/ 0 h 10029"/>
              <a:gd name="connsiteX3" fmla="*/ 8335 w 9846"/>
              <a:gd name="connsiteY3" fmla="*/ 9975 h 10029"/>
              <a:gd name="connsiteX4" fmla="*/ 53 w 9846"/>
              <a:gd name="connsiteY4" fmla="*/ 10029 h 10029"/>
              <a:gd name="connsiteX0" fmla="*/ 54 w 10014"/>
              <a:gd name="connsiteY0" fmla="*/ 9966 h 9966"/>
              <a:gd name="connsiteX1" fmla="*/ 0 w 10014"/>
              <a:gd name="connsiteY1" fmla="*/ 0 h 9966"/>
              <a:gd name="connsiteX2" fmla="*/ 10014 w 10014"/>
              <a:gd name="connsiteY2" fmla="*/ 3 h 9966"/>
              <a:gd name="connsiteX3" fmla="*/ 8465 w 10014"/>
              <a:gd name="connsiteY3" fmla="*/ 9912 h 9966"/>
              <a:gd name="connsiteX4" fmla="*/ 54 w 10014"/>
              <a:gd name="connsiteY4" fmla="*/ 9966 h 99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4" h="9966">
                <a:moveTo>
                  <a:pt x="54" y="9966"/>
                </a:moveTo>
                <a:cubicBezTo>
                  <a:pt x="44" y="6681"/>
                  <a:pt x="10" y="3285"/>
                  <a:pt x="0" y="0"/>
                </a:cubicBezTo>
                <a:lnTo>
                  <a:pt x="10014" y="3"/>
                </a:lnTo>
                <a:cubicBezTo>
                  <a:pt x="9476" y="3327"/>
                  <a:pt x="9006" y="6589"/>
                  <a:pt x="8465" y="9912"/>
                </a:cubicBezTo>
                <a:lnTo>
                  <a:pt x="54" y="9966"/>
                </a:lnTo>
                <a:close/>
              </a:path>
            </a:pathLst>
          </a:custGeom>
        </p:spPr>
      </p:pic>
      <p:pic>
        <p:nvPicPr>
          <p:cNvPr id="11" name="Espace réservé pour une image  25" descr="Une image contenant intérieur, personne&#10;&#10;Description générée avec un niveau de confiance très élevé">
            <a:extLst>
              <a:ext uri="{FF2B5EF4-FFF2-40B4-BE49-F238E27FC236}">
                <a16:creationId xmlns:a16="http://schemas.microsoft.com/office/drawing/2014/main" id="{25879418-6526-4622-A04F-78C9934E2463}"/>
              </a:ext>
            </a:extLst>
          </p:cNvPr>
          <p:cNvPicPr>
            <a:picLocks noChangeAspect="1"/>
          </p:cNvPicPr>
          <p:nvPr/>
        </p:nvPicPr>
        <p:blipFill>
          <a:blip r:embed="rId10" cstate="hqprint">
            <a:extLst>
              <a:ext uri="{28A0092B-C50C-407E-A947-70E740481C1C}">
                <a14:useLocalDpi xmlns:a14="http://schemas.microsoft.com/office/drawing/2010/main"/>
              </a:ext>
            </a:extLst>
          </a:blip>
          <a:srcRect/>
          <a:stretch>
            <a:fillRect/>
          </a:stretch>
        </p:blipFill>
        <p:spPr>
          <a:xfrm>
            <a:off x="2994025" y="1493268"/>
            <a:ext cx="3558139" cy="1318939"/>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11 w 10011"/>
              <a:gd name="connsiteY0" fmla="*/ 10000 h 10000"/>
              <a:gd name="connsiteX1" fmla="*/ 0 w 10011"/>
              <a:gd name="connsiteY1" fmla="*/ 0 h 10000"/>
              <a:gd name="connsiteX2" fmla="*/ 10011 w 10011"/>
              <a:gd name="connsiteY2" fmla="*/ 0 h 10000"/>
              <a:gd name="connsiteX3" fmla="*/ 8011 w 10011"/>
              <a:gd name="connsiteY3" fmla="*/ 10000 h 10000"/>
              <a:gd name="connsiteX4" fmla="*/ 11 w 10011"/>
              <a:gd name="connsiteY4" fmla="*/ 10000 h 10000"/>
              <a:gd name="connsiteX0" fmla="*/ 11 w 10011"/>
              <a:gd name="connsiteY0" fmla="*/ 10000 h 10116"/>
              <a:gd name="connsiteX1" fmla="*/ 0 w 10011"/>
              <a:gd name="connsiteY1" fmla="*/ 0 h 10116"/>
              <a:gd name="connsiteX2" fmla="*/ 10011 w 10011"/>
              <a:gd name="connsiteY2" fmla="*/ 0 h 10116"/>
              <a:gd name="connsiteX3" fmla="*/ 9421 w 10011"/>
              <a:gd name="connsiteY3" fmla="*/ 10116 h 10116"/>
              <a:gd name="connsiteX4" fmla="*/ 11 w 10011"/>
              <a:gd name="connsiteY4" fmla="*/ 10000 h 10116"/>
              <a:gd name="connsiteX0" fmla="*/ 11 w 10011"/>
              <a:gd name="connsiteY0" fmla="*/ 10000 h 10232"/>
              <a:gd name="connsiteX1" fmla="*/ 0 w 10011"/>
              <a:gd name="connsiteY1" fmla="*/ 0 h 10232"/>
              <a:gd name="connsiteX2" fmla="*/ 10011 w 10011"/>
              <a:gd name="connsiteY2" fmla="*/ 0 h 10232"/>
              <a:gd name="connsiteX3" fmla="*/ 9342 w 10011"/>
              <a:gd name="connsiteY3" fmla="*/ 10232 h 10232"/>
              <a:gd name="connsiteX4" fmla="*/ 11 w 10011"/>
              <a:gd name="connsiteY4" fmla="*/ 10000 h 10232"/>
              <a:gd name="connsiteX0" fmla="*/ 11 w 9976"/>
              <a:gd name="connsiteY0" fmla="*/ 10058 h 10290"/>
              <a:gd name="connsiteX1" fmla="*/ 0 w 9976"/>
              <a:gd name="connsiteY1" fmla="*/ 58 h 10290"/>
              <a:gd name="connsiteX2" fmla="*/ 9976 w 9976"/>
              <a:gd name="connsiteY2" fmla="*/ 0 h 10290"/>
              <a:gd name="connsiteX3" fmla="*/ 9342 w 9976"/>
              <a:gd name="connsiteY3" fmla="*/ 10290 h 10290"/>
              <a:gd name="connsiteX4" fmla="*/ 11 w 9976"/>
              <a:gd name="connsiteY4" fmla="*/ 10058 h 10290"/>
              <a:gd name="connsiteX0" fmla="*/ 0 w 10005"/>
              <a:gd name="connsiteY0" fmla="*/ 9933 h 10000"/>
              <a:gd name="connsiteX1" fmla="*/ 5 w 10005"/>
              <a:gd name="connsiteY1" fmla="*/ 56 h 10000"/>
              <a:gd name="connsiteX2" fmla="*/ 10005 w 10005"/>
              <a:gd name="connsiteY2" fmla="*/ 0 h 10000"/>
              <a:gd name="connsiteX3" fmla="*/ 9369 w 10005"/>
              <a:gd name="connsiteY3" fmla="*/ 10000 h 10000"/>
              <a:gd name="connsiteX4" fmla="*/ 0 w 10005"/>
              <a:gd name="connsiteY4" fmla="*/ 9933 h 10000"/>
              <a:gd name="connsiteX0" fmla="*/ 20 w 10025"/>
              <a:gd name="connsiteY0" fmla="*/ 9933 h 10000"/>
              <a:gd name="connsiteX1" fmla="*/ 0 w 10025"/>
              <a:gd name="connsiteY1" fmla="*/ 109 h 10000"/>
              <a:gd name="connsiteX2" fmla="*/ 10025 w 10025"/>
              <a:gd name="connsiteY2" fmla="*/ 0 h 10000"/>
              <a:gd name="connsiteX3" fmla="*/ 9389 w 10025"/>
              <a:gd name="connsiteY3" fmla="*/ 10000 h 10000"/>
              <a:gd name="connsiteX4" fmla="*/ 20 w 10025"/>
              <a:gd name="connsiteY4" fmla="*/ 9933 h 10000"/>
              <a:gd name="connsiteX0" fmla="*/ 20 w 9393"/>
              <a:gd name="connsiteY0" fmla="*/ 9833 h 9900"/>
              <a:gd name="connsiteX1" fmla="*/ 0 w 9393"/>
              <a:gd name="connsiteY1" fmla="*/ 9 h 9900"/>
              <a:gd name="connsiteX2" fmla="*/ 3697 w 9393"/>
              <a:gd name="connsiteY2" fmla="*/ 33 h 9900"/>
              <a:gd name="connsiteX3" fmla="*/ 9389 w 9393"/>
              <a:gd name="connsiteY3" fmla="*/ 9900 h 9900"/>
              <a:gd name="connsiteX4" fmla="*/ 20 w 9393"/>
              <a:gd name="connsiteY4" fmla="*/ 9833 h 9900"/>
              <a:gd name="connsiteX0" fmla="*/ 21 w 3936"/>
              <a:gd name="connsiteY0" fmla="*/ 9932 h 9932"/>
              <a:gd name="connsiteX1" fmla="*/ 0 w 3936"/>
              <a:gd name="connsiteY1" fmla="*/ 9 h 9932"/>
              <a:gd name="connsiteX2" fmla="*/ 3936 w 3936"/>
              <a:gd name="connsiteY2" fmla="*/ 33 h 9932"/>
              <a:gd name="connsiteX3" fmla="*/ 3310 w 3936"/>
              <a:gd name="connsiteY3" fmla="*/ 9820 h 9932"/>
              <a:gd name="connsiteX4" fmla="*/ 21 w 3936"/>
              <a:gd name="connsiteY4" fmla="*/ 9932 h 9932"/>
              <a:gd name="connsiteX0" fmla="*/ 53 w 10075"/>
              <a:gd name="connsiteY0" fmla="*/ 9996 h 9996"/>
              <a:gd name="connsiteX1" fmla="*/ 0 w 10075"/>
              <a:gd name="connsiteY1" fmla="*/ 5 h 9996"/>
              <a:gd name="connsiteX2" fmla="*/ 10075 w 10075"/>
              <a:gd name="connsiteY2" fmla="*/ 119 h 9996"/>
              <a:gd name="connsiteX3" fmla="*/ 8410 w 10075"/>
              <a:gd name="connsiteY3" fmla="*/ 9883 h 9996"/>
              <a:gd name="connsiteX4" fmla="*/ 53 w 10075"/>
              <a:gd name="connsiteY4" fmla="*/ 9996 h 9996"/>
              <a:gd name="connsiteX0" fmla="*/ 53 w 10037"/>
              <a:gd name="connsiteY0" fmla="*/ 10029 h 10029"/>
              <a:gd name="connsiteX1" fmla="*/ 0 w 10037"/>
              <a:gd name="connsiteY1" fmla="*/ 34 h 10029"/>
              <a:gd name="connsiteX2" fmla="*/ 10037 w 10037"/>
              <a:gd name="connsiteY2" fmla="*/ 0 h 10029"/>
              <a:gd name="connsiteX3" fmla="*/ 8347 w 10037"/>
              <a:gd name="connsiteY3" fmla="*/ 9916 h 10029"/>
              <a:gd name="connsiteX4" fmla="*/ 53 w 10037"/>
              <a:gd name="connsiteY4" fmla="*/ 10029 h 10029"/>
              <a:gd name="connsiteX0" fmla="*/ 53 w 10037"/>
              <a:gd name="connsiteY0" fmla="*/ 10029 h 10034"/>
              <a:gd name="connsiteX1" fmla="*/ 0 w 10037"/>
              <a:gd name="connsiteY1" fmla="*/ 34 h 10034"/>
              <a:gd name="connsiteX2" fmla="*/ 10037 w 10037"/>
              <a:gd name="connsiteY2" fmla="*/ 0 h 10034"/>
              <a:gd name="connsiteX3" fmla="*/ 8298 w 10037"/>
              <a:gd name="connsiteY3" fmla="*/ 10034 h 10034"/>
              <a:gd name="connsiteX4" fmla="*/ 53 w 10037"/>
              <a:gd name="connsiteY4" fmla="*/ 10029 h 10034"/>
              <a:gd name="connsiteX0" fmla="*/ 53 w 10037"/>
              <a:gd name="connsiteY0" fmla="*/ 10029 h 10029"/>
              <a:gd name="connsiteX1" fmla="*/ 0 w 10037"/>
              <a:gd name="connsiteY1" fmla="*/ 34 h 10029"/>
              <a:gd name="connsiteX2" fmla="*/ 10037 w 10037"/>
              <a:gd name="connsiteY2" fmla="*/ 0 h 10029"/>
              <a:gd name="connsiteX3" fmla="*/ 8335 w 10037"/>
              <a:gd name="connsiteY3" fmla="*/ 9975 h 10029"/>
              <a:gd name="connsiteX4" fmla="*/ 53 w 10037"/>
              <a:gd name="connsiteY4" fmla="*/ 10029 h 10029"/>
              <a:gd name="connsiteX0" fmla="*/ 53 w 9846"/>
              <a:gd name="connsiteY0" fmla="*/ 10029 h 10029"/>
              <a:gd name="connsiteX1" fmla="*/ 0 w 9846"/>
              <a:gd name="connsiteY1" fmla="*/ 34 h 10029"/>
              <a:gd name="connsiteX2" fmla="*/ 9846 w 9846"/>
              <a:gd name="connsiteY2" fmla="*/ 0 h 10029"/>
              <a:gd name="connsiteX3" fmla="*/ 8335 w 9846"/>
              <a:gd name="connsiteY3" fmla="*/ 9975 h 10029"/>
              <a:gd name="connsiteX4" fmla="*/ 53 w 9846"/>
              <a:gd name="connsiteY4" fmla="*/ 10029 h 10029"/>
              <a:gd name="connsiteX0" fmla="*/ 54 w 10014"/>
              <a:gd name="connsiteY0" fmla="*/ 9966 h 9966"/>
              <a:gd name="connsiteX1" fmla="*/ 0 w 10014"/>
              <a:gd name="connsiteY1" fmla="*/ 0 h 9966"/>
              <a:gd name="connsiteX2" fmla="*/ 10014 w 10014"/>
              <a:gd name="connsiteY2" fmla="*/ 3 h 9966"/>
              <a:gd name="connsiteX3" fmla="*/ 8465 w 10014"/>
              <a:gd name="connsiteY3" fmla="*/ 9912 h 9966"/>
              <a:gd name="connsiteX4" fmla="*/ 54 w 10014"/>
              <a:gd name="connsiteY4" fmla="*/ 9966 h 99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4" h="9966">
                <a:moveTo>
                  <a:pt x="54" y="9966"/>
                </a:moveTo>
                <a:cubicBezTo>
                  <a:pt x="44" y="6681"/>
                  <a:pt x="10" y="3285"/>
                  <a:pt x="0" y="0"/>
                </a:cubicBezTo>
                <a:lnTo>
                  <a:pt x="10014" y="3"/>
                </a:lnTo>
                <a:cubicBezTo>
                  <a:pt x="9476" y="3327"/>
                  <a:pt x="9006" y="6589"/>
                  <a:pt x="8465" y="9912"/>
                </a:cubicBezTo>
                <a:lnTo>
                  <a:pt x="54" y="9966"/>
                </a:lnTo>
                <a:close/>
              </a:path>
            </a:pathLst>
          </a:custGeom>
        </p:spPr>
      </p:pic>
      <p:pic>
        <p:nvPicPr>
          <p:cNvPr id="12" name="Espace réservé pour une image  23" descr="Une image contenant objet, engin, bâtiment, intérieur&#10;&#10;Description générée avec un niveau de confiance très élevé">
            <a:extLst>
              <a:ext uri="{FF2B5EF4-FFF2-40B4-BE49-F238E27FC236}">
                <a16:creationId xmlns:a16="http://schemas.microsoft.com/office/drawing/2014/main" id="{5A4D0B99-F9E7-4C81-91CD-ED5951257463}"/>
              </a:ext>
            </a:extLst>
          </p:cNvPr>
          <p:cNvPicPr>
            <a:picLocks noChangeAspect="1"/>
          </p:cNvPicPr>
          <p:nvPr/>
        </p:nvPicPr>
        <p:blipFill>
          <a:blip r:embed="rId11" cstate="hqprint">
            <a:extLst>
              <a:ext uri="{28A0092B-C50C-407E-A947-70E740481C1C}">
                <a14:useLocalDpi xmlns:a14="http://schemas.microsoft.com/office/drawing/2010/main"/>
              </a:ext>
            </a:extLst>
          </a:blip>
          <a:srcRect/>
          <a:stretch>
            <a:fillRect/>
          </a:stretch>
        </p:blipFill>
        <p:spPr>
          <a:xfrm>
            <a:off x="0" y="1497780"/>
            <a:ext cx="3558139" cy="1313933"/>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11 w 10011"/>
              <a:gd name="connsiteY0" fmla="*/ 10000 h 10000"/>
              <a:gd name="connsiteX1" fmla="*/ 0 w 10011"/>
              <a:gd name="connsiteY1" fmla="*/ 0 h 10000"/>
              <a:gd name="connsiteX2" fmla="*/ 10011 w 10011"/>
              <a:gd name="connsiteY2" fmla="*/ 0 h 10000"/>
              <a:gd name="connsiteX3" fmla="*/ 8011 w 10011"/>
              <a:gd name="connsiteY3" fmla="*/ 10000 h 10000"/>
              <a:gd name="connsiteX4" fmla="*/ 11 w 10011"/>
              <a:gd name="connsiteY4" fmla="*/ 10000 h 10000"/>
              <a:gd name="connsiteX0" fmla="*/ 11 w 10011"/>
              <a:gd name="connsiteY0" fmla="*/ 10000 h 10116"/>
              <a:gd name="connsiteX1" fmla="*/ 0 w 10011"/>
              <a:gd name="connsiteY1" fmla="*/ 0 h 10116"/>
              <a:gd name="connsiteX2" fmla="*/ 10011 w 10011"/>
              <a:gd name="connsiteY2" fmla="*/ 0 h 10116"/>
              <a:gd name="connsiteX3" fmla="*/ 9421 w 10011"/>
              <a:gd name="connsiteY3" fmla="*/ 10116 h 10116"/>
              <a:gd name="connsiteX4" fmla="*/ 11 w 10011"/>
              <a:gd name="connsiteY4" fmla="*/ 10000 h 10116"/>
              <a:gd name="connsiteX0" fmla="*/ 11 w 10011"/>
              <a:gd name="connsiteY0" fmla="*/ 10000 h 10232"/>
              <a:gd name="connsiteX1" fmla="*/ 0 w 10011"/>
              <a:gd name="connsiteY1" fmla="*/ 0 h 10232"/>
              <a:gd name="connsiteX2" fmla="*/ 10011 w 10011"/>
              <a:gd name="connsiteY2" fmla="*/ 0 h 10232"/>
              <a:gd name="connsiteX3" fmla="*/ 9342 w 10011"/>
              <a:gd name="connsiteY3" fmla="*/ 10232 h 10232"/>
              <a:gd name="connsiteX4" fmla="*/ 11 w 10011"/>
              <a:gd name="connsiteY4" fmla="*/ 10000 h 10232"/>
              <a:gd name="connsiteX0" fmla="*/ 11 w 9976"/>
              <a:gd name="connsiteY0" fmla="*/ 10058 h 10290"/>
              <a:gd name="connsiteX1" fmla="*/ 0 w 9976"/>
              <a:gd name="connsiteY1" fmla="*/ 58 h 10290"/>
              <a:gd name="connsiteX2" fmla="*/ 9976 w 9976"/>
              <a:gd name="connsiteY2" fmla="*/ 0 h 10290"/>
              <a:gd name="connsiteX3" fmla="*/ 9342 w 9976"/>
              <a:gd name="connsiteY3" fmla="*/ 10290 h 10290"/>
              <a:gd name="connsiteX4" fmla="*/ 11 w 9976"/>
              <a:gd name="connsiteY4" fmla="*/ 10058 h 10290"/>
              <a:gd name="connsiteX0" fmla="*/ 0 w 10005"/>
              <a:gd name="connsiteY0" fmla="*/ 9933 h 10000"/>
              <a:gd name="connsiteX1" fmla="*/ 5 w 10005"/>
              <a:gd name="connsiteY1" fmla="*/ 56 h 10000"/>
              <a:gd name="connsiteX2" fmla="*/ 10005 w 10005"/>
              <a:gd name="connsiteY2" fmla="*/ 0 h 10000"/>
              <a:gd name="connsiteX3" fmla="*/ 9369 w 10005"/>
              <a:gd name="connsiteY3" fmla="*/ 10000 h 10000"/>
              <a:gd name="connsiteX4" fmla="*/ 0 w 10005"/>
              <a:gd name="connsiteY4" fmla="*/ 9933 h 10000"/>
              <a:gd name="connsiteX0" fmla="*/ 20 w 10025"/>
              <a:gd name="connsiteY0" fmla="*/ 9933 h 10000"/>
              <a:gd name="connsiteX1" fmla="*/ 0 w 10025"/>
              <a:gd name="connsiteY1" fmla="*/ 109 h 10000"/>
              <a:gd name="connsiteX2" fmla="*/ 10025 w 10025"/>
              <a:gd name="connsiteY2" fmla="*/ 0 h 10000"/>
              <a:gd name="connsiteX3" fmla="*/ 9389 w 10025"/>
              <a:gd name="connsiteY3" fmla="*/ 10000 h 10000"/>
              <a:gd name="connsiteX4" fmla="*/ 20 w 10025"/>
              <a:gd name="connsiteY4" fmla="*/ 9933 h 10000"/>
              <a:gd name="connsiteX0" fmla="*/ 20 w 9393"/>
              <a:gd name="connsiteY0" fmla="*/ 9833 h 9900"/>
              <a:gd name="connsiteX1" fmla="*/ 0 w 9393"/>
              <a:gd name="connsiteY1" fmla="*/ 9 h 9900"/>
              <a:gd name="connsiteX2" fmla="*/ 3697 w 9393"/>
              <a:gd name="connsiteY2" fmla="*/ 33 h 9900"/>
              <a:gd name="connsiteX3" fmla="*/ 9389 w 9393"/>
              <a:gd name="connsiteY3" fmla="*/ 9900 h 9900"/>
              <a:gd name="connsiteX4" fmla="*/ 20 w 9393"/>
              <a:gd name="connsiteY4" fmla="*/ 9833 h 9900"/>
              <a:gd name="connsiteX0" fmla="*/ 21 w 3936"/>
              <a:gd name="connsiteY0" fmla="*/ 9932 h 9932"/>
              <a:gd name="connsiteX1" fmla="*/ 0 w 3936"/>
              <a:gd name="connsiteY1" fmla="*/ 9 h 9932"/>
              <a:gd name="connsiteX2" fmla="*/ 3936 w 3936"/>
              <a:gd name="connsiteY2" fmla="*/ 33 h 9932"/>
              <a:gd name="connsiteX3" fmla="*/ 3310 w 3936"/>
              <a:gd name="connsiteY3" fmla="*/ 9820 h 9932"/>
              <a:gd name="connsiteX4" fmla="*/ 21 w 3936"/>
              <a:gd name="connsiteY4" fmla="*/ 9932 h 9932"/>
              <a:gd name="connsiteX0" fmla="*/ 53 w 10075"/>
              <a:gd name="connsiteY0" fmla="*/ 9996 h 9996"/>
              <a:gd name="connsiteX1" fmla="*/ 0 w 10075"/>
              <a:gd name="connsiteY1" fmla="*/ 5 h 9996"/>
              <a:gd name="connsiteX2" fmla="*/ 10075 w 10075"/>
              <a:gd name="connsiteY2" fmla="*/ 119 h 9996"/>
              <a:gd name="connsiteX3" fmla="*/ 8410 w 10075"/>
              <a:gd name="connsiteY3" fmla="*/ 9883 h 9996"/>
              <a:gd name="connsiteX4" fmla="*/ 53 w 10075"/>
              <a:gd name="connsiteY4" fmla="*/ 9996 h 9996"/>
              <a:gd name="connsiteX0" fmla="*/ 53 w 10037"/>
              <a:gd name="connsiteY0" fmla="*/ 10029 h 10029"/>
              <a:gd name="connsiteX1" fmla="*/ 0 w 10037"/>
              <a:gd name="connsiteY1" fmla="*/ 34 h 10029"/>
              <a:gd name="connsiteX2" fmla="*/ 10037 w 10037"/>
              <a:gd name="connsiteY2" fmla="*/ 0 h 10029"/>
              <a:gd name="connsiteX3" fmla="*/ 8347 w 10037"/>
              <a:gd name="connsiteY3" fmla="*/ 9916 h 10029"/>
              <a:gd name="connsiteX4" fmla="*/ 53 w 10037"/>
              <a:gd name="connsiteY4" fmla="*/ 10029 h 10029"/>
              <a:gd name="connsiteX0" fmla="*/ 53 w 10037"/>
              <a:gd name="connsiteY0" fmla="*/ 10029 h 10034"/>
              <a:gd name="connsiteX1" fmla="*/ 0 w 10037"/>
              <a:gd name="connsiteY1" fmla="*/ 34 h 10034"/>
              <a:gd name="connsiteX2" fmla="*/ 10037 w 10037"/>
              <a:gd name="connsiteY2" fmla="*/ 0 h 10034"/>
              <a:gd name="connsiteX3" fmla="*/ 8298 w 10037"/>
              <a:gd name="connsiteY3" fmla="*/ 10034 h 10034"/>
              <a:gd name="connsiteX4" fmla="*/ 53 w 10037"/>
              <a:gd name="connsiteY4" fmla="*/ 10029 h 10034"/>
              <a:gd name="connsiteX0" fmla="*/ 53 w 10037"/>
              <a:gd name="connsiteY0" fmla="*/ 10029 h 10029"/>
              <a:gd name="connsiteX1" fmla="*/ 0 w 10037"/>
              <a:gd name="connsiteY1" fmla="*/ 34 h 10029"/>
              <a:gd name="connsiteX2" fmla="*/ 10037 w 10037"/>
              <a:gd name="connsiteY2" fmla="*/ 0 h 10029"/>
              <a:gd name="connsiteX3" fmla="*/ 8335 w 10037"/>
              <a:gd name="connsiteY3" fmla="*/ 9975 h 10029"/>
              <a:gd name="connsiteX4" fmla="*/ 53 w 10037"/>
              <a:gd name="connsiteY4" fmla="*/ 10029 h 10029"/>
              <a:gd name="connsiteX0" fmla="*/ 53 w 9846"/>
              <a:gd name="connsiteY0" fmla="*/ 10029 h 10029"/>
              <a:gd name="connsiteX1" fmla="*/ 0 w 9846"/>
              <a:gd name="connsiteY1" fmla="*/ 34 h 10029"/>
              <a:gd name="connsiteX2" fmla="*/ 9846 w 9846"/>
              <a:gd name="connsiteY2" fmla="*/ 0 h 10029"/>
              <a:gd name="connsiteX3" fmla="*/ 8335 w 9846"/>
              <a:gd name="connsiteY3" fmla="*/ 9975 h 10029"/>
              <a:gd name="connsiteX4" fmla="*/ 53 w 9846"/>
              <a:gd name="connsiteY4" fmla="*/ 10029 h 10029"/>
              <a:gd name="connsiteX0" fmla="*/ 54 w 10014"/>
              <a:gd name="connsiteY0" fmla="*/ 9966 h 9966"/>
              <a:gd name="connsiteX1" fmla="*/ 0 w 10014"/>
              <a:gd name="connsiteY1" fmla="*/ 0 h 9966"/>
              <a:gd name="connsiteX2" fmla="*/ 10014 w 10014"/>
              <a:gd name="connsiteY2" fmla="*/ 3 h 9966"/>
              <a:gd name="connsiteX3" fmla="*/ 8465 w 10014"/>
              <a:gd name="connsiteY3" fmla="*/ 9912 h 9966"/>
              <a:gd name="connsiteX4" fmla="*/ 54 w 10014"/>
              <a:gd name="connsiteY4" fmla="*/ 9966 h 9966"/>
              <a:gd name="connsiteX0" fmla="*/ 1 w 10013"/>
              <a:gd name="connsiteY0" fmla="*/ 9975 h 9975"/>
              <a:gd name="connsiteX1" fmla="*/ 13 w 10013"/>
              <a:gd name="connsiteY1" fmla="*/ 0 h 9975"/>
              <a:gd name="connsiteX2" fmla="*/ 10013 w 10013"/>
              <a:gd name="connsiteY2" fmla="*/ 3 h 9975"/>
              <a:gd name="connsiteX3" fmla="*/ 8466 w 10013"/>
              <a:gd name="connsiteY3" fmla="*/ 9946 h 9975"/>
              <a:gd name="connsiteX4" fmla="*/ 1 w 10013"/>
              <a:gd name="connsiteY4" fmla="*/ 9975 h 9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3" h="9975">
                <a:moveTo>
                  <a:pt x="1" y="9975"/>
                </a:moveTo>
                <a:cubicBezTo>
                  <a:pt x="-9" y="6679"/>
                  <a:pt x="23" y="3296"/>
                  <a:pt x="13" y="0"/>
                </a:cubicBezTo>
                <a:lnTo>
                  <a:pt x="10013" y="3"/>
                </a:lnTo>
                <a:cubicBezTo>
                  <a:pt x="9476" y="3338"/>
                  <a:pt x="9006" y="6611"/>
                  <a:pt x="8466" y="9946"/>
                </a:cubicBezTo>
                <a:lnTo>
                  <a:pt x="1" y="9975"/>
                </a:lnTo>
                <a:close/>
              </a:path>
            </a:pathLst>
          </a:custGeom>
        </p:spPr>
      </p:pic>
      <p:pic>
        <p:nvPicPr>
          <p:cNvPr id="13" name="Espace réservé pour une image  37">
            <a:extLst>
              <a:ext uri="{FF2B5EF4-FFF2-40B4-BE49-F238E27FC236}">
                <a16:creationId xmlns:a16="http://schemas.microsoft.com/office/drawing/2014/main" id="{89AB7718-8662-4868-A0AA-7B573D6FC58B}"/>
              </a:ext>
            </a:extLst>
          </p:cNvPr>
          <p:cNvPicPr>
            <a:picLocks noChangeAspect="1"/>
          </p:cNvPicPr>
          <p:nvPr/>
        </p:nvPicPr>
        <p:blipFill>
          <a:blip r:embed="rId12" cstate="hqprint">
            <a:extLst>
              <a:ext uri="{28A0092B-C50C-407E-A947-70E740481C1C}">
                <a14:useLocalDpi xmlns:a14="http://schemas.microsoft.com/office/drawing/2010/main"/>
              </a:ext>
            </a:extLst>
          </a:blip>
          <a:srcRect/>
          <a:stretch>
            <a:fillRect/>
          </a:stretch>
        </p:blipFill>
        <p:spPr>
          <a:xfrm>
            <a:off x="2308226" y="3251528"/>
            <a:ext cx="3659276" cy="1318939"/>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11 w 10011"/>
              <a:gd name="connsiteY0" fmla="*/ 10000 h 10000"/>
              <a:gd name="connsiteX1" fmla="*/ 0 w 10011"/>
              <a:gd name="connsiteY1" fmla="*/ 0 h 10000"/>
              <a:gd name="connsiteX2" fmla="*/ 10011 w 10011"/>
              <a:gd name="connsiteY2" fmla="*/ 0 h 10000"/>
              <a:gd name="connsiteX3" fmla="*/ 8011 w 10011"/>
              <a:gd name="connsiteY3" fmla="*/ 10000 h 10000"/>
              <a:gd name="connsiteX4" fmla="*/ 11 w 10011"/>
              <a:gd name="connsiteY4" fmla="*/ 10000 h 10000"/>
              <a:gd name="connsiteX0" fmla="*/ 11 w 10011"/>
              <a:gd name="connsiteY0" fmla="*/ 10000 h 10116"/>
              <a:gd name="connsiteX1" fmla="*/ 0 w 10011"/>
              <a:gd name="connsiteY1" fmla="*/ 0 h 10116"/>
              <a:gd name="connsiteX2" fmla="*/ 10011 w 10011"/>
              <a:gd name="connsiteY2" fmla="*/ 0 h 10116"/>
              <a:gd name="connsiteX3" fmla="*/ 9421 w 10011"/>
              <a:gd name="connsiteY3" fmla="*/ 10116 h 10116"/>
              <a:gd name="connsiteX4" fmla="*/ 11 w 10011"/>
              <a:gd name="connsiteY4" fmla="*/ 10000 h 10116"/>
              <a:gd name="connsiteX0" fmla="*/ 11 w 10011"/>
              <a:gd name="connsiteY0" fmla="*/ 10000 h 10232"/>
              <a:gd name="connsiteX1" fmla="*/ 0 w 10011"/>
              <a:gd name="connsiteY1" fmla="*/ 0 h 10232"/>
              <a:gd name="connsiteX2" fmla="*/ 10011 w 10011"/>
              <a:gd name="connsiteY2" fmla="*/ 0 h 10232"/>
              <a:gd name="connsiteX3" fmla="*/ 9342 w 10011"/>
              <a:gd name="connsiteY3" fmla="*/ 10232 h 10232"/>
              <a:gd name="connsiteX4" fmla="*/ 11 w 10011"/>
              <a:gd name="connsiteY4" fmla="*/ 10000 h 10232"/>
              <a:gd name="connsiteX0" fmla="*/ 11 w 9976"/>
              <a:gd name="connsiteY0" fmla="*/ 10058 h 10290"/>
              <a:gd name="connsiteX1" fmla="*/ 0 w 9976"/>
              <a:gd name="connsiteY1" fmla="*/ 58 h 10290"/>
              <a:gd name="connsiteX2" fmla="*/ 9976 w 9976"/>
              <a:gd name="connsiteY2" fmla="*/ 0 h 10290"/>
              <a:gd name="connsiteX3" fmla="*/ 9342 w 9976"/>
              <a:gd name="connsiteY3" fmla="*/ 10290 h 10290"/>
              <a:gd name="connsiteX4" fmla="*/ 11 w 9976"/>
              <a:gd name="connsiteY4" fmla="*/ 10058 h 10290"/>
              <a:gd name="connsiteX0" fmla="*/ 0 w 10005"/>
              <a:gd name="connsiteY0" fmla="*/ 9933 h 10000"/>
              <a:gd name="connsiteX1" fmla="*/ 5 w 10005"/>
              <a:gd name="connsiteY1" fmla="*/ 56 h 10000"/>
              <a:gd name="connsiteX2" fmla="*/ 10005 w 10005"/>
              <a:gd name="connsiteY2" fmla="*/ 0 h 10000"/>
              <a:gd name="connsiteX3" fmla="*/ 9369 w 10005"/>
              <a:gd name="connsiteY3" fmla="*/ 10000 h 10000"/>
              <a:gd name="connsiteX4" fmla="*/ 0 w 10005"/>
              <a:gd name="connsiteY4" fmla="*/ 9933 h 10000"/>
              <a:gd name="connsiteX0" fmla="*/ 20 w 10025"/>
              <a:gd name="connsiteY0" fmla="*/ 9933 h 10000"/>
              <a:gd name="connsiteX1" fmla="*/ 0 w 10025"/>
              <a:gd name="connsiteY1" fmla="*/ 109 h 10000"/>
              <a:gd name="connsiteX2" fmla="*/ 10025 w 10025"/>
              <a:gd name="connsiteY2" fmla="*/ 0 h 10000"/>
              <a:gd name="connsiteX3" fmla="*/ 9389 w 10025"/>
              <a:gd name="connsiteY3" fmla="*/ 10000 h 10000"/>
              <a:gd name="connsiteX4" fmla="*/ 20 w 10025"/>
              <a:gd name="connsiteY4" fmla="*/ 9933 h 10000"/>
              <a:gd name="connsiteX0" fmla="*/ 20 w 9393"/>
              <a:gd name="connsiteY0" fmla="*/ 9833 h 9900"/>
              <a:gd name="connsiteX1" fmla="*/ 0 w 9393"/>
              <a:gd name="connsiteY1" fmla="*/ 9 h 9900"/>
              <a:gd name="connsiteX2" fmla="*/ 3697 w 9393"/>
              <a:gd name="connsiteY2" fmla="*/ 33 h 9900"/>
              <a:gd name="connsiteX3" fmla="*/ 9389 w 9393"/>
              <a:gd name="connsiteY3" fmla="*/ 9900 h 9900"/>
              <a:gd name="connsiteX4" fmla="*/ 20 w 9393"/>
              <a:gd name="connsiteY4" fmla="*/ 9833 h 9900"/>
              <a:gd name="connsiteX0" fmla="*/ 21 w 3936"/>
              <a:gd name="connsiteY0" fmla="*/ 9932 h 9932"/>
              <a:gd name="connsiteX1" fmla="*/ 0 w 3936"/>
              <a:gd name="connsiteY1" fmla="*/ 9 h 9932"/>
              <a:gd name="connsiteX2" fmla="*/ 3936 w 3936"/>
              <a:gd name="connsiteY2" fmla="*/ 33 h 9932"/>
              <a:gd name="connsiteX3" fmla="*/ 3310 w 3936"/>
              <a:gd name="connsiteY3" fmla="*/ 9820 h 9932"/>
              <a:gd name="connsiteX4" fmla="*/ 21 w 3936"/>
              <a:gd name="connsiteY4" fmla="*/ 9932 h 9932"/>
              <a:gd name="connsiteX0" fmla="*/ 53 w 10075"/>
              <a:gd name="connsiteY0" fmla="*/ 9996 h 9996"/>
              <a:gd name="connsiteX1" fmla="*/ 0 w 10075"/>
              <a:gd name="connsiteY1" fmla="*/ 5 h 9996"/>
              <a:gd name="connsiteX2" fmla="*/ 10075 w 10075"/>
              <a:gd name="connsiteY2" fmla="*/ 119 h 9996"/>
              <a:gd name="connsiteX3" fmla="*/ 8410 w 10075"/>
              <a:gd name="connsiteY3" fmla="*/ 9883 h 9996"/>
              <a:gd name="connsiteX4" fmla="*/ 53 w 10075"/>
              <a:gd name="connsiteY4" fmla="*/ 9996 h 9996"/>
              <a:gd name="connsiteX0" fmla="*/ 53 w 10037"/>
              <a:gd name="connsiteY0" fmla="*/ 10029 h 10029"/>
              <a:gd name="connsiteX1" fmla="*/ 0 w 10037"/>
              <a:gd name="connsiteY1" fmla="*/ 34 h 10029"/>
              <a:gd name="connsiteX2" fmla="*/ 10037 w 10037"/>
              <a:gd name="connsiteY2" fmla="*/ 0 h 10029"/>
              <a:gd name="connsiteX3" fmla="*/ 8347 w 10037"/>
              <a:gd name="connsiteY3" fmla="*/ 9916 h 10029"/>
              <a:gd name="connsiteX4" fmla="*/ 53 w 10037"/>
              <a:gd name="connsiteY4" fmla="*/ 10029 h 10029"/>
              <a:gd name="connsiteX0" fmla="*/ 53 w 10037"/>
              <a:gd name="connsiteY0" fmla="*/ 10029 h 10034"/>
              <a:gd name="connsiteX1" fmla="*/ 0 w 10037"/>
              <a:gd name="connsiteY1" fmla="*/ 34 h 10034"/>
              <a:gd name="connsiteX2" fmla="*/ 10037 w 10037"/>
              <a:gd name="connsiteY2" fmla="*/ 0 h 10034"/>
              <a:gd name="connsiteX3" fmla="*/ 8298 w 10037"/>
              <a:gd name="connsiteY3" fmla="*/ 10034 h 10034"/>
              <a:gd name="connsiteX4" fmla="*/ 53 w 10037"/>
              <a:gd name="connsiteY4" fmla="*/ 10029 h 10034"/>
              <a:gd name="connsiteX0" fmla="*/ 53 w 10037"/>
              <a:gd name="connsiteY0" fmla="*/ 10029 h 10029"/>
              <a:gd name="connsiteX1" fmla="*/ 0 w 10037"/>
              <a:gd name="connsiteY1" fmla="*/ 34 h 10029"/>
              <a:gd name="connsiteX2" fmla="*/ 10037 w 10037"/>
              <a:gd name="connsiteY2" fmla="*/ 0 h 10029"/>
              <a:gd name="connsiteX3" fmla="*/ 8335 w 10037"/>
              <a:gd name="connsiteY3" fmla="*/ 9975 h 10029"/>
              <a:gd name="connsiteX4" fmla="*/ 53 w 10037"/>
              <a:gd name="connsiteY4" fmla="*/ 10029 h 10029"/>
              <a:gd name="connsiteX0" fmla="*/ 53 w 9846"/>
              <a:gd name="connsiteY0" fmla="*/ 10029 h 10029"/>
              <a:gd name="connsiteX1" fmla="*/ 0 w 9846"/>
              <a:gd name="connsiteY1" fmla="*/ 34 h 10029"/>
              <a:gd name="connsiteX2" fmla="*/ 9846 w 9846"/>
              <a:gd name="connsiteY2" fmla="*/ 0 h 10029"/>
              <a:gd name="connsiteX3" fmla="*/ 8335 w 9846"/>
              <a:gd name="connsiteY3" fmla="*/ 9975 h 10029"/>
              <a:gd name="connsiteX4" fmla="*/ 53 w 9846"/>
              <a:gd name="connsiteY4" fmla="*/ 10029 h 10029"/>
              <a:gd name="connsiteX0" fmla="*/ 54 w 10014"/>
              <a:gd name="connsiteY0" fmla="*/ 9966 h 9966"/>
              <a:gd name="connsiteX1" fmla="*/ 0 w 10014"/>
              <a:gd name="connsiteY1" fmla="*/ 0 h 9966"/>
              <a:gd name="connsiteX2" fmla="*/ 10014 w 10014"/>
              <a:gd name="connsiteY2" fmla="*/ 3 h 9966"/>
              <a:gd name="connsiteX3" fmla="*/ 8465 w 10014"/>
              <a:gd name="connsiteY3" fmla="*/ 9912 h 9966"/>
              <a:gd name="connsiteX4" fmla="*/ 54 w 10014"/>
              <a:gd name="connsiteY4" fmla="*/ 9966 h 99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4" h="9966">
                <a:moveTo>
                  <a:pt x="54" y="9966"/>
                </a:moveTo>
                <a:cubicBezTo>
                  <a:pt x="44" y="6681"/>
                  <a:pt x="10" y="3285"/>
                  <a:pt x="0" y="0"/>
                </a:cubicBezTo>
                <a:lnTo>
                  <a:pt x="10014" y="3"/>
                </a:lnTo>
                <a:cubicBezTo>
                  <a:pt x="9476" y="3327"/>
                  <a:pt x="9006" y="6589"/>
                  <a:pt x="8465" y="9912"/>
                </a:cubicBezTo>
                <a:lnTo>
                  <a:pt x="54" y="9966"/>
                </a:lnTo>
                <a:close/>
              </a:path>
            </a:pathLst>
          </a:custGeom>
        </p:spPr>
      </p:pic>
      <p:pic>
        <p:nvPicPr>
          <p:cNvPr id="14" name="Espace réservé pour une image  48" descr="Une image contenant ciel, montagne, bâtiment, extérieur&#10;&#10;Description générée avec un niveau de confiance très élevé">
            <a:extLst>
              <a:ext uri="{FF2B5EF4-FFF2-40B4-BE49-F238E27FC236}">
                <a16:creationId xmlns:a16="http://schemas.microsoft.com/office/drawing/2014/main" id="{9F966320-9AD7-42B5-8E5A-5021AC8BA1D0}"/>
              </a:ext>
            </a:extLst>
          </p:cNvPr>
          <p:cNvPicPr>
            <a:picLocks noChangeAspect="1"/>
          </p:cNvPicPr>
          <p:nvPr/>
        </p:nvPicPr>
        <p:blipFill>
          <a:blip r:embed="rId13" cstate="hqprint">
            <a:extLst>
              <a:ext uri="{28A0092B-C50C-407E-A947-70E740481C1C}">
                <a14:useLocalDpi xmlns:a14="http://schemas.microsoft.com/office/drawing/2010/main"/>
              </a:ext>
            </a:extLst>
          </a:blip>
          <a:srcRect/>
          <a:stretch>
            <a:fillRect/>
          </a:stretch>
        </p:blipFill>
        <p:spPr>
          <a:xfrm>
            <a:off x="2033854" y="5079865"/>
            <a:ext cx="3334371" cy="1339200"/>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11 w 10011"/>
              <a:gd name="connsiteY0" fmla="*/ 10000 h 10000"/>
              <a:gd name="connsiteX1" fmla="*/ 0 w 10011"/>
              <a:gd name="connsiteY1" fmla="*/ 0 h 10000"/>
              <a:gd name="connsiteX2" fmla="*/ 10011 w 10011"/>
              <a:gd name="connsiteY2" fmla="*/ 0 h 10000"/>
              <a:gd name="connsiteX3" fmla="*/ 8011 w 10011"/>
              <a:gd name="connsiteY3" fmla="*/ 10000 h 10000"/>
              <a:gd name="connsiteX4" fmla="*/ 11 w 10011"/>
              <a:gd name="connsiteY4" fmla="*/ 10000 h 10000"/>
              <a:gd name="connsiteX0" fmla="*/ 11 w 10011"/>
              <a:gd name="connsiteY0" fmla="*/ 10000 h 10116"/>
              <a:gd name="connsiteX1" fmla="*/ 0 w 10011"/>
              <a:gd name="connsiteY1" fmla="*/ 0 h 10116"/>
              <a:gd name="connsiteX2" fmla="*/ 10011 w 10011"/>
              <a:gd name="connsiteY2" fmla="*/ 0 h 10116"/>
              <a:gd name="connsiteX3" fmla="*/ 9421 w 10011"/>
              <a:gd name="connsiteY3" fmla="*/ 10116 h 10116"/>
              <a:gd name="connsiteX4" fmla="*/ 11 w 10011"/>
              <a:gd name="connsiteY4" fmla="*/ 10000 h 10116"/>
              <a:gd name="connsiteX0" fmla="*/ 11 w 10011"/>
              <a:gd name="connsiteY0" fmla="*/ 10000 h 10232"/>
              <a:gd name="connsiteX1" fmla="*/ 0 w 10011"/>
              <a:gd name="connsiteY1" fmla="*/ 0 h 10232"/>
              <a:gd name="connsiteX2" fmla="*/ 10011 w 10011"/>
              <a:gd name="connsiteY2" fmla="*/ 0 h 10232"/>
              <a:gd name="connsiteX3" fmla="*/ 9342 w 10011"/>
              <a:gd name="connsiteY3" fmla="*/ 10232 h 10232"/>
              <a:gd name="connsiteX4" fmla="*/ 11 w 10011"/>
              <a:gd name="connsiteY4" fmla="*/ 10000 h 10232"/>
              <a:gd name="connsiteX0" fmla="*/ 11 w 9976"/>
              <a:gd name="connsiteY0" fmla="*/ 10058 h 10290"/>
              <a:gd name="connsiteX1" fmla="*/ 0 w 9976"/>
              <a:gd name="connsiteY1" fmla="*/ 58 h 10290"/>
              <a:gd name="connsiteX2" fmla="*/ 9976 w 9976"/>
              <a:gd name="connsiteY2" fmla="*/ 0 h 10290"/>
              <a:gd name="connsiteX3" fmla="*/ 9342 w 9976"/>
              <a:gd name="connsiteY3" fmla="*/ 10290 h 10290"/>
              <a:gd name="connsiteX4" fmla="*/ 11 w 9976"/>
              <a:gd name="connsiteY4" fmla="*/ 10058 h 10290"/>
              <a:gd name="connsiteX0" fmla="*/ 0 w 10005"/>
              <a:gd name="connsiteY0" fmla="*/ 9933 h 10000"/>
              <a:gd name="connsiteX1" fmla="*/ 5 w 10005"/>
              <a:gd name="connsiteY1" fmla="*/ 56 h 10000"/>
              <a:gd name="connsiteX2" fmla="*/ 10005 w 10005"/>
              <a:gd name="connsiteY2" fmla="*/ 0 h 10000"/>
              <a:gd name="connsiteX3" fmla="*/ 9369 w 10005"/>
              <a:gd name="connsiteY3" fmla="*/ 10000 h 10000"/>
              <a:gd name="connsiteX4" fmla="*/ 0 w 10005"/>
              <a:gd name="connsiteY4" fmla="*/ 9933 h 10000"/>
              <a:gd name="connsiteX0" fmla="*/ 20 w 10025"/>
              <a:gd name="connsiteY0" fmla="*/ 9933 h 10000"/>
              <a:gd name="connsiteX1" fmla="*/ 0 w 10025"/>
              <a:gd name="connsiteY1" fmla="*/ 109 h 10000"/>
              <a:gd name="connsiteX2" fmla="*/ 10025 w 10025"/>
              <a:gd name="connsiteY2" fmla="*/ 0 h 10000"/>
              <a:gd name="connsiteX3" fmla="*/ 9389 w 10025"/>
              <a:gd name="connsiteY3" fmla="*/ 10000 h 10000"/>
              <a:gd name="connsiteX4" fmla="*/ 20 w 10025"/>
              <a:gd name="connsiteY4" fmla="*/ 9933 h 10000"/>
              <a:gd name="connsiteX0" fmla="*/ 20 w 9393"/>
              <a:gd name="connsiteY0" fmla="*/ 9833 h 9900"/>
              <a:gd name="connsiteX1" fmla="*/ 0 w 9393"/>
              <a:gd name="connsiteY1" fmla="*/ 9 h 9900"/>
              <a:gd name="connsiteX2" fmla="*/ 3697 w 9393"/>
              <a:gd name="connsiteY2" fmla="*/ 33 h 9900"/>
              <a:gd name="connsiteX3" fmla="*/ 9389 w 9393"/>
              <a:gd name="connsiteY3" fmla="*/ 9900 h 9900"/>
              <a:gd name="connsiteX4" fmla="*/ 20 w 9393"/>
              <a:gd name="connsiteY4" fmla="*/ 9833 h 9900"/>
              <a:gd name="connsiteX0" fmla="*/ 21 w 3936"/>
              <a:gd name="connsiteY0" fmla="*/ 9932 h 9932"/>
              <a:gd name="connsiteX1" fmla="*/ 0 w 3936"/>
              <a:gd name="connsiteY1" fmla="*/ 9 h 9932"/>
              <a:gd name="connsiteX2" fmla="*/ 3936 w 3936"/>
              <a:gd name="connsiteY2" fmla="*/ 33 h 9932"/>
              <a:gd name="connsiteX3" fmla="*/ 3310 w 3936"/>
              <a:gd name="connsiteY3" fmla="*/ 9820 h 9932"/>
              <a:gd name="connsiteX4" fmla="*/ 21 w 3936"/>
              <a:gd name="connsiteY4" fmla="*/ 9932 h 9932"/>
              <a:gd name="connsiteX0" fmla="*/ 53 w 10075"/>
              <a:gd name="connsiteY0" fmla="*/ 9996 h 9996"/>
              <a:gd name="connsiteX1" fmla="*/ 0 w 10075"/>
              <a:gd name="connsiteY1" fmla="*/ 5 h 9996"/>
              <a:gd name="connsiteX2" fmla="*/ 10075 w 10075"/>
              <a:gd name="connsiteY2" fmla="*/ 119 h 9996"/>
              <a:gd name="connsiteX3" fmla="*/ 8410 w 10075"/>
              <a:gd name="connsiteY3" fmla="*/ 9883 h 9996"/>
              <a:gd name="connsiteX4" fmla="*/ 53 w 10075"/>
              <a:gd name="connsiteY4" fmla="*/ 9996 h 9996"/>
              <a:gd name="connsiteX0" fmla="*/ 53 w 10037"/>
              <a:gd name="connsiteY0" fmla="*/ 10029 h 10029"/>
              <a:gd name="connsiteX1" fmla="*/ 0 w 10037"/>
              <a:gd name="connsiteY1" fmla="*/ 34 h 10029"/>
              <a:gd name="connsiteX2" fmla="*/ 10037 w 10037"/>
              <a:gd name="connsiteY2" fmla="*/ 0 h 10029"/>
              <a:gd name="connsiteX3" fmla="*/ 8347 w 10037"/>
              <a:gd name="connsiteY3" fmla="*/ 9916 h 10029"/>
              <a:gd name="connsiteX4" fmla="*/ 53 w 10037"/>
              <a:gd name="connsiteY4" fmla="*/ 10029 h 10029"/>
              <a:gd name="connsiteX0" fmla="*/ 53 w 10037"/>
              <a:gd name="connsiteY0" fmla="*/ 10029 h 10034"/>
              <a:gd name="connsiteX1" fmla="*/ 0 w 10037"/>
              <a:gd name="connsiteY1" fmla="*/ 34 h 10034"/>
              <a:gd name="connsiteX2" fmla="*/ 10037 w 10037"/>
              <a:gd name="connsiteY2" fmla="*/ 0 h 10034"/>
              <a:gd name="connsiteX3" fmla="*/ 8298 w 10037"/>
              <a:gd name="connsiteY3" fmla="*/ 10034 h 10034"/>
              <a:gd name="connsiteX4" fmla="*/ 53 w 10037"/>
              <a:gd name="connsiteY4" fmla="*/ 10029 h 10034"/>
              <a:gd name="connsiteX0" fmla="*/ 53 w 10037"/>
              <a:gd name="connsiteY0" fmla="*/ 10029 h 10029"/>
              <a:gd name="connsiteX1" fmla="*/ 0 w 10037"/>
              <a:gd name="connsiteY1" fmla="*/ 34 h 10029"/>
              <a:gd name="connsiteX2" fmla="*/ 10037 w 10037"/>
              <a:gd name="connsiteY2" fmla="*/ 0 h 10029"/>
              <a:gd name="connsiteX3" fmla="*/ 8335 w 10037"/>
              <a:gd name="connsiteY3" fmla="*/ 9975 h 10029"/>
              <a:gd name="connsiteX4" fmla="*/ 53 w 10037"/>
              <a:gd name="connsiteY4" fmla="*/ 10029 h 10029"/>
              <a:gd name="connsiteX0" fmla="*/ 53 w 9846"/>
              <a:gd name="connsiteY0" fmla="*/ 10029 h 10029"/>
              <a:gd name="connsiteX1" fmla="*/ 0 w 9846"/>
              <a:gd name="connsiteY1" fmla="*/ 34 h 10029"/>
              <a:gd name="connsiteX2" fmla="*/ 9846 w 9846"/>
              <a:gd name="connsiteY2" fmla="*/ 0 h 10029"/>
              <a:gd name="connsiteX3" fmla="*/ 8335 w 9846"/>
              <a:gd name="connsiteY3" fmla="*/ 9975 h 10029"/>
              <a:gd name="connsiteX4" fmla="*/ 53 w 9846"/>
              <a:gd name="connsiteY4" fmla="*/ 10029 h 10029"/>
              <a:gd name="connsiteX0" fmla="*/ 54 w 10014"/>
              <a:gd name="connsiteY0" fmla="*/ 9966 h 9966"/>
              <a:gd name="connsiteX1" fmla="*/ 0 w 10014"/>
              <a:gd name="connsiteY1" fmla="*/ 0 h 9966"/>
              <a:gd name="connsiteX2" fmla="*/ 10014 w 10014"/>
              <a:gd name="connsiteY2" fmla="*/ 3 h 9966"/>
              <a:gd name="connsiteX3" fmla="*/ 8465 w 10014"/>
              <a:gd name="connsiteY3" fmla="*/ 9912 h 9966"/>
              <a:gd name="connsiteX4" fmla="*/ 54 w 10014"/>
              <a:gd name="connsiteY4" fmla="*/ 9966 h 99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4" h="9966">
                <a:moveTo>
                  <a:pt x="54" y="9966"/>
                </a:moveTo>
                <a:cubicBezTo>
                  <a:pt x="44" y="6681"/>
                  <a:pt x="10" y="3285"/>
                  <a:pt x="0" y="0"/>
                </a:cubicBezTo>
                <a:lnTo>
                  <a:pt x="10014" y="3"/>
                </a:lnTo>
                <a:cubicBezTo>
                  <a:pt x="9476" y="3327"/>
                  <a:pt x="9006" y="6589"/>
                  <a:pt x="8465" y="9912"/>
                </a:cubicBezTo>
                <a:lnTo>
                  <a:pt x="54" y="9966"/>
                </a:lnTo>
                <a:close/>
              </a:path>
            </a:pathLst>
          </a:custGeom>
        </p:spPr>
      </p:pic>
      <p:pic>
        <p:nvPicPr>
          <p:cNvPr id="15" name="Espace réservé pour une image  46" descr="Une image contenant bâtiment, extérieur, clôture&#10;&#10;Description générée avec un niveau de confiance très élevé">
            <a:extLst>
              <a:ext uri="{FF2B5EF4-FFF2-40B4-BE49-F238E27FC236}">
                <a16:creationId xmlns:a16="http://schemas.microsoft.com/office/drawing/2014/main" id="{625D738E-C3D3-4A2C-B602-D8F06D71D546}"/>
              </a:ext>
            </a:extLst>
          </p:cNvPr>
          <p:cNvPicPr>
            <a:picLocks noChangeAspect="1"/>
          </p:cNvPicPr>
          <p:nvPr/>
        </p:nvPicPr>
        <p:blipFill>
          <a:blip r:embed="rId14" cstate="hqprint">
            <a:extLst>
              <a:ext uri="{28A0092B-C50C-407E-A947-70E740481C1C}">
                <a14:useLocalDpi xmlns:a14="http://schemas.microsoft.com/office/drawing/2010/main"/>
              </a:ext>
            </a:extLst>
          </a:blip>
          <a:srcRect/>
          <a:stretch>
            <a:fillRect/>
          </a:stretch>
        </p:blipFill>
        <p:spPr>
          <a:xfrm>
            <a:off x="-1" y="5079865"/>
            <a:ext cx="2792259" cy="1339200"/>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11 w 10011"/>
              <a:gd name="connsiteY0" fmla="*/ 10000 h 10000"/>
              <a:gd name="connsiteX1" fmla="*/ 0 w 10011"/>
              <a:gd name="connsiteY1" fmla="*/ 0 h 10000"/>
              <a:gd name="connsiteX2" fmla="*/ 10011 w 10011"/>
              <a:gd name="connsiteY2" fmla="*/ 0 h 10000"/>
              <a:gd name="connsiteX3" fmla="*/ 8011 w 10011"/>
              <a:gd name="connsiteY3" fmla="*/ 10000 h 10000"/>
              <a:gd name="connsiteX4" fmla="*/ 11 w 10011"/>
              <a:gd name="connsiteY4" fmla="*/ 10000 h 10000"/>
              <a:gd name="connsiteX0" fmla="*/ 11 w 10011"/>
              <a:gd name="connsiteY0" fmla="*/ 10000 h 10116"/>
              <a:gd name="connsiteX1" fmla="*/ 0 w 10011"/>
              <a:gd name="connsiteY1" fmla="*/ 0 h 10116"/>
              <a:gd name="connsiteX2" fmla="*/ 10011 w 10011"/>
              <a:gd name="connsiteY2" fmla="*/ 0 h 10116"/>
              <a:gd name="connsiteX3" fmla="*/ 9421 w 10011"/>
              <a:gd name="connsiteY3" fmla="*/ 10116 h 10116"/>
              <a:gd name="connsiteX4" fmla="*/ 11 w 10011"/>
              <a:gd name="connsiteY4" fmla="*/ 10000 h 10116"/>
              <a:gd name="connsiteX0" fmla="*/ 11 w 10011"/>
              <a:gd name="connsiteY0" fmla="*/ 10000 h 10232"/>
              <a:gd name="connsiteX1" fmla="*/ 0 w 10011"/>
              <a:gd name="connsiteY1" fmla="*/ 0 h 10232"/>
              <a:gd name="connsiteX2" fmla="*/ 10011 w 10011"/>
              <a:gd name="connsiteY2" fmla="*/ 0 h 10232"/>
              <a:gd name="connsiteX3" fmla="*/ 9342 w 10011"/>
              <a:gd name="connsiteY3" fmla="*/ 10232 h 10232"/>
              <a:gd name="connsiteX4" fmla="*/ 11 w 10011"/>
              <a:gd name="connsiteY4" fmla="*/ 10000 h 10232"/>
              <a:gd name="connsiteX0" fmla="*/ 11 w 9976"/>
              <a:gd name="connsiteY0" fmla="*/ 10058 h 10290"/>
              <a:gd name="connsiteX1" fmla="*/ 0 w 9976"/>
              <a:gd name="connsiteY1" fmla="*/ 58 h 10290"/>
              <a:gd name="connsiteX2" fmla="*/ 9976 w 9976"/>
              <a:gd name="connsiteY2" fmla="*/ 0 h 10290"/>
              <a:gd name="connsiteX3" fmla="*/ 9342 w 9976"/>
              <a:gd name="connsiteY3" fmla="*/ 10290 h 10290"/>
              <a:gd name="connsiteX4" fmla="*/ 11 w 9976"/>
              <a:gd name="connsiteY4" fmla="*/ 10058 h 10290"/>
              <a:gd name="connsiteX0" fmla="*/ 0 w 10005"/>
              <a:gd name="connsiteY0" fmla="*/ 9933 h 10000"/>
              <a:gd name="connsiteX1" fmla="*/ 5 w 10005"/>
              <a:gd name="connsiteY1" fmla="*/ 56 h 10000"/>
              <a:gd name="connsiteX2" fmla="*/ 10005 w 10005"/>
              <a:gd name="connsiteY2" fmla="*/ 0 h 10000"/>
              <a:gd name="connsiteX3" fmla="*/ 9369 w 10005"/>
              <a:gd name="connsiteY3" fmla="*/ 10000 h 10000"/>
              <a:gd name="connsiteX4" fmla="*/ 0 w 10005"/>
              <a:gd name="connsiteY4" fmla="*/ 9933 h 10000"/>
              <a:gd name="connsiteX0" fmla="*/ 20 w 10025"/>
              <a:gd name="connsiteY0" fmla="*/ 9933 h 10000"/>
              <a:gd name="connsiteX1" fmla="*/ 0 w 10025"/>
              <a:gd name="connsiteY1" fmla="*/ 109 h 10000"/>
              <a:gd name="connsiteX2" fmla="*/ 10025 w 10025"/>
              <a:gd name="connsiteY2" fmla="*/ 0 h 10000"/>
              <a:gd name="connsiteX3" fmla="*/ 9389 w 10025"/>
              <a:gd name="connsiteY3" fmla="*/ 10000 h 10000"/>
              <a:gd name="connsiteX4" fmla="*/ 20 w 10025"/>
              <a:gd name="connsiteY4" fmla="*/ 9933 h 10000"/>
              <a:gd name="connsiteX0" fmla="*/ 20 w 9393"/>
              <a:gd name="connsiteY0" fmla="*/ 9833 h 9900"/>
              <a:gd name="connsiteX1" fmla="*/ 0 w 9393"/>
              <a:gd name="connsiteY1" fmla="*/ 9 h 9900"/>
              <a:gd name="connsiteX2" fmla="*/ 3697 w 9393"/>
              <a:gd name="connsiteY2" fmla="*/ 33 h 9900"/>
              <a:gd name="connsiteX3" fmla="*/ 9389 w 9393"/>
              <a:gd name="connsiteY3" fmla="*/ 9900 h 9900"/>
              <a:gd name="connsiteX4" fmla="*/ 20 w 9393"/>
              <a:gd name="connsiteY4" fmla="*/ 9833 h 9900"/>
              <a:gd name="connsiteX0" fmla="*/ 21 w 3936"/>
              <a:gd name="connsiteY0" fmla="*/ 9932 h 9932"/>
              <a:gd name="connsiteX1" fmla="*/ 0 w 3936"/>
              <a:gd name="connsiteY1" fmla="*/ 9 h 9932"/>
              <a:gd name="connsiteX2" fmla="*/ 3936 w 3936"/>
              <a:gd name="connsiteY2" fmla="*/ 33 h 9932"/>
              <a:gd name="connsiteX3" fmla="*/ 3310 w 3936"/>
              <a:gd name="connsiteY3" fmla="*/ 9820 h 9932"/>
              <a:gd name="connsiteX4" fmla="*/ 21 w 3936"/>
              <a:gd name="connsiteY4" fmla="*/ 9932 h 9932"/>
              <a:gd name="connsiteX0" fmla="*/ 53 w 10075"/>
              <a:gd name="connsiteY0" fmla="*/ 9996 h 9996"/>
              <a:gd name="connsiteX1" fmla="*/ 0 w 10075"/>
              <a:gd name="connsiteY1" fmla="*/ 5 h 9996"/>
              <a:gd name="connsiteX2" fmla="*/ 10075 w 10075"/>
              <a:gd name="connsiteY2" fmla="*/ 119 h 9996"/>
              <a:gd name="connsiteX3" fmla="*/ 8410 w 10075"/>
              <a:gd name="connsiteY3" fmla="*/ 9883 h 9996"/>
              <a:gd name="connsiteX4" fmla="*/ 53 w 10075"/>
              <a:gd name="connsiteY4" fmla="*/ 9996 h 9996"/>
              <a:gd name="connsiteX0" fmla="*/ 53 w 10037"/>
              <a:gd name="connsiteY0" fmla="*/ 10029 h 10029"/>
              <a:gd name="connsiteX1" fmla="*/ 0 w 10037"/>
              <a:gd name="connsiteY1" fmla="*/ 34 h 10029"/>
              <a:gd name="connsiteX2" fmla="*/ 10037 w 10037"/>
              <a:gd name="connsiteY2" fmla="*/ 0 h 10029"/>
              <a:gd name="connsiteX3" fmla="*/ 8347 w 10037"/>
              <a:gd name="connsiteY3" fmla="*/ 9916 h 10029"/>
              <a:gd name="connsiteX4" fmla="*/ 53 w 10037"/>
              <a:gd name="connsiteY4" fmla="*/ 10029 h 10029"/>
              <a:gd name="connsiteX0" fmla="*/ 53 w 10037"/>
              <a:gd name="connsiteY0" fmla="*/ 10029 h 10034"/>
              <a:gd name="connsiteX1" fmla="*/ 0 w 10037"/>
              <a:gd name="connsiteY1" fmla="*/ 34 h 10034"/>
              <a:gd name="connsiteX2" fmla="*/ 10037 w 10037"/>
              <a:gd name="connsiteY2" fmla="*/ 0 h 10034"/>
              <a:gd name="connsiteX3" fmla="*/ 8298 w 10037"/>
              <a:gd name="connsiteY3" fmla="*/ 10034 h 10034"/>
              <a:gd name="connsiteX4" fmla="*/ 53 w 10037"/>
              <a:gd name="connsiteY4" fmla="*/ 10029 h 10034"/>
              <a:gd name="connsiteX0" fmla="*/ 53 w 10037"/>
              <a:gd name="connsiteY0" fmla="*/ 10029 h 10029"/>
              <a:gd name="connsiteX1" fmla="*/ 0 w 10037"/>
              <a:gd name="connsiteY1" fmla="*/ 34 h 10029"/>
              <a:gd name="connsiteX2" fmla="*/ 10037 w 10037"/>
              <a:gd name="connsiteY2" fmla="*/ 0 h 10029"/>
              <a:gd name="connsiteX3" fmla="*/ 8335 w 10037"/>
              <a:gd name="connsiteY3" fmla="*/ 9975 h 10029"/>
              <a:gd name="connsiteX4" fmla="*/ 53 w 10037"/>
              <a:gd name="connsiteY4" fmla="*/ 10029 h 10029"/>
              <a:gd name="connsiteX0" fmla="*/ 53 w 9846"/>
              <a:gd name="connsiteY0" fmla="*/ 10029 h 10029"/>
              <a:gd name="connsiteX1" fmla="*/ 0 w 9846"/>
              <a:gd name="connsiteY1" fmla="*/ 34 h 10029"/>
              <a:gd name="connsiteX2" fmla="*/ 9846 w 9846"/>
              <a:gd name="connsiteY2" fmla="*/ 0 h 10029"/>
              <a:gd name="connsiteX3" fmla="*/ 8335 w 9846"/>
              <a:gd name="connsiteY3" fmla="*/ 9975 h 10029"/>
              <a:gd name="connsiteX4" fmla="*/ 53 w 9846"/>
              <a:gd name="connsiteY4" fmla="*/ 10029 h 10029"/>
              <a:gd name="connsiteX0" fmla="*/ 54 w 10014"/>
              <a:gd name="connsiteY0" fmla="*/ 9966 h 9966"/>
              <a:gd name="connsiteX1" fmla="*/ 0 w 10014"/>
              <a:gd name="connsiteY1" fmla="*/ 0 h 9966"/>
              <a:gd name="connsiteX2" fmla="*/ 10014 w 10014"/>
              <a:gd name="connsiteY2" fmla="*/ 3 h 9966"/>
              <a:gd name="connsiteX3" fmla="*/ 8465 w 10014"/>
              <a:gd name="connsiteY3" fmla="*/ 9912 h 9966"/>
              <a:gd name="connsiteX4" fmla="*/ 54 w 10014"/>
              <a:gd name="connsiteY4" fmla="*/ 9966 h 9966"/>
              <a:gd name="connsiteX0" fmla="*/ 1 w 10013"/>
              <a:gd name="connsiteY0" fmla="*/ 9975 h 9975"/>
              <a:gd name="connsiteX1" fmla="*/ 13 w 10013"/>
              <a:gd name="connsiteY1" fmla="*/ 0 h 9975"/>
              <a:gd name="connsiteX2" fmla="*/ 10013 w 10013"/>
              <a:gd name="connsiteY2" fmla="*/ 3 h 9975"/>
              <a:gd name="connsiteX3" fmla="*/ 8466 w 10013"/>
              <a:gd name="connsiteY3" fmla="*/ 9946 h 9975"/>
              <a:gd name="connsiteX4" fmla="*/ 1 w 10013"/>
              <a:gd name="connsiteY4" fmla="*/ 9975 h 9975"/>
              <a:gd name="connsiteX0" fmla="*/ 1 w 10000"/>
              <a:gd name="connsiteY0" fmla="*/ 10000 h 10000"/>
              <a:gd name="connsiteX1" fmla="*/ 1964 w 10000"/>
              <a:gd name="connsiteY1" fmla="*/ 0 h 10000"/>
              <a:gd name="connsiteX2" fmla="*/ 10000 w 10000"/>
              <a:gd name="connsiteY2" fmla="*/ 3 h 10000"/>
              <a:gd name="connsiteX3" fmla="*/ 8455 w 10000"/>
              <a:gd name="connsiteY3" fmla="*/ 9971 h 10000"/>
              <a:gd name="connsiteX4" fmla="*/ 1 w 10000"/>
              <a:gd name="connsiteY4" fmla="*/ 10000 h 10000"/>
              <a:gd name="connsiteX0" fmla="*/ 2 w 8050"/>
              <a:gd name="connsiteY0" fmla="*/ 10000 h 10000"/>
              <a:gd name="connsiteX1" fmla="*/ 14 w 8050"/>
              <a:gd name="connsiteY1" fmla="*/ 0 h 10000"/>
              <a:gd name="connsiteX2" fmla="*/ 8050 w 8050"/>
              <a:gd name="connsiteY2" fmla="*/ 3 h 10000"/>
              <a:gd name="connsiteX3" fmla="*/ 6505 w 8050"/>
              <a:gd name="connsiteY3" fmla="*/ 9971 h 10000"/>
              <a:gd name="connsiteX4" fmla="*/ 2 w 8050"/>
              <a:gd name="connsiteY4" fmla="*/ 10000 h 10000"/>
              <a:gd name="connsiteX0" fmla="*/ 1 w 9999"/>
              <a:gd name="connsiteY0" fmla="*/ 9997 h 9997"/>
              <a:gd name="connsiteX1" fmla="*/ 1085 w 9999"/>
              <a:gd name="connsiteY1" fmla="*/ 38 h 9997"/>
              <a:gd name="connsiteX2" fmla="*/ 9999 w 9999"/>
              <a:gd name="connsiteY2" fmla="*/ 0 h 9997"/>
              <a:gd name="connsiteX3" fmla="*/ 8080 w 9999"/>
              <a:gd name="connsiteY3" fmla="*/ 9968 h 9997"/>
              <a:gd name="connsiteX4" fmla="*/ 1 w 9999"/>
              <a:gd name="connsiteY4" fmla="*/ 9997 h 9997"/>
              <a:gd name="connsiteX0" fmla="*/ 4 w 8915"/>
              <a:gd name="connsiteY0" fmla="*/ 10000 h 10000"/>
              <a:gd name="connsiteX1" fmla="*/ 0 w 8915"/>
              <a:gd name="connsiteY1" fmla="*/ 38 h 10000"/>
              <a:gd name="connsiteX2" fmla="*/ 8915 w 8915"/>
              <a:gd name="connsiteY2" fmla="*/ 0 h 10000"/>
              <a:gd name="connsiteX3" fmla="*/ 6996 w 8915"/>
              <a:gd name="connsiteY3" fmla="*/ 9971 h 10000"/>
              <a:gd name="connsiteX4" fmla="*/ 4 w 8915"/>
              <a:gd name="connsiteY4" fmla="*/ 10000 h 10000"/>
              <a:gd name="connsiteX0" fmla="*/ 1 w 9997"/>
              <a:gd name="connsiteY0" fmla="*/ 10000 h 10000"/>
              <a:gd name="connsiteX1" fmla="*/ 1286 w 9997"/>
              <a:gd name="connsiteY1" fmla="*/ 38 h 10000"/>
              <a:gd name="connsiteX2" fmla="*/ 9997 w 9997"/>
              <a:gd name="connsiteY2" fmla="*/ 0 h 10000"/>
              <a:gd name="connsiteX3" fmla="*/ 7844 w 9997"/>
              <a:gd name="connsiteY3" fmla="*/ 9971 h 10000"/>
              <a:gd name="connsiteX4" fmla="*/ 1 w 9997"/>
              <a:gd name="connsiteY4" fmla="*/ 10000 h 10000"/>
              <a:gd name="connsiteX0" fmla="*/ 5 w 8715"/>
              <a:gd name="connsiteY0" fmla="*/ 10037 h 10037"/>
              <a:gd name="connsiteX1" fmla="*/ 1 w 8715"/>
              <a:gd name="connsiteY1" fmla="*/ 38 h 10037"/>
              <a:gd name="connsiteX2" fmla="*/ 8715 w 8715"/>
              <a:gd name="connsiteY2" fmla="*/ 0 h 10037"/>
              <a:gd name="connsiteX3" fmla="*/ 6561 w 8715"/>
              <a:gd name="connsiteY3" fmla="*/ 9971 h 10037"/>
              <a:gd name="connsiteX4" fmla="*/ 5 w 8715"/>
              <a:gd name="connsiteY4" fmla="*/ 10037 h 10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5" h="10037">
                <a:moveTo>
                  <a:pt x="5" y="10037"/>
                </a:moveTo>
                <a:cubicBezTo>
                  <a:pt x="-8" y="6732"/>
                  <a:pt x="16" y="3343"/>
                  <a:pt x="1" y="38"/>
                </a:cubicBezTo>
                <a:lnTo>
                  <a:pt x="8715" y="0"/>
                </a:lnTo>
                <a:cubicBezTo>
                  <a:pt x="7968" y="3344"/>
                  <a:pt x="7313" y="6627"/>
                  <a:pt x="6561" y="9971"/>
                </a:cubicBezTo>
                <a:lnTo>
                  <a:pt x="5" y="10037"/>
                </a:lnTo>
                <a:close/>
              </a:path>
            </a:pathLst>
          </a:custGeom>
        </p:spPr>
      </p:pic>
      <p:pic>
        <p:nvPicPr>
          <p:cNvPr id="16" name="Espace réservé pour une image  29">
            <a:extLst>
              <a:ext uri="{FF2B5EF4-FFF2-40B4-BE49-F238E27FC236}">
                <a16:creationId xmlns:a16="http://schemas.microsoft.com/office/drawing/2014/main" id="{5A26481B-68F3-4AF5-98F8-761A9518CFAB}"/>
              </a:ext>
            </a:extLst>
          </p:cNvPr>
          <p:cNvPicPr>
            <a:picLocks noChangeAspect="1"/>
          </p:cNvPicPr>
          <p:nvPr/>
        </p:nvPicPr>
        <p:blipFill>
          <a:blip r:embed="rId15" cstate="hqprint">
            <a:extLst>
              <a:ext uri="{28A0092B-C50C-407E-A947-70E740481C1C}">
                <a14:useLocalDpi xmlns:a14="http://schemas.microsoft.com/office/drawing/2010/main"/>
              </a:ext>
            </a:extLst>
          </a:blip>
          <a:srcRect/>
          <a:stretch>
            <a:fillRect/>
          </a:stretch>
        </p:blipFill>
        <p:spPr>
          <a:xfrm>
            <a:off x="-2" y="3252198"/>
            <a:ext cx="2932986" cy="1317600"/>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11 w 10011"/>
              <a:gd name="connsiteY0" fmla="*/ 10000 h 10000"/>
              <a:gd name="connsiteX1" fmla="*/ 0 w 10011"/>
              <a:gd name="connsiteY1" fmla="*/ 0 h 10000"/>
              <a:gd name="connsiteX2" fmla="*/ 10011 w 10011"/>
              <a:gd name="connsiteY2" fmla="*/ 0 h 10000"/>
              <a:gd name="connsiteX3" fmla="*/ 8011 w 10011"/>
              <a:gd name="connsiteY3" fmla="*/ 10000 h 10000"/>
              <a:gd name="connsiteX4" fmla="*/ 11 w 10011"/>
              <a:gd name="connsiteY4" fmla="*/ 10000 h 10000"/>
              <a:gd name="connsiteX0" fmla="*/ 11 w 10011"/>
              <a:gd name="connsiteY0" fmla="*/ 10000 h 10116"/>
              <a:gd name="connsiteX1" fmla="*/ 0 w 10011"/>
              <a:gd name="connsiteY1" fmla="*/ 0 h 10116"/>
              <a:gd name="connsiteX2" fmla="*/ 10011 w 10011"/>
              <a:gd name="connsiteY2" fmla="*/ 0 h 10116"/>
              <a:gd name="connsiteX3" fmla="*/ 9421 w 10011"/>
              <a:gd name="connsiteY3" fmla="*/ 10116 h 10116"/>
              <a:gd name="connsiteX4" fmla="*/ 11 w 10011"/>
              <a:gd name="connsiteY4" fmla="*/ 10000 h 10116"/>
              <a:gd name="connsiteX0" fmla="*/ 11 w 10011"/>
              <a:gd name="connsiteY0" fmla="*/ 10000 h 10232"/>
              <a:gd name="connsiteX1" fmla="*/ 0 w 10011"/>
              <a:gd name="connsiteY1" fmla="*/ 0 h 10232"/>
              <a:gd name="connsiteX2" fmla="*/ 10011 w 10011"/>
              <a:gd name="connsiteY2" fmla="*/ 0 h 10232"/>
              <a:gd name="connsiteX3" fmla="*/ 9342 w 10011"/>
              <a:gd name="connsiteY3" fmla="*/ 10232 h 10232"/>
              <a:gd name="connsiteX4" fmla="*/ 11 w 10011"/>
              <a:gd name="connsiteY4" fmla="*/ 10000 h 10232"/>
              <a:gd name="connsiteX0" fmla="*/ 11 w 9976"/>
              <a:gd name="connsiteY0" fmla="*/ 10058 h 10290"/>
              <a:gd name="connsiteX1" fmla="*/ 0 w 9976"/>
              <a:gd name="connsiteY1" fmla="*/ 58 h 10290"/>
              <a:gd name="connsiteX2" fmla="*/ 9976 w 9976"/>
              <a:gd name="connsiteY2" fmla="*/ 0 h 10290"/>
              <a:gd name="connsiteX3" fmla="*/ 9342 w 9976"/>
              <a:gd name="connsiteY3" fmla="*/ 10290 h 10290"/>
              <a:gd name="connsiteX4" fmla="*/ 11 w 9976"/>
              <a:gd name="connsiteY4" fmla="*/ 10058 h 10290"/>
              <a:gd name="connsiteX0" fmla="*/ 0 w 10005"/>
              <a:gd name="connsiteY0" fmla="*/ 9933 h 10000"/>
              <a:gd name="connsiteX1" fmla="*/ 5 w 10005"/>
              <a:gd name="connsiteY1" fmla="*/ 56 h 10000"/>
              <a:gd name="connsiteX2" fmla="*/ 10005 w 10005"/>
              <a:gd name="connsiteY2" fmla="*/ 0 h 10000"/>
              <a:gd name="connsiteX3" fmla="*/ 9369 w 10005"/>
              <a:gd name="connsiteY3" fmla="*/ 10000 h 10000"/>
              <a:gd name="connsiteX4" fmla="*/ 0 w 10005"/>
              <a:gd name="connsiteY4" fmla="*/ 9933 h 10000"/>
              <a:gd name="connsiteX0" fmla="*/ 20 w 10025"/>
              <a:gd name="connsiteY0" fmla="*/ 9933 h 10000"/>
              <a:gd name="connsiteX1" fmla="*/ 0 w 10025"/>
              <a:gd name="connsiteY1" fmla="*/ 109 h 10000"/>
              <a:gd name="connsiteX2" fmla="*/ 10025 w 10025"/>
              <a:gd name="connsiteY2" fmla="*/ 0 h 10000"/>
              <a:gd name="connsiteX3" fmla="*/ 9389 w 10025"/>
              <a:gd name="connsiteY3" fmla="*/ 10000 h 10000"/>
              <a:gd name="connsiteX4" fmla="*/ 20 w 10025"/>
              <a:gd name="connsiteY4" fmla="*/ 9933 h 10000"/>
              <a:gd name="connsiteX0" fmla="*/ 20 w 9393"/>
              <a:gd name="connsiteY0" fmla="*/ 9833 h 9900"/>
              <a:gd name="connsiteX1" fmla="*/ 0 w 9393"/>
              <a:gd name="connsiteY1" fmla="*/ 9 h 9900"/>
              <a:gd name="connsiteX2" fmla="*/ 3697 w 9393"/>
              <a:gd name="connsiteY2" fmla="*/ 33 h 9900"/>
              <a:gd name="connsiteX3" fmla="*/ 9389 w 9393"/>
              <a:gd name="connsiteY3" fmla="*/ 9900 h 9900"/>
              <a:gd name="connsiteX4" fmla="*/ 20 w 9393"/>
              <a:gd name="connsiteY4" fmla="*/ 9833 h 9900"/>
              <a:gd name="connsiteX0" fmla="*/ 21 w 3936"/>
              <a:gd name="connsiteY0" fmla="*/ 9932 h 9932"/>
              <a:gd name="connsiteX1" fmla="*/ 0 w 3936"/>
              <a:gd name="connsiteY1" fmla="*/ 9 h 9932"/>
              <a:gd name="connsiteX2" fmla="*/ 3936 w 3936"/>
              <a:gd name="connsiteY2" fmla="*/ 33 h 9932"/>
              <a:gd name="connsiteX3" fmla="*/ 3310 w 3936"/>
              <a:gd name="connsiteY3" fmla="*/ 9820 h 9932"/>
              <a:gd name="connsiteX4" fmla="*/ 21 w 3936"/>
              <a:gd name="connsiteY4" fmla="*/ 9932 h 9932"/>
              <a:gd name="connsiteX0" fmla="*/ 53 w 10075"/>
              <a:gd name="connsiteY0" fmla="*/ 9996 h 9996"/>
              <a:gd name="connsiteX1" fmla="*/ 0 w 10075"/>
              <a:gd name="connsiteY1" fmla="*/ 5 h 9996"/>
              <a:gd name="connsiteX2" fmla="*/ 10075 w 10075"/>
              <a:gd name="connsiteY2" fmla="*/ 119 h 9996"/>
              <a:gd name="connsiteX3" fmla="*/ 8410 w 10075"/>
              <a:gd name="connsiteY3" fmla="*/ 9883 h 9996"/>
              <a:gd name="connsiteX4" fmla="*/ 53 w 10075"/>
              <a:gd name="connsiteY4" fmla="*/ 9996 h 9996"/>
              <a:gd name="connsiteX0" fmla="*/ 53 w 10037"/>
              <a:gd name="connsiteY0" fmla="*/ 10029 h 10029"/>
              <a:gd name="connsiteX1" fmla="*/ 0 w 10037"/>
              <a:gd name="connsiteY1" fmla="*/ 34 h 10029"/>
              <a:gd name="connsiteX2" fmla="*/ 10037 w 10037"/>
              <a:gd name="connsiteY2" fmla="*/ 0 h 10029"/>
              <a:gd name="connsiteX3" fmla="*/ 8347 w 10037"/>
              <a:gd name="connsiteY3" fmla="*/ 9916 h 10029"/>
              <a:gd name="connsiteX4" fmla="*/ 53 w 10037"/>
              <a:gd name="connsiteY4" fmla="*/ 10029 h 10029"/>
              <a:gd name="connsiteX0" fmla="*/ 53 w 10037"/>
              <a:gd name="connsiteY0" fmla="*/ 10029 h 10034"/>
              <a:gd name="connsiteX1" fmla="*/ 0 w 10037"/>
              <a:gd name="connsiteY1" fmla="*/ 34 h 10034"/>
              <a:gd name="connsiteX2" fmla="*/ 10037 w 10037"/>
              <a:gd name="connsiteY2" fmla="*/ 0 h 10034"/>
              <a:gd name="connsiteX3" fmla="*/ 8298 w 10037"/>
              <a:gd name="connsiteY3" fmla="*/ 10034 h 10034"/>
              <a:gd name="connsiteX4" fmla="*/ 53 w 10037"/>
              <a:gd name="connsiteY4" fmla="*/ 10029 h 10034"/>
              <a:gd name="connsiteX0" fmla="*/ 53 w 10037"/>
              <a:gd name="connsiteY0" fmla="*/ 10029 h 10029"/>
              <a:gd name="connsiteX1" fmla="*/ 0 w 10037"/>
              <a:gd name="connsiteY1" fmla="*/ 34 h 10029"/>
              <a:gd name="connsiteX2" fmla="*/ 10037 w 10037"/>
              <a:gd name="connsiteY2" fmla="*/ 0 h 10029"/>
              <a:gd name="connsiteX3" fmla="*/ 8335 w 10037"/>
              <a:gd name="connsiteY3" fmla="*/ 9975 h 10029"/>
              <a:gd name="connsiteX4" fmla="*/ 53 w 10037"/>
              <a:gd name="connsiteY4" fmla="*/ 10029 h 10029"/>
              <a:gd name="connsiteX0" fmla="*/ 53 w 9846"/>
              <a:gd name="connsiteY0" fmla="*/ 10029 h 10029"/>
              <a:gd name="connsiteX1" fmla="*/ 0 w 9846"/>
              <a:gd name="connsiteY1" fmla="*/ 34 h 10029"/>
              <a:gd name="connsiteX2" fmla="*/ 9846 w 9846"/>
              <a:gd name="connsiteY2" fmla="*/ 0 h 10029"/>
              <a:gd name="connsiteX3" fmla="*/ 8335 w 9846"/>
              <a:gd name="connsiteY3" fmla="*/ 9975 h 10029"/>
              <a:gd name="connsiteX4" fmla="*/ 53 w 9846"/>
              <a:gd name="connsiteY4" fmla="*/ 10029 h 10029"/>
              <a:gd name="connsiteX0" fmla="*/ 54 w 10014"/>
              <a:gd name="connsiteY0" fmla="*/ 9966 h 9966"/>
              <a:gd name="connsiteX1" fmla="*/ 0 w 10014"/>
              <a:gd name="connsiteY1" fmla="*/ 0 h 9966"/>
              <a:gd name="connsiteX2" fmla="*/ 10014 w 10014"/>
              <a:gd name="connsiteY2" fmla="*/ 3 h 9966"/>
              <a:gd name="connsiteX3" fmla="*/ 8465 w 10014"/>
              <a:gd name="connsiteY3" fmla="*/ 9912 h 9966"/>
              <a:gd name="connsiteX4" fmla="*/ 54 w 10014"/>
              <a:gd name="connsiteY4" fmla="*/ 9966 h 9966"/>
              <a:gd name="connsiteX0" fmla="*/ 1 w 10013"/>
              <a:gd name="connsiteY0" fmla="*/ 9975 h 9975"/>
              <a:gd name="connsiteX1" fmla="*/ 13 w 10013"/>
              <a:gd name="connsiteY1" fmla="*/ 0 h 9975"/>
              <a:gd name="connsiteX2" fmla="*/ 10013 w 10013"/>
              <a:gd name="connsiteY2" fmla="*/ 3 h 9975"/>
              <a:gd name="connsiteX3" fmla="*/ 8466 w 10013"/>
              <a:gd name="connsiteY3" fmla="*/ 9946 h 9975"/>
              <a:gd name="connsiteX4" fmla="*/ 1 w 10013"/>
              <a:gd name="connsiteY4" fmla="*/ 9975 h 9975"/>
              <a:gd name="connsiteX0" fmla="*/ 1 w 10000"/>
              <a:gd name="connsiteY0" fmla="*/ 10000 h 10000"/>
              <a:gd name="connsiteX1" fmla="*/ 1964 w 10000"/>
              <a:gd name="connsiteY1" fmla="*/ 0 h 10000"/>
              <a:gd name="connsiteX2" fmla="*/ 10000 w 10000"/>
              <a:gd name="connsiteY2" fmla="*/ 3 h 10000"/>
              <a:gd name="connsiteX3" fmla="*/ 8455 w 10000"/>
              <a:gd name="connsiteY3" fmla="*/ 9971 h 10000"/>
              <a:gd name="connsiteX4" fmla="*/ 1 w 10000"/>
              <a:gd name="connsiteY4" fmla="*/ 10000 h 10000"/>
              <a:gd name="connsiteX0" fmla="*/ 2 w 8050"/>
              <a:gd name="connsiteY0" fmla="*/ 10000 h 10000"/>
              <a:gd name="connsiteX1" fmla="*/ 14 w 8050"/>
              <a:gd name="connsiteY1" fmla="*/ 0 h 10000"/>
              <a:gd name="connsiteX2" fmla="*/ 8050 w 8050"/>
              <a:gd name="connsiteY2" fmla="*/ 3 h 10000"/>
              <a:gd name="connsiteX3" fmla="*/ 6505 w 8050"/>
              <a:gd name="connsiteY3" fmla="*/ 9971 h 10000"/>
              <a:gd name="connsiteX4" fmla="*/ 2 w 805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0" h="10000">
                <a:moveTo>
                  <a:pt x="2" y="10000"/>
                </a:moveTo>
                <a:cubicBezTo>
                  <a:pt x="-8" y="6696"/>
                  <a:pt x="24" y="3304"/>
                  <a:pt x="14" y="0"/>
                </a:cubicBezTo>
                <a:lnTo>
                  <a:pt x="8050" y="3"/>
                </a:lnTo>
                <a:cubicBezTo>
                  <a:pt x="7514" y="3346"/>
                  <a:pt x="7044" y="6628"/>
                  <a:pt x="6505" y="9971"/>
                </a:cubicBezTo>
                <a:lnTo>
                  <a:pt x="2" y="10000"/>
                </a:lnTo>
                <a:close/>
              </a:path>
            </a:pathLst>
          </a:custGeom>
        </p:spPr>
      </p:pic>
      <p:pic>
        <p:nvPicPr>
          <p:cNvPr id="17" name="Image 16">
            <a:extLst>
              <a:ext uri="{FF2B5EF4-FFF2-40B4-BE49-F238E27FC236}">
                <a16:creationId xmlns:a16="http://schemas.microsoft.com/office/drawing/2014/main" id="{4AED9936-CEB7-44BB-BFCC-2C6C344830AD}"/>
              </a:ext>
            </a:extLst>
          </p:cNvPr>
          <p:cNvPicPr>
            <a:picLocks noChangeAspect="1"/>
          </p:cNvPicPr>
          <p:nvPr/>
        </p:nvPicPr>
        <p:blipFill rotWithShape="1">
          <a:blip r:embed="rId16"/>
          <a:srcRect t="40402"/>
          <a:stretch/>
        </p:blipFill>
        <p:spPr>
          <a:xfrm rot="10800000">
            <a:off x="5086208" y="0"/>
            <a:ext cx="8369441" cy="7569200"/>
          </a:xfrm>
          <a:prstGeom prst="rect">
            <a:avLst/>
          </a:prstGeom>
        </p:spPr>
      </p:pic>
      <p:grpSp>
        <p:nvGrpSpPr>
          <p:cNvPr id="4" name="Groupe 3">
            <a:extLst>
              <a:ext uri="{FF2B5EF4-FFF2-40B4-BE49-F238E27FC236}">
                <a16:creationId xmlns:a16="http://schemas.microsoft.com/office/drawing/2014/main" id="{BA0DEF29-8BF7-41E4-958D-98FF803C3FAB}"/>
              </a:ext>
            </a:extLst>
          </p:cNvPr>
          <p:cNvGrpSpPr/>
          <p:nvPr/>
        </p:nvGrpSpPr>
        <p:grpSpPr>
          <a:xfrm>
            <a:off x="9220991" y="1948558"/>
            <a:ext cx="3679034" cy="4781340"/>
            <a:chOff x="9220991" y="1948558"/>
            <a:chExt cx="3679034" cy="4781340"/>
          </a:xfrm>
        </p:grpSpPr>
        <p:sp>
          <p:nvSpPr>
            <p:cNvPr id="18" name="Espace réservé du texte 3">
              <a:extLst>
                <a:ext uri="{FF2B5EF4-FFF2-40B4-BE49-F238E27FC236}">
                  <a16:creationId xmlns:a16="http://schemas.microsoft.com/office/drawing/2014/main" id="{0C7A15C4-2F40-4E7C-BDAC-1B6E15CC98D4}"/>
                </a:ext>
              </a:extLst>
            </p:cNvPr>
            <p:cNvSpPr txBox="1">
              <a:spLocks/>
            </p:cNvSpPr>
            <p:nvPr/>
          </p:nvSpPr>
          <p:spPr>
            <a:xfrm>
              <a:off x="9220991" y="1948558"/>
              <a:ext cx="3679034" cy="863156"/>
            </a:xfrm>
            <a:prstGeom prst="rect">
              <a:avLst/>
            </a:prstGeom>
          </p:spPr>
          <p:txBody>
            <a:bodyPr/>
            <a:lstStyle>
              <a:lvl1pPr marL="0" eaLnBrk="1" hangingPunct="1">
                <a:spcBef>
                  <a:spcPts val="600"/>
                </a:spcBef>
                <a:spcAft>
                  <a:spcPts val="0"/>
                </a:spcAft>
                <a:defRPr lang="en-US" sz="1600" b="0" kern="1200" cap="none" spc="0" baseline="0" dirty="0" smtClean="0">
                  <a:solidFill>
                    <a:schemeClr val="tx1"/>
                  </a:solidFill>
                  <a:latin typeface="+mn-lt"/>
                  <a:ea typeface="+mn-ea"/>
                  <a:cs typeface="Arial" pitchFamily="34" charset="0"/>
                </a:defRPr>
              </a:lvl1pPr>
              <a:lvl2pPr marL="246820" indent="-246820" eaLnBrk="1" hangingPunct="1">
                <a:spcBef>
                  <a:spcPts val="600"/>
                </a:spcBef>
                <a:spcAft>
                  <a:spcPts val="0"/>
                </a:spcAft>
                <a:buFont typeface="Wingdings" pitchFamily="2" charset="2"/>
                <a:buChar char="§"/>
                <a:defRPr sz="1600" b="0" kern="1200" spc="0">
                  <a:solidFill>
                    <a:schemeClr val="tx1"/>
                  </a:solidFill>
                  <a:latin typeface="+mn-lt"/>
                  <a:ea typeface="+mn-ea"/>
                  <a:cs typeface="Arial" pitchFamily="34" charset="0"/>
                </a:defRPr>
              </a:lvl2pPr>
              <a:lvl3pPr marL="493640" indent="-246820" eaLnBrk="1" hangingPunct="1">
                <a:spcBef>
                  <a:spcPts val="600"/>
                </a:spcBef>
                <a:spcAft>
                  <a:spcPts val="0"/>
                </a:spcAft>
                <a:buFont typeface="Webdings" pitchFamily="18" charset="2"/>
                <a:buChar char="4"/>
                <a:defRPr sz="1600" b="0" kern="1200" spc="0">
                  <a:solidFill>
                    <a:schemeClr val="tx1"/>
                  </a:solidFill>
                  <a:latin typeface="+mn-lt"/>
                  <a:ea typeface="+mn-ea"/>
                  <a:cs typeface="Arial" pitchFamily="34" charset="0"/>
                </a:defRPr>
              </a:lvl3pPr>
              <a:lvl4pPr marL="781596" indent="-205683" eaLnBrk="1" hangingPunct="1">
                <a:spcBef>
                  <a:spcPts val="600"/>
                </a:spcBef>
                <a:spcAft>
                  <a:spcPts val="0"/>
                </a:spcAft>
                <a:buFont typeface="Symbol" pitchFamily="18" charset="2"/>
                <a:buChar char="-"/>
                <a:defRPr sz="1600" b="0" i="0" kern="1200" spc="0" baseline="0">
                  <a:solidFill>
                    <a:schemeClr val="tx1"/>
                  </a:solidFill>
                  <a:latin typeface="+mn-lt"/>
                  <a:ea typeface="+mn-ea"/>
                  <a:cs typeface="+mn-cs"/>
                </a:defRPr>
              </a:lvl4pPr>
              <a:lvl5pPr marL="1069552" indent="-246820" eaLnBrk="1" hangingPunct="1">
                <a:spcBef>
                  <a:spcPts val="600"/>
                </a:spcBef>
                <a:spcAft>
                  <a:spcPts val="0"/>
                </a:spcAft>
                <a:buFont typeface="Arial" pitchFamily="34" charset="0"/>
                <a:buChar char="•"/>
                <a:defRPr sz="1600" b="0" i="0" kern="1200" spc="0" baseline="0">
                  <a:solidFill>
                    <a:schemeClr val="tx1"/>
                  </a:solidFill>
                  <a:latin typeface="+mn-lt"/>
                  <a:ea typeface="+mn-ea"/>
                  <a:cs typeface="+mn-cs"/>
                </a:defRPr>
              </a:lvl5pPr>
              <a:lvl6pPr marL="1357509" indent="-246820" eaLnBrk="1" hangingPunct="1">
                <a:spcBef>
                  <a:spcPts val="600"/>
                </a:spcBef>
                <a:spcAft>
                  <a:spcPts val="0"/>
                </a:spcAft>
                <a:buSzPct val="65000"/>
                <a:buFont typeface="Wingdings" pitchFamily="2" charset="2"/>
                <a:buChar char="w"/>
                <a:defRPr sz="1600" b="0" i="0" kern="1200" spc="0" baseline="0">
                  <a:solidFill>
                    <a:schemeClr val="tx1"/>
                  </a:solidFill>
                  <a:latin typeface="+mn-lt"/>
                  <a:ea typeface="+mn-ea"/>
                  <a:cs typeface="+mn-cs"/>
                </a:defRPr>
              </a:lvl6pPr>
              <a:lvl7pPr marL="1973082" eaLnBrk="1" hangingPunct="1">
                <a:defRPr>
                  <a:latin typeface="+mn-lt"/>
                  <a:ea typeface="+mn-ea"/>
                  <a:cs typeface="+mn-cs"/>
                </a:defRPr>
              </a:lvl7pPr>
              <a:lvl8pPr marL="2301932" eaLnBrk="1" hangingPunct="1">
                <a:defRPr>
                  <a:latin typeface="+mn-lt"/>
                  <a:ea typeface="+mn-ea"/>
                  <a:cs typeface="+mn-cs"/>
                </a:defRPr>
              </a:lvl8pPr>
              <a:lvl9pPr marL="2630778" eaLnBrk="1" hangingPunct="1">
                <a:defRPr>
                  <a:latin typeface="+mn-lt"/>
                  <a:ea typeface="+mn-ea"/>
                  <a:cs typeface="+mn-cs"/>
                </a:defRPr>
              </a:lvl9pPr>
            </a:lstStyle>
            <a:p>
              <a:pPr marL="0" lvl="1" indent="0" algn="ctr" defTabSz="1009040">
                <a:spcBef>
                  <a:spcPts val="0"/>
                </a:spcBef>
                <a:buClr>
                  <a:schemeClr val="tx2"/>
                </a:buClr>
                <a:buNone/>
                <a:defRPr/>
              </a:pPr>
              <a:r>
                <a:rPr lang="fr-FR" sz="1700" spc="100">
                  <a:solidFill>
                    <a:schemeClr val="bg1"/>
                  </a:solidFill>
                </a:rPr>
                <a:t>Nous travaillons pour des secteurs industriels à forte intensité technologique</a:t>
              </a:r>
            </a:p>
          </p:txBody>
        </p:sp>
        <p:sp>
          <p:nvSpPr>
            <p:cNvPr id="19" name="Espace réservé du texte 3">
              <a:extLst>
                <a:ext uri="{FF2B5EF4-FFF2-40B4-BE49-F238E27FC236}">
                  <a16:creationId xmlns:a16="http://schemas.microsoft.com/office/drawing/2014/main" id="{3F0B18D8-5675-4833-A825-142AB4945F10}"/>
                </a:ext>
              </a:extLst>
            </p:cNvPr>
            <p:cNvSpPr txBox="1">
              <a:spLocks/>
            </p:cNvSpPr>
            <p:nvPr/>
          </p:nvSpPr>
          <p:spPr>
            <a:xfrm>
              <a:off x="9220991" y="3413068"/>
              <a:ext cx="3679034" cy="1346135"/>
            </a:xfrm>
            <a:prstGeom prst="rect">
              <a:avLst/>
            </a:prstGeom>
          </p:spPr>
          <p:txBody>
            <a:bodyPr/>
            <a:lstStyle>
              <a:lvl1pPr marL="0" eaLnBrk="1" hangingPunct="1">
                <a:spcBef>
                  <a:spcPts val="600"/>
                </a:spcBef>
                <a:spcAft>
                  <a:spcPts val="0"/>
                </a:spcAft>
                <a:defRPr lang="en-US" sz="1600" b="0" kern="1200" cap="none" spc="0" baseline="0" dirty="0" smtClean="0">
                  <a:solidFill>
                    <a:schemeClr val="tx1"/>
                  </a:solidFill>
                  <a:latin typeface="+mn-lt"/>
                  <a:ea typeface="+mn-ea"/>
                  <a:cs typeface="Arial" pitchFamily="34" charset="0"/>
                </a:defRPr>
              </a:lvl1pPr>
              <a:lvl2pPr marL="246820" indent="-246820" eaLnBrk="1" hangingPunct="1">
                <a:spcBef>
                  <a:spcPts val="600"/>
                </a:spcBef>
                <a:spcAft>
                  <a:spcPts val="0"/>
                </a:spcAft>
                <a:buFont typeface="Wingdings" pitchFamily="2" charset="2"/>
                <a:buChar char="§"/>
                <a:defRPr sz="1600" b="0" kern="1200" spc="0">
                  <a:solidFill>
                    <a:schemeClr val="tx1"/>
                  </a:solidFill>
                  <a:latin typeface="+mn-lt"/>
                  <a:ea typeface="+mn-ea"/>
                  <a:cs typeface="Arial" pitchFamily="34" charset="0"/>
                </a:defRPr>
              </a:lvl2pPr>
              <a:lvl3pPr marL="493640" indent="-246820" eaLnBrk="1" hangingPunct="1">
                <a:spcBef>
                  <a:spcPts val="600"/>
                </a:spcBef>
                <a:spcAft>
                  <a:spcPts val="0"/>
                </a:spcAft>
                <a:buFont typeface="Webdings" pitchFamily="18" charset="2"/>
                <a:buChar char="4"/>
                <a:defRPr sz="1600" b="0" kern="1200" spc="0">
                  <a:solidFill>
                    <a:schemeClr val="tx1"/>
                  </a:solidFill>
                  <a:latin typeface="+mn-lt"/>
                  <a:ea typeface="+mn-ea"/>
                  <a:cs typeface="Arial" pitchFamily="34" charset="0"/>
                </a:defRPr>
              </a:lvl3pPr>
              <a:lvl4pPr marL="781596" indent="-205683" eaLnBrk="1" hangingPunct="1">
                <a:spcBef>
                  <a:spcPts val="600"/>
                </a:spcBef>
                <a:spcAft>
                  <a:spcPts val="0"/>
                </a:spcAft>
                <a:buFont typeface="Symbol" pitchFamily="18" charset="2"/>
                <a:buChar char="-"/>
                <a:defRPr sz="1600" b="0" i="0" kern="1200" spc="0" baseline="0">
                  <a:solidFill>
                    <a:schemeClr val="tx1"/>
                  </a:solidFill>
                  <a:latin typeface="+mn-lt"/>
                  <a:ea typeface="+mn-ea"/>
                  <a:cs typeface="+mn-cs"/>
                </a:defRPr>
              </a:lvl4pPr>
              <a:lvl5pPr marL="1069552" indent="-246820" eaLnBrk="1" hangingPunct="1">
                <a:spcBef>
                  <a:spcPts val="600"/>
                </a:spcBef>
                <a:spcAft>
                  <a:spcPts val="0"/>
                </a:spcAft>
                <a:buFont typeface="Arial" pitchFamily="34" charset="0"/>
                <a:buChar char="•"/>
                <a:defRPr sz="1600" b="0" i="0" kern="1200" spc="0" baseline="0">
                  <a:solidFill>
                    <a:schemeClr val="tx1"/>
                  </a:solidFill>
                  <a:latin typeface="+mn-lt"/>
                  <a:ea typeface="+mn-ea"/>
                  <a:cs typeface="+mn-cs"/>
                </a:defRPr>
              </a:lvl5pPr>
              <a:lvl6pPr marL="1357509" indent="-246820" eaLnBrk="1" hangingPunct="1">
                <a:spcBef>
                  <a:spcPts val="600"/>
                </a:spcBef>
                <a:spcAft>
                  <a:spcPts val="0"/>
                </a:spcAft>
                <a:buSzPct val="65000"/>
                <a:buFont typeface="Wingdings" pitchFamily="2" charset="2"/>
                <a:buChar char="w"/>
                <a:defRPr sz="1600" b="0" i="0" kern="1200" spc="0" baseline="0">
                  <a:solidFill>
                    <a:schemeClr val="tx1"/>
                  </a:solidFill>
                  <a:latin typeface="+mn-lt"/>
                  <a:ea typeface="+mn-ea"/>
                  <a:cs typeface="+mn-cs"/>
                </a:defRPr>
              </a:lvl6pPr>
              <a:lvl7pPr marL="1973082" eaLnBrk="1" hangingPunct="1">
                <a:defRPr>
                  <a:latin typeface="+mn-lt"/>
                  <a:ea typeface="+mn-ea"/>
                  <a:cs typeface="+mn-cs"/>
                </a:defRPr>
              </a:lvl7pPr>
              <a:lvl8pPr marL="2301932" eaLnBrk="1" hangingPunct="1">
                <a:defRPr>
                  <a:latin typeface="+mn-lt"/>
                  <a:ea typeface="+mn-ea"/>
                  <a:cs typeface="+mn-cs"/>
                </a:defRPr>
              </a:lvl8pPr>
              <a:lvl9pPr marL="2630778" eaLnBrk="1" hangingPunct="1">
                <a:defRPr>
                  <a:latin typeface="+mn-lt"/>
                  <a:ea typeface="+mn-ea"/>
                  <a:cs typeface="+mn-cs"/>
                </a:defRPr>
              </a:lvl9pPr>
            </a:lstStyle>
            <a:p>
              <a:pPr marL="0" lvl="1" indent="0" algn="ctr" defTabSz="1009040">
                <a:spcBef>
                  <a:spcPts val="0"/>
                </a:spcBef>
                <a:buClr>
                  <a:schemeClr val="tx2"/>
                </a:buClr>
                <a:buNone/>
                <a:defRPr/>
              </a:pPr>
              <a:r>
                <a:rPr lang="fr-FR" sz="1700" spc="100">
                  <a:solidFill>
                    <a:schemeClr val="bg1"/>
                  </a:solidFill>
                </a:rPr>
                <a:t>Nos équipes comprennent les spécificités des métiers de nos clients grâce à leur formation académique et/ou leurs expériences opérationnelles</a:t>
              </a:r>
            </a:p>
            <a:p>
              <a:pPr algn="ctr" defTabSz="914400"/>
              <a:endParaRPr lang="fr-FR" sz="1700">
                <a:solidFill>
                  <a:schemeClr val="tx2"/>
                </a:solidFill>
              </a:endParaRPr>
            </a:p>
          </p:txBody>
        </p:sp>
        <p:sp>
          <p:nvSpPr>
            <p:cNvPr id="20" name="Espace réservé du texte 3">
              <a:extLst>
                <a:ext uri="{FF2B5EF4-FFF2-40B4-BE49-F238E27FC236}">
                  <a16:creationId xmlns:a16="http://schemas.microsoft.com/office/drawing/2014/main" id="{0124FF1F-C13B-4414-8F36-9243595E3C0B}"/>
                </a:ext>
              </a:extLst>
            </p:cNvPr>
            <p:cNvSpPr txBox="1">
              <a:spLocks/>
            </p:cNvSpPr>
            <p:nvPr/>
          </p:nvSpPr>
          <p:spPr>
            <a:xfrm>
              <a:off x="9220991" y="5360556"/>
              <a:ext cx="3679034" cy="1369342"/>
            </a:xfrm>
            <a:prstGeom prst="rect">
              <a:avLst/>
            </a:prstGeom>
          </p:spPr>
          <p:txBody>
            <a:bodyPr/>
            <a:lstStyle>
              <a:lvl1pPr marL="0" eaLnBrk="1" hangingPunct="1">
                <a:spcBef>
                  <a:spcPts val="600"/>
                </a:spcBef>
                <a:spcAft>
                  <a:spcPts val="0"/>
                </a:spcAft>
                <a:defRPr lang="en-US" sz="1600" b="0" kern="1200" cap="none" spc="0" baseline="0" dirty="0" smtClean="0">
                  <a:solidFill>
                    <a:schemeClr val="tx1"/>
                  </a:solidFill>
                  <a:latin typeface="+mn-lt"/>
                  <a:ea typeface="+mn-ea"/>
                  <a:cs typeface="Arial" pitchFamily="34" charset="0"/>
                </a:defRPr>
              </a:lvl1pPr>
              <a:lvl2pPr marL="246820" indent="-246820" eaLnBrk="1" hangingPunct="1">
                <a:spcBef>
                  <a:spcPts val="600"/>
                </a:spcBef>
                <a:spcAft>
                  <a:spcPts val="0"/>
                </a:spcAft>
                <a:buFont typeface="Wingdings" pitchFamily="2" charset="2"/>
                <a:buChar char="§"/>
                <a:defRPr sz="1600" b="0" kern="1200" spc="0">
                  <a:solidFill>
                    <a:schemeClr val="tx1"/>
                  </a:solidFill>
                  <a:latin typeface="+mn-lt"/>
                  <a:ea typeface="+mn-ea"/>
                  <a:cs typeface="Arial" pitchFamily="34" charset="0"/>
                </a:defRPr>
              </a:lvl2pPr>
              <a:lvl3pPr marL="493640" indent="-246820" eaLnBrk="1" hangingPunct="1">
                <a:spcBef>
                  <a:spcPts val="600"/>
                </a:spcBef>
                <a:spcAft>
                  <a:spcPts val="0"/>
                </a:spcAft>
                <a:buFont typeface="Webdings" pitchFamily="18" charset="2"/>
                <a:buChar char="4"/>
                <a:defRPr sz="1600" b="0" kern="1200" spc="0">
                  <a:solidFill>
                    <a:schemeClr val="tx1"/>
                  </a:solidFill>
                  <a:latin typeface="+mn-lt"/>
                  <a:ea typeface="+mn-ea"/>
                  <a:cs typeface="Arial" pitchFamily="34" charset="0"/>
                </a:defRPr>
              </a:lvl3pPr>
              <a:lvl4pPr marL="781596" indent="-205683" eaLnBrk="1" hangingPunct="1">
                <a:spcBef>
                  <a:spcPts val="600"/>
                </a:spcBef>
                <a:spcAft>
                  <a:spcPts val="0"/>
                </a:spcAft>
                <a:buFont typeface="Symbol" pitchFamily="18" charset="2"/>
                <a:buChar char="-"/>
                <a:defRPr sz="1600" b="0" i="0" kern="1200" spc="0" baseline="0">
                  <a:solidFill>
                    <a:schemeClr val="tx1"/>
                  </a:solidFill>
                  <a:latin typeface="+mn-lt"/>
                  <a:ea typeface="+mn-ea"/>
                  <a:cs typeface="+mn-cs"/>
                </a:defRPr>
              </a:lvl4pPr>
              <a:lvl5pPr marL="1069552" indent="-246820" eaLnBrk="1" hangingPunct="1">
                <a:spcBef>
                  <a:spcPts val="600"/>
                </a:spcBef>
                <a:spcAft>
                  <a:spcPts val="0"/>
                </a:spcAft>
                <a:buFont typeface="Arial" pitchFamily="34" charset="0"/>
                <a:buChar char="•"/>
                <a:defRPr sz="1600" b="0" i="0" kern="1200" spc="0" baseline="0">
                  <a:solidFill>
                    <a:schemeClr val="tx1"/>
                  </a:solidFill>
                  <a:latin typeface="+mn-lt"/>
                  <a:ea typeface="+mn-ea"/>
                  <a:cs typeface="+mn-cs"/>
                </a:defRPr>
              </a:lvl5pPr>
              <a:lvl6pPr marL="1357509" indent="-246820" eaLnBrk="1" hangingPunct="1">
                <a:spcBef>
                  <a:spcPts val="600"/>
                </a:spcBef>
                <a:spcAft>
                  <a:spcPts val="0"/>
                </a:spcAft>
                <a:buSzPct val="65000"/>
                <a:buFont typeface="Wingdings" pitchFamily="2" charset="2"/>
                <a:buChar char="w"/>
                <a:defRPr sz="1600" b="0" i="0" kern="1200" spc="0" baseline="0">
                  <a:solidFill>
                    <a:schemeClr val="tx1"/>
                  </a:solidFill>
                  <a:latin typeface="+mn-lt"/>
                  <a:ea typeface="+mn-ea"/>
                  <a:cs typeface="+mn-cs"/>
                </a:defRPr>
              </a:lvl6pPr>
              <a:lvl7pPr marL="1973082" eaLnBrk="1" hangingPunct="1">
                <a:defRPr>
                  <a:latin typeface="+mn-lt"/>
                  <a:ea typeface="+mn-ea"/>
                  <a:cs typeface="+mn-cs"/>
                </a:defRPr>
              </a:lvl7pPr>
              <a:lvl8pPr marL="2301932" eaLnBrk="1" hangingPunct="1">
                <a:defRPr>
                  <a:latin typeface="+mn-lt"/>
                  <a:ea typeface="+mn-ea"/>
                  <a:cs typeface="+mn-cs"/>
                </a:defRPr>
              </a:lvl8pPr>
              <a:lvl9pPr marL="2630778" eaLnBrk="1" hangingPunct="1">
                <a:defRPr>
                  <a:latin typeface="+mn-lt"/>
                  <a:ea typeface="+mn-ea"/>
                  <a:cs typeface="+mn-cs"/>
                </a:defRPr>
              </a:lvl9pPr>
            </a:lstStyle>
            <a:p>
              <a:pPr marL="0" lvl="1" indent="0" algn="ctr" defTabSz="1009040">
                <a:spcBef>
                  <a:spcPts val="0"/>
                </a:spcBef>
                <a:buClr>
                  <a:schemeClr val="tx2"/>
                </a:buClr>
                <a:buNone/>
                <a:defRPr/>
              </a:pPr>
              <a:r>
                <a:rPr lang="fr-FR" sz="1700" spc="100">
                  <a:solidFill>
                    <a:schemeClr val="bg1"/>
                  </a:solidFill>
                </a:rPr>
                <a:t>Nos équipes ont la capacité de s’investir sur des problématiques complexes, tout en conservant un « sens business » pour des solutions implémentables</a:t>
              </a:r>
            </a:p>
            <a:p>
              <a:pPr algn="ctr" defTabSz="914400"/>
              <a:endParaRPr lang="fr-FR" sz="1700">
                <a:solidFill>
                  <a:schemeClr val="tx2"/>
                </a:solidFill>
              </a:endParaRPr>
            </a:p>
          </p:txBody>
        </p:sp>
        <p:grpSp>
          <p:nvGrpSpPr>
            <p:cNvPr id="3" name="Groupe 2">
              <a:extLst>
                <a:ext uri="{FF2B5EF4-FFF2-40B4-BE49-F238E27FC236}">
                  <a16:creationId xmlns:a16="http://schemas.microsoft.com/office/drawing/2014/main" id="{24D5E016-C205-4BE8-A82D-6B87C7809D58}"/>
                </a:ext>
              </a:extLst>
            </p:cNvPr>
            <p:cNvGrpSpPr/>
            <p:nvPr/>
          </p:nvGrpSpPr>
          <p:grpSpPr>
            <a:xfrm>
              <a:off x="10969613" y="2951592"/>
              <a:ext cx="181791" cy="2269087"/>
              <a:chOff x="10995025" y="2951592"/>
              <a:chExt cx="181791" cy="2269087"/>
            </a:xfrm>
          </p:grpSpPr>
          <p:sp>
            <p:nvSpPr>
              <p:cNvPr id="21" name="object 18">
                <a:extLst>
                  <a:ext uri="{FF2B5EF4-FFF2-40B4-BE49-F238E27FC236}">
                    <a16:creationId xmlns:a16="http://schemas.microsoft.com/office/drawing/2014/main" id="{2C21E6A8-5984-498E-B182-2C75398D5D48}"/>
                  </a:ext>
                </a:extLst>
              </p:cNvPr>
              <p:cNvSpPr>
                <a:spLocks noChangeAspect="1"/>
              </p:cNvSpPr>
              <p:nvPr/>
            </p:nvSpPr>
            <p:spPr>
              <a:xfrm>
                <a:off x="11055622" y="2951592"/>
                <a:ext cx="121194" cy="321598"/>
              </a:xfrm>
              <a:custGeom>
                <a:avLst/>
                <a:gdLst/>
                <a:ahLst/>
                <a:cxnLst/>
                <a:rect l="l" t="t" r="r" b="b"/>
                <a:pathLst>
                  <a:path w="546734" h="1352550">
                    <a:moveTo>
                      <a:pt x="0" y="1352428"/>
                    </a:moveTo>
                    <a:lnTo>
                      <a:pt x="546414" y="0"/>
                    </a:lnTo>
                  </a:path>
                </a:pathLst>
              </a:custGeom>
              <a:ln w="19050">
                <a:solidFill>
                  <a:schemeClr val="tx2"/>
                </a:solidFill>
              </a:ln>
            </p:spPr>
            <p:txBody>
              <a:bodyPr wrap="square" lIns="0" tIns="0" rIns="0" bIns="0" rtlCol="0"/>
              <a:lstStyle/>
              <a:p>
                <a:pPr defTabSz="1045848">
                  <a:defRPr/>
                </a:pPr>
                <a:endParaRPr lang="fr-FR" sz="2300" spc="100">
                  <a:solidFill>
                    <a:srgbClr val="000000"/>
                  </a:solidFill>
                  <a:latin typeface="Arial"/>
                </a:endParaRPr>
              </a:p>
            </p:txBody>
          </p:sp>
          <p:sp>
            <p:nvSpPr>
              <p:cNvPr id="22" name="object 18">
                <a:extLst>
                  <a:ext uri="{FF2B5EF4-FFF2-40B4-BE49-F238E27FC236}">
                    <a16:creationId xmlns:a16="http://schemas.microsoft.com/office/drawing/2014/main" id="{088548B2-AE03-4467-8861-6B57AE901218}"/>
                  </a:ext>
                </a:extLst>
              </p:cNvPr>
              <p:cNvSpPr>
                <a:spLocks noChangeAspect="1"/>
              </p:cNvSpPr>
              <p:nvPr/>
            </p:nvSpPr>
            <p:spPr>
              <a:xfrm>
                <a:off x="10995025" y="4899081"/>
                <a:ext cx="121194" cy="321598"/>
              </a:xfrm>
              <a:custGeom>
                <a:avLst/>
                <a:gdLst/>
                <a:ahLst/>
                <a:cxnLst/>
                <a:rect l="l" t="t" r="r" b="b"/>
                <a:pathLst>
                  <a:path w="546734" h="1352550">
                    <a:moveTo>
                      <a:pt x="0" y="1352428"/>
                    </a:moveTo>
                    <a:lnTo>
                      <a:pt x="546414" y="0"/>
                    </a:lnTo>
                  </a:path>
                </a:pathLst>
              </a:custGeom>
              <a:ln w="19050">
                <a:solidFill>
                  <a:schemeClr val="tx2"/>
                </a:solidFill>
              </a:ln>
            </p:spPr>
            <p:txBody>
              <a:bodyPr wrap="square" lIns="0" tIns="0" rIns="0" bIns="0" rtlCol="0"/>
              <a:lstStyle/>
              <a:p>
                <a:pPr defTabSz="1045848">
                  <a:defRPr/>
                </a:pPr>
                <a:endParaRPr lang="fr-FR" sz="2300" spc="100">
                  <a:solidFill>
                    <a:srgbClr val="000000"/>
                  </a:solidFill>
                  <a:latin typeface="Arial"/>
                </a:endParaRPr>
              </a:p>
            </p:txBody>
          </p:sp>
        </p:grpSp>
      </p:grpSp>
      <p:sp>
        <p:nvSpPr>
          <p:cNvPr id="32" name="object 23">
            <a:extLst>
              <a:ext uri="{FF2B5EF4-FFF2-40B4-BE49-F238E27FC236}">
                <a16:creationId xmlns:a16="http://schemas.microsoft.com/office/drawing/2014/main" id="{835F84AF-B9A9-49DB-A9A2-D01FCD816F68}"/>
              </a:ext>
            </a:extLst>
          </p:cNvPr>
          <p:cNvSpPr>
            <a:spLocks noChangeAspect="1"/>
          </p:cNvSpPr>
          <p:nvPr/>
        </p:nvSpPr>
        <p:spPr>
          <a:xfrm>
            <a:off x="-5550" y="0"/>
            <a:ext cx="484975" cy="1237344"/>
          </a:xfrm>
          <a:custGeom>
            <a:avLst/>
            <a:gdLst/>
            <a:ahLst/>
            <a:cxnLst/>
            <a:rect l="l" t="t" r="r" b="b"/>
            <a:pathLst>
              <a:path w="799465" h="1977389">
                <a:moveTo>
                  <a:pt x="798918" y="0"/>
                </a:moveTo>
                <a:lnTo>
                  <a:pt x="0" y="0"/>
                </a:lnTo>
                <a:lnTo>
                  <a:pt x="0" y="1977389"/>
                </a:lnTo>
                <a:lnTo>
                  <a:pt x="798918" y="0"/>
                </a:lnTo>
                <a:close/>
              </a:path>
            </a:pathLst>
          </a:custGeom>
          <a:solidFill>
            <a:schemeClr val="tx2"/>
          </a:solidFill>
          <a:ln>
            <a:solidFill>
              <a:schemeClr val="tx2"/>
            </a:solidFill>
          </a:ln>
        </p:spPr>
        <p:txBody>
          <a:bodyPr wrap="square" lIns="0" tIns="0" rIns="0" bIns="0" rtlCol="0"/>
          <a:lstStyle/>
          <a:p>
            <a:endParaRPr lang="fr-FR" spc="100"/>
          </a:p>
        </p:txBody>
      </p:sp>
      <p:sp>
        <p:nvSpPr>
          <p:cNvPr id="39" name="Espace réservé du texte 3">
            <a:extLst>
              <a:ext uri="{FF2B5EF4-FFF2-40B4-BE49-F238E27FC236}">
                <a16:creationId xmlns:a16="http://schemas.microsoft.com/office/drawing/2014/main" id="{33DC041B-E11C-4AA6-A66B-3DCD4E96974B}"/>
              </a:ext>
            </a:extLst>
          </p:cNvPr>
          <p:cNvSpPr txBox="1">
            <a:spLocks/>
          </p:cNvSpPr>
          <p:nvPr/>
        </p:nvSpPr>
        <p:spPr>
          <a:xfrm>
            <a:off x="180025" y="4569798"/>
            <a:ext cx="2052000" cy="304998"/>
          </a:xfrm>
          <a:prstGeom prst="rect">
            <a:avLst/>
          </a:prstGeom>
        </p:spPr>
        <p:txBody>
          <a:bodyPr/>
          <a:lstStyle>
            <a:lvl1pPr marL="0" eaLnBrk="1" hangingPunct="1">
              <a:spcBef>
                <a:spcPts val="600"/>
              </a:spcBef>
              <a:spcAft>
                <a:spcPts val="0"/>
              </a:spcAft>
              <a:defRPr lang="en-US" sz="1600" b="0" kern="1200" cap="none" spc="0" baseline="0" dirty="0" smtClean="0">
                <a:solidFill>
                  <a:schemeClr val="tx1"/>
                </a:solidFill>
                <a:latin typeface="+mn-lt"/>
                <a:ea typeface="+mn-ea"/>
                <a:cs typeface="Arial" pitchFamily="34" charset="0"/>
              </a:defRPr>
            </a:lvl1pPr>
            <a:lvl2pPr marL="246820" indent="-246820" eaLnBrk="1" hangingPunct="1">
              <a:spcBef>
                <a:spcPts val="600"/>
              </a:spcBef>
              <a:spcAft>
                <a:spcPts val="0"/>
              </a:spcAft>
              <a:buFont typeface="Wingdings" pitchFamily="2" charset="2"/>
              <a:buChar char="§"/>
              <a:defRPr sz="1600" b="0" kern="1200" spc="0">
                <a:solidFill>
                  <a:schemeClr val="tx1"/>
                </a:solidFill>
                <a:latin typeface="+mn-lt"/>
                <a:ea typeface="+mn-ea"/>
                <a:cs typeface="Arial" pitchFamily="34" charset="0"/>
              </a:defRPr>
            </a:lvl2pPr>
            <a:lvl3pPr marL="493640" indent="-246820" eaLnBrk="1" hangingPunct="1">
              <a:spcBef>
                <a:spcPts val="600"/>
              </a:spcBef>
              <a:spcAft>
                <a:spcPts val="0"/>
              </a:spcAft>
              <a:buFont typeface="Webdings" pitchFamily="18" charset="2"/>
              <a:buChar char="4"/>
              <a:defRPr sz="1600" b="0" kern="1200" spc="0">
                <a:solidFill>
                  <a:schemeClr val="tx1"/>
                </a:solidFill>
                <a:latin typeface="+mn-lt"/>
                <a:ea typeface="+mn-ea"/>
                <a:cs typeface="Arial" pitchFamily="34" charset="0"/>
              </a:defRPr>
            </a:lvl3pPr>
            <a:lvl4pPr marL="781596" indent="-205683" eaLnBrk="1" hangingPunct="1">
              <a:spcBef>
                <a:spcPts val="600"/>
              </a:spcBef>
              <a:spcAft>
                <a:spcPts val="0"/>
              </a:spcAft>
              <a:buFont typeface="Symbol" pitchFamily="18" charset="2"/>
              <a:buChar char="-"/>
              <a:defRPr sz="1600" b="0" i="0" kern="1200" spc="0" baseline="0">
                <a:solidFill>
                  <a:schemeClr val="tx1"/>
                </a:solidFill>
                <a:latin typeface="+mn-lt"/>
                <a:ea typeface="+mn-ea"/>
                <a:cs typeface="+mn-cs"/>
              </a:defRPr>
            </a:lvl4pPr>
            <a:lvl5pPr marL="1069552" indent="-246820" eaLnBrk="1" hangingPunct="1">
              <a:spcBef>
                <a:spcPts val="600"/>
              </a:spcBef>
              <a:spcAft>
                <a:spcPts val="0"/>
              </a:spcAft>
              <a:buFont typeface="Arial" pitchFamily="34" charset="0"/>
              <a:buChar char="•"/>
              <a:defRPr sz="1600" b="0" i="0" kern="1200" spc="0" baseline="0">
                <a:solidFill>
                  <a:schemeClr val="tx1"/>
                </a:solidFill>
                <a:latin typeface="+mn-lt"/>
                <a:ea typeface="+mn-ea"/>
                <a:cs typeface="+mn-cs"/>
              </a:defRPr>
            </a:lvl5pPr>
            <a:lvl6pPr marL="1357509" indent="-246820" eaLnBrk="1" hangingPunct="1">
              <a:spcBef>
                <a:spcPts val="600"/>
              </a:spcBef>
              <a:spcAft>
                <a:spcPts val="0"/>
              </a:spcAft>
              <a:buSzPct val="65000"/>
              <a:buFont typeface="Wingdings" pitchFamily="2" charset="2"/>
              <a:buChar char="w"/>
              <a:defRPr sz="1600" b="0" i="0" kern="1200" spc="0" baseline="0">
                <a:solidFill>
                  <a:schemeClr val="tx1"/>
                </a:solidFill>
                <a:latin typeface="+mn-lt"/>
                <a:ea typeface="+mn-ea"/>
                <a:cs typeface="+mn-cs"/>
              </a:defRPr>
            </a:lvl6pPr>
            <a:lvl7pPr marL="1973082" eaLnBrk="1" hangingPunct="1">
              <a:defRPr>
                <a:latin typeface="+mn-lt"/>
                <a:ea typeface="+mn-ea"/>
                <a:cs typeface="+mn-cs"/>
              </a:defRPr>
            </a:lvl7pPr>
            <a:lvl8pPr marL="2301932" eaLnBrk="1" hangingPunct="1">
              <a:defRPr>
                <a:latin typeface="+mn-lt"/>
                <a:ea typeface="+mn-ea"/>
                <a:cs typeface="+mn-cs"/>
              </a:defRPr>
            </a:lvl8pPr>
            <a:lvl9pPr marL="2630778" eaLnBrk="1" hangingPunct="1">
              <a:defRPr>
                <a:latin typeface="+mn-lt"/>
                <a:ea typeface="+mn-ea"/>
                <a:cs typeface="+mn-cs"/>
              </a:defRPr>
            </a:lvl9pPr>
          </a:lstStyle>
          <a:p>
            <a:pPr marL="0" lvl="1" indent="0" algn="ctr" defTabSz="1009040">
              <a:spcBef>
                <a:spcPts val="0"/>
              </a:spcBef>
              <a:buClr>
                <a:schemeClr val="tx2"/>
              </a:buClr>
              <a:buNone/>
              <a:defRPr/>
            </a:pPr>
            <a:r>
              <a:rPr lang="fr-FR" sz="1400" b="1" dirty="0">
                <a:solidFill>
                  <a:schemeClr val="tx2"/>
                </a:solidFill>
              </a:rPr>
              <a:t>Service IT &amp; Technologie</a:t>
            </a:r>
          </a:p>
        </p:txBody>
      </p:sp>
      <p:sp>
        <p:nvSpPr>
          <p:cNvPr id="40" name="Espace réservé du texte 3">
            <a:extLst>
              <a:ext uri="{FF2B5EF4-FFF2-40B4-BE49-F238E27FC236}">
                <a16:creationId xmlns:a16="http://schemas.microsoft.com/office/drawing/2014/main" id="{4CD23588-286E-4A84-BA39-97EDBD18FEED}"/>
              </a:ext>
            </a:extLst>
          </p:cNvPr>
          <p:cNvSpPr txBox="1">
            <a:spLocks/>
          </p:cNvSpPr>
          <p:nvPr/>
        </p:nvSpPr>
        <p:spPr>
          <a:xfrm>
            <a:off x="2800225" y="4569798"/>
            <a:ext cx="2556000" cy="304998"/>
          </a:xfrm>
          <a:prstGeom prst="rect">
            <a:avLst/>
          </a:prstGeom>
        </p:spPr>
        <p:txBody>
          <a:bodyPr/>
          <a:lstStyle>
            <a:lvl1pPr marL="0" eaLnBrk="1" hangingPunct="1">
              <a:spcBef>
                <a:spcPts val="600"/>
              </a:spcBef>
              <a:spcAft>
                <a:spcPts val="0"/>
              </a:spcAft>
              <a:defRPr lang="en-US" sz="1600" b="0" kern="1200" cap="none" spc="0" baseline="0" dirty="0" smtClean="0">
                <a:solidFill>
                  <a:schemeClr val="tx1"/>
                </a:solidFill>
                <a:latin typeface="+mn-lt"/>
                <a:ea typeface="+mn-ea"/>
                <a:cs typeface="Arial" pitchFamily="34" charset="0"/>
              </a:defRPr>
            </a:lvl1pPr>
            <a:lvl2pPr marL="246820" indent="-246820" eaLnBrk="1" hangingPunct="1">
              <a:spcBef>
                <a:spcPts val="600"/>
              </a:spcBef>
              <a:spcAft>
                <a:spcPts val="0"/>
              </a:spcAft>
              <a:buFont typeface="Wingdings" pitchFamily="2" charset="2"/>
              <a:buChar char="§"/>
              <a:defRPr sz="1600" b="0" kern="1200" spc="0">
                <a:solidFill>
                  <a:schemeClr val="tx1"/>
                </a:solidFill>
                <a:latin typeface="+mn-lt"/>
                <a:ea typeface="+mn-ea"/>
                <a:cs typeface="Arial" pitchFamily="34" charset="0"/>
              </a:defRPr>
            </a:lvl2pPr>
            <a:lvl3pPr marL="493640" indent="-246820" eaLnBrk="1" hangingPunct="1">
              <a:spcBef>
                <a:spcPts val="600"/>
              </a:spcBef>
              <a:spcAft>
                <a:spcPts val="0"/>
              </a:spcAft>
              <a:buFont typeface="Webdings" pitchFamily="18" charset="2"/>
              <a:buChar char="4"/>
              <a:defRPr sz="1600" b="0" kern="1200" spc="0">
                <a:solidFill>
                  <a:schemeClr val="tx1"/>
                </a:solidFill>
                <a:latin typeface="+mn-lt"/>
                <a:ea typeface="+mn-ea"/>
                <a:cs typeface="Arial" pitchFamily="34" charset="0"/>
              </a:defRPr>
            </a:lvl3pPr>
            <a:lvl4pPr marL="781596" indent="-205683" eaLnBrk="1" hangingPunct="1">
              <a:spcBef>
                <a:spcPts val="600"/>
              </a:spcBef>
              <a:spcAft>
                <a:spcPts val="0"/>
              </a:spcAft>
              <a:buFont typeface="Symbol" pitchFamily="18" charset="2"/>
              <a:buChar char="-"/>
              <a:defRPr sz="1600" b="0" i="0" kern="1200" spc="0" baseline="0">
                <a:solidFill>
                  <a:schemeClr val="tx1"/>
                </a:solidFill>
                <a:latin typeface="+mn-lt"/>
                <a:ea typeface="+mn-ea"/>
                <a:cs typeface="+mn-cs"/>
              </a:defRPr>
            </a:lvl4pPr>
            <a:lvl5pPr marL="1069552" indent="-246820" eaLnBrk="1" hangingPunct="1">
              <a:spcBef>
                <a:spcPts val="600"/>
              </a:spcBef>
              <a:spcAft>
                <a:spcPts val="0"/>
              </a:spcAft>
              <a:buFont typeface="Arial" pitchFamily="34" charset="0"/>
              <a:buChar char="•"/>
              <a:defRPr sz="1600" b="0" i="0" kern="1200" spc="0" baseline="0">
                <a:solidFill>
                  <a:schemeClr val="tx1"/>
                </a:solidFill>
                <a:latin typeface="+mn-lt"/>
                <a:ea typeface="+mn-ea"/>
                <a:cs typeface="+mn-cs"/>
              </a:defRPr>
            </a:lvl5pPr>
            <a:lvl6pPr marL="1357509" indent="-246820" eaLnBrk="1" hangingPunct="1">
              <a:spcBef>
                <a:spcPts val="600"/>
              </a:spcBef>
              <a:spcAft>
                <a:spcPts val="0"/>
              </a:spcAft>
              <a:buSzPct val="65000"/>
              <a:buFont typeface="Wingdings" pitchFamily="2" charset="2"/>
              <a:buChar char="w"/>
              <a:defRPr sz="1600" b="0" i="0" kern="1200" spc="0" baseline="0">
                <a:solidFill>
                  <a:schemeClr val="tx1"/>
                </a:solidFill>
                <a:latin typeface="+mn-lt"/>
                <a:ea typeface="+mn-ea"/>
                <a:cs typeface="+mn-cs"/>
              </a:defRPr>
            </a:lvl6pPr>
            <a:lvl7pPr marL="1973082" eaLnBrk="1" hangingPunct="1">
              <a:defRPr>
                <a:latin typeface="+mn-lt"/>
                <a:ea typeface="+mn-ea"/>
                <a:cs typeface="+mn-cs"/>
              </a:defRPr>
            </a:lvl7pPr>
            <a:lvl8pPr marL="2301932" eaLnBrk="1" hangingPunct="1">
              <a:defRPr>
                <a:latin typeface="+mn-lt"/>
                <a:ea typeface="+mn-ea"/>
                <a:cs typeface="+mn-cs"/>
              </a:defRPr>
            </a:lvl8pPr>
            <a:lvl9pPr marL="2630778" eaLnBrk="1" hangingPunct="1">
              <a:defRPr>
                <a:latin typeface="+mn-lt"/>
                <a:ea typeface="+mn-ea"/>
                <a:cs typeface="+mn-cs"/>
              </a:defRPr>
            </a:lvl9pPr>
          </a:lstStyle>
          <a:p>
            <a:pPr marL="0" lvl="1" indent="0" algn="ctr" defTabSz="1009040">
              <a:spcBef>
                <a:spcPts val="0"/>
              </a:spcBef>
              <a:buClr>
                <a:schemeClr val="tx2"/>
              </a:buClr>
              <a:buNone/>
              <a:defRPr/>
            </a:pPr>
            <a:r>
              <a:rPr lang="fr-FR" sz="1400" b="1" dirty="0">
                <a:solidFill>
                  <a:schemeClr val="tx2"/>
                </a:solidFill>
              </a:rPr>
              <a:t>Electronique &amp; Robotique</a:t>
            </a:r>
          </a:p>
        </p:txBody>
      </p:sp>
      <p:sp>
        <p:nvSpPr>
          <p:cNvPr id="41" name="Espace réservé du texte 3">
            <a:extLst>
              <a:ext uri="{FF2B5EF4-FFF2-40B4-BE49-F238E27FC236}">
                <a16:creationId xmlns:a16="http://schemas.microsoft.com/office/drawing/2014/main" id="{4A6252F6-7880-4998-8969-015DC123650E}"/>
              </a:ext>
            </a:extLst>
          </p:cNvPr>
          <p:cNvSpPr txBox="1">
            <a:spLocks/>
          </p:cNvSpPr>
          <p:nvPr/>
        </p:nvSpPr>
        <p:spPr>
          <a:xfrm>
            <a:off x="5467225" y="4569798"/>
            <a:ext cx="2556000" cy="304998"/>
          </a:xfrm>
          <a:prstGeom prst="rect">
            <a:avLst/>
          </a:prstGeom>
        </p:spPr>
        <p:txBody>
          <a:bodyPr/>
          <a:lstStyle>
            <a:lvl1pPr marL="0" eaLnBrk="1" hangingPunct="1">
              <a:spcBef>
                <a:spcPts val="600"/>
              </a:spcBef>
              <a:spcAft>
                <a:spcPts val="0"/>
              </a:spcAft>
              <a:defRPr lang="en-US" sz="1600" b="0" kern="1200" cap="none" spc="0" baseline="0" dirty="0" smtClean="0">
                <a:solidFill>
                  <a:schemeClr val="tx1"/>
                </a:solidFill>
                <a:latin typeface="+mn-lt"/>
                <a:ea typeface="+mn-ea"/>
                <a:cs typeface="Arial" pitchFamily="34" charset="0"/>
              </a:defRPr>
            </a:lvl1pPr>
            <a:lvl2pPr marL="246820" indent="-246820" eaLnBrk="1" hangingPunct="1">
              <a:spcBef>
                <a:spcPts val="600"/>
              </a:spcBef>
              <a:spcAft>
                <a:spcPts val="0"/>
              </a:spcAft>
              <a:buFont typeface="Wingdings" pitchFamily="2" charset="2"/>
              <a:buChar char="§"/>
              <a:defRPr sz="1600" b="0" kern="1200" spc="0">
                <a:solidFill>
                  <a:schemeClr val="tx1"/>
                </a:solidFill>
                <a:latin typeface="+mn-lt"/>
                <a:ea typeface="+mn-ea"/>
                <a:cs typeface="Arial" pitchFamily="34" charset="0"/>
              </a:defRPr>
            </a:lvl2pPr>
            <a:lvl3pPr marL="493640" indent="-246820" eaLnBrk="1" hangingPunct="1">
              <a:spcBef>
                <a:spcPts val="600"/>
              </a:spcBef>
              <a:spcAft>
                <a:spcPts val="0"/>
              </a:spcAft>
              <a:buFont typeface="Webdings" pitchFamily="18" charset="2"/>
              <a:buChar char="4"/>
              <a:defRPr sz="1600" b="0" kern="1200" spc="0">
                <a:solidFill>
                  <a:schemeClr val="tx1"/>
                </a:solidFill>
                <a:latin typeface="+mn-lt"/>
                <a:ea typeface="+mn-ea"/>
                <a:cs typeface="Arial" pitchFamily="34" charset="0"/>
              </a:defRPr>
            </a:lvl3pPr>
            <a:lvl4pPr marL="781596" indent="-205683" eaLnBrk="1" hangingPunct="1">
              <a:spcBef>
                <a:spcPts val="600"/>
              </a:spcBef>
              <a:spcAft>
                <a:spcPts val="0"/>
              </a:spcAft>
              <a:buFont typeface="Symbol" pitchFamily="18" charset="2"/>
              <a:buChar char="-"/>
              <a:defRPr sz="1600" b="0" i="0" kern="1200" spc="0" baseline="0">
                <a:solidFill>
                  <a:schemeClr val="tx1"/>
                </a:solidFill>
                <a:latin typeface="+mn-lt"/>
                <a:ea typeface="+mn-ea"/>
                <a:cs typeface="+mn-cs"/>
              </a:defRPr>
            </a:lvl4pPr>
            <a:lvl5pPr marL="1069552" indent="-246820" eaLnBrk="1" hangingPunct="1">
              <a:spcBef>
                <a:spcPts val="600"/>
              </a:spcBef>
              <a:spcAft>
                <a:spcPts val="0"/>
              </a:spcAft>
              <a:buFont typeface="Arial" pitchFamily="34" charset="0"/>
              <a:buChar char="•"/>
              <a:defRPr sz="1600" b="0" i="0" kern="1200" spc="0" baseline="0">
                <a:solidFill>
                  <a:schemeClr val="tx1"/>
                </a:solidFill>
                <a:latin typeface="+mn-lt"/>
                <a:ea typeface="+mn-ea"/>
                <a:cs typeface="+mn-cs"/>
              </a:defRPr>
            </a:lvl5pPr>
            <a:lvl6pPr marL="1357509" indent="-246820" eaLnBrk="1" hangingPunct="1">
              <a:spcBef>
                <a:spcPts val="600"/>
              </a:spcBef>
              <a:spcAft>
                <a:spcPts val="0"/>
              </a:spcAft>
              <a:buSzPct val="65000"/>
              <a:buFont typeface="Wingdings" pitchFamily="2" charset="2"/>
              <a:buChar char="w"/>
              <a:defRPr sz="1600" b="0" i="0" kern="1200" spc="0" baseline="0">
                <a:solidFill>
                  <a:schemeClr val="tx1"/>
                </a:solidFill>
                <a:latin typeface="+mn-lt"/>
                <a:ea typeface="+mn-ea"/>
                <a:cs typeface="+mn-cs"/>
              </a:defRPr>
            </a:lvl6pPr>
            <a:lvl7pPr marL="1973082" eaLnBrk="1" hangingPunct="1">
              <a:defRPr>
                <a:latin typeface="+mn-lt"/>
                <a:ea typeface="+mn-ea"/>
                <a:cs typeface="+mn-cs"/>
              </a:defRPr>
            </a:lvl7pPr>
            <a:lvl8pPr marL="2301932" eaLnBrk="1" hangingPunct="1">
              <a:defRPr>
                <a:latin typeface="+mn-lt"/>
                <a:ea typeface="+mn-ea"/>
                <a:cs typeface="+mn-cs"/>
              </a:defRPr>
            </a:lvl8pPr>
            <a:lvl9pPr marL="2630778" eaLnBrk="1" hangingPunct="1">
              <a:defRPr>
                <a:latin typeface="+mn-lt"/>
                <a:ea typeface="+mn-ea"/>
                <a:cs typeface="+mn-cs"/>
              </a:defRPr>
            </a:lvl9pPr>
          </a:lstStyle>
          <a:p>
            <a:pPr marL="0" lvl="1" indent="0" algn="ctr" defTabSz="1009040">
              <a:spcBef>
                <a:spcPts val="0"/>
              </a:spcBef>
              <a:buClr>
                <a:schemeClr val="tx2"/>
              </a:buClr>
              <a:buNone/>
              <a:defRPr/>
            </a:pPr>
            <a:r>
              <a:rPr lang="fr-FR" sz="1400" b="1">
                <a:solidFill>
                  <a:schemeClr val="tx2"/>
                </a:solidFill>
              </a:rPr>
              <a:t>Logistique</a:t>
            </a:r>
          </a:p>
        </p:txBody>
      </p:sp>
      <p:sp>
        <p:nvSpPr>
          <p:cNvPr id="42" name="Espace réservé du texte 3">
            <a:extLst>
              <a:ext uri="{FF2B5EF4-FFF2-40B4-BE49-F238E27FC236}">
                <a16:creationId xmlns:a16="http://schemas.microsoft.com/office/drawing/2014/main" id="{20E56203-4494-4FB9-9852-DA7F5F1C0A8D}"/>
              </a:ext>
            </a:extLst>
          </p:cNvPr>
          <p:cNvSpPr txBox="1">
            <a:spLocks/>
          </p:cNvSpPr>
          <p:nvPr/>
        </p:nvSpPr>
        <p:spPr>
          <a:xfrm>
            <a:off x="3742" y="2811713"/>
            <a:ext cx="2556000" cy="304998"/>
          </a:xfrm>
          <a:prstGeom prst="rect">
            <a:avLst/>
          </a:prstGeom>
        </p:spPr>
        <p:txBody>
          <a:bodyPr/>
          <a:lstStyle>
            <a:lvl1pPr marL="0" eaLnBrk="1" hangingPunct="1">
              <a:spcBef>
                <a:spcPts val="600"/>
              </a:spcBef>
              <a:spcAft>
                <a:spcPts val="0"/>
              </a:spcAft>
              <a:defRPr lang="en-US" sz="1600" b="0" kern="1200" cap="none" spc="0" baseline="0" dirty="0" smtClean="0">
                <a:solidFill>
                  <a:schemeClr val="tx1"/>
                </a:solidFill>
                <a:latin typeface="+mn-lt"/>
                <a:ea typeface="+mn-ea"/>
                <a:cs typeface="Arial" pitchFamily="34" charset="0"/>
              </a:defRPr>
            </a:lvl1pPr>
            <a:lvl2pPr marL="246820" indent="-246820" eaLnBrk="1" hangingPunct="1">
              <a:spcBef>
                <a:spcPts val="600"/>
              </a:spcBef>
              <a:spcAft>
                <a:spcPts val="0"/>
              </a:spcAft>
              <a:buFont typeface="Wingdings" pitchFamily="2" charset="2"/>
              <a:buChar char="§"/>
              <a:defRPr sz="1600" b="0" kern="1200" spc="0">
                <a:solidFill>
                  <a:schemeClr val="tx1"/>
                </a:solidFill>
                <a:latin typeface="+mn-lt"/>
                <a:ea typeface="+mn-ea"/>
                <a:cs typeface="Arial" pitchFamily="34" charset="0"/>
              </a:defRPr>
            </a:lvl2pPr>
            <a:lvl3pPr marL="493640" indent="-246820" eaLnBrk="1" hangingPunct="1">
              <a:spcBef>
                <a:spcPts val="600"/>
              </a:spcBef>
              <a:spcAft>
                <a:spcPts val="0"/>
              </a:spcAft>
              <a:buFont typeface="Webdings" pitchFamily="18" charset="2"/>
              <a:buChar char="4"/>
              <a:defRPr sz="1600" b="0" kern="1200" spc="0">
                <a:solidFill>
                  <a:schemeClr val="tx1"/>
                </a:solidFill>
                <a:latin typeface="+mn-lt"/>
                <a:ea typeface="+mn-ea"/>
                <a:cs typeface="Arial" pitchFamily="34" charset="0"/>
              </a:defRPr>
            </a:lvl3pPr>
            <a:lvl4pPr marL="781596" indent="-205683" eaLnBrk="1" hangingPunct="1">
              <a:spcBef>
                <a:spcPts val="600"/>
              </a:spcBef>
              <a:spcAft>
                <a:spcPts val="0"/>
              </a:spcAft>
              <a:buFont typeface="Symbol" pitchFamily="18" charset="2"/>
              <a:buChar char="-"/>
              <a:defRPr sz="1600" b="0" i="0" kern="1200" spc="0" baseline="0">
                <a:solidFill>
                  <a:schemeClr val="tx1"/>
                </a:solidFill>
                <a:latin typeface="+mn-lt"/>
                <a:ea typeface="+mn-ea"/>
                <a:cs typeface="+mn-cs"/>
              </a:defRPr>
            </a:lvl4pPr>
            <a:lvl5pPr marL="1069552" indent="-246820" eaLnBrk="1" hangingPunct="1">
              <a:spcBef>
                <a:spcPts val="600"/>
              </a:spcBef>
              <a:spcAft>
                <a:spcPts val="0"/>
              </a:spcAft>
              <a:buFont typeface="Arial" pitchFamily="34" charset="0"/>
              <a:buChar char="•"/>
              <a:defRPr sz="1600" b="0" i="0" kern="1200" spc="0" baseline="0">
                <a:solidFill>
                  <a:schemeClr val="tx1"/>
                </a:solidFill>
                <a:latin typeface="+mn-lt"/>
                <a:ea typeface="+mn-ea"/>
                <a:cs typeface="+mn-cs"/>
              </a:defRPr>
            </a:lvl5pPr>
            <a:lvl6pPr marL="1357509" indent="-246820" eaLnBrk="1" hangingPunct="1">
              <a:spcBef>
                <a:spcPts val="600"/>
              </a:spcBef>
              <a:spcAft>
                <a:spcPts val="0"/>
              </a:spcAft>
              <a:buSzPct val="65000"/>
              <a:buFont typeface="Wingdings" pitchFamily="2" charset="2"/>
              <a:buChar char="w"/>
              <a:defRPr sz="1600" b="0" i="0" kern="1200" spc="0" baseline="0">
                <a:solidFill>
                  <a:schemeClr val="tx1"/>
                </a:solidFill>
                <a:latin typeface="+mn-lt"/>
                <a:ea typeface="+mn-ea"/>
                <a:cs typeface="+mn-cs"/>
              </a:defRPr>
            </a:lvl6pPr>
            <a:lvl7pPr marL="1973082" eaLnBrk="1" hangingPunct="1">
              <a:defRPr>
                <a:latin typeface="+mn-lt"/>
                <a:ea typeface="+mn-ea"/>
                <a:cs typeface="+mn-cs"/>
              </a:defRPr>
            </a:lvl7pPr>
            <a:lvl8pPr marL="2301932" eaLnBrk="1" hangingPunct="1">
              <a:defRPr>
                <a:latin typeface="+mn-lt"/>
                <a:ea typeface="+mn-ea"/>
                <a:cs typeface="+mn-cs"/>
              </a:defRPr>
            </a:lvl8pPr>
            <a:lvl9pPr marL="2630778" eaLnBrk="1" hangingPunct="1">
              <a:defRPr>
                <a:latin typeface="+mn-lt"/>
                <a:ea typeface="+mn-ea"/>
                <a:cs typeface="+mn-cs"/>
              </a:defRPr>
            </a:lvl9pPr>
          </a:lstStyle>
          <a:p>
            <a:pPr marL="0" lvl="1" indent="0" algn="ctr" defTabSz="1009040">
              <a:spcBef>
                <a:spcPts val="0"/>
              </a:spcBef>
              <a:buClr>
                <a:schemeClr val="tx2"/>
              </a:buClr>
              <a:buNone/>
              <a:defRPr/>
            </a:pPr>
            <a:r>
              <a:rPr lang="fr-FR" sz="1400" b="1">
                <a:solidFill>
                  <a:schemeClr val="tx2"/>
                </a:solidFill>
              </a:rPr>
              <a:t>Aéronautique &amp; Défense</a:t>
            </a:r>
          </a:p>
        </p:txBody>
      </p:sp>
      <p:sp>
        <p:nvSpPr>
          <p:cNvPr id="43" name="Espace réservé du texte 3">
            <a:extLst>
              <a:ext uri="{FF2B5EF4-FFF2-40B4-BE49-F238E27FC236}">
                <a16:creationId xmlns:a16="http://schemas.microsoft.com/office/drawing/2014/main" id="{02FC4CF3-5D10-4BF6-8C7A-4F2648F05C5E}"/>
              </a:ext>
            </a:extLst>
          </p:cNvPr>
          <p:cNvSpPr txBox="1">
            <a:spLocks/>
          </p:cNvSpPr>
          <p:nvPr/>
        </p:nvSpPr>
        <p:spPr>
          <a:xfrm>
            <a:off x="2441704" y="2811713"/>
            <a:ext cx="3785261" cy="260436"/>
          </a:xfrm>
          <a:prstGeom prst="rect">
            <a:avLst/>
          </a:prstGeom>
        </p:spPr>
        <p:txBody>
          <a:bodyPr/>
          <a:lstStyle>
            <a:lvl1pPr marL="0" eaLnBrk="1" hangingPunct="1">
              <a:spcBef>
                <a:spcPts val="600"/>
              </a:spcBef>
              <a:spcAft>
                <a:spcPts val="0"/>
              </a:spcAft>
              <a:defRPr lang="en-US" sz="1600" b="0" kern="1200" cap="none" spc="0" baseline="0" dirty="0" smtClean="0">
                <a:solidFill>
                  <a:schemeClr val="tx1"/>
                </a:solidFill>
                <a:latin typeface="+mn-lt"/>
                <a:ea typeface="+mn-ea"/>
                <a:cs typeface="Arial" pitchFamily="34" charset="0"/>
              </a:defRPr>
            </a:lvl1pPr>
            <a:lvl2pPr marL="246820" indent="-246820" eaLnBrk="1" hangingPunct="1">
              <a:spcBef>
                <a:spcPts val="600"/>
              </a:spcBef>
              <a:spcAft>
                <a:spcPts val="0"/>
              </a:spcAft>
              <a:buFont typeface="Wingdings" pitchFamily="2" charset="2"/>
              <a:buChar char="§"/>
              <a:defRPr sz="1600" b="0" kern="1200" spc="0">
                <a:solidFill>
                  <a:schemeClr val="tx1"/>
                </a:solidFill>
                <a:latin typeface="+mn-lt"/>
                <a:ea typeface="+mn-ea"/>
                <a:cs typeface="Arial" pitchFamily="34" charset="0"/>
              </a:defRPr>
            </a:lvl2pPr>
            <a:lvl3pPr marL="493640" indent="-246820" eaLnBrk="1" hangingPunct="1">
              <a:spcBef>
                <a:spcPts val="600"/>
              </a:spcBef>
              <a:spcAft>
                <a:spcPts val="0"/>
              </a:spcAft>
              <a:buFont typeface="Webdings" pitchFamily="18" charset="2"/>
              <a:buChar char="4"/>
              <a:defRPr sz="1600" b="0" kern="1200" spc="0">
                <a:solidFill>
                  <a:schemeClr val="tx1"/>
                </a:solidFill>
                <a:latin typeface="+mn-lt"/>
                <a:ea typeface="+mn-ea"/>
                <a:cs typeface="Arial" pitchFamily="34" charset="0"/>
              </a:defRPr>
            </a:lvl3pPr>
            <a:lvl4pPr marL="781596" indent="-205683" eaLnBrk="1" hangingPunct="1">
              <a:spcBef>
                <a:spcPts val="600"/>
              </a:spcBef>
              <a:spcAft>
                <a:spcPts val="0"/>
              </a:spcAft>
              <a:buFont typeface="Symbol" pitchFamily="18" charset="2"/>
              <a:buChar char="-"/>
              <a:defRPr sz="1600" b="0" i="0" kern="1200" spc="0" baseline="0">
                <a:solidFill>
                  <a:schemeClr val="tx1"/>
                </a:solidFill>
                <a:latin typeface="+mn-lt"/>
                <a:ea typeface="+mn-ea"/>
                <a:cs typeface="+mn-cs"/>
              </a:defRPr>
            </a:lvl4pPr>
            <a:lvl5pPr marL="1069552" indent="-246820" eaLnBrk="1" hangingPunct="1">
              <a:spcBef>
                <a:spcPts val="600"/>
              </a:spcBef>
              <a:spcAft>
                <a:spcPts val="0"/>
              </a:spcAft>
              <a:buFont typeface="Arial" pitchFamily="34" charset="0"/>
              <a:buChar char="•"/>
              <a:defRPr sz="1600" b="0" i="0" kern="1200" spc="0" baseline="0">
                <a:solidFill>
                  <a:schemeClr val="tx1"/>
                </a:solidFill>
                <a:latin typeface="+mn-lt"/>
                <a:ea typeface="+mn-ea"/>
                <a:cs typeface="+mn-cs"/>
              </a:defRPr>
            </a:lvl5pPr>
            <a:lvl6pPr marL="1357509" indent="-246820" eaLnBrk="1" hangingPunct="1">
              <a:spcBef>
                <a:spcPts val="600"/>
              </a:spcBef>
              <a:spcAft>
                <a:spcPts val="0"/>
              </a:spcAft>
              <a:buSzPct val="65000"/>
              <a:buFont typeface="Wingdings" pitchFamily="2" charset="2"/>
              <a:buChar char="w"/>
              <a:defRPr sz="1600" b="0" i="0" kern="1200" spc="0" baseline="0">
                <a:solidFill>
                  <a:schemeClr val="tx1"/>
                </a:solidFill>
                <a:latin typeface="+mn-lt"/>
                <a:ea typeface="+mn-ea"/>
                <a:cs typeface="+mn-cs"/>
              </a:defRPr>
            </a:lvl6pPr>
            <a:lvl7pPr marL="1973082" eaLnBrk="1" hangingPunct="1">
              <a:defRPr>
                <a:latin typeface="+mn-lt"/>
                <a:ea typeface="+mn-ea"/>
                <a:cs typeface="+mn-cs"/>
              </a:defRPr>
            </a:lvl7pPr>
            <a:lvl8pPr marL="2301932" eaLnBrk="1" hangingPunct="1">
              <a:defRPr>
                <a:latin typeface="+mn-lt"/>
                <a:ea typeface="+mn-ea"/>
                <a:cs typeface="+mn-cs"/>
              </a:defRPr>
            </a:lvl8pPr>
            <a:lvl9pPr marL="2630778" eaLnBrk="1" hangingPunct="1">
              <a:defRPr>
                <a:latin typeface="+mn-lt"/>
                <a:ea typeface="+mn-ea"/>
                <a:cs typeface="+mn-cs"/>
              </a:defRPr>
            </a:lvl9pPr>
          </a:lstStyle>
          <a:p>
            <a:pPr marL="0" lvl="1" indent="0" algn="ctr" defTabSz="1009040">
              <a:spcBef>
                <a:spcPts val="0"/>
              </a:spcBef>
              <a:buClr>
                <a:schemeClr val="tx2"/>
              </a:buClr>
              <a:buNone/>
              <a:defRPr/>
            </a:pPr>
            <a:r>
              <a:rPr lang="fr-FR" sz="1400" b="1">
                <a:solidFill>
                  <a:schemeClr val="tx2"/>
                </a:solidFill>
              </a:rPr>
              <a:t>Pharmaceutique &amp; Produits de Santé</a:t>
            </a:r>
          </a:p>
        </p:txBody>
      </p:sp>
      <p:sp>
        <p:nvSpPr>
          <p:cNvPr id="44" name="Espace réservé du texte 3">
            <a:extLst>
              <a:ext uri="{FF2B5EF4-FFF2-40B4-BE49-F238E27FC236}">
                <a16:creationId xmlns:a16="http://schemas.microsoft.com/office/drawing/2014/main" id="{257530C7-B54B-4A50-94E6-F3AAFEB4F72B}"/>
              </a:ext>
            </a:extLst>
          </p:cNvPr>
          <p:cNvSpPr txBox="1">
            <a:spLocks/>
          </p:cNvSpPr>
          <p:nvPr/>
        </p:nvSpPr>
        <p:spPr>
          <a:xfrm>
            <a:off x="6042025" y="2811713"/>
            <a:ext cx="2556000" cy="304998"/>
          </a:xfrm>
          <a:prstGeom prst="rect">
            <a:avLst/>
          </a:prstGeom>
        </p:spPr>
        <p:txBody>
          <a:bodyPr/>
          <a:lstStyle>
            <a:lvl1pPr marL="0" eaLnBrk="1" hangingPunct="1">
              <a:spcBef>
                <a:spcPts val="600"/>
              </a:spcBef>
              <a:spcAft>
                <a:spcPts val="0"/>
              </a:spcAft>
              <a:defRPr lang="en-US" sz="1600" b="0" kern="1200" cap="none" spc="0" baseline="0" dirty="0" smtClean="0">
                <a:solidFill>
                  <a:schemeClr val="tx1"/>
                </a:solidFill>
                <a:latin typeface="+mn-lt"/>
                <a:ea typeface="+mn-ea"/>
                <a:cs typeface="Arial" pitchFamily="34" charset="0"/>
              </a:defRPr>
            </a:lvl1pPr>
            <a:lvl2pPr marL="246820" indent="-246820" eaLnBrk="1" hangingPunct="1">
              <a:spcBef>
                <a:spcPts val="600"/>
              </a:spcBef>
              <a:spcAft>
                <a:spcPts val="0"/>
              </a:spcAft>
              <a:buFont typeface="Wingdings" pitchFamily="2" charset="2"/>
              <a:buChar char="§"/>
              <a:defRPr sz="1600" b="0" kern="1200" spc="0">
                <a:solidFill>
                  <a:schemeClr val="tx1"/>
                </a:solidFill>
                <a:latin typeface="+mn-lt"/>
                <a:ea typeface="+mn-ea"/>
                <a:cs typeface="Arial" pitchFamily="34" charset="0"/>
              </a:defRPr>
            </a:lvl2pPr>
            <a:lvl3pPr marL="493640" indent="-246820" eaLnBrk="1" hangingPunct="1">
              <a:spcBef>
                <a:spcPts val="600"/>
              </a:spcBef>
              <a:spcAft>
                <a:spcPts val="0"/>
              </a:spcAft>
              <a:buFont typeface="Webdings" pitchFamily="18" charset="2"/>
              <a:buChar char="4"/>
              <a:defRPr sz="1600" b="0" kern="1200" spc="0">
                <a:solidFill>
                  <a:schemeClr val="tx1"/>
                </a:solidFill>
                <a:latin typeface="+mn-lt"/>
                <a:ea typeface="+mn-ea"/>
                <a:cs typeface="Arial" pitchFamily="34" charset="0"/>
              </a:defRPr>
            </a:lvl3pPr>
            <a:lvl4pPr marL="781596" indent="-205683" eaLnBrk="1" hangingPunct="1">
              <a:spcBef>
                <a:spcPts val="600"/>
              </a:spcBef>
              <a:spcAft>
                <a:spcPts val="0"/>
              </a:spcAft>
              <a:buFont typeface="Symbol" pitchFamily="18" charset="2"/>
              <a:buChar char="-"/>
              <a:defRPr sz="1600" b="0" i="0" kern="1200" spc="0" baseline="0">
                <a:solidFill>
                  <a:schemeClr val="tx1"/>
                </a:solidFill>
                <a:latin typeface="+mn-lt"/>
                <a:ea typeface="+mn-ea"/>
                <a:cs typeface="+mn-cs"/>
              </a:defRPr>
            </a:lvl4pPr>
            <a:lvl5pPr marL="1069552" indent="-246820" eaLnBrk="1" hangingPunct="1">
              <a:spcBef>
                <a:spcPts val="600"/>
              </a:spcBef>
              <a:spcAft>
                <a:spcPts val="0"/>
              </a:spcAft>
              <a:buFont typeface="Arial" pitchFamily="34" charset="0"/>
              <a:buChar char="•"/>
              <a:defRPr sz="1600" b="0" i="0" kern="1200" spc="0" baseline="0">
                <a:solidFill>
                  <a:schemeClr val="tx1"/>
                </a:solidFill>
                <a:latin typeface="+mn-lt"/>
                <a:ea typeface="+mn-ea"/>
                <a:cs typeface="+mn-cs"/>
              </a:defRPr>
            </a:lvl5pPr>
            <a:lvl6pPr marL="1357509" indent="-246820" eaLnBrk="1" hangingPunct="1">
              <a:spcBef>
                <a:spcPts val="600"/>
              </a:spcBef>
              <a:spcAft>
                <a:spcPts val="0"/>
              </a:spcAft>
              <a:buSzPct val="65000"/>
              <a:buFont typeface="Wingdings" pitchFamily="2" charset="2"/>
              <a:buChar char="w"/>
              <a:defRPr sz="1600" b="0" i="0" kern="1200" spc="0" baseline="0">
                <a:solidFill>
                  <a:schemeClr val="tx1"/>
                </a:solidFill>
                <a:latin typeface="+mn-lt"/>
                <a:ea typeface="+mn-ea"/>
                <a:cs typeface="+mn-cs"/>
              </a:defRPr>
            </a:lvl6pPr>
            <a:lvl7pPr marL="1973082" eaLnBrk="1" hangingPunct="1">
              <a:defRPr>
                <a:latin typeface="+mn-lt"/>
                <a:ea typeface="+mn-ea"/>
                <a:cs typeface="+mn-cs"/>
              </a:defRPr>
            </a:lvl7pPr>
            <a:lvl8pPr marL="2301932" eaLnBrk="1" hangingPunct="1">
              <a:defRPr>
                <a:latin typeface="+mn-lt"/>
                <a:ea typeface="+mn-ea"/>
                <a:cs typeface="+mn-cs"/>
              </a:defRPr>
            </a:lvl8pPr>
            <a:lvl9pPr marL="2630778" eaLnBrk="1" hangingPunct="1">
              <a:defRPr>
                <a:latin typeface="+mn-lt"/>
                <a:ea typeface="+mn-ea"/>
                <a:cs typeface="+mn-cs"/>
              </a:defRPr>
            </a:lvl9pPr>
          </a:lstStyle>
          <a:p>
            <a:pPr marL="0" lvl="1" indent="0" algn="ctr" defTabSz="1009040">
              <a:spcBef>
                <a:spcPts val="0"/>
              </a:spcBef>
              <a:buClr>
                <a:schemeClr val="tx2"/>
              </a:buClr>
              <a:buNone/>
              <a:defRPr/>
            </a:pPr>
            <a:r>
              <a:rPr lang="fr-FR" sz="1400" b="1">
                <a:solidFill>
                  <a:schemeClr val="tx2"/>
                </a:solidFill>
              </a:rPr>
              <a:t>Energie &amp; Utilities</a:t>
            </a:r>
          </a:p>
        </p:txBody>
      </p:sp>
      <p:sp>
        <p:nvSpPr>
          <p:cNvPr id="45" name="Espace réservé du texte 3">
            <a:extLst>
              <a:ext uri="{FF2B5EF4-FFF2-40B4-BE49-F238E27FC236}">
                <a16:creationId xmlns:a16="http://schemas.microsoft.com/office/drawing/2014/main" id="{78ADF0AE-49C9-49A2-88C6-9F2017CF3273}"/>
              </a:ext>
            </a:extLst>
          </p:cNvPr>
          <p:cNvSpPr txBox="1">
            <a:spLocks/>
          </p:cNvSpPr>
          <p:nvPr/>
        </p:nvSpPr>
        <p:spPr>
          <a:xfrm>
            <a:off x="-6650" y="6419065"/>
            <a:ext cx="2051999" cy="304998"/>
          </a:xfrm>
          <a:prstGeom prst="rect">
            <a:avLst/>
          </a:prstGeom>
        </p:spPr>
        <p:txBody>
          <a:bodyPr/>
          <a:lstStyle>
            <a:lvl1pPr marL="0" eaLnBrk="1" hangingPunct="1">
              <a:spcBef>
                <a:spcPts val="600"/>
              </a:spcBef>
              <a:spcAft>
                <a:spcPts val="0"/>
              </a:spcAft>
              <a:defRPr lang="en-US" sz="1600" b="0" kern="1200" cap="none" spc="0" baseline="0" dirty="0" smtClean="0">
                <a:solidFill>
                  <a:schemeClr val="tx1"/>
                </a:solidFill>
                <a:latin typeface="+mn-lt"/>
                <a:ea typeface="+mn-ea"/>
                <a:cs typeface="Arial" pitchFamily="34" charset="0"/>
              </a:defRPr>
            </a:lvl1pPr>
            <a:lvl2pPr marL="246820" indent="-246820" eaLnBrk="1" hangingPunct="1">
              <a:spcBef>
                <a:spcPts val="600"/>
              </a:spcBef>
              <a:spcAft>
                <a:spcPts val="0"/>
              </a:spcAft>
              <a:buFont typeface="Wingdings" pitchFamily="2" charset="2"/>
              <a:buChar char="§"/>
              <a:defRPr sz="1600" b="0" kern="1200" spc="0">
                <a:solidFill>
                  <a:schemeClr val="tx1"/>
                </a:solidFill>
                <a:latin typeface="+mn-lt"/>
                <a:ea typeface="+mn-ea"/>
                <a:cs typeface="Arial" pitchFamily="34" charset="0"/>
              </a:defRPr>
            </a:lvl2pPr>
            <a:lvl3pPr marL="493640" indent="-246820" eaLnBrk="1" hangingPunct="1">
              <a:spcBef>
                <a:spcPts val="600"/>
              </a:spcBef>
              <a:spcAft>
                <a:spcPts val="0"/>
              </a:spcAft>
              <a:buFont typeface="Webdings" pitchFamily="18" charset="2"/>
              <a:buChar char="4"/>
              <a:defRPr sz="1600" b="0" kern="1200" spc="0">
                <a:solidFill>
                  <a:schemeClr val="tx1"/>
                </a:solidFill>
                <a:latin typeface="+mn-lt"/>
                <a:ea typeface="+mn-ea"/>
                <a:cs typeface="Arial" pitchFamily="34" charset="0"/>
              </a:defRPr>
            </a:lvl3pPr>
            <a:lvl4pPr marL="781596" indent="-205683" eaLnBrk="1" hangingPunct="1">
              <a:spcBef>
                <a:spcPts val="600"/>
              </a:spcBef>
              <a:spcAft>
                <a:spcPts val="0"/>
              </a:spcAft>
              <a:buFont typeface="Symbol" pitchFamily="18" charset="2"/>
              <a:buChar char="-"/>
              <a:defRPr sz="1600" b="0" i="0" kern="1200" spc="0" baseline="0">
                <a:solidFill>
                  <a:schemeClr val="tx1"/>
                </a:solidFill>
                <a:latin typeface="+mn-lt"/>
                <a:ea typeface="+mn-ea"/>
                <a:cs typeface="+mn-cs"/>
              </a:defRPr>
            </a:lvl4pPr>
            <a:lvl5pPr marL="1069552" indent="-246820" eaLnBrk="1" hangingPunct="1">
              <a:spcBef>
                <a:spcPts val="600"/>
              </a:spcBef>
              <a:spcAft>
                <a:spcPts val="0"/>
              </a:spcAft>
              <a:buFont typeface="Arial" pitchFamily="34" charset="0"/>
              <a:buChar char="•"/>
              <a:defRPr sz="1600" b="0" i="0" kern="1200" spc="0" baseline="0">
                <a:solidFill>
                  <a:schemeClr val="tx1"/>
                </a:solidFill>
                <a:latin typeface="+mn-lt"/>
                <a:ea typeface="+mn-ea"/>
                <a:cs typeface="+mn-cs"/>
              </a:defRPr>
            </a:lvl5pPr>
            <a:lvl6pPr marL="1357509" indent="-246820" eaLnBrk="1" hangingPunct="1">
              <a:spcBef>
                <a:spcPts val="600"/>
              </a:spcBef>
              <a:spcAft>
                <a:spcPts val="0"/>
              </a:spcAft>
              <a:buSzPct val="65000"/>
              <a:buFont typeface="Wingdings" pitchFamily="2" charset="2"/>
              <a:buChar char="w"/>
              <a:defRPr sz="1600" b="0" i="0" kern="1200" spc="0" baseline="0">
                <a:solidFill>
                  <a:schemeClr val="tx1"/>
                </a:solidFill>
                <a:latin typeface="+mn-lt"/>
                <a:ea typeface="+mn-ea"/>
                <a:cs typeface="+mn-cs"/>
              </a:defRPr>
            </a:lvl6pPr>
            <a:lvl7pPr marL="1973082" eaLnBrk="1" hangingPunct="1">
              <a:defRPr>
                <a:latin typeface="+mn-lt"/>
                <a:ea typeface="+mn-ea"/>
                <a:cs typeface="+mn-cs"/>
              </a:defRPr>
            </a:lvl7pPr>
            <a:lvl8pPr marL="2301932" eaLnBrk="1" hangingPunct="1">
              <a:defRPr>
                <a:latin typeface="+mn-lt"/>
                <a:ea typeface="+mn-ea"/>
                <a:cs typeface="+mn-cs"/>
              </a:defRPr>
            </a:lvl8pPr>
            <a:lvl9pPr marL="2630778" eaLnBrk="1" hangingPunct="1">
              <a:defRPr>
                <a:latin typeface="+mn-lt"/>
                <a:ea typeface="+mn-ea"/>
                <a:cs typeface="+mn-cs"/>
              </a:defRPr>
            </a:lvl9pPr>
          </a:lstStyle>
          <a:p>
            <a:pPr marL="0" lvl="1" indent="0" algn="ctr" defTabSz="1009040">
              <a:spcBef>
                <a:spcPts val="0"/>
              </a:spcBef>
              <a:buClr>
                <a:schemeClr val="tx2"/>
              </a:buClr>
              <a:buNone/>
              <a:defRPr/>
            </a:pPr>
            <a:r>
              <a:rPr lang="fr-FR" sz="1400" b="1">
                <a:solidFill>
                  <a:schemeClr val="tx2"/>
                </a:solidFill>
              </a:rPr>
              <a:t>Construction, &amp; Infrastructure</a:t>
            </a:r>
          </a:p>
        </p:txBody>
      </p:sp>
      <p:sp>
        <p:nvSpPr>
          <p:cNvPr id="46" name="Espace réservé du texte 3">
            <a:extLst>
              <a:ext uri="{FF2B5EF4-FFF2-40B4-BE49-F238E27FC236}">
                <a16:creationId xmlns:a16="http://schemas.microsoft.com/office/drawing/2014/main" id="{AB5B7A37-188F-4C52-A1D0-FBD47E507F33}"/>
              </a:ext>
            </a:extLst>
          </p:cNvPr>
          <p:cNvSpPr txBox="1">
            <a:spLocks/>
          </p:cNvSpPr>
          <p:nvPr/>
        </p:nvSpPr>
        <p:spPr>
          <a:xfrm>
            <a:off x="2003425" y="6419065"/>
            <a:ext cx="2912338" cy="304998"/>
          </a:xfrm>
          <a:prstGeom prst="rect">
            <a:avLst/>
          </a:prstGeom>
        </p:spPr>
        <p:txBody>
          <a:bodyPr/>
          <a:lstStyle>
            <a:lvl1pPr marL="0" eaLnBrk="1" hangingPunct="1">
              <a:spcBef>
                <a:spcPts val="600"/>
              </a:spcBef>
              <a:spcAft>
                <a:spcPts val="0"/>
              </a:spcAft>
              <a:defRPr lang="en-US" sz="1600" b="0" kern="1200" cap="none" spc="0" baseline="0" dirty="0" smtClean="0">
                <a:solidFill>
                  <a:schemeClr val="tx1"/>
                </a:solidFill>
                <a:latin typeface="+mn-lt"/>
                <a:ea typeface="+mn-ea"/>
                <a:cs typeface="Arial" pitchFamily="34" charset="0"/>
              </a:defRPr>
            </a:lvl1pPr>
            <a:lvl2pPr marL="246820" indent="-246820" eaLnBrk="1" hangingPunct="1">
              <a:spcBef>
                <a:spcPts val="600"/>
              </a:spcBef>
              <a:spcAft>
                <a:spcPts val="0"/>
              </a:spcAft>
              <a:buFont typeface="Wingdings" pitchFamily="2" charset="2"/>
              <a:buChar char="§"/>
              <a:defRPr sz="1600" b="0" kern="1200" spc="0">
                <a:solidFill>
                  <a:schemeClr val="tx1"/>
                </a:solidFill>
                <a:latin typeface="+mn-lt"/>
                <a:ea typeface="+mn-ea"/>
                <a:cs typeface="Arial" pitchFamily="34" charset="0"/>
              </a:defRPr>
            </a:lvl2pPr>
            <a:lvl3pPr marL="493640" indent="-246820" eaLnBrk="1" hangingPunct="1">
              <a:spcBef>
                <a:spcPts val="600"/>
              </a:spcBef>
              <a:spcAft>
                <a:spcPts val="0"/>
              </a:spcAft>
              <a:buFont typeface="Webdings" pitchFamily="18" charset="2"/>
              <a:buChar char="4"/>
              <a:defRPr sz="1600" b="0" kern="1200" spc="0">
                <a:solidFill>
                  <a:schemeClr val="tx1"/>
                </a:solidFill>
                <a:latin typeface="+mn-lt"/>
                <a:ea typeface="+mn-ea"/>
                <a:cs typeface="Arial" pitchFamily="34" charset="0"/>
              </a:defRPr>
            </a:lvl3pPr>
            <a:lvl4pPr marL="781596" indent="-205683" eaLnBrk="1" hangingPunct="1">
              <a:spcBef>
                <a:spcPts val="600"/>
              </a:spcBef>
              <a:spcAft>
                <a:spcPts val="0"/>
              </a:spcAft>
              <a:buFont typeface="Symbol" pitchFamily="18" charset="2"/>
              <a:buChar char="-"/>
              <a:defRPr sz="1600" b="0" i="0" kern="1200" spc="0" baseline="0">
                <a:solidFill>
                  <a:schemeClr val="tx1"/>
                </a:solidFill>
                <a:latin typeface="+mn-lt"/>
                <a:ea typeface="+mn-ea"/>
                <a:cs typeface="+mn-cs"/>
              </a:defRPr>
            </a:lvl4pPr>
            <a:lvl5pPr marL="1069552" indent="-246820" eaLnBrk="1" hangingPunct="1">
              <a:spcBef>
                <a:spcPts val="600"/>
              </a:spcBef>
              <a:spcAft>
                <a:spcPts val="0"/>
              </a:spcAft>
              <a:buFont typeface="Arial" pitchFamily="34" charset="0"/>
              <a:buChar char="•"/>
              <a:defRPr sz="1600" b="0" i="0" kern="1200" spc="0" baseline="0">
                <a:solidFill>
                  <a:schemeClr val="tx1"/>
                </a:solidFill>
                <a:latin typeface="+mn-lt"/>
                <a:ea typeface="+mn-ea"/>
                <a:cs typeface="+mn-cs"/>
              </a:defRPr>
            </a:lvl5pPr>
            <a:lvl6pPr marL="1357509" indent="-246820" eaLnBrk="1" hangingPunct="1">
              <a:spcBef>
                <a:spcPts val="600"/>
              </a:spcBef>
              <a:spcAft>
                <a:spcPts val="0"/>
              </a:spcAft>
              <a:buSzPct val="65000"/>
              <a:buFont typeface="Wingdings" pitchFamily="2" charset="2"/>
              <a:buChar char="w"/>
              <a:defRPr sz="1600" b="0" i="0" kern="1200" spc="0" baseline="0">
                <a:solidFill>
                  <a:schemeClr val="tx1"/>
                </a:solidFill>
                <a:latin typeface="+mn-lt"/>
                <a:ea typeface="+mn-ea"/>
                <a:cs typeface="+mn-cs"/>
              </a:defRPr>
            </a:lvl6pPr>
            <a:lvl7pPr marL="1973082" eaLnBrk="1" hangingPunct="1">
              <a:defRPr>
                <a:latin typeface="+mn-lt"/>
                <a:ea typeface="+mn-ea"/>
                <a:cs typeface="+mn-cs"/>
              </a:defRPr>
            </a:lvl7pPr>
            <a:lvl8pPr marL="2301932" eaLnBrk="1" hangingPunct="1">
              <a:defRPr>
                <a:latin typeface="+mn-lt"/>
                <a:ea typeface="+mn-ea"/>
                <a:cs typeface="+mn-cs"/>
              </a:defRPr>
            </a:lvl8pPr>
            <a:lvl9pPr marL="2630778" eaLnBrk="1" hangingPunct="1">
              <a:defRPr>
                <a:latin typeface="+mn-lt"/>
                <a:ea typeface="+mn-ea"/>
                <a:cs typeface="+mn-cs"/>
              </a:defRPr>
            </a:lvl9pPr>
          </a:lstStyle>
          <a:p>
            <a:pPr marL="0" lvl="1" indent="0" algn="ctr" defTabSz="1009040">
              <a:spcBef>
                <a:spcPts val="0"/>
              </a:spcBef>
              <a:buClr>
                <a:schemeClr val="tx2"/>
              </a:buClr>
              <a:buNone/>
              <a:defRPr/>
            </a:pPr>
            <a:r>
              <a:rPr lang="fr-FR" sz="1400" b="1">
                <a:solidFill>
                  <a:schemeClr val="tx2"/>
                </a:solidFill>
              </a:rPr>
              <a:t>Matériaux &amp; Produits Chimiques</a:t>
            </a:r>
          </a:p>
        </p:txBody>
      </p:sp>
      <p:sp>
        <p:nvSpPr>
          <p:cNvPr id="47" name="Espace réservé du texte 3">
            <a:extLst>
              <a:ext uri="{FF2B5EF4-FFF2-40B4-BE49-F238E27FC236}">
                <a16:creationId xmlns:a16="http://schemas.microsoft.com/office/drawing/2014/main" id="{6B113768-C61B-4BED-AD01-4C485E1374C7}"/>
              </a:ext>
            </a:extLst>
          </p:cNvPr>
          <p:cNvSpPr txBox="1">
            <a:spLocks/>
          </p:cNvSpPr>
          <p:nvPr/>
        </p:nvSpPr>
        <p:spPr>
          <a:xfrm>
            <a:off x="4969825" y="6419065"/>
            <a:ext cx="2520000" cy="304998"/>
          </a:xfrm>
          <a:prstGeom prst="rect">
            <a:avLst/>
          </a:prstGeom>
        </p:spPr>
        <p:txBody>
          <a:bodyPr/>
          <a:lstStyle>
            <a:lvl1pPr marL="0" eaLnBrk="1" hangingPunct="1">
              <a:spcBef>
                <a:spcPts val="600"/>
              </a:spcBef>
              <a:spcAft>
                <a:spcPts val="0"/>
              </a:spcAft>
              <a:defRPr lang="en-US" sz="1600" b="0" kern="1200" cap="none" spc="0" baseline="0" dirty="0" smtClean="0">
                <a:solidFill>
                  <a:schemeClr val="tx1"/>
                </a:solidFill>
                <a:latin typeface="+mn-lt"/>
                <a:ea typeface="+mn-ea"/>
                <a:cs typeface="Arial" pitchFamily="34" charset="0"/>
              </a:defRPr>
            </a:lvl1pPr>
            <a:lvl2pPr marL="246820" indent="-246820" eaLnBrk="1" hangingPunct="1">
              <a:spcBef>
                <a:spcPts val="600"/>
              </a:spcBef>
              <a:spcAft>
                <a:spcPts val="0"/>
              </a:spcAft>
              <a:buFont typeface="Wingdings" pitchFamily="2" charset="2"/>
              <a:buChar char="§"/>
              <a:defRPr sz="1600" b="0" kern="1200" spc="0">
                <a:solidFill>
                  <a:schemeClr val="tx1"/>
                </a:solidFill>
                <a:latin typeface="+mn-lt"/>
                <a:ea typeface="+mn-ea"/>
                <a:cs typeface="Arial" pitchFamily="34" charset="0"/>
              </a:defRPr>
            </a:lvl2pPr>
            <a:lvl3pPr marL="493640" indent="-246820" eaLnBrk="1" hangingPunct="1">
              <a:spcBef>
                <a:spcPts val="600"/>
              </a:spcBef>
              <a:spcAft>
                <a:spcPts val="0"/>
              </a:spcAft>
              <a:buFont typeface="Webdings" pitchFamily="18" charset="2"/>
              <a:buChar char="4"/>
              <a:defRPr sz="1600" b="0" kern="1200" spc="0">
                <a:solidFill>
                  <a:schemeClr val="tx1"/>
                </a:solidFill>
                <a:latin typeface="+mn-lt"/>
                <a:ea typeface="+mn-ea"/>
                <a:cs typeface="Arial" pitchFamily="34" charset="0"/>
              </a:defRPr>
            </a:lvl3pPr>
            <a:lvl4pPr marL="781596" indent="-205683" eaLnBrk="1" hangingPunct="1">
              <a:spcBef>
                <a:spcPts val="600"/>
              </a:spcBef>
              <a:spcAft>
                <a:spcPts val="0"/>
              </a:spcAft>
              <a:buFont typeface="Symbol" pitchFamily="18" charset="2"/>
              <a:buChar char="-"/>
              <a:defRPr sz="1600" b="0" i="0" kern="1200" spc="0" baseline="0">
                <a:solidFill>
                  <a:schemeClr val="tx1"/>
                </a:solidFill>
                <a:latin typeface="+mn-lt"/>
                <a:ea typeface="+mn-ea"/>
                <a:cs typeface="+mn-cs"/>
              </a:defRPr>
            </a:lvl4pPr>
            <a:lvl5pPr marL="1069552" indent="-246820" eaLnBrk="1" hangingPunct="1">
              <a:spcBef>
                <a:spcPts val="600"/>
              </a:spcBef>
              <a:spcAft>
                <a:spcPts val="0"/>
              </a:spcAft>
              <a:buFont typeface="Arial" pitchFamily="34" charset="0"/>
              <a:buChar char="•"/>
              <a:defRPr sz="1600" b="0" i="0" kern="1200" spc="0" baseline="0">
                <a:solidFill>
                  <a:schemeClr val="tx1"/>
                </a:solidFill>
                <a:latin typeface="+mn-lt"/>
                <a:ea typeface="+mn-ea"/>
                <a:cs typeface="+mn-cs"/>
              </a:defRPr>
            </a:lvl5pPr>
            <a:lvl6pPr marL="1357509" indent="-246820" eaLnBrk="1" hangingPunct="1">
              <a:spcBef>
                <a:spcPts val="600"/>
              </a:spcBef>
              <a:spcAft>
                <a:spcPts val="0"/>
              </a:spcAft>
              <a:buSzPct val="65000"/>
              <a:buFont typeface="Wingdings" pitchFamily="2" charset="2"/>
              <a:buChar char="w"/>
              <a:defRPr sz="1600" b="0" i="0" kern="1200" spc="0" baseline="0">
                <a:solidFill>
                  <a:schemeClr val="tx1"/>
                </a:solidFill>
                <a:latin typeface="+mn-lt"/>
                <a:ea typeface="+mn-ea"/>
                <a:cs typeface="+mn-cs"/>
              </a:defRPr>
            </a:lvl6pPr>
            <a:lvl7pPr marL="1973082" eaLnBrk="1" hangingPunct="1">
              <a:defRPr>
                <a:latin typeface="+mn-lt"/>
                <a:ea typeface="+mn-ea"/>
                <a:cs typeface="+mn-cs"/>
              </a:defRPr>
            </a:lvl7pPr>
            <a:lvl8pPr marL="2301932" eaLnBrk="1" hangingPunct="1">
              <a:defRPr>
                <a:latin typeface="+mn-lt"/>
                <a:ea typeface="+mn-ea"/>
                <a:cs typeface="+mn-cs"/>
              </a:defRPr>
            </a:lvl8pPr>
            <a:lvl9pPr marL="2630778" eaLnBrk="1" hangingPunct="1">
              <a:defRPr>
                <a:latin typeface="+mn-lt"/>
                <a:ea typeface="+mn-ea"/>
                <a:cs typeface="+mn-cs"/>
              </a:defRPr>
            </a:lvl9pPr>
          </a:lstStyle>
          <a:p>
            <a:pPr marL="0" lvl="1" indent="0" algn="ctr" defTabSz="1009040">
              <a:spcBef>
                <a:spcPts val="0"/>
              </a:spcBef>
              <a:buClr>
                <a:schemeClr val="tx2"/>
              </a:buClr>
              <a:buNone/>
              <a:defRPr/>
            </a:pPr>
            <a:r>
              <a:rPr lang="fr-FR" sz="1400" b="1">
                <a:solidFill>
                  <a:schemeClr val="tx2"/>
                </a:solidFill>
              </a:rPr>
              <a:t>Automobile &amp; Transport</a:t>
            </a:r>
          </a:p>
        </p:txBody>
      </p:sp>
    </p:spTree>
    <p:extLst>
      <p:ext uri="{BB962C8B-B14F-4D97-AF65-F5344CB8AC3E}">
        <p14:creationId xmlns:p14="http://schemas.microsoft.com/office/powerpoint/2010/main" val="22293013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 name="Objet 55" hidden="1">
            <a:extLst>
              <a:ext uri="{FF2B5EF4-FFF2-40B4-BE49-F238E27FC236}">
                <a16:creationId xmlns:a16="http://schemas.microsoft.com/office/drawing/2014/main" id="{13F69627-89FA-4C14-9863-BF7CF3BC0A16}"/>
              </a:ext>
            </a:extLst>
          </p:cNvPr>
          <p:cNvGraphicFramePr>
            <a:graphicFrameLocks noChangeAspect="1"/>
          </p:cNvGraphicFramePr>
          <p:nvPr>
            <p:custDataLst>
              <p:tags r:id="rId2"/>
            </p:custDataLst>
            <p:extLst>
              <p:ext uri="{D42A27DB-BD31-4B8C-83A1-F6EECF244321}">
                <p14:modId xmlns:p14="http://schemas.microsoft.com/office/powerpoint/2010/main" val="2957860806"/>
              </p:ext>
            </p:extLst>
          </p:nvPr>
        </p:nvGraphicFramePr>
        <p:xfrm>
          <a:off x="1377157" y="1588"/>
          <a:ext cx="1588" cy="1588"/>
        </p:xfrm>
        <a:graphic>
          <a:graphicData uri="http://schemas.openxmlformats.org/presentationml/2006/ole">
            <mc:AlternateContent xmlns:mc="http://schemas.openxmlformats.org/markup-compatibility/2006">
              <mc:Choice xmlns:v="urn:schemas-microsoft-com:vml" Requires="v">
                <p:oleObj spid="_x0000_s33895" name="Diapositive think-cell" r:id="rId5" imgW="473" imgH="470" progId="TCLayout.ActiveDocument.1">
                  <p:embed/>
                </p:oleObj>
              </mc:Choice>
              <mc:Fallback>
                <p:oleObj name="Diapositive think-cell" r:id="rId5" imgW="473" imgH="470" progId="TCLayout.ActiveDocument.1">
                  <p:embed/>
                  <p:pic>
                    <p:nvPicPr>
                      <p:cNvPr id="56" name="Objet 55" hidden="1">
                        <a:extLst>
                          <a:ext uri="{FF2B5EF4-FFF2-40B4-BE49-F238E27FC236}">
                            <a16:creationId xmlns:a16="http://schemas.microsoft.com/office/drawing/2014/main" id="{13F69627-89FA-4C14-9863-BF7CF3BC0A16}"/>
                          </a:ext>
                        </a:extLst>
                      </p:cNvPr>
                      <p:cNvPicPr/>
                      <p:nvPr/>
                    </p:nvPicPr>
                    <p:blipFill>
                      <a:blip r:embed="rId6"/>
                      <a:stretch>
                        <a:fillRect/>
                      </a:stretch>
                    </p:blipFill>
                    <p:spPr>
                      <a:xfrm>
                        <a:off x="1377157" y="1588"/>
                        <a:ext cx="1588" cy="1588"/>
                      </a:xfrm>
                      <a:prstGeom prst="rect">
                        <a:avLst/>
                      </a:prstGeom>
                    </p:spPr>
                  </p:pic>
                </p:oleObj>
              </mc:Fallback>
            </mc:AlternateContent>
          </a:graphicData>
        </a:graphic>
      </p:graphicFrame>
      <p:sp>
        <p:nvSpPr>
          <p:cNvPr id="55" name="Rectangle 54" hidden="1">
            <a:extLst>
              <a:ext uri="{FF2B5EF4-FFF2-40B4-BE49-F238E27FC236}">
                <a16:creationId xmlns:a16="http://schemas.microsoft.com/office/drawing/2014/main" id="{BA1AC47B-A9CD-4D1B-B7D4-E5DAC1A66AB1}"/>
              </a:ext>
            </a:extLst>
          </p:cNvPr>
          <p:cNvSpPr/>
          <p:nvPr>
            <p:custDataLst>
              <p:tags r:id="rId3"/>
            </p:custDataLst>
          </p:nvPr>
        </p:nvSpPr>
        <p:spPr>
          <a:xfrm>
            <a:off x="1375569" y="0"/>
            <a:ext cx="158750" cy="158750"/>
          </a:xfrm>
          <a:prstGeom prst="rect">
            <a:avLst/>
          </a:prstGeom>
          <a:solidFill>
            <a:schemeClr val="tx2"/>
          </a:solidFill>
        </p:spPr>
        <p:txBody>
          <a:bodyPr vert="horz" wrap="none" lIns="0" tIns="0" rIns="0" bIns="0" numCol="1" spcCol="0" rtlCol="0" anchor="ctr" anchorCtr="0">
            <a:noAutofit/>
          </a:bodyPr>
          <a:lstStyle/>
          <a:p>
            <a:pPr algn="ctr">
              <a:spcBef>
                <a:spcPct val="0"/>
              </a:spcBef>
              <a:spcAft>
                <a:spcPct val="0"/>
              </a:spcAft>
            </a:pPr>
            <a:endParaRPr lang="fr-FR" sz="2200" b="1" dirty="0" err="1">
              <a:solidFill>
                <a:schemeClr val="bg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pic>
        <p:nvPicPr>
          <p:cNvPr id="60" name="Image 59">
            <a:extLst>
              <a:ext uri="{FF2B5EF4-FFF2-40B4-BE49-F238E27FC236}">
                <a16:creationId xmlns:a16="http://schemas.microsoft.com/office/drawing/2014/main" id="{5797ABD8-6981-4821-84A0-71561AD6E720}"/>
              </a:ext>
            </a:extLst>
          </p:cNvPr>
          <p:cNvPicPr>
            <a:picLocks noChangeAspect="1"/>
          </p:cNvPicPr>
          <p:nvPr/>
        </p:nvPicPr>
        <p:blipFill rotWithShape="1">
          <a:blip r:embed="rId7"/>
          <a:srcRect l="5185" t="47393" b="11994"/>
          <a:stretch/>
        </p:blipFill>
        <p:spPr>
          <a:xfrm rot="10800000">
            <a:off x="1851024" y="0"/>
            <a:ext cx="11604625" cy="7569200"/>
          </a:xfrm>
          <a:prstGeom prst="rect">
            <a:avLst/>
          </a:prstGeom>
        </p:spPr>
      </p:pic>
      <p:grpSp>
        <p:nvGrpSpPr>
          <p:cNvPr id="2" name="Groupe 1">
            <a:extLst>
              <a:ext uri="{FF2B5EF4-FFF2-40B4-BE49-F238E27FC236}">
                <a16:creationId xmlns:a16="http://schemas.microsoft.com/office/drawing/2014/main" id="{6C8CB46D-EC6C-4EAD-86F9-37B33E52D152}"/>
              </a:ext>
            </a:extLst>
          </p:cNvPr>
          <p:cNvGrpSpPr/>
          <p:nvPr/>
        </p:nvGrpSpPr>
        <p:grpSpPr>
          <a:xfrm>
            <a:off x="1089025" y="1651000"/>
            <a:ext cx="10824881" cy="4953000"/>
            <a:chOff x="1089025" y="1651000"/>
            <a:chExt cx="10824881" cy="4953000"/>
          </a:xfrm>
        </p:grpSpPr>
        <p:sp>
          <p:nvSpPr>
            <p:cNvPr id="8" name="object 57">
              <a:extLst>
                <a:ext uri="{FF2B5EF4-FFF2-40B4-BE49-F238E27FC236}">
                  <a16:creationId xmlns:a16="http://schemas.microsoft.com/office/drawing/2014/main" id="{C929410F-5931-4F0D-AC19-84FD5A20C315}"/>
                </a:ext>
              </a:extLst>
            </p:cNvPr>
            <p:cNvSpPr/>
            <p:nvPr userDrawn="1"/>
          </p:nvSpPr>
          <p:spPr>
            <a:xfrm>
              <a:off x="5571131" y="3196670"/>
              <a:ext cx="546735" cy="0"/>
            </a:xfrm>
            <a:custGeom>
              <a:avLst/>
              <a:gdLst/>
              <a:ahLst/>
              <a:cxnLst/>
              <a:rect l="l" t="t" r="r" b="b"/>
              <a:pathLst>
                <a:path w="546735">
                  <a:moveTo>
                    <a:pt x="0" y="0"/>
                  </a:moveTo>
                  <a:lnTo>
                    <a:pt x="546442" y="0"/>
                  </a:lnTo>
                </a:path>
              </a:pathLst>
            </a:custGeom>
            <a:ln w="19050">
              <a:solidFill>
                <a:schemeClr val="tx2"/>
              </a:solidFill>
              <a:prstDash val="dot"/>
            </a:ln>
          </p:spPr>
          <p:txBody>
            <a:bodyPr wrap="square" lIns="0" tIns="0" rIns="0" bIns="0" rtlCol="0"/>
            <a:lstStyle/>
            <a:p>
              <a:endParaRPr lang="fr-FR"/>
            </a:p>
          </p:txBody>
        </p:sp>
        <p:sp>
          <p:nvSpPr>
            <p:cNvPr id="9" name="object 58">
              <a:extLst>
                <a:ext uri="{FF2B5EF4-FFF2-40B4-BE49-F238E27FC236}">
                  <a16:creationId xmlns:a16="http://schemas.microsoft.com/office/drawing/2014/main" id="{2FCDC4FE-22AD-413A-A5F0-8CBDDBC64E33}"/>
                </a:ext>
              </a:extLst>
            </p:cNvPr>
            <p:cNvSpPr/>
            <p:nvPr userDrawn="1"/>
          </p:nvSpPr>
          <p:spPr>
            <a:xfrm>
              <a:off x="5643607" y="3196670"/>
              <a:ext cx="0" cy="0"/>
            </a:xfrm>
            <a:custGeom>
              <a:avLst/>
              <a:gdLst/>
              <a:ahLst/>
              <a:cxnLst/>
              <a:rect l="l" t="t" r="r" b="b"/>
              <a:pathLst>
                <a:path>
                  <a:moveTo>
                    <a:pt x="0" y="0"/>
                  </a:moveTo>
                  <a:lnTo>
                    <a:pt x="0" y="0"/>
                  </a:lnTo>
                </a:path>
              </a:pathLst>
            </a:custGeom>
            <a:ln w="19050">
              <a:solidFill>
                <a:schemeClr val="tx2"/>
              </a:solidFill>
            </a:ln>
          </p:spPr>
          <p:txBody>
            <a:bodyPr wrap="square" lIns="0" tIns="0" rIns="0" bIns="0" rtlCol="0"/>
            <a:lstStyle/>
            <a:p>
              <a:endParaRPr lang="fr-FR"/>
            </a:p>
          </p:txBody>
        </p:sp>
        <p:sp>
          <p:nvSpPr>
            <p:cNvPr id="10" name="object 59">
              <a:extLst>
                <a:ext uri="{FF2B5EF4-FFF2-40B4-BE49-F238E27FC236}">
                  <a16:creationId xmlns:a16="http://schemas.microsoft.com/office/drawing/2014/main" id="{3B12B0E8-A628-4F22-AEE4-6F9641A3910A}"/>
                </a:ext>
              </a:extLst>
            </p:cNvPr>
            <p:cNvSpPr/>
            <p:nvPr userDrawn="1"/>
          </p:nvSpPr>
          <p:spPr>
            <a:xfrm>
              <a:off x="6246578" y="3196670"/>
              <a:ext cx="0" cy="0"/>
            </a:xfrm>
            <a:custGeom>
              <a:avLst/>
              <a:gdLst/>
              <a:ahLst/>
              <a:cxnLst/>
              <a:rect l="l" t="t" r="r" b="b"/>
              <a:pathLst>
                <a:path>
                  <a:moveTo>
                    <a:pt x="0" y="0"/>
                  </a:moveTo>
                  <a:lnTo>
                    <a:pt x="0" y="0"/>
                  </a:lnTo>
                </a:path>
              </a:pathLst>
            </a:custGeom>
            <a:ln w="19050">
              <a:solidFill>
                <a:schemeClr val="tx2"/>
              </a:solidFill>
            </a:ln>
          </p:spPr>
          <p:txBody>
            <a:bodyPr wrap="square" lIns="0" tIns="0" rIns="0" bIns="0" rtlCol="0"/>
            <a:lstStyle/>
            <a:p>
              <a:endParaRPr lang="fr-FR"/>
            </a:p>
          </p:txBody>
        </p:sp>
        <p:sp>
          <p:nvSpPr>
            <p:cNvPr id="11" name="object 60">
              <a:extLst>
                <a:ext uri="{FF2B5EF4-FFF2-40B4-BE49-F238E27FC236}">
                  <a16:creationId xmlns:a16="http://schemas.microsoft.com/office/drawing/2014/main" id="{6C099FEC-8EDC-44C1-9D65-09009349F8DA}"/>
                </a:ext>
              </a:extLst>
            </p:cNvPr>
            <p:cNvSpPr/>
            <p:nvPr userDrawn="1"/>
          </p:nvSpPr>
          <p:spPr>
            <a:xfrm>
              <a:off x="7095743" y="3003113"/>
              <a:ext cx="697865" cy="0"/>
            </a:xfrm>
            <a:custGeom>
              <a:avLst/>
              <a:gdLst/>
              <a:ahLst/>
              <a:cxnLst/>
              <a:rect l="l" t="t" r="r" b="b"/>
              <a:pathLst>
                <a:path w="697864">
                  <a:moveTo>
                    <a:pt x="0" y="0"/>
                  </a:moveTo>
                  <a:lnTo>
                    <a:pt x="697636" y="0"/>
                  </a:lnTo>
                </a:path>
              </a:pathLst>
            </a:custGeom>
            <a:ln w="19050">
              <a:solidFill>
                <a:srgbClr val="FFFFFF"/>
              </a:solidFill>
              <a:prstDash val="dot"/>
            </a:ln>
          </p:spPr>
          <p:txBody>
            <a:bodyPr wrap="square" lIns="0" tIns="0" rIns="0" bIns="0" rtlCol="0"/>
            <a:lstStyle/>
            <a:p>
              <a:endParaRPr lang="fr-FR"/>
            </a:p>
          </p:txBody>
        </p:sp>
        <p:sp>
          <p:nvSpPr>
            <p:cNvPr id="12" name="object 61">
              <a:extLst>
                <a:ext uri="{FF2B5EF4-FFF2-40B4-BE49-F238E27FC236}">
                  <a16:creationId xmlns:a16="http://schemas.microsoft.com/office/drawing/2014/main" id="{EDA6441D-D822-4128-9C89-EE6161F2F9BE}"/>
                </a:ext>
              </a:extLst>
            </p:cNvPr>
            <p:cNvSpPr/>
            <p:nvPr userDrawn="1"/>
          </p:nvSpPr>
          <p:spPr>
            <a:xfrm>
              <a:off x="7058033" y="3003113"/>
              <a:ext cx="0" cy="0"/>
            </a:xfrm>
            <a:custGeom>
              <a:avLst/>
              <a:gdLst/>
              <a:ahLst/>
              <a:cxnLst/>
              <a:rect l="l" t="t" r="r" b="b"/>
              <a:pathLst>
                <a:path>
                  <a:moveTo>
                    <a:pt x="0" y="0"/>
                  </a:moveTo>
                  <a:lnTo>
                    <a:pt x="0" y="0"/>
                  </a:lnTo>
                </a:path>
              </a:pathLst>
            </a:custGeom>
            <a:ln w="19050">
              <a:solidFill>
                <a:srgbClr val="FFFFFF"/>
              </a:solidFill>
            </a:ln>
          </p:spPr>
          <p:txBody>
            <a:bodyPr wrap="square" lIns="0" tIns="0" rIns="0" bIns="0" rtlCol="0"/>
            <a:lstStyle/>
            <a:p>
              <a:endParaRPr lang="fr-FR"/>
            </a:p>
          </p:txBody>
        </p:sp>
        <p:sp>
          <p:nvSpPr>
            <p:cNvPr id="13" name="object 62">
              <a:extLst>
                <a:ext uri="{FF2B5EF4-FFF2-40B4-BE49-F238E27FC236}">
                  <a16:creationId xmlns:a16="http://schemas.microsoft.com/office/drawing/2014/main" id="{AB06B100-C0B0-4C4D-A677-D657DDBFAA55}"/>
                </a:ext>
              </a:extLst>
            </p:cNvPr>
            <p:cNvSpPr/>
            <p:nvPr userDrawn="1"/>
          </p:nvSpPr>
          <p:spPr>
            <a:xfrm>
              <a:off x="7812235" y="3003113"/>
              <a:ext cx="0" cy="0"/>
            </a:xfrm>
            <a:custGeom>
              <a:avLst/>
              <a:gdLst/>
              <a:ahLst/>
              <a:cxnLst/>
              <a:rect l="l" t="t" r="r" b="b"/>
              <a:pathLst>
                <a:path>
                  <a:moveTo>
                    <a:pt x="0" y="0"/>
                  </a:moveTo>
                  <a:lnTo>
                    <a:pt x="0" y="0"/>
                  </a:lnTo>
                </a:path>
              </a:pathLst>
            </a:custGeom>
            <a:ln w="19050">
              <a:solidFill>
                <a:srgbClr val="FFFFFF"/>
              </a:solidFill>
            </a:ln>
          </p:spPr>
          <p:txBody>
            <a:bodyPr wrap="square" lIns="0" tIns="0" rIns="0" bIns="0" rtlCol="0"/>
            <a:lstStyle/>
            <a:p>
              <a:endParaRPr lang="fr-FR"/>
            </a:p>
          </p:txBody>
        </p:sp>
        <p:sp>
          <p:nvSpPr>
            <p:cNvPr id="14" name="object 63">
              <a:extLst>
                <a:ext uri="{FF2B5EF4-FFF2-40B4-BE49-F238E27FC236}">
                  <a16:creationId xmlns:a16="http://schemas.microsoft.com/office/drawing/2014/main" id="{537931B9-9DB8-41D3-A7D0-35224BFE46E1}"/>
                </a:ext>
              </a:extLst>
            </p:cNvPr>
            <p:cNvSpPr/>
            <p:nvPr userDrawn="1"/>
          </p:nvSpPr>
          <p:spPr>
            <a:xfrm>
              <a:off x="5571131" y="4699000"/>
              <a:ext cx="401320" cy="0"/>
            </a:xfrm>
            <a:custGeom>
              <a:avLst/>
              <a:gdLst/>
              <a:ahLst/>
              <a:cxnLst/>
              <a:rect l="l" t="t" r="r" b="b"/>
              <a:pathLst>
                <a:path w="401320">
                  <a:moveTo>
                    <a:pt x="0" y="0"/>
                  </a:moveTo>
                  <a:lnTo>
                    <a:pt x="400786" y="0"/>
                  </a:lnTo>
                </a:path>
              </a:pathLst>
            </a:custGeom>
            <a:ln w="19050">
              <a:solidFill>
                <a:schemeClr val="tx2"/>
              </a:solidFill>
              <a:prstDash val="dot"/>
            </a:ln>
          </p:spPr>
          <p:txBody>
            <a:bodyPr wrap="square" lIns="0" tIns="0" rIns="0" bIns="0" rtlCol="0"/>
            <a:lstStyle/>
            <a:p>
              <a:endParaRPr lang="fr-FR"/>
            </a:p>
          </p:txBody>
        </p:sp>
        <p:sp>
          <p:nvSpPr>
            <p:cNvPr id="15" name="object 64">
              <a:extLst>
                <a:ext uri="{FF2B5EF4-FFF2-40B4-BE49-F238E27FC236}">
                  <a16:creationId xmlns:a16="http://schemas.microsoft.com/office/drawing/2014/main" id="{E6AE3BE6-2E46-4B42-9EE7-0F71DA565DE1}"/>
                </a:ext>
              </a:extLst>
            </p:cNvPr>
            <p:cNvSpPr/>
            <p:nvPr userDrawn="1"/>
          </p:nvSpPr>
          <p:spPr>
            <a:xfrm>
              <a:off x="5631833" y="4594979"/>
              <a:ext cx="0" cy="0"/>
            </a:xfrm>
            <a:custGeom>
              <a:avLst/>
              <a:gdLst/>
              <a:ahLst/>
              <a:cxnLst/>
              <a:rect l="l" t="t" r="r" b="b"/>
              <a:pathLst>
                <a:path>
                  <a:moveTo>
                    <a:pt x="0" y="0"/>
                  </a:moveTo>
                  <a:lnTo>
                    <a:pt x="0" y="0"/>
                  </a:lnTo>
                </a:path>
              </a:pathLst>
            </a:custGeom>
            <a:ln w="19050">
              <a:solidFill>
                <a:schemeClr val="tx2"/>
              </a:solidFill>
            </a:ln>
          </p:spPr>
          <p:txBody>
            <a:bodyPr wrap="square" lIns="0" tIns="0" rIns="0" bIns="0" rtlCol="0"/>
            <a:lstStyle/>
            <a:p>
              <a:endParaRPr lang="fr-FR"/>
            </a:p>
          </p:txBody>
        </p:sp>
        <p:sp>
          <p:nvSpPr>
            <p:cNvPr id="16" name="object 65">
              <a:extLst>
                <a:ext uri="{FF2B5EF4-FFF2-40B4-BE49-F238E27FC236}">
                  <a16:creationId xmlns:a16="http://schemas.microsoft.com/office/drawing/2014/main" id="{8C04F7F6-C997-4387-9A25-FC983955EF74}"/>
                </a:ext>
              </a:extLst>
            </p:cNvPr>
            <p:cNvSpPr/>
            <p:nvPr userDrawn="1"/>
          </p:nvSpPr>
          <p:spPr>
            <a:xfrm>
              <a:off x="6089884" y="4594979"/>
              <a:ext cx="0" cy="0"/>
            </a:xfrm>
            <a:custGeom>
              <a:avLst/>
              <a:gdLst/>
              <a:ahLst/>
              <a:cxnLst/>
              <a:rect l="l" t="t" r="r" b="b"/>
              <a:pathLst>
                <a:path>
                  <a:moveTo>
                    <a:pt x="0" y="0"/>
                  </a:moveTo>
                  <a:lnTo>
                    <a:pt x="0" y="0"/>
                  </a:lnTo>
                </a:path>
              </a:pathLst>
            </a:custGeom>
            <a:ln w="19050">
              <a:solidFill>
                <a:schemeClr val="tx2"/>
              </a:solidFill>
            </a:ln>
          </p:spPr>
          <p:txBody>
            <a:bodyPr wrap="square" lIns="0" tIns="0" rIns="0" bIns="0" rtlCol="0"/>
            <a:lstStyle/>
            <a:p>
              <a:endParaRPr lang="fr-FR"/>
            </a:p>
          </p:txBody>
        </p:sp>
        <p:sp>
          <p:nvSpPr>
            <p:cNvPr id="17" name="object 66">
              <a:extLst>
                <a:ext uri="{FF2B5EF4-FFF2-40B4-BE49-F238E27FC236}">
                  <a16:creationId xmlns:a16="http://schemas.microsoft.com/office/drawing/2014/main" id="{C6825DD9-4C60-45D0-8244-5A53AE3464B8}"/>
                </a:ext>
              </a:extLst>
            </p:cNvPr>
            <p:cNvSpPr/>
            <p:nvPr userDrawn="1"/>
          </p:nvSpPr>
          <p:spPr>
            <a:xfrm>
              <a:off x="6895512" y="4862943"/>
              <a:ext cx="0" cy="1137920"/>
            </a:xfrm>
            <a:custGeom>
              <a:avLst/>
              <a:gdLst/>
              <a:ahLst/>
              <a:cxnLst/>
              <a:rect l="l" t="t" r="r" b="b"/>
              <a:pathLst>
                <a:path h="1137920">
                  <a:moveTo>
                    <a:pt x="0" y="0"/>
                  </a:moveTo>
                  <a:lnTo>
                    <a:pt x="0" y="1137348"/>
                  </a:lnTo>
                </a:path>
              </a:pathLst>
            </a:custGeom>
            <a:ln w="19050">
              <a:solidFill>
                <a:srgbClr val="FFFFFF"/>
              </a:solidFill>
              <a:prstDash val="dot"/>
            </a:ln>
          </p:spPr>
          <p:txBody>
            <a:bodyPr wrap="square" lIns="0" tIns="0" rIns="0" bIns="0" rtlCol="0"/>
            <a:lstStyle/>
            <a:p>
              <a:endParaRPr lang="fr-FR"/>
            </a:p>
          </p:txBody>
        </p:sp>
        <p:sp>
          <p:nvSpPr>
            <p:cNvPr id="18" name="object 67">
              <a:extLst>
                <a:ext uri="{FF2B5EF4-FFF2-40B4-BE49-F238E27FC236}">
                  <a16:creationId xmlns:a16="http://schemas.microsoft.com/office/drawing/2014/main" id="{76B5361B-02E3-4BCF-8877-30F07145194A}"/>
                </a:ext>
              </a:extLst>
            </p:cNvPr>
            <p:cNvSpPr/>
            <p:nvPr userDrawn="1"/>
          </p:nvSpPr>
          <p:spPr>
            <a:xfrm>
              <a:off x="6934220" y="6000863"/>
              <a:ext cx="871219" cy="0"/>
            </a:xfrm>
            <a:custGeom>
              <a:avLst/>
              <a:gdLst/>
              <a:ahLst/>
              <a:cxnLst/>
              <a:rect l="l" t="t" r="r" b="b"/>
              <a:pathLst>
                <a:path w="871220">
                  <a:moveTo>
                    <a:pt x="0" y="0"/>
                  </a:moveTo>
                  <a:lnTo>
                    <a:pt x="870927" y="0"/>
                  </a:lnTo>
                </a:path>
              </a:pathLst>
            </a:custGeom>
            <a:ln w="19050">
              <a:solidFill>
                <a:srgbClr val="FFFFFF"/>
              </a:solidFill>
              <a:prstDash val="dot"/>
            </a:ln>
          </p:spPr>
          <p:txBody>
            <a:bodyPr wrap="square" lIns="0" tIns="0" rIns="0" bIns="0" rtlCol="0"/>
            <a:lstStyle/>
            <a:p>
              <a:endParaRPr lang="fr-FR"/>
            </a:p>
          </p:txBody>
        </p:sp>
        <p:sp>
          <p:nvSpPr>
            <p:cNvPr id="19" name="object 68">
              <a:extLst>
                <a:ext uri="{FF2B5EF4-FFF2-40B4-BE49-F238E27FC236}">
                  <a16:creationId xmlns:a16="http://schemas.microsoft.com/office/drawing/2014/main" id="{940B5BE5-BB8D-4407-B8FE-F4871DA8880B}"/>
                </a:ext>
              </a:extLst>
            </p:cNvPr>
            <p:cNvSpPr/>
            <p:nvPr userDrawn="1"/>
          </p:nvSpPr>
          <p:spPr>
            <a:xfrm>
              <a:off x="6895512" y="4483338"/>
              <a:ext cx="0" cy="0"/>
            </a:xfrm>
            <a:custGeom>
              <a:avLst/>
              <a:gdLst/>
              <a:ahLst/>
              <a:cxnLst/>
              <a:rect l="l" t="t" r="r" b="b"/>
              <a:pathLst>
                <a:path>
                  <a:moveTo>
                    <a:pt x="0" y="0"/>
                  </a:moveTo>
                  <a:lnTo>
                    <a:pt x="0" y="0"/>
                  </a:lnTo>
                </a:path>
              </a:pathLst>
            </a:custGeom>
            <a:ln w="19050">
              <a:solidFill>
                <a:srgbClr val="FFFFFF"/>
              </a:solidFill>
            </a:ln>
          </p:spPr>
          <p:txBody>
            <a:bodyPr wrap="square" lIns="0" tIns="0" rIns="0" bIns="0" rtlCol="0"/>
            <a:lstStyle/>
            <a:p>
              <a:endParaRPr lang="fr-FR"/>
            </a:p>
          </p:txBody>
        </p:sp>
        <p:sp>
          <p:nvSpPr>
            <p:cNvPr id="20" name="object 69">
              <a:extLst>
                <a:ext uri="{FF2B5EF4-FFF2-40B4-BE49-F238E27FC236}">
                  <a16:creationId xmlns:a16="http://schemas.microsoft.com/office/drawing/2014/main" id="{D83B1E6E-8FC9-4EC8-ADCF-8E1A55AC4B70}"/>
                </a:ext>
              </a:extLst>
            </p:cNvPr>
            <p:cNvSpPr/>
            <p:nvPr userDrawn="1"/>
          </p:nvSpPr>
          <p:spPr>
            <a:xfrm>
              <a:off x="6895512" y="5678523"/>
              <a:ext cx="0" cy="0"/>
            </a:xfrm>
            <a:custGeom>
              <a:avLst/>
              <a:gdLst/>
              <a:ahLst/>
              <a:cxnLst/>
              <a:rect l="l" t="t" r="r" b="b"/>
              <a:pathLst>
                <a:path>
                  <a:moveTo>
                    <a:pt x="0" y="0"/>
                  </a:moveTo>
                  <a:lnTo>
                    <a:pt x="0" y="0"/>
                  </a:lnTo>
                </a:path>
              </a:pathLst>
            </a:custGeom>
            <a:ln w="19050">
              <a:solidFill>
                <a:srgbClr val="FFFFFF"/>
              </a:solidFill>
            </a:ln>
          </p:spPr>
          <p:txBody>
            <a:bodyPr wrap="square" lIns="0" tIns="0" rIns="0" bIns="0" rtlCol="0"/>
            <a:lstStyle/>
            <a:p>
              <a:endParaRPr lang="fr-FR"/>
            </a:p>
          </p:txBody>
        </p:sp>
        <p:sp>
          <p:nvSpPr>
            <p:cNvPr id="21" name="object 70">
              <a:extLst>
                <a:ext uri="{FF2B5EF4-FFF2-40B4-BE49-F238E27FC236}">
                  <a16:creationId xmlns:a16="http://schemas.microsoft.com/office/drawing/2014/main" id="{2AF8175A-C009-42D3-9CF0-340E9696AC88}"/>
                </a:ext>
              </a:extLst>
            </p:cNvPr>
            <p:cNvSpPr/>
            <p:nvPr userDrawn="1"/>
          </p:nvSpPr>
          <p:spPr>
            <a:xfrm>
              <a:off x="7824505" y="5678523"/>
              <a:ext cx="0" cy="0"/>
            </a:xfrm>
            <a:custGeom>
              <a:avLst/>
              <a:gdLst/>
              <a:ahLst/>
              <a:cxnLst/>
              <a:rect l="l" t="t" r="r" b="b"/>
              <a:pathLst>
                <a:path>
                  <a:moveTo>
                    <a:pt x="0" y="0"/>
                  </a:moveTo>
                  <a:lnTo>
                    <a:pt x="0" y="0"/>
                  </a:lnTo>
                </a:path>
              </a:pathLst>
            </a:custGeom>
            <a:ln w="19050">
              <a:solidFill>
                <a:srgbClr val="FFFFFF"/>
              </a:solidFill>
            </a:ln>
          </p:spPr>
          <p:txBody>
            <a:bodyPr wrap="square" lIns="0" tIns="0" rIns="0" bIns="0" rtlCol="0"/>
            <a:lstStyle/>
            <a:p>
              <a:endParaRPr lang="fr-FR"/>
            </a:p>
          </p:txBody>
        </p:sp>
        <p:sp>
          <p:nvSpPr>
            <p:cNvPr id="22" name="object 71">
              <a:extLst>
                <a:ext uri="{FF2B5EF4-FFF2-40B4-BE49-F238E27FC236}">
                  <a16:creationId xmlns:a16="http://schemas.microsoft.com/office/drawing/2014/main" id="{F6A4CE68-7FDE-4A83-821D-B0B8A049B90B}"/>
                </a:ext>
              </a:extLst>
            </p:cNvPr>
            <p:cNvSpPr/>
            <p:nvPr userDrawn="1"/>
          </p:nvSpPr>
          <p:spPr>
            <a:xfrm>
              <a:off x="6895512" y="3891245"/>
              <a:ext cx="0" cy="886460"/>
            </a:xfrm>
            <a:custGeom>
              <a:avLst/>
              <a:gdLst/>
              <a:ahLst/>
              <a:cxnLst/>
              <a:rect l="l" t="t" r="r" b="b"/>
              <a:pathLst>
                <a:path h="886460">
                  <a:moveTo>
                    <a:pt x="0" y="0"/>
                  </a:moveTo>
                  <a:lnTo>
                    <a:pt x="0" y="885990"/>
                  </a:lnTo>
                </a:path>
              </a:pathLst>
            </a:custGeom>
            <a:ln w="19050">
              <a:solidFill>
                <a:srgbClr val="FFFFFF"/>
              </a:solidFill>
              <a:prstDash val="dot"/>
            </a:ln>
          </p:spPr>
          <p:txBody>
            <a:bodyPr wrap="square" lIns="0" tIns="0" rIns="0" bIns="0" rtlCol="0"/>
            <a:lstStyle/>
            <a:p>
              <a:endParaRPr lang="fr-FR"/>
            </a:p>
          </p:txBody>
        </p:sp>
        <p:sp>
          <p:nvSpPr>
            <p:cNvPr id="23" name="object 72">
              <a:extLst>
                <a:ext uri="{FF2B5EF4-FFF2-40B4-BE49-F238E27FC236}">
                  <a16:creationId xmlns:a16="http://schemas.microsoft.com/office/drawing/2014/main" id="{B5912F76-8655-42CA-B705-72171F8FB913}"/>
                </a:ext>
              </a:extLst>
            </p:cNvPr>
            <p:cNvSpPr/>
            <p:nvPr userDrawn="1"/>
          </p:nvSpPr>
          <p:spPr>
            <a:xfrm>
              <a:off x="7240931" y="5238863"/>
              <a:ext cx="504000" cy="0"/>
            </a:xfrm>
            <a:custGeom>
              <a:avLst/>
              <a:gdLst/>
              <a:ahLst/>
              <a:cxnLst/>
              <a:rect l="l" t="t" r="r" b="b"/>
              <a:pathLst>
                <a:path w="871220">
                  <a:moveTo>
                    <a:pt x="0" y="0"/>
                  </a:moveTo>
                  <a:lnTo>
                    <a:pt x="870927" y="0"/>
                  </a:lnTo>
                </a:path>
              </a:pathLst>
            </a:custGeom>
            <a:ln w="19050">
              <a:solidFill>
                <a:srgbClr val="FFFFFF"/>
              </a:solidFill>
              <a:prstDash val="dot"/>
            </a:ln>
          </p:spPr>
          <p:txBody>
            <a:bodyPr wrap="square" lIns="0" tIns="0" rIns="0" bIns="0" rtlCol="0"/>
            <a:lstStyle/>
            <a:p>
              <a:endParaRPr lang="fr-FR"/>
            </a:p>
          </p:txBody>
        </p:sp>
        <p:sp>
          <p:nvSpPr>
            <p:cNvPr id="24" name="object 73">
              <a:extLst>
                <a:ext uri="{FF2B5EF4-FFF2-40B4-BE49-F238E27FC236}">
                  <a16:creationId xmlns:a16="http://schemas.microsoft.com/office/drawing/2014/main" id="{B7E96519-C6C5-4C75-99EE-D7437F26ABA7}"/>
                </a:ext>
              </a:extLst>
            </p:cNvPr>
            <p:cNvSpPr/>
            <p:nvPr userDrawn="1"/>
          </p:nvSpPr>
          <p:spPr>
            <a:xfrm>
              <a:off x="6895512" y="3853541"/>
              <a:ext cx="0" cy="0"/>
            </a:xfrm>
            <a:custGeom>
              <a:avLst/>
              <a:gdLst/>
              <a:ahLst/>
              <a:cxnLst/>
              <a:rect l="l" t="t" r="r" b="b"/>
              <a:pathLst>
                <a:path>
                  <a:moveTo>
                    <a:pt x="0" y="0"/>
                  </a:moveTo>
                  <a:lnTo>
                    <a:pt x="0" y="0"/>
                  </a:lnTo>
                </a:path>
              </a:pathLst>
            </a:custGeom>
            <a:ln w="19050">
              <a:solidFill>
                <a:srgbClr val="FFFFFF"/>
              </a:solidFill>
            </a:ln>
          </p:spPr>
          <p:txBody>
            <a:bodyPr wrap="square" lIns="0" tIns="0" rIns="0" bIns="0" rtlCol="0"/>
            <a:lstStyle/>
            <a:p>
              <a:endParaRPr lang="fr-FR"/>
            </a:p>
          </p:txBody>
        </p:sp>
        <p:sp>
          <p:nvSpPr>
            <p:cNvPr id="25" name="object 74">
              <a:extLst>
                <a:ext uri="{FF2B5EF4-FFF2-40B4-BE49-F238E27FC236}">
                  <a16:creationId xmlns:a16="http://schemas.microsoft.com/office/drawing/2014/main" id="{1627ECC5-D10F-45EE-84BD-A0A97CEA09F1}"/>
                </a:ext>
              </a:extLst>
            </p:cNvPr>
            <p:cNvSpPr/>
            <p:nvPr userDrawn="1"/>
          </p:nvSpPr>
          <p:spPr>
            <a:xfrm>
              <a:off x="6895512" y="4796085"/>
              <a:ext cx="0" cy="0"/>
            </a:xfrm>
            <a:custGeom>
              <a:avLst/>
              <a:gdLst/>
              <a:ahLst/>
              <a:cxnLst/>
              <a:rect l="l" t="t" r="r" b="b"/>
              <a:pathLst>
                <a:path>
                  <a:moveTo>
                    <a:pt x="0" y="0"/>
                  </a:moveTo>
                  <a:lnTo>
                    <a:pt x="0" y="0"/>
                  </a:lnTo>
                </a:path>
              </a:pathLst>
            </a:custGeom>
            <a:ln w="19050">
              <a:solidFill>
                <a:srgbClr val="FFFFFF"/>
              </a:solidFill>
            </a:ln>
          </p:spPr>
          <p:txBody>
            <a:bodyPr wrap="square" lIns="0" tIns="0" rIns="0" bIns="0" rtlCol="0"/>
            <a:lstStyle/>
            <a:p>
              <a:endParaRPr lang="fr-FR"/>
            </a:p>
          </p:txBody>
        </p:sp>
        <p:sp>
          <p:nvSpPr>
            <p:cNvPr id="26" name="object 75">
              <a:extLst>
                <a:ext uri="{FF2B5EF4-FFF2-40B4-BE49-F238E27FC236}">
                  <a16:creationId xmlns:a16="http://schemas.microsoft.com/office/drawing/2014/main" id="{5EA509AE-6E05-4B53-A6BC-1A02703CEAEE}"/>
                </a:ext>
              </a:extLst>
            </p:cNvPr>
            <p:cNvSpPr/>
            <p:nvPr userDrawn="1"/>
          </p:nvSpPr>
          <p:spPr>
            <a:xfrm>
              <a:off x="7824505" y="4796085"/>
              <a:ext cx="0" cy="0"/>
            </a:xfrm>
            <a:custGeom>
              <a:avLst/>
              <a:gdLst/>
              <a:ahLst/>
              <a:cxnLst/>
              <a:rect l="l" t="t" r="r" b="b"/>
              <a:pathLst>
                <a:path>
                  <a:moveTo>
                    <a:pt x="0" y="0"/>
                  </a:moveTo>
                  <a:lnTo>
                    <a:pt x="0" y="0"/>
                  </a:lnTo>
                </a:path>
              </a:pathLst>
            </a:custGeom>
            <a:ln w="19050">
              <a:solidFill>
                <a:srgbClr val="FFFFFF"/>
              </a:solidFill>
            </a:ln>
          </p:spPr>
          <p:txBody>
            <a:bodyPr wrap="square" lIns="0" tIns="0" rIns="0" bIns="0" rtlCol="0"/>
            <a:lstStyle/>
            <a:p>
              <a:endParaRPr lang="fr-FR"/>
            </a:p>
          </p:txBody>
        </p:sp>
        <p:sp>
          <p:nvSpPr>
            <p:cNvPr id="27" name="object 76">
              <a:extLst>
                <a:ext uri="{FF2B5EF4-FFF2-40B4-BE49-F238E27FC236}">
                  <a16:creationId xmlns:a16="http://schemas.microsoft.com/office/drawing/2014/main" id="{8CFDDE37-8ED1-4AF6-80D5-2A938345AF4E}"/>
                </a:ext>
              </a:extLst>
            </p:cNvPr>
            <p:cNvSpPr/>
            <p:nvPr userDrawn="1"/>
          </p:nvSpPr>
          <p:spPr>
            <a:xfrm>
              <a:off x="6895512" y="2127051"/>
              <a:ext cx="0" cy="886460"/>
            </a:xfrm>
            <a:custGeom>
              <a:avLst/>
              <a:gdLst/>
              <a:ahLst/>
              <a:cxnLst/>
              <a:rect l="l" t="t" r="r" b="b"/>
              <a:pathLst>
                <a:path h="886460">
                  <a:moveTo>
                    <a:pt x="0" y="885990"/>
                  </a:moveTo>
                  <a:lnTo>
                    <a:pt x="0" y="0"/>
                  </a:lnTo>
                </a:path>
              </a:pathLst>
            </a:custGeom>
            <a:ln w="19050">
              <a:solidFill>
                <a:schemeClr val="tx2"/>
              </a:solidFill>
              <a:prstDash val="dot"/>
            </a:ln>
          </p:spPr>
          <p:txBody>
            <a:bodyPr wrap="square" lIns="0" tIns="0" rIns="0" bIns="0" rtlCol="0"/>
            <a:lstStyle/>
            <a:p>
              <a:endParaRPr lang="fr-FR"/>
            </a:p>
          </p:txBody>
        </p:sp>
        <p:sp>
          <p:nvSpPr>
            <p:cNvPr id="28" name="object 77">
              <a:extLst>
                <a:ext uri="{FF2B5EF4-FFF2-40B4-BE49-F238E27FC236}">
                  <a16:creationId xmlns:a16="http://schemas.microsoft.com/office/drawing/2014/main" id="{5D467CBA-DD1A-4453-A66B-9CFC2371666E}"/>
                </a:ext>
              </a:extLst>
            </p:cNvPr>
            <p:cNvSpPr/>
            <p:nvPr userDrawn="1"/>
          </p:nvSpPr>
          <p:spPr>
            <a:xfrm>
              <a:off x="6934220" y="2108203"/>
              <a:ext cx="871219" cy="0"/>
            </a:xfrm>
            <a:custGeom>
              <a:avLst/>
              <a:gdLst/>
              <a:ahLst/>
              <a:cxnLst/>
              <a:rect l="l" t="t" r="r" b="b"/>
              <a:pathLst>
                <a:path w="871220">
                  <a:moveTo>
                    <a:pt x="0" y="0"/>
                  </a:moveTo>
                  <a:lnTo>
                    <a:pt x="870927" y="0"/>
                  </a:lnTo>
                </a:path>
              </a:pathLst>
            </a:custGeom>
            <a:ln w="19050">
              <a:solidFill>
                <a:srgbClr val="FFFFFF"/>
              </a:solidFill>
              <a:prstDash val="dot"/>
            </a:ln>
          </p:spPr>
          <p:txBody>
            <a:bodyPr wrap="square" lIns="0" tIns="0" rIns="0" bIns="0" rtlCol="0"/>
            <a:lstStyle/>
            <a:p>
              <a:endParaRPr lang="fr-FR"/>
            </a:p>
          </p:txBody>
        </p:sp>
        <p:sp>
          <p:nvSpPr>
            <p:cNvPr id="29" name="object 78">
              <a:extLst>
                <a:ext uri="{FF2B5EF4-FFF2-40B4-BE49-F238E27FC236}">
                  <a16:creationId xmlns:a16="http://schemas.microsoft.com/office/drawing/2014/main" id="{D91431A9-2B1B-4CE6-983E-D783F4A1E751}"/>
                </a:ext>
              </a:extLst>
            </p:cNvPr>
            <p:cNvSpPr/>
            <p:nvPr userDrawn="1"/>
          </p:nvSpPr>
          <p:spPr>
            <a:xfrm>
              <a:off x="6895512" y="3050744"/>
              <a:ext cx="0" cy="0"/>
            </a:xfrm>
            <a:custGeom>
              <a:avLst/>
              <a:gdLst/>
              <a:ahLst/>
              <a:cxnLst/>
              <a:rect l="l" t="t" r="r" b="b"/>
              <a:pathLst>
                <a:path>
                  <a:moveTo>
                    <a:pt x="0" y="0"/>
                  </a:moveTo>
                  <a:lnTo>
                    <a:pt x="0" y="0"/>
                  </a:lnTo>
                </a:path>
              </a:pathLst>
            </a:custGeom>
            <a:ln w="19050">
              <a:solidFill>
                <a:srgbClr val="FFFFFF"/>
              </a:solidFill>
            </a:ln>
          </p:spPr>
          <p:txBody>
            <a:bodyPr wrap="square" lIns="0" tIns="0" rIns="0" bIns="0" rtlCol="0"/>
            <a:lstStyle/>
            <a:p>
              <a:endParaRPr lang="fr-FR"/>
            </a:p>
          </p:txBody>
        </p:sp>
        <p:sp>
          <p:nvSpPr>
            <p:cNvPr id="30" name="object 79">
              <a:extLst>
                <a:ext uri="{FF2B5EF4-FFF2-40B4-BE49-F238E27FC236}">
                  <a16:creationId xmlns:a16="http://schemas.microsoft.com/office/drawing/2014/main" id="{E5BCB4B1-81D4-4168-9FEF-2CD6D6CABF40}"/>
                </a:ext>
              </a:extLst>
            </p:cNvPr>
            <p:cNvSpPr/>
            <p:nvPr userDrawn="1"/>
          </p:nvSpPr>
          <p:spPr>
            <a:xfrm>
              <a:off x="6895512" y="2108201"/>
              <a:ext cx="0" cy="0"/>
            </a:xfrm>
            <a:custGeom>
              <a:avLst/>
              <a:gdLst/>
              <a:ahLst/>
              <a:cxnLst/>
              <a:rect l="l" t="t" r="r" b="b"/>
              <a:pathLst>
                <a:path>
                  <a:moveTo>
                    <a:pt x="0" y="0"/>
                  </a:moveTo>
                  <a:lnTo>
                    <a:pt x="0" y="0"/>
                  </a:lnTo>
                </a:path>
              </a:pathLst>
            </a:custGeom>
            <a:ln w="19050">
              <a:solidFill>
                <a:srgbClr val="FFFFFF"/>
              </a:solidFill>
            </a:ln>
          </p:spPr>
          <p:txBody>
            <a:bodyPr wrap="square" lIns="0" tIns="0" rIns="0" bIns="0" rtlCol="0"/>
            <a:lstStyle/>
            <a:p>
              <a:endParaRPr lang="fr-FR"/>
            </a:p>
          </p:txBody>
        </p:sp>
        <p:sp>
          <p:nvSpPr>
            <p:cNvPr id="31" name="object 80">
              <a:extLst>
                <a:ext uri="{FF2B5EF4-FFF2-40B4-BE49-F238E27FC236}">
                  <a16:creationId xmlns:a16="http://schemas.microsoft.com/office/drawing/2014/main" id="{47BEE3D2-0C17-4B76-8569-8AF14E5CA6A2}"/>
                </a:ext>
              </a:extLst>
            </p:cNvPr>
            <p:cNvSpPr/>
            <p:nvPr userDrawn="1"/>
          </p:nvSpPr>
          <p:spPr>
            <a:xfrm>
              <a:off x="7824505" y="2108201"/>
              <a:ext cx="0" cy="0"/>
            </a:xfrm>
            <a:custGeom>
              <a:avLst/>
              <a:gdLst/>
              <a:ahLst/>
              <a:cxnLst/>
              <a:rect l="l" t="t" r="r" b="b"/>
              <a:pathLst>
                <a:path>
                  <a:moveTo>
                    <a:pt x="0" y="0"/>
                  </a:moveTo>
                  <a:lnTo>
                    <a:pt x="0" y="0"/>
                  </a:lnTo>
                </a:path>
              </a:pathLst>
            </a:custGeom>
            <a:ln w="19050">
              <a:solidFill>
                <a:srgbClr val="FFFFFF"/>
              </a:solidFill>
            </a:ln>
          </p:spPr>
          <p:txBody>
            <a:bodyPr wrap="square" lIns="0" tIns="0" rIns="0" bIns="0" rtlCol="0"/>
            <a:lstStyle/>
            <a:p>
              <a:endParaRPr lang="fr-FR"/>
            </a:p>
          </p:txBody>
        </p:sp>
        <p:sp>
          <p:nvSpPr>
            <p:cNvPr id="32" name="object 81">
              <a:extLst>
                <a:ext uri="{FF2B5EF4-FFF2-40B4-BE49-F238E27FC236}">
                  <a16:creationId xmlns:a16="http://schemas.microsoft.com/office/drawing/2014/main" id="{32DD0B0A-F765-4B69-B7E7-CEA8107D22CE}"/>
                </a:ext>
              </a:extLst>
            </p:cNvPr>
            <p:cNvSpPr/>
            <p:nvPr userDrawn="1"/>
          </p:nvSpPr>
          <p:spPr>
            <a:xfrm>
              <a:off x="6560827" y="2127051"/>
              <a:ext cx="0" cy="886460"/>
            </a:xfrm>
            <a:custGeom>
              <a:avLst/>
              <a:gdLst/>
              <a:ahLst/>
              <a:cxnLst/>
              <a:rect l="l" t="t" r="r" b="b"/>
              <a:pathLst>
                <a:path h="886460">
                  <a:moveTo>
                    <a:pt x="0" y="885990"/>
                  </a:moveTo>
                  <a:lnTo>
                    <a:pt x="0" y="0"/>
                  </a:lnTo>
                </a:path>
              </a:pathLst>
            </a:custGeom>
            <a:ln w="19050">
              <a:solidFill>
                <a:schemeClr val="tx2"/>
              </a:solidFill>
              <a:prstDash val="dot"/>
            </a:ln>
          </p:spPr>
          <p:txBody>
            <a:bodyPr wrap="square" lIns="0" tIns="0" rIns="0" bIns="0" rtlCol="0"/>
            <a:lstStyle/>
            <a:p>
              <a:endParaRPr lang="fr-FR"/>
            </a:p>
          </p:txBody>
        </p:sp>
        <p:sp>
          <p:nvSpPr>
            <p:cNvPr id="33" name="object 82">
              <a:extLst>
                <a:ext uri="{FF2B5EF4-FFF2-40B4-BE49-F238E27FC236}">
                  <a16:creationId xmlns:a16="http://schemas.microsoft.com/office/drawing/2014/main" id="{2B0D3DBB-316D-463C-AC50-5DE0B05B00BF}"/>
                </a:ext>
              </a:extLst>
            </p:cNvPr>
            <p:cNvSpPr/>
            <p:nvPr userDrawn="1"/>
          </p:nvSpPr>
          <p:spPr>
            <a:xfrm>
              <a:off x="5571130" y="2108203"/>
              <a:ext cx="900000" cy="0"/>
            </a:xfrm>
            <a:custGeom>
              <a:avLst/>
              <a:gdLst/>
              <a:ahLst/>
              <a:cxnLst/>
              <a:rect l="l" t="t" r="r" b="b"/>
              <a:pathLst>
                <a:path w="871220">
                  <a:moveTo>
                    <a:pt x="870927" y="0"/>
                  </a:moveTo>
                  <a:lnTo>
                    <a:pt x="0" y="0"/>
                  </a:lnTo>
                </a:path>
              </a:pathLst>
            </a:custGeom>
            <a:ln w="19050">
              <a:solidFill>
                <a:schemeClr val="tx2"/>
              </a:solidFill>
              <a:prstDash val="dot"/>
            </a:ln>
          </p:spPr>
          <p:txBody>
            <a:bodyPr wrap="square" lIns="0" tIns="0" rIns="0" bIns="0" rtlCol="0"/>
            <a:lstStyle/>
            <a:p>
              <a:endParaRPr lang="fr-FR"/>
            </a:p>
          </p:txBody>
        </p:sp>
        <p:sp>
          <p:nvSpPr>
            <p:cNvPr id="34" name="object 83">
              <a:extLst>
                <a:ext uri="{FF2B5EF4-FFF2-40B4-BE49-F238E27FC236}">
                  <a16:creationId xmlns:a16="http://schemas.microsoft.com/office/drawing/2014/main" id="{6D62EC1F-E84A-465B-8E6B-B8AA39E623D7}"/>
                </a:ext>
              </a:extLst>
            </p:cNvPr>
            <p:cNvSpPr/>
            <p:nvPr userDrawn="1"/>
          </p:nvSpPr>
          <p:spPr>
            <a:xfrm>
              <a:off x="6560827" y="3050744"/>
              <a:ext cx="0" cy="0"/>
            </a:xfrm>
            <a:custGeom>
              <a:avLst/>
              <a:gdLst/>
              <a:ahLst/>
              <a:cxnLst/>
              <a:rect l="l" t="t" r="r" b="b"/>
              <a:pathLst>
                <a:path>
                  <a:moveTo>
                    <a:pt x="0" y="0"/>
                  </a:moveTo>
                  <a:lnTo>
                    <a:pt x="0" y="0"/>
                  </a:lnTo>
                </a:path>
              </a:pathLst>
            </a:custGeom>
            <a:ln w="19050">
              <a:solidFill>
                <a:schemeClr val="tx2"/>
              </a:solidFill>
            </a:ln>
          </p:spPr>
          <p:txBody>
            <a:bodyPr wrap="square" lIns="0" tIns="0" rIns="0" bIns="0" rtlCol="0"/>
            <a:lstStyle/>
            <a:p>
              <a:endParaRPr lang="fr-FR"/>
            </a:p>
          </p:txBody>
        </p:sp>
        <p:sp>
          <p:nvSpPr>
            <p:cNvPr id="35" name="object 84">
              <a:extLst>
                <a:ext uri="{FF2B5EF4-FFF2-40B4-BE49-F238E27FC236}">
                  <a16:creationId xmlns:a16="http://schemas.microsoft.com/office/drawing/2014/main" id="{69CF0E74-1C03-419E-8802-BF0E1ECE2230}"/>
                </a:ext>
              </a:extLst>
            </p:cNvPr>
            <p:cNvSpPr/>
            <p:nvPr userDrawn="1"/>
          </p:nvSpPr>
          <p:spPr>
            <a:xfrm>
              <a:off x="6560827" y="2108201"/>
              <a:ext cx="0" cy="0"/>
            </a:xfrm>
            <a:custGeom>
              <a:avLst/>
              <a:gdLst/>
              <a:ahLst/>
              <a:cxnLst/>
              <a:rect l="l" t="t" r="r" b="b"/>
              <a:pathLst>
                <a:path>
                  <a:moveTo>
                    <a:pt x="0" y="0"/>
                  </a:moveTo>
                  <a:lnTo>
                    <a:pt x="0" y="0"/>
                  </a:lnTo>
                </a:path>
              </a:pathLst>
            </a:custGeom>
            <a:ln w="19050">
              <a:solidFill>
                <a:schemeClr val="tx2"/>
              </a:solidFill>
            </a:ln>
          </p:spPr>
          <p:txBody>
            <a:bodyPr wrap="square" lIns="0" tIns="0" rIns="0" bIns="0" rtlCol="0"/>
            <a:lstStyle/>
            <a:p>
              <a:endParaRPr lang="fr-FR"/>
            </a:p>
          </p:txBody>
        </p:sp>
        <p:sp>
          <p:nvSpPr>
            <p:cNvPr id="36" name="object 85">
              <a:extLst>
                <a:ext uri="{FF2B5EF4-FFF2-40B4-BE49-F238E27FC236}">
                  <a16:creationId xmlns:a16="http://schemas.microsoft.com/office/drawing/2014/main" id="{3DC015FD-9695-4A1F-AEBB-9D22169F918D}"/>
                </a:ext>
              </a:extLst>
            </p:cNvPr>
            <p:cNvSpPr/>
            <p:nvPr userDrawn="1"/>
          </p:nvSpPr>
          <p:spPr>
            <a:xfrm>
              <a:off x="5631834" y="2108201"/>
              <a:ext cx="0" cy="0"/>
            </a:xfrm>
            <a:custGeom>
              <a:avLst/>
              <a:gdLst/>
              <a:ahLst/>
              <a:cxnLst/>
              <a:rect l="l" t="t" r="r" b="b"/>
              <a:pathLst>
                <a:path>
                  <a:moveTo>
                    <a:pt x="0" y="0"/>
                  </a:moveTo>
                  <a:lnTo>
                    <a:pt x="0" y="0"/>
                  </a:lnTo>
                </a:path>
              </a:pathLst>
            </a:custGeom>
            <a:ln w="19050">
              <a:solidFill>
                <a:schemeClr val="tx2"/>
              </a:solidFill>
            </a:ln>
          </p:spPr>
          <p:txBody>
            <a:bodyPr wrap="square" lIns="0" tIns="0" rIns="0" bIns="0" rtlCol="0"/>
            <a:lstStyle/>
            <a:p>
              <a:endParaRPr lang="fr-FR"/>
            </a:p>
          </p:txBody>
        </p:sp>
        <p:grpSp>
          <p:nvGrpSpPr>
            <p:cNvPr id="37" name="Group 61">
              <a:extLst>
                <a:ext uri="{FF2B5EF4-FFF2-40B4-BE49-F238E27FC236}">
                  <a16:creationId xmlns:a16="http://schemas.microsoft.com/office/drawing/2014/main" id="{2B2CF83F-F15D-4DD6-9EE9-6CD72658CC6C}"/>
                </a:ext>
              </a:extLst>
            </p:cNvPr>
            <p:cNvGrpSpPr/>
            <p:nvPr userDrawn="1"/>
          </p:nvGrpSpPr>
          <p:grpSpPr>
            <a:xfrm>
              <a:off x="5579386" y="2884918"/>
              <a:ext cx="2117090" cy="2117090"/>
              <a:chOff x="3809545" y="2678563"/>
              <a:chExt cx="2117090" cy="2117090"/>
            </a:xfrm>
          </p:grpSpPr>
          <p:sp>
            <p:nvSpPr>
              <p:cNvPr id="39" name="object 86">
                <a:extLst>
                  <a:ext uri="{FF2B5EF4-FFF2-40B4-BE49-F238E27FC236}">
                    <a16:creationId xmlns:a16="http://schemas.microsoft.com/office/drawing/2014/main" id="{670A75EA-8B5B-4B3A-99A3-4EEF27F59FD4}"/>
                  </a:ext>
                </a:extLst>
              </p:cNvPr>
              <p:cNvSpPr/>
              <p:nvPr userDrawn="1"/>
            </p:nvSpPr>
            <p:spPr>
              <a:xfrm>
                <a:off x="3809545" y="2678563"/>
                <a:ext cx="2117090" cy="2117090"/>
              </a:xfrm>
              <a:custGeom>
                <a:avLst/>
                <a:gdLst/>
                <a:ahLst/>
                <a:cxnLst/>
                <a:rect l="l" t="t" r="r" b="b"/>
                <a:pathLst>
                  <a:path w="2117090" h="2117090">
                    <a:moveTo>
                      <a:pt x="1058545" y="0"/>
                    </a:moveTo>
                    <a:lnTo>
                      <a:pt x="1010090" y="1089"/>
                    </a:lnTo>
                    <a:lnTo>
                      <a:pt x="962195" y="4325"/>
                    </a:lnTo>
                    <a:lnTo>
                      <a:pt x="914906" y="9663"/>
                    </a:lnTo>
                    <a:lnTo>
                      <a:pt x="868269" y="17054"/>
                    </a:lnTo>
                    <a:lnTo>
                      <a:pt x="822332" y="26453"/>
                    </a:lnTo>
                    <a:lnTo>
                      <a:pt x="777141" y="37812"/>
                    </a:lnTo>
                    <a:lnTo>
                      <a:pt x="732743" y="51085"/>
                    </a:lnTo>
                    <a:lnTo>
                      <a:pt x="689184" y="66225"/>
                    </a:lnTo>
                    <a:lnTo>
                      <a:pt x="646511" y="83185"/>
                    </a:lnTo>
                    <a:lnTo>
                      <a:pt x="604771" y="101919"/>
                    </a:lnTo>
                    <a:lnTo>
                      <a:pt x="564010" y="122380"/>
                    </a:lnTo>
                    <a:lnTo>
                      <a:pt x="524276" y="144521"/>
                    </a:lnTo>
                    <a:lnTo>
                      <a:pt x="485615" y="168296"/>
                    </a:lnTo>
                    <a:lnTo>
                      <a:pt x="448074" y="193658"/>
                    </a:lnTo>
                    <a:lnTo>
                      <a:pt x="411699" y="220559"/>
                    </a:lnTo>
                    <a:lnTo>
                      <a:pt x="376537" y="248955"/>
                    </a:lnTo>
                    <a:lnTo>
                      <a:pt x="342635" y="278796"/>
                    </a:lnTo>
                    <a:lnTo>
                      <a:pt x="310040" y="310038"/>
                    </a:lnTo>
                    <a:lnTo>
                      <a:pt x="278798" y="342633"/>
                    </a:lnTo>
                    <a:lnTo>
                      <a:pt x="248956" y="376535"/>
                    </a:lnTo>
                    <a:lnTo>
                      <a:pt x="220560" y="411696"/>
                    </a:lnTo>
                    <a:lnTo>
                      <a:pt x="193658" y="448071"/>
                    </a:lnTo>
                    <a:lnTo>
                      <a:pt x="168297" y="485612"/>
                    </a:lnTo>
                    <a:lnTo>
                      <a:pt x="144522" y="524272"/>
                    </a:lnTo>
                    <a:lnTo>
                      <a:pt x="122380" y="564006"/>
                    </a:lnTo>
                    <a:lnTo>
                      <a:pt x="101919" y="604766"/>
                    </a:lnTo>
                    <a:lnTo>
                      <a:pt x="83185" y="646505"/>
                    </a:lnTo>
                    <a:lnTo>
                      <a:pt x="66225" y="689178"/>
                    </a:lnTo>
                    <a:lnTo>
                      <a:pt x="51085" y="732736"/>
                    </a:lnTo>
                    <a:lnTo>
                      <a:pt x="37812" y="777134"/>
                    </a:lnTo>
                    <a:lnTo>
                      <a:pt x="26453" y="822324"/>
                    </a:lnTo>
                    <a:lnTo>
                      <a:pt x="17054" y="868261"/>
                    </a:lnTo>
                    <a:lnTo>
                      <a:pt x="9663" y="914896"/>
                    </a:lnTo>
                    <a:lnTo>
                      <a:pt x="4325" y="962185"/>
                    </a:lnTo>
                    <a:lnTo>
                      <a:pt x="1089" y="1010079"/>
                    </a:lnTo>
                    <a:lnTo>
                      <a:pt x="0" y="1058532"/>
                    </a:lnTo>
                    <a:lnTo>
                      <a:pt x="1089" y="1106986"/>
                    </a:lnTo>
                    <a:lnTo>
                      <a:pt x="4325" y="1154881"/>
                    </a:lnTo>
                    <a:lnTo>
                      <a:pt x="9663" y="1202170"/>
                    </a:lnTo>
                    <a:lnTo>
                      <a:pt x="17054" y="1248807"/>
                    </a:lnTo>
                    <a:lnTo>
                      <a:pt x="26453" y="1294744"/>
                    </a:lnTo>
                    <a:lnTo>
                      <a:pt x="37812" y="1339935"/>
                    </a:lnTo>
                    <a:lnTo>
                      <a:pt x="51085" y="1384334"/>
                    </a:lnTo>
                    <a:lnTo>
                      <a:pt x="66225" y="1427893"/>
                    </a:lnTo>
                    <a:lnTo>
                      <a:pt x="83185" y="1470566"/>
                    </a:lnTo>
                    <a:lnTo>
                      <a:pt x="101919" y="1512306"/>
                    </a:lnTo>
                    <a:lnTo>
                      <a:pt x="122380" y="1553066"/>
                    </a:lnTo>
                    <a:lnTo>
                      <a:pt x="144522" y="1592800"/>
                    </a:lnTo>
                    <a:lnTo>
                      <a:pt x="168297" y="1631461"/>
                    </a:lnTo>
                    <a:lnTo>
                      <a:pt x="193658" y="1669003"/>
                    </a:lnTo>
                    <a:lnTo>
                      <a:pt x="220560" y="1705377"/>
                    </a:lnTo>
                    <a:lnTo>
                      <a:pt x="248956" y="1740539"/>
                    </a:lnTo>
                    <a:lnTo>
                      <a:pt x="278798" y="1774441"/>
                    </a:lnTo>
                    <a:lnTo>
                      <a:pt x="310040" y="1807036"/>
                    </a:lnTo>
                    <a:lnTo>
                      <a:pt x="342635" y="1838279"/>
                    </a:lnTo>
                    <a:lnTo>
                      <a:pt x="376537" y="1868121"/>
                    </a:lnTo>
                    <a:lnTo>
                      <a:pt x="411699" y="1896516"/>
                    </a:lnTo>
                    <a:lnTo>
                      <a:pt x="448074" y="1923418"/>
                    </a:lnTo>
                    <a:lnTo>
                      <a:pt x="485615" y="1948780"/>
                    </a:lnTo>
                    <a:lnTo>
                      <a:pt x="524276" y="1972555"/>
                    </a:lnTo>
                    <a:lnTo>
                      <a:pt x="564010" y="1994696"/>
                    </a:lnTo>
                    <a:lnTo>
                      <a:pt x="604771" y="2015157"/>
                    </a:lnTo>
                    <a:lnTo>
                      <a:pt x="646511" y="2033891"/>
                    </a:lnTo>
                    <a:lnTo>
                      <a:pt x="689184" y="2050852"/>
                    </a:lnTo>
                    <a:lnTo>
                      <a:pt x="732743" y="2065992"/>
                    </a:lnTo>
                    <a:lnTo>
                      <a:pt x="777141" y="2079265"/>
                    </a:lnTo>
                    <a:lnTo>
                      <a:pt x="822332" y="2090624"/>
                    </a:lnTo>
                    <a:lnTo>
                      <a:pt x="868269" y="2100022"/>
                    </a:lnTo>
                    <a:lnTo>
                      <a:pt x="914906" y="2107414"/>
                    </a:lnTo>
                    <a:lnTo>
                      <a:pt x="962195" y="2112751"/>
                    </a:lnTo>
                    <a:lnTo>
                      <a:pt x="1010090" y="2115988"/>
                    </a:lnTo>
                    <a:lnTo>
                      <a:pt x="1058545" y="2117077"/>
                    </a:lnTo>
                    <a:lnTo>
                      <a:pt x="1106999" y="2115988"/>
                    </a:lnTo>
                    <a:lnTo>
                      <a:pt x="1154894" y="2112751"/>
                    </a:lnTo>
                    <a:lnTo>
                      <a:pt x="1202183" y="2107414"/>
                    </a:lnTo>
                    <a:lnTo>
                      <a:pt x="1248820" y="2100022"/>
                    </a:lnTo>
                    <a:lnTo>
                      <a:pt x="1294757" y="2090624"/>
                    </a:lnTo>
                    <a:lnTo>
                      <a:pt x="1339948" y="2079265"/>
                    </a:lnTo>
                    <a:lnTo>
                      <a:pt x="1384346" y="2065992"/>
                    </a:lnTo>
                    <a:lnTo>
                      <a:pt x="1427905" y="2050852"/>
                    </a:lnTo>
                    <a:lnTo>
                      <a:pt x="1470578" y="2033891"/>
                    </a:lnTo>
                    <a:lnTo>
                      <a:pt x="1512318" y="2015157"/>
                    </a:lnTo>
                    <a:lnTo>
                      <a:pt x="1553079" y="1994696"/>
                    </a:lnTo>
                    <a:lnTo>
                      <a:pt x="1592813" y="1972555"/>
                    </a:lnTo>
                    <a:lnTo>
                      <a:pt x="1631474" y="1948780"/>
                    </a:lnTo>
                    <a:lnTo>
                      <a:pt x="1669015" y="1923418"/>
                    </a:lnTo>
                    <a:lnTo>
                      <a:pt x="1705390" y="1896516"/>
                    </a:lnTo>
                    <a:lnTo>
                      <a:pt x="1740552" y="1868121"/>
                    </a:lnTo>
                    <a:lnTo>
                      <a:pt x="1774454" y="1838279"/>
                    </a:lnTo>
                    <a:lnTo>
                      <a:pt x="1807049" y="1807036"/>
                    </a:lnTo>
                    <a:lnTo>
                      <a:pt x="1838291" y="1774441"/>
                    </a:lnTo>
                    <a:lnTo>
                      <a:pt x="1868133" y="1740539"/>
                    </a:lnTo>
                    <a:lnTo>
                      <a:pt x="1896529" y="1705377"/>
                    </a:lnTo>
                    <a:lnTo>
                      <a:pt x="1923431" y="1669003"/>
                    </a:lnTo>
                    <a:lnTo>
                      <a:pt x="1948792" y="1631461"/>
                    </a:lnTo>
                    <a:lnTo>
                      <a:pt x="1972567" y="1592800"/>
                    </a:lnTo>
                    <a:lnTo>
                      <a:pt x="1994709" y="1553066"/>
                    </a:lnTo>
                    <a:lnTo>
                      <a:pt x="2015170" y="1512306"/>
                    </a:lnTo>
                    <a:lnTo>
                      <a:pt x="2033904" y="1470566"/>
                    </a:lnTo>
                    <a:lnTo>
                      <a:pt x="2050864" y="1427893"/>
                    </a:lnTo>
                    <a:lnTo>
                      <a:pt x="2066004" y="1384334"/>
                    </a:lnTo>
                    <a:lnTo>
                      <a:pt x="2079277" y="1339935"/>
                    </a:lnTo>
                    <a:lnTo>
                      <a:pt x="2090636" y="1294744"/>
                    </a:lnTo>
                    <a:lnTo>
                      <a:pt x="2100035" y="1248807"/>
                    </a:lnTo>
                    <a:lnTo>
                      <a:pt x="2107426" y="1202170"/>
                    </a:lnTo>
                    <a:lnTo>
                      <a:pt x="2112764" y="1154881"/>
                    </a:lnTo>
                    <a:lnTo>
                      <a:pt x="2116000" y="1106986"/>
                    </a:lnTo>
                    <a:lnTo>
                      <a:pt x="2117090" y="1058532"/>
                    </a:lnTo>
                    <a:lnTo>
                      <a:pt x="2116000" y="1010079"/>
                    </a:lnTo>
                    <a:lnTo>
                      <a:pt x="2112764" y="962185"/>
                    </a:lnTo>
                    <a:lnTo>
                      <a:pt x="2107426" y="914896"/>
                    </a:lnTo>
                    <a:lnTo>
                      <a:pt x="2100035" y="868261"/>
                    </a:lnTo>
                    <a:lnTo>
                      <a:pt x="2090636" y="822324"/>
                    </a:lnTo>
                    <a:lnTo>
                      <a:pt x="2079277" y="777134"/>
                    </a:lnTo>
                    <a:lnTo>
                      <a:pt x="2066004" y="732736"/>
                    </a:lnTo>
                    <a:lnTo>
                      <a:pt x="2050864" y="689178"/>
                    </a:lnTo>
                    <a:lnTo>
                      <a:pt x="2033904" y="646505"/>
                    </a:lnTo>
                    <a:lnTo>
                      <a:pt x="2015170" y="604766"/>
                    </a:lnTo>
                    <a:lnTo>
                      <a:pt x="1994709" y="564006"/>
                    </a:lnTo>
                    <a:lnTo>
                      <a:pt x="1972567" y="524272"/>
                    </a:lnTo>
                    <a:lnTo>
                      <a:pt x="1948792" y="485612"/>
                    </a:lnTo>
                    <a:lnTo>
                      <a:pt x="1923431" y="448071"/>
                    </a:lnTo>
                    <a:lnTo>
                      <a:pt x="1896529" y="411696"/>
                    </a:lnTo>
                    <a:lnTo>
                      <a:pt x="1868133" y="376535"/>
                    </a:lnTo>
                    <a:lnTo>
                      <a:pt x="1838291" y="342633"/>
                    </a:lnTo>
                    <a:lnTo>
                      <a:pt x="1807049" y="310038"/>
                    </a:lnTo>
                    <a:lnTo>
                      <a:pt x="1774454" y="278796"/>
                    </a:lnTo>
                    <a:lnTo>
                      <a:pt x="1740552" y="248955"/>
                    </a:lnTo>
                    <a:lnTo>
                      <a:pt x="1705390" y="220559"/>
                    </a:lnTo>
                    <a:lnTo>
                      <a:pt x="1669015" y="193658"/>
                    </a:lnTo>
                    <a:lnTo>
                      <a:pt x="1631474" y="168296"/>
                    </a:lnTo>
                    <a:lnTo>
                      <a:pt x="1592813" y="144521"/>
                    </a:lnTo>
                    <a:lnTo>
                      <a:pt x="1553079" y="122380"/>
                    </a:lnTo>
                    <a:lnTo>
                      <a:pt x="1512318" y="101919"/>
                    </a:lnTo>
                    <a:lnTo>
                      <a:pt x="1470578" y="83185"/>
                    </a:lnTo>
                    <a:lnTo>
                      <a:pt x="1427905" y="66225"/>
                    </a:lnTo>
                    <a:lnTo>
                      <a:pt x="1384346" y="51085"/>
                    </a:lnTo>
                    <a:lnTo>
                      <a:pt x="1339948" y="37812"/>
                    </a:lnTo>
                    <a:lnTo>
                      <a:pt x="1294757" y="26453"/>
                    </a:lnTo>
                    <a:lnTo>
                      <a:pt x="1248820" y="17054"/>
                    </a:lnTo>
                    <a:lnTo>
                      <a:pt x="1202183" y="9663"/>
                    </a:lnTo>
                    <a:lnTo>
                      <a:pt x="1154894" y="4325"/>
                    </a:lnTo>
                    <a:lnTo>
                      <a:pt x="1106999" y="1089"/>
                    </a:lnTo>
                    <a:lnTo>
                      <a:pt x="1058545" y="0"/>
                    </a:lnTo>
                    <a:close/>
                  </a:path>
                </a:pathLst>
              </a:custGeom>
              <a:solidFill>
                <a:srgbClr val="004B58"/>
              </a:solidFill>
              <a:ln>
                <a:noFill/>
              </a:ln>
            </p:spPr>
            <p:txBody>
              <a:bodyPr wrap="square" lIns="0" tIns="0" rIns="0" bIns="0" rtlCol="0"/>
              <a:lstStyle/>
              <a:p>
                <a:endParaRPr lang="fr-FR"/>
              </a:p>
            </p:txBody>
          </p:sp>
          <p:sp>
            <p:nvSpPr>
              <p:cNvPr id="40" name="object 88">
                <a:extLst>
                  <a:ext uri="{FF2B5EF4-FFF2-40B4-BE49-F238E27FC236}">
                    <a16:creationId xmlns:a16="http://schemas.microsoft.com/office/drawing/2014/main" id="{EEA8D15C-AB8C-409C-A856-1875A6193AA6}"/>
                  </a:ext>
                </a:extLst>
              </p:cNvPr>
              <p:cNvSpPr txBox="1"/>
              <p:nvPr userDrawn="1"/>
            </p:nvSpPr>
            <p:spPr>
              <a:xfrm>
                <a:off x="3850525" y="3402455"/>
                <a:ext cx="2035175" cy="655320"/>
              </a:xfrm>
              <a:prstGeom prst="rect">
                <a:avLst/>
              </a:prstGeom>
            </p:spPr>
            <p:txBody>
              <a:bodyPr vert="horz" wrap="square" lIns="0" tIns="12700" rIns="0" bIns="0" rtlCol="0">
                <a:spAutoFit/>
              </a:bodyPr>
              <a:lstStyle/>
              <a:p>
                <a:pPr marL="53975" algn="ctr">
                  <a:lnSpc>
                    <a:spcPts val="2475"/>
                  </a:lnSpc>
                  <a:spcBef>
                    <a:spcPts val="100"/>
                  </a:spcBef>
                </a:pPr>
                <a:r>
                  <a:rPr lang="fr-FR" sz="2250" spc="285">
                    <a:solidFill>
                      <a:srgbClr val="FFFFFF"/>
                    </a:solidFill>
                    <a:latin typeface="Calibri"/>
                    <a:cs typeface="Calibri"/>
                  </a:rPr>
                  <a:t>THE</a:t>
                </a:r>
                <a:r>
                  <a:rPr lang="fr-FR" sz="2250" spc="-85">
                    <a:solidFill>
                      <a:srgbClr val="FFFFFF"/>
                    </a:solidFill>
                    <a:latin typeface="Calibri"/>
                    <a:cs typeface="Calibri"/>
                  </a:rPr>
                  <a:t> </a:t>
                </a:r>
                <a:endParaRPr lang="fr-FR" sz="2250">
                  <a:latin typeface="Calibri"/>
                  <a:cs typeface="Calibri"/>
                </a:endParaRPr>
              </a:p>
              <a:p>
                <a:pPr algn="ctr">
                  <a:lnSpc>
                    <a:spcPts val="2475"/>
                  </a:lnSpc>
                  <a:tabLst>
                    <a:tab pos="1251585" algn="l"/>
                  </a:tabLst>
                </a:pPr>
                <a:r>
                  <a:rPr lang="fr-FR" sz="2250">
                    <a:solidFill>
                      <a:srgbClr val="FFFFFF"/>
                    </a:solidFill>
                    <a:latin typeface="Calibri"/>
                    <a:cs typeface="Calibri"/>
                  </a:rPr>
                  <a:t>‘</a:t>
                </a:r>
                <a:r>
                  <a:rPr lang="fr-FR" sz="2250" spc="340">
                    <a:solidFill>
                      <a:srgbClr val="FFFFFF"/>
                    </a:solidFill>
                    <a:latin typeface="Calibri"/>
                    <a:cs typeface="Calibri"/>
                  </a:rPr>
                  <a:t>CYLAD </a:t>
                </a:r>
                <a:r>
                  <a:rPr lang="fr-FR" sz="2250">
                    <a:solidFill>
                      <a:srgbClr val="FFFFFF"/>
                    </a:solidFill>
                    <a:latin typeface="Calibri"/>
                    <a:cs typeface="Calibri"/>
                  </a:rPr>
                  <a:t>W </a:t>
                </a:r>
                <a:r>
                  <a:rPr lang="fr-FR" sz="2250" spc="130">
                    <a:solidFill>
                      <a:srgbClr val="FFFFFF"/>
                    </a:solidFill>
                    <a:latin typeface="Calibri"/>
                    <a:cs typeface="Calibri"/>
                  </a:rPr>
                  <a:t>AY</a:t>
                </a:r>
                <a:r>
                  <a:rPr lang="fr-FR" sz="2250" spc="-365">
                    <a:solidFill>
                      <a:srgbClr val="FFFFFF"/>
                    </a:solidFill>
                    <a:latin typeface="Calibri"/>
                    <a:cs typeface="Calibri"/>
                  </a:rPr>
                  <a:t> </a:t>
                </a:r>
                <a:r>
                  <a:rPr lang="fr-FR" sz="2250">
                    <a:solidFill>
                      <a:srgbClr val="FFFFFF"/>
                    </a:solidFill>
                    <a:latin typeface="Calibri"/>
                    <a:cs typeface="Calibri"/>
                  </a:rPr>
                  <a:t>’</a:t>
                </a:r>
                <a:endParaRPr lang="fr-FR" sz="2250">
                  <a:latin typeface="Calibri"/>
                  <a:cs typeface="Calibri"/>
                </a:endParaRPr>
              </a:p>
            </p:txBody>
          </p:sp>
        </p:grpSp>
        <p:sp>
          <p:nvSpPr>
            <p:cNvPr id="38" name="object 77">
              <a:extLst>
                <a:ext uri="{FF2B5EF4-FFF2-40B4-BE49-F238E27FC236}">
                  <a16:creationId xmlns:a16="http://schemas.microsoft.com/office/drawing/2014/main" id="{DB37C81C-EB48-4541-83DF-02F9FEA64240}"/>
                </a:ext>
              </a:extLst>
            </p:cNvPr>
            <p:cNvSpPr/>
            <p:nvPr userDrawn="1"/>
          </p:nvSpPr>
          <p:spPr>
            <a:xfrm>
              <a:off x="6895512" y="2108200"/>
              <a:ext cx="474318" cy="45719"/>
            </a:xfrm>
            <a:custGeom>
              <a:avLst/>
              <a:gdLst/>
              <a:ahLst/>
              <a:cxnLst/>
              <a:rect l="l" t="t" r="r" b="b"/>
              <a:pathLst>
                <a:path w="871220">
                  <a:moveTo>
                    <a:pt x="0" y="0"/>
                  </a:moveTo>
                  <a:lnTo>
                    <a:pt x="870927" y="0"/>
                  </a:lnTo>
                </a:path>
              </a:pathLst>
            </a:custGeom>
            <a:ln w="19050">
              <a:solidFill>
                <a:schemeClr val="tx2"/>
              </a:solidFill>
              <a:prstDash val="dot"/>
            </a:ln>
          </p:spPr>
          <p:txBody>
            <a:bodyPr wrap="square" lIns="0" tIns="0" rIns="0" bIns="0" rtlCol="0"/>
            <a:lstStyle/>
            <a:p>
              <a:endParaRPr lang="fr-FR"/>
            </a:p>
          </p:txBody>
        </p:sp>
        <p:pic>
          <p:nvPicPr>
            <p:cNvPr id="41" name="Picture Placeholder 29">
              <a:extLst>
                <a:ext uri="{FF2B5EF4-FFF2-40B4-BE49-F238E27FC236}">
                  <a16:creationId xmlns:a16="http://schemas.microsoft.com/office/drawing/2014/main" id="{B18F57FD-8FC2-4F55-895A-42A60A3D8098}"/>
                </a:ext>
              </a:extLst>
            </p:cNvPr>
            <p:cNvPicPr>
              <a:picLocks noChangeAspect="1"/>
            </p:cNvPicPr>
            <p:nvPr/>
          </p:nvPicPr>
          <p:blipFill>
            <a:blip r:embed="rId8">
              <a:extLst>
                <a:ext uri="{28A0092B-C50C-407E-A947-70E740481C1C}">
                  <a14:useLocalDpi xmlns:a14="http://schemas.microsoft.com/office/drawing/2010/main" val="0"/>
                </a:ext>
              </a:extLst>
            </a:blip>
            <a:srcRect l="400" r="400"/>
            <a:stretch>
              <a:fillRect/>
            </a:stretch>
          </p:blipFill>
          <p:spPr>
            <a:xfrm>
              <a:off x="4869017" y="4486915"/>
              <a:ext cx="648000" cy="648000"/>
            </a:xfrm>
            <a:prstGeom prst="rect">
              <a:avLst/>
            </a:prstGeom>
          </p:spPr>
        </p:pic>
        <p:pic>
          <p:nvPicPr>
            <p:cNvPr id="42" name="Picture Placeholder 30">
              <a:extLst>
                <a:ext uri="{FF2B5EF4-FFF2-40B4-BE49-F238E27FC236}">
                  <a16:creationId xmlns:a16="http://schemas.microsoft.com/office/drawing/2014/main" id="{178B2F88-8B5E-488C-832E-A39CE3065113}"/>
                </a:ext>
              </a:extLst>
            </p:cNvPr>
            <p:cNvPicPr>
              <a:picLocks noChangeAspect="1"/>
            </p:cNvPicPr>
            <p:nvPr/>
          </p:nvPicPr>
          <p:blipFill>
            <a:blip r:embed="rId9">
              <a:extLst>
                <a:ext uri="{28A0092B-C50C-407E-A947-70E740481C1C}">
                  <a14:useLocalDpi xmlns:a14="http://schemas.microsoft.com/office/drawing/2010/main" val="0"/>
                </a:ext>
              </a:extLst>
            </a:blip>
            <a:srcRect l="278" r="278"/>
            <a:stretch>
              <a:fillRect/>
            </a:stretch>
          </p:blipFill>
          <p:spPr>
            <a:xfrm>
              <a:off x="8061683" y="1651000"/>
              <a:ext cx="648000" cy="648000"/>
            </a:xfrm>
            <a:prstGeom prst="rect">
              <a:avLst/>
            </a:prstGeom>
          </p:spPr>
        </p:pic>
        <p:pic>
          <p:nvPicPr>
            <p:cNvPr id="43" name="Picture Placeholder 31">
              <a:extLst>
                <a:ext uri="{FF2B5EF4-FFF2-40B4-BE49-F238E27FC236}">
                  <a16:creationId xmlns:a16="http://schemas.microsoft.com/office/drawing/2014/main" id="{47A3FD8C-858D-4805-8B8D-531B05BF5A13}"/>
                </a:ext>
              </a:extLst>
            </p:cNvPr>
            <p:cNvPicPr>
              <a:picLocks noChangeAspect="1"/>
            </p:cNvPicPr>
            <p:nvPr/>
          </p:nvPicPr>
          <p:blipFill>
            <a:blip r:embed="rId10">
              <a:extLst>
                <a:ext uri="{28A0092B-C50C-407E-A947-70E740481C1C}">
                  <a14:useLocalDpi xmlns:a14="http://schemas.microsoft.com/office/drawing/2010/main" val="0"/>
                </a:ext>
              </a:extLst>
            </a:blip>
            <a:srcRect t="122" b="122"/>
            <a:stretch>
              <a:fillRect/>
            </a:stretch>
          </p:blipFill>
          <p:spPr>
            <a:xfrm>
              <a:off x="8061683" y="2514863"/>
              <a:ext cx="648000" cy="648000"/>
            </a:xfrm>
            <a:prstGeom prst="rect">
              <a:avLst/>
            </a:prstGeom>
          </p:spPr>
        </p:pic>
        <p:pic>
          <p:nvPicPr>
            <p:cNvPr id="44" name="Picture Placeholder 32">
              <a:extLst>
                <a:ext uri="{FF2B5EF4-FFF2-40B4-BE49-F238E27FC236}">
                  <a16:creationId xmlns:a16="http://schemas.microsoft.com/office/drawing/2014/main" id="{EE9EAFF2-66A4-437A-8ADA-4E1A93DE6CA5}"/>
                </a:ext>
              </a:extLst>
            </p:cNvPr>
            <p:cNvPicPr>
              <a:picLocks noChangeAspect="1"/>
            </p:cNvPicPr>
            <p:nvPr/>
          </p:nvPicPr>
          <p:blipFill>
            <a:blip r:embed="rId11">
              <a:extLst>
                <a:ext uri="{28A0092B-C50C-407E-A947-70E740481C1C}">
                  <a14:useLocalDpi xmlns:a14="http://schemas.microsoft.com/office/drawing/2010/main" val="0"/>
                </a:ext>
              </a:extLst>
            </a:blip>
            <a:srcRect t="521" b="521"/>
            <a:stretch>
              <a:fillRect/>
            </a:stretch>
          </p:blipFill>
          <p:spPr>
            <a:xfrm>
              <a:off x="8061683" y="4688994"/>
              <a:ext cx="648000" cy="648000"/>
            </a:xfrm>
            <a:prstGeom prst="rect">
              <a:avLst/>
            </a:prstGeom>
          </p:spPr>
        </p:pic>
        <p:pic>
          <p:nvPicPr>
            <p:cNvPr id="45" name="Picture Placeholder 33">
              <a:extLst>
                <a:ext uri="{FF2B5EF4-FFF2-40B4-BE49-F238E27FC236}">
                  <a16:creationId xmlns:a16="http://schemas.microsoft.com/office/drawing/2014/main" id="{92073E25-A6A4-4E69-AA2B-F45709F83138}"/>
                </a:ext>
              </a:extLst>
            </p:cNvPr>
            <p:cNvPicPr>
              <a:picLocks noChangeAspect="1"/>
            </p:cNvPicPr>
            <p:nvPr/>
          </p:nvPicPr>
          <p:blipFill>
            <a:blip r:embed="rId12">
              <a:extLst>
                <a:ext uri="{28A0092B-C50C-407E-A947-70E740481C1C}">
                  <a14:useLocalDpi xmlns:a14="http://schemas.microsoft.com/office/drawing/2010/main" val="0"/>
                </a:ext>
              </a:extLst>
            </a:blip>
            <a:srcRect l="278" r="278"/>
            <a:stretch>
              <a:fillRect/>
            </a:stretch>
          </p:blipFill>
          <p:spPr>
            <a:xfrm>
              <a:off x="8061683" y="5600663"/>
              <a:ext cx="648000" cy="648000"/>
            </a:xfrm>
            <a:prstGeom prst="rect">
              <a:avLst/>
            </a:prstGeom>
          </p:spPr>
        </p:pic>
        <p:pic>
          <p:nvPicPr>
            <p:cNvPr id="46" name="Picture Placeholder 27">
              <a:extLst>
                <a:ext uri="{FF2B5EF4-FFF2-40B4-BE49-F238E27FC236}">
                  <a16:creationId xmlns:a16="http://schemas.microsoft.com/office/drawing/2014/main" id="{D4CCF59D-781B-454C-BB8E-CAAF34C1FE23}"/>
                </a:ext>
              </a:extLst>
            </p:cNvPr>
            <p:cNvPicPr>
              <a:picLocks noChangeAspect="1"/>
            </p:cNvPicPr>
            <p:nvPr/>
          </p:nvPicPr>
          <p:blipFill>
            <a:blip r:embed="rId13">
              <a:extLst>
                <a:ext uri="{28A0092B-C50C-407E-A947-70E740481C1C}">
                  <a14:useLocalDpi xmlns:a14="http://schemas.microsoft.com/office/drawing/2010/main" val="0"/>
                </a:ext>
              </a:extLst>
            </a:blip>
            <a:srcRect t="521" b="521"/>
            <a:stretch>
              <a:fillRect/>
            </a:stretch>
          </p:blipFill>
          <p:spPr>
            <a:xfrm>
              <a:off x="4861283" y="1651000"/>
              <a:ext cx="648000" cy="648000"/>
            </a:xfrm>
            <a:prstGeom prst="rect">
              <a:avLst/>
            </a:prstGeom>
          </p:spPr>
        </p:pic>
        <p:pic>
          <p:nvPicPr>
            <p:cNvPr id="47" name="Picture Placeholder 28">
              <a:extLst>
                <a:ext uri="{FF2B5EF4-FFF2-40B4-BE49-F238E27FC236}">
                  <a16:creationId xmlns:a16="http://schemas.microsoft.com/office/drawing/2014/main" id="{20F75654-0319-4200-A7DF-AFD453FADB51}"/>
                </a:ext>
              </a:extLst>
            </p:cNvPr>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a:xfrm>
              <a:off x="4861283" y="3040525"/>
              <a:ext cx="648000" cy="648000"/>
            </a:xfrm>
            <a:prstGeom prst="rect">
              <a:avLst/>
            </a:prstGeom>
          </p:spPr>
        </p:pic>
        <p:sp>
          <p:nvSpPr>
            <p:cNvPr id="61" name="Espace réservé du texte 3">
              <a:extLst>
                <a:ext uri="{FF2B5EF4-FFF2-40B4-BE49-F238E27FC236}">
                  <a16:creationId xmlns:a16="http://schemas.microsoft.com/office/drawing/2014/main" id="{700A17E8-E1FF-4461-9185-F75435B60B1C}"/>
                </a:ext>
              </a:extLst>
            </p:cNvPr>
            <p:cNvSpPr txBox="1">
              <a:spLocks/>
            </p:cNvSpPr>
            <p:nvPr/>
          </p:nvSpPr>
          <p:spPr>
            <a:xfrm>
              <a:off x="1089025" y="1696560"/>
              <a:ext cx="3763576" cy="556881"/>
            </a:xfrm>
            <a:prstGeom prst="rect">
              <a:avLst/>
            </a:prstGeom>
          </p:spPr>
          <p:txBody>
            <a:bodyPr/>
            <a:lstStyle>
              <a:lvl1pPr marL="0" eaLnBrk="1" hangingPunct="1">
                <a:spcBef>
                  <a:spcPts val="600"/>
                </a:spcBef>
                <a:spcAft>
                  <a:spcPts val="0"/>
                </a:spcAft>
                <a:defRPr lang="en-US" sz="1600" b="0" kern="1200" cap="none" spc="0" baseline="0" dirty="0" smtClean="0">
                  <a:solidFill>
                    <a:schemeClr val="tx1"/>
                  </a:solidFill>
                  <a:latin typeface="+mn-lt"/>
                  <a:ea typeface="+mn-ea"/>
                  <a:cs typeface="Arial" pitchFamily="34" charset="0"/>
                </a:defRPr>
              </a:lvl1pPr>
              <a:lvl2pPr marL="246820" indent="-246820" eaLnBrk="1" hangingPunct="1">
                <a:spcBef>
                  <a:spcPts val="600"/>
                </a:spcBef>
                <a:spcAft>
                  <a:spcPts val="0"/>
                </a:spcAft>
                <a:buFont typeface="Wingdings" pitchFamily="2" charset="2"/>
                <a:buChar char="§"/>
                <a:defRPr sz="1600" b="0" kern="1200" spc="0">
                  <a:solidFill>
                    <a:schemeClr val="tx1"/>
                  </a:solidFill>
                  <a:latin typeface="+mn-lt"/>
                  <a:ea typeface="+mn-ea"/>
                  <a:cs typeface="Arial" pitchFamily="34" charset="0"/>
                </a:defRPr>
              </a:lvl2pPr>
              <a:lvl3pPr marL="493640" indent="-246820" eaLnBrk="1" hangingPunct="1">
                <a:spcBef>
                  <a:spcPts val="600"/>
                </a:spcBef>
                <a:spcAft>
                  <a:spcPts val="0"/>
                </a:spcAft>
                <a:buFont typeface="Webdings" pitchFamily="18" charset="2"/>
                <a:buChar char="4"/>
                <a:defRPr sz="1600" b="0" kern="1200" spc="0">
                  <a:solidFill>
                    <a:schemeClr val="tx1"/>
                  </a:solidFill>
                  <a:latin typeface="+mn-lt"/>
                  <a:ea typeface="+mn-ea"/>
                  <a:cs typeface="Arial" pitchFamily="34" charset="0"/>
                </a:defRPr>
              </a:lvl3pPr>
              <a:lvl4pPr marL="781596" indent="-205683" eaLnBrk="1" hangingPunct="1">
                <a:spcBef>
                  <a:spcPts val="600"/>
                </a:spcBef>
                <a:spcAft>
                  <a:spcPts val="0"/>
                </a:spcAft>
                <a:buFont typeface="Symbol" pitchFamily="18" charset="2"/>
                <a:buChar char="-"/>
                <a:defRPr sz="1600" b="0" i="0" kern="1200" spc="0" baseline="0">
                  <a:solidFill>
                    <a:schemeClr val="tx1"/>
                  </a:solidFill>
                  <a:latin typeface="+mn-lt"/>
                  <a:ea typeface="+mn-ea"/>
                  <a:cs typeface="+mn-cs"/>
                </a:defRPr>
              </a:lvl4pPr>
              <a:lvl5pPr marL="1069552" indent="-246820" eaLnBrk="1" hangingPunct="1">
                <a:spcBef>
                  <a:spcPts val="600"/>
                </a:spcBef>
                <a:spcAft>
                  <a:spcPts val="0"/>
                </a:spcAft>
                <a:buFont typeface="Arial" pitchFamily="34" charset="0"/>
                <a:buChar char="•"/>
                <a:defRPr sz="1600" b="0" i="0" kern="1200" spc="0" baseline="0">
                  <a:solidFill>
                    <a:schemeClr val="tx1"/>
                  </a:solidFill>
                  <a:latin typeface="+mn-lt"/>
                  <a:ea typeface="+mn-ea"/>
                  <a:cs typeface="+mn-cs"/>
                </a:defRPr>
              </a:lvl5pPr>
              <a:lvl6pPr marL="1357509" indent="-246820" eaLnBrk="1" hangingPunct="1">
                <a:spcBef>
                  <a:spcPts val="600"/>
                </a:spcBef>
                <a:spcAft>
                  <a:spcPts val="0"/>
                </a:spcAft>
                <a:buSzPct val="65000"/>
                <a:buFont typeface="Wingdings" pitchFamily="2" charset="2"/>
                <a:buChar char="w"/>
                <a:defRPr sz="1600" b="0" i="0" kern="1200" spc="0" baseline="0">
                  <a:solidFill>
                    <a:schemeClr val="tx1"/>
                  </a:solidFill>
                  <a:latin typeface="+mn-lt"/>
                  <a:ea typeface="+mn-ea"/>
                  <a:cs typeface="+mn-cs"/>
                </a:defRPr>
              </a:lvl6pPr>
              <a:lvl7pPr marL="1973082" eaLnBrk="1" hangingPunct="1">
                <a:defRPr>
                  <a:latin typeface="+mn-lt"/>
                  <a:ea typeface="+mn-ea"/>
                  <a:cs typeface="+mn-cs"/>
                </a:defRPr>
              </a:lvl7pPr>
              <a:lvl8pPr marL="2301932" eaLnBrk="1" hangingPunct="1">
                <a:defRPr>
                  <a:latin typeface="+mn-lt"/>
                  <a:ea typeface="+mn-ea"/>
                  <a:cs typeface="+mn-cs"/>
                </a:defRPr>
              </a:lvl8pPr>
              <a:lvl9pPr marL="2630778" eaLnBrk="1" hangingPunct="1">
                <a:defRPr>
                  <a:latin typeface="+mn-lt"/>
                  <a:ea typeface="+mn-ea"/>
                  <a:cs typeface="+mn-cs"/>
                </a:defRPr>
              </a:lvl9pPr>
            </a:lstStyle>
            <a:p>
              <a:pPr marL="92075" lvl="1" indent="0" algn="r" defTabSz="1009040">
                <a:spcBef>
                  <a:spcPts val="0"/>
                </a:spcBef>
                <a:buClr>
                  <a:schemeClr val="tx2"/>
                </a:buClr>
                <a:buNone/>
                <a:defRPr/>
              </a:pPr>
              <a:r>
                <a:rPr lang="fr-FR" sz="1500" b="1" dirty="0">
                  <a:solidFill>
                    <a:schemeClr val="tx2"/>
                  </a:solidFill>
                </a:rPr>
                <a:t>Se mettre à la place de nos clients</a:t>
              </a:r>
            </a:p>
            <a:p>
              <a:pPr marL="377825" lvl="1" indent="-285750" algn="r" defTabSz="1009040">
                <a:spcBef>
                  <a:spcPts val="0"/>
                </a:spcBef>
                <a:buClr>
                  <a:schemeClr val="tx2"/>
                </a:buClr>
                <a:defRPr/>
              </a:pPr>
              <a:r>
                <a:rPr lang="fr-FR" sz="1500" dirty="0">
                  <a:solidFill>
                    <a:schemeClr val="tx2"/>
                  </a:solidFill>
                </a:rPr>
                <a:t>Ecoute et empathie </a:t>
              </a:r>
            </a:p>
            <a:p>
              <a:pPr marL="377825" lvl="1" indent="-285750" algn="r" defTabSz="1009040">
                <a:spcBef>
                  <a:spcPts val="0"/>
                </a:spcBef>
                <a:buClr>
                  <a:schemeClr val="tx2"/>
                </a:buClr>
                <a:defRPr/>
              </a:pPr>
              <a:r>
                <a:rPr lang="fr-FR" sz="1500" dirty="0">
                  <a:solidFill>
                    <a:schemeClr val="tx2"/>
                  </a:solidFill>
                </a:rPr>
                <a:t>Une approche </a:t>
              </a:r>
              <a:r>
                <a:rPr lang="fr-FR" sz="1500" b="1" dirty="0">
                  <a:solidFill>
                    <a:schemeClr val="tx2"/>
                  </a:solidFill>
                </a:rPr>
                <a:t>sur-mesure</a:t>
              </a:r>
            </a:p>
            <a:p>
              <a:pPr marL="377825" lvl="1" indent="-285750" algn="r" defTabSz="1009040">
                <a:spcBef>
                  <a:spcPts val="0"/>
                </a:spcBef>
                <a:buClr>
                  <a:schemeClr val="tx2"/>
                </a:buClr>
                <a:defRPr/>
              </a:pPr>
              <a:r>
                <a:rPr lang="fr-FR" sz="1500" dirty="0">
                  <a:solidFill>
                    <a:schemeClr val="tx2"/>
                  </a:solidFill>
                </a:rPr>
                <a:t>Un partenariat de confiance</a:t>
              </a:r>
            </a:p>
          </p:txBody>
        </p:sp>
        <p:sp>
          <p:nvSpPr>
            <p:cNvPr id="62" name="Espace réservé du texte 3">
              <a:extLst>
                <a:ext uri="{FF2B5EF4-FFF2-40B4-BE49-F238E27FC236}">
                  <a16:creationId xmlns:a16="http://schemas.microsoft.com/office/drawing/2014/main" id="{3CAC5806-48FA-4F64-A8FC-A81EF7B66923}"/>
                </a:ext>
              </a:extLst>
            </p:cNvPr>
            <p:cNvSpPr txBox="1">
              <a:spLocks/>
            </p:cNvSpPr>
            <p:nvPr/>
          </p:nvSpPr>
          <p:spPr>
            <a:xfrm>
              <a:off x="1622425" y="3040525"/>
              <a:ext cx="3238858" cy="1473822"/>
            </a:xfrm>
            <a:prstGeom prst="rect">
              <a:avLst/>
            </a:prstGeom>
          </p:spPr>
          <p:txBody>
            <a:bodyPr/>
            <a:lstStyle>
              <a:lvl1pPr marL="0" eaLnBrk="1" hangingPunct="1">
                <a:spcBef>
                  <a:spcPts val="600"/>
                </a:spcBef>
                <a:spcAft>
                  <a:spcPts val="0"/>
                </a:spcAft>
                <a:defRPr lang="en-US" sz="1600" b="0" kern="1200" cap="none" spc="0" baseline="0" dirty="0" smtClean="0">
                  <a:solidFill>
                    <a:schemeClr val="tx1"/>
                  </a:solidFill>
                  <a:latin typeface="+mn-lt"/>
                  <a:ea typeface="+mn-ea"/>
                  <a:cs typeface="Arial" pitchFamily="34" charset="0"/>
                </a:defRPr>
              </a:lvl1pPr>
              <a:lvl2pPr marL="246820" indent="-246820" eaLnBrk="1" hangingPunct="1">
                <a:spcBef>
                  <a:spcPts val="600"/>
                </a:spcBef>
                <a:spcAft>
                  <a:spcPts val="0"/>
                </a:spcAft>
                <a:buFont typeface="Wingdings" pitchFamily="2" charset="2"/>
                <a:buChar char="§"/>
                <a:defRPr sz="1600" b="0" kern="1200" spc="0">
                  <a:solidFill>
                    <a:schemeClr val="tx1"/>
                  </a:solidFill>
                  <a:latin typeface="+mn-lt"/>
                  <a:ea typeface="+mn-ea"/>
                  <a:cs typeface="Arial" pitchFamily="34" charset="0"/>
                </a:defRPr>
              </a:lvl2pPr>
              <a:lvl3pPr marL="493640" indent="-246820" eaLnBrk="1" hangingPunct="1">
                <a:spcBef>
                  <a:spcPts val="600"/>
                </a:spcBef>
                <a:spcAft>
                  <a:spcPts val="0"/>
                </a:spcAft>
                <a:buFont typeface="Webdings" pitchFamily="18" charset="2"/>
                <a:buChar char="4"/>
                <a:defRPr sz="1600" b="0" kern="1200" spc="0">
                  <a:solidFill>
                    <a:schemeClr val="tx1"/>
                  </a:solidFill>
                  <a:latin typeface="+mn-lt"/>
                  <a:ea typeface="+mn-ea"/>
                  <a:cs typeface="Arial" pitchFamily="34" charset="0"/>
                </a:defRPr>
              </a:lvl3pPr>
              <a:lvl4pPr marL="781596" indent="-205683" eaLnBrk="1" hangingPunct="1">
                <a:spcBef>
                  <a:spcPts val="600"/>
                </a:spcBef>
                <a:spcAft>
                  <a:spcPts val="0"/>
                </a:spcAft>
                <a:buFont typeface="Symbol" pitchFamily="18" charset="2"/>
                <a:buChar char="-"/>
                <a:defRPr sz="1600" b="0" i="0" kern="1200" spc="0" baseline="0">
                  <a:solidFill>
                    <a:schemeClr val="tx1"/>
                  </a:solidFill>
                  <a:latin typeface="+mn-lt"/>
                  <a:ea typeface="+mn-ea"/>
                  <a:cs typeface="+mn-cs"/>
                </a:defRPr>
              </a:lvl4pPr>
              <a:lvl5pPr marL="1069552" indent="-246820" eaLnBrk="1" hangingPunct="1">
                <a:spcBef>
                  <a:spcPts val="600"/>
                </a:spcBef>
                <a:spcAft>
                  <a:spcPts val="0"/>
                </a:spcAft>
                <a:buFont typeface="Arial" pitchFamily="34" charset="0"/>
                <a:buChar char="•"/>
                <a:defRPr sz="1600" b="0" i="0" kern="1200" spc="0" baseline="0">
                  <a:solidFill>
                    <a:schemeClr val="tx1"/>
                  </a:solidFill>
                  <a:latin typeface="+mn-lt"/>
                  <a:ea typeface="+mn-ea"/>
                  <a:cs typeface="+mn-cs"/>
                </a:defRPr>
              </a:lvl5pPr>
              <a:lvl6pPr marL="1357509" indent="-246820" eaLnBrk="1" hangingPunct="1">
                <a:spcBef>
                  <a:spcPts val="600"/>
                </a:spcBef>
                <a:spcAft>
                  <a:spcPts val="0"/>
                </a:spcAft>
                <a:buSzPct val="65000"/>
                <a:buFont typeface="Wingdings" pitchFamily="2" charset="2"/>
                <a:buChar char="w"/>
                <a:defRPr sz="1600" b="0" i="0" kern="1200" spc="0" baseline="0">
                  <a:solidFill>
                    <a:schemeClr val="tx1"/>
                  </a:solidFill>
                  <a:latin typeface="+mn-lt"/>
                  <a:ea typeface="+mn-ea"/>
                  <a:cs typeface="+mn-cs"/>
                </a:defRPr>
              </a:lvl6pPr>
              <a:lvl7pPr marL="1973082" eaLnBrk="1" hangingPunct="1">
                <a:defRPr>
                  <a:latin typeface="+mn-lt"/>
                  <a:ea typeface="+mn-ea"/>
                  <a:cs typeface="+mn-cs"/>
                </a:defRPr>
              </a:lvl7pPr>
              <a:lvl8pPr marL="2301932" eaLnBrk="1" hangingPunct="1">
                <a:defRPr>
                  <a:latin typeface="+mn-lt"/>
                  <a:ea typeface="+mn-ea"/>
                  <a:cs typeface="+mn-cs"/>
                </a:defRPr>
              </a:lvl8pPr>
              <a:lvl9pPr marL="2630778" eaLnBrk="1" hangingPunct="1">
                <a:defRPr>
                  <a:latin typeface="+mn-lt"/>
                  <a:ea typeface="+mn-ea"/>
                  <a:cs typeface="+mn-cs"/>
                </a:defRPr>
              </a:lvl9pPr>
            </a:lstStyle>
            <a:p>
              <a:pPr marL="0" lvl="1" indent="0" algn="r" defTabSz="1009040">
                <a:spcBef>
                  <a:spcPts val="0"/>
                </a:spcBef>
                <a:buClr>
                  <a:schemeClr val="tx2"/>
                </a:buClr>
                <a:buNone/>
                <a:defRPr/>
              </a:pPr>
              <a:r>
                <a:rPr lang="fr-FR" sz="1500" b="1" dirty="0">
                  <a:solidFill>
                    <a:schemeClr val="tx2"/>
                  </a:solidFill>
                </a:rPr>
                <a:t>S’engager avec détermination </a:t>
              </a:r>
            </a:p>
            <a:p>
              <a:pPr marL="0" lvl="1" indent="0" algn="r" defTabSz="1009040">
                <a:spcBef>
                  <a:spcPts val="0"/>
                </a:spcBef>
                <a:buClr>
                  <a:schemeClr val="tx2"/>
                </a:buClr>
                <a:buNone/>
                <a:defRPr/>
              </a:pPr>
              <a:r>
                <a:rPr lang="fr-FR" sz="1500" b="1" dirty="0">
                  <a:solidFill>
                    <a:schemeClr val="tx2"/>
                  </a:solidFill>
                </a:rPr>
                <a:t>pour des résultats</a:t>
              </a:r>
            </a:p>
            <a:p>
              <a:pPr lvl="1" algn="r" defTabSz="1009040">
                <a:spcBef>
                  <a:spcPts val="0"/>
                </a:spcBef>
                <a:buClr>
                  <a:schemeClr val="tx2"/>
                </a:buClr>
                <a:defRPr/>
              </a:pPr>
              <a:r>
                <a:rPr lang="fr-FR" sz="1500" dirty="0">
                  <a:solidFill>
                    <a:schemeClr val="tx2"/>
                  </a:solidFill>
                </a:rPr>
                <a:t>Une expérience avant – après</a:t>
              </a:r>
            </a:p>
            <a:p>
              <a:pPr lvl="1" algn="r" defTabSz="1009040">
                <a:spcBef>
                  <a:spcPts val="0"/>
                </a:spcBef>
                <a:buClr>
                  <a:schemeClr val="tx2"/>
                </a:buClr>
                <a:defRPr/>
              </a:pPr>
              <a:r>
                <a:rPr lang="fr-FR" sz="1500" dirty="0">
                  <a:solidFill>
                    <a:schemeClr val="tx2"/>
                  </a:solidFill>
                </a:rPr>
                <a:t>Adaptation et persévérance pour atteindre les objectifs</a:t>
              </a:r>
            </a:p>
            <a:p>
              <a:pPr marL="0" lvl="1" indent="0" algn="r" defTabSz="1009040">
                <a:spcBef>
                  <a:spcPts val="0"/>
                </a:spcBef>
                <a:buClr>
                  <a:schemeClr val="tx2"/>
                </a:buClr>
                <a:buNone/>
                <a:defRPr/>
              </a:pPr>
              <a:endParaRPr lang="fr-FR" sz="1500" dirty="0">
                <a:solidFill>
                  <a:schemeClr val="tx2"/>
                </a:solidFill>
              </a:endParaRPr>
            </a:p>
          </p:txBody>
        </p:sp>
        <p:sp>
          <p:nvSpPr>
            <p:cNvPr id="63" name="Espace réservé du texte 3">
              <a:extLst>
                <a:ext uri="{FF2B5EF4-FFF2-40B4-BE49-F238E27FC236}">
                  <a16:creationId xmlns:a16="http://schemas.microsoft.com/office/drawing/2014/main" id="{0B1506D9-B2D0-4613-8656-797A44408706}"/>
                </a:ext>
              </a:extLst>
            </p:cNvPr>
            <p:cNvSpPr txBox="1">
              <a:spLocks/>
            </p:cNvSpPr>
            <p:nvPr/>
          </p:nvSpPr>
          <p:spPr>
            <a:xfrm>
              <a:off x="1622425" y="4486915"/>
              <a:ext cx="3238858" cy="2117085"/>
            </a:xfrm>
            <a:prstGeom prst="rect">
              <a:avLst/>
            </a:prstGeom>
          </p:spPr>
          <p:txBody>
            <a:bodyPr/>
            <a:lstStyle>
              <a:lvl1pPr marL="0" eaLnBrk="1" hangingPunct="1">
                <a:spcBef>
                  <a:spcPts val="600"/>
                </a:spcBef>
                <a:spcAft>
                  <a:spcPts val="0"/>
                </a:spcAft>
                <a:defRPr lang="en-US" sz="1600" b="0" kern="1200" cap="none" spc="0" baseline="0" dirty="0" smtClean="0">
                  <a:solidFill>
                    <a:schemeClr val="tx1"/>
                  </a:solidFill>
                  <a:latin typeface="+mn-lt"/>
                  <a:ea typeface="+mn-ea"/>
                  <a:cs typeface="Arial" pitchFamily="34" charset="0"/>
                </a:defRPr>
              </a:lvl1pPr>
              <a:lvl2pPr marL="246820" indent="-246820" eaLnBrk="1" hangingPunct="1">
                <a:spcBef>
                  <a:spcPts val="600"/>
                </a:spcBef>
                <a:spcAft>
                  <a:spcPts val="0"/>
                </a:spcAft>
                <a:buFont typeface="Wingdings" pitchFamily="2" charset="2"/>
                <a:buChar char="§"/>
                <a:defRPr sz="1600" b="0" kern="1200" spc="0">
                  <a:solidFill>
                    <a:schemeClr val="tx1"/>
                  </a:solidFill>
                  <a:latin typeface="+mn-lt"/>
                  <a:ea typeface="+mn-ea"/>
                  <a:cs typeface="Arial" pitchFamily="34" charset="0"/>
                </a:defRPr>
              </a:lvl2pPr>
              <a:lvl3pPr marL="493640" indent="-246820" eaLnBrk="1" hangingPunct="1">
                <a:spcBef>
                  <a:spcPts val="600"/>
                </a:spcBef>
                <a:spcAft>
                  <a:spcPts val="0"/>
                </a:spcAft>
                <a:buFont typeface="Webdings" pitchFamily="18" charset="2"/>
                <a:buChar char="4"/>
                <a:defRPr sz="1600" b="0" kern="1200" spc="0">
                  <a:solidFill>
                    <a:schemeClr val="tx1"/>
                  </a:solidFill>
                  <a:latin typeface="+mn-lt"/>
                  <a:ea typeface="+mn-ea"/>
                  <a:cs typeface="Arial" pitchFamily="34" charset="0"/>
                </a:defRPr>
              </a:lvl3pPr>
              <a:lvl4pPr marL="781596" indent="-205683" eaLnBrk="1" hangingPunct="1">
                <a:spcBef>
                  <a:spcPts val="600"/>
                </a:spcBef>
                <a:spcAft>
                  <a:spcPts val="0"/>
                </a:spcAft>
                <a:buFont typeface="Symbol" pitchFamily="18" charset="2"/>
                <a:buChar char="-"/>
                <a:defRPr sz="1600" b="0" i="0" kern="1200" spc="0" baseline="0">
                  <a:solidFill>
                    <a:schemeClr val="tx1"/>
                  </a:solidFill>
                  <a:latin typeface="+mn-lt"/>
                  <a:ea typeface="+mn-ea"/>
                  <a:cs typeface="+mn-cs"/>
                </a:defRPr>
              </a:lvl4pPr>
              <a:lvl5pPr marL="1069552" indent="-246820" eaLnBrk="1" hangingPunct="1">
                <a:spcBef>
                  <a:spcPts val="600"/>
                </a:spcBef>
                <a:spcAft>
                  <a:spcPts val="0"/>
                </a:spcAft>
                <a:buFont typeface="Arial" pitchFamily="34" charset="0"/>
                <a:buChar char="•"/>
                <a:defRPr sz="1600" b="0" i="0" kern="1200" spc="0" baseline="0">
                  <a:solidFill>
                    <a:schemeClr val="tx1"/>
                  </a:solidFill>
                  <a:latin typeface="+mn-lt"/>
                  <a:ea typeface="+mn-ea"/>
                  <a:cs typeface="+mn-cs"/>
                </a:defRPr>
              </a:lvl5pPr>
              <a:lvl6pPr marL="1357509" indent="-246820" eaLnBrk="1" hangingPunct="1">
                <a:spcBef>
                  <a:spcPts val="600"/>
                </a:spcBef>
                <a:spcAft>
                  <a:spcPts val="0"/>
                </a:spcAft>
                <a:buSzPct val="65000"/>
                <a:buFont typeface="Wingdings" pitchFamily="2" charset="2"/>
                <a:buChar char="w"/>
                <a:defRPr sz="1600" b="0" i="0" kern="1200" spc="0" baseline="0">
                  <a:solidFill>
                    <a:schemeClr val="tx1"/>
                  </a:solidFill>
                  <a:latin typeface="+mn-lt"/>
                  <a:ea typeface="+mn-ea"/>
                  <a:cs typeface="+mn-cs"/>
                </a:defRPr>
              </a:lvl6pPr>
              <a:lvl7pPr marL="1973082" eaLnBrk="1" hangingPunct="1">
                <a:defRPr>
                  <a:latin typeface="+mn-lt"/>
                  <a:ea typeface="+mn-ea"/>
                  <a:cs typeface="+mn-cs"/>
                </a:defRPr>
              </a:lvl7pPr>
              <a:lvl8pPr marL="2301932" eaLnBrk="1" hangingPunct="1">
                <a:defRPr>
                  <a:latin typeface="+mn-lt"/>
                  <a:ea typeface="+mn-ea"/>
                  <a:cs typeface="+mn-cs"/>
                </a:defRPr>
              </a:lvl8pPr>
              <a:lvl9pPr marL="2630778" eaLnBrk="1" hangingPunct="1">
                <a:defRPr>
                  <a:latin typeface="+mn-lt"/>
                  <a:ea typeface="+mn-ea"/>
                  <a:cs typeface="+mn-cs"/>
                </a:defRPr>
              </a:lvl9pPr>
            </a:lstStyle>
            <a:p>
              <a:pPr marL="0" lvl="1" indent="0" algn="r" defTabSz="1009040">
                <a:spcBef>
                  <a:spcPts val="0"/>
                </a:spcBef>
                <a:buClr>
                  <a:schemeClr val="tx2"/>
                </a:buClr>
                <a:buNone/>
                <a:defRPr/>
              </a:pPr>
              <a:r>
                <a:rPr lang="fr-FR" sz="1500" b="1">
                  <a:solidFill>
                    <a:schemeClr val="tx2"/>
                  </a:solidFill>
                </a:rPr>
                <a:t>« Double ascenseur »</a:t>
              </a:r>
            </a:p>
            <a:p>
              <a:pPr marL="246063" lvl="1" indent="-153988" algn="r" defTabSz="1009040">
                <a:spcBef>
                  <a:spcPts val="0"/>
                </a:spcBef>
                <a:buClr>
                  <a:schemeClr val="tx2"/>
                </a:buClr>
                <a:defRPr/>
              </a:pPr>
              <a:r>
                <a:rPr lang="fr-FR" sz="1500">
                  <a:solidFill>
                    <a:schemeClr val="tx2"/>
                  </a:solidFill>
                </a:rPr>
                <a:t>Horizontal: approche transverse, de « bout en bout » et cross-fonctionnelle</a:t>
              </a:r>
            </a:p>
            <a:p>
              <a:pPr marL="246063" lvl="1" indent="-153988" algn="r" defTabSz="1009040">
                <a:spcBef>
                  <a:spcPts val="0"/>
                </a:spcBef>
                <a:buClr>
                  <a:schemeClr val="tx2"/>
                </a:buClr>
                <a:defRPr/>
              </a:pPr>
              <a:r>
                <a:rPr lang="fr-FR" sz="1500">
                  <a:solidFill>
                    <a:schemeClr val="tx2"/>
                  </a:solidFill>
                </a:rPr>
                <a:t>Vertical: lien entre le Top management et les équipes opérationnelles</a:t>
              </a:r>
            </a:p>
            <a:p>
              <a:pPr marL="0" lvl="1" indent="0" algn="r" defTabSz="1009040">
                <a:spcBef>
                  <a:spcPts val="0"/>
                </a:spcBef>
                <a:buClr>
                  <a:schemeClr val="tx2"/>
                </a:buClr>
                <a:buNone/>
                <a:defRPr/>
              </a:pPr>
              <a:endParaRPr lang="fr-FR" sz="1500">
                <a:solidFill>
                  <a:schemeClr val="tx2"/>
                </a:solidFill>
              </a:endParaRPr>
            </a:p>
          </p:txBody>
        </p:sp>
        <p:sp>
          <p:nvSpPr>
            <p:cNvPr id="64" name="Espace réservé du texte 3">
              <a:extLst>
                <a:ext uri="{FF2B5EF4-FFF2-40B4-BE49-F238E27FC236}">
                  <a16:creationId xmlns:a16="http://schemas.microsoft.com/office/drawing/2014/main" id="{04010DE6-816C-4CBC-906D-2B242E26D018}"/>
                </a:ext>
              </a:extLst>
            </p:cNvPr>
            <p:cNvSpPr txBox="1">
              <a:spLocks/>
            </p:cNvSpPr>
            <p:nvPr/>
          </p:nvSpPr>
          <p:spPr>
            <a:xfrm>
              <a:off x="8675048" y="1696560"/>
              <a:ext cx="3238858" cy="556881"/>
            </a:xfrm>
            <a:prstGeom prst="rect">
              <a:avLst/>
            </a:prstGeom>
          </p:spPr>
          <p:txBody>
            <a:bodyPr/>
            <a:lstStyle>
              <a:lvl1pPr marL="0" eaLnBrk="1" hangingPunct="1">
                <a:spcBef>
                  <a:spcPts val="600"/>
                </a:spcBef>
                <a:spcAft>
                  <a:spcPts val="0"/>
                </a:spcAft>
                <a:defRPr lang="en-US" sz="1600" b="0" kern="1200" cap="none" spc="0" baseline="0" dirty="0" smtClean="0">
                  <a:solidFill>
                    <a:schemeClr val="tx1"/>
                  </a:solidFill>
                  <a:latin typeface="+mn-lt"/>
                  <a:ea typeface="+mn-ea"/>
                  <a:cs typeface="Arial" pitchFamily="34" charset="0"/>
                </a:defRPr>
              </a:lvl1pPr>
              <a:lvl2pPr marL="246820" indent="-246820" eaLnBrk="1" hangingPunct="1">
                <a:spcBef>
                  <a:spcPts val="600"/>
                </a:spcBef>
                <a:spcAft>
                  <a:spcPts val="0"/>
                </a:spcAft>
                <a:buFont typeface="Wingdings" pitchFamily="2" charset="2"/>
                <a:buChar char="§"/>
                <a:defRPr sz="1600" b="0" kern="1200" spc="0">
                  <a:solidFill>
                    <a:schemeClr val="tx1"/>
                  </a:solidFill>
                  <a:latin typeface="+mn-lt"/>
                  <a:ea typeface="+mn-ea"/>
                  <a:cs typeface="Arial" pitchFamily="34" charset="0"/>
                </a:defRPr>
              </a:lvl2pPr>
              <a:lvl3pPr marL="493640" indent="-246820" eaLnBrk="1" hangingPunct="1">
                <a:spcBef>
                  <a:spcPts val="600"/>
                </a:spcBef>
                <a:spcAft>
                  <a:spcPts val="0"/>
                </a:spcAft>
                <a:buFont typeface="Webdings" pitchFamily="18" charset="2"/>
                <a:buChar char="4"/>
                <a:defRPr sz="1600" b="0" kern="1200" spc="0">
                  <a:solidFill>
                    <a:schemeClr val="tx1"/>
                  </a:solidFill>
                  <a:latin typeface="+mn-lt"/>
                  <a:ea typeface="+mn-ea"/>
                  <a:cs typeface="Arial" pitchFamily="34" charset="0"/>
                </a:defRPr>
              </a:lvl3pPr>
              <a:lvl4pPr marL="781596" indent="-205683" eaLnBrk="1" hangingPunct="1">
                <a:spcBef>
                  <a:spcPts val="600"/>
                </a:spcBef>
                <a:spcAft>
                  <a:spcPts val="0"/>
                </a:spcAft>
                <a:buFont typeface="Symbol" pitchFamily="18" charset="2"/>
                <a:buChar char="-"/>
                <a:defRPr sz="1600" b="0" i="0" kern="1200" spc="0" baseline="0">
                  <a:solidFill>
                    <a:schemeClr val="tx1"/>
                  </a:solidFill>
                  <a:latin typeface="+mn-lt"/>
                  <a:ea typeface="+mn-ea"/>
                  <a:cs typeface="+mn-cs"/>
                </a:defRPr>
              </a:lvl4pPr>
              <a:lvl5pPr marL="1069552" indent="-246820" eaLnBrk="1" hangingPunct="1">
                <a:spcBef>
                  <a:spcPts val="600"/>
                </a:spcBef>
                <a:spcAft>
                  <a:spcPts val="0"/>
                </a:spcAft>
                <a:buFont typeface="Arial" pitchFamily="34" charset="0"/>
                <a:buChar char="•"/>
                <a:defRPr sz="1600" b="0" i="0" kern="1200" spc="0" baseline="0">
                  <a:solidFill>
                    <a:schemeClr val="tx1"/>
                  </a:solidFill>
                  <a:latin typeface="+mn-lt"/>
                  <a:ea typeface="+mn-ea"/>
                  <a:cs typeface="+mn-cs"/>
                </a:defRPr>
              </a:lvl5pPr>
              <a:lvl6pPr marL="1357509" indent="-246820" eaLnBrk="1" hangingPunct="1">
                <a:spcBef>
                  <a:spcPts val="600"/>
                </a:spcBef>
                <a:spcAft>
                  <a:spcPts val="0"/>
                </a:spcAft>
                <a:buSzPct val="65000"/>
                <a:buFont typeface="Wingdings" pitchFamily="2" charset="2"/>
                <a:buChar char="w"/>
                <a:defRPr sz="1600" b="0" i="0" kern="1200" spc="0" baseline="0">
                  <a:solidFill>
                    <a:schemeClr val="tx1"/>
                  </a:solidFill>
                  <a:latin typeface="+mn-lt"/>
                  <a:ea typeface="+mn-ea"/>
                  <a:cs typeface="+mn-cs"/>
                </a:defRPr>
              </a:lvl6pPr>
              <a:lvl7pPr marL="1973082" eaLnBrk="1" hangingPunct="1">
                <a:defRPr>
                  <a:latin typeface="+mn-lt"/>
                  <a:ea typeface="+mn-ea"/>
                  <a:cs typeface="+mn-cs"/>
                </a:defRPr>
              </a:lvl7pPr>
              <a:lvl8pPr marL="2301932" eaLnBrk="1" hangingPunct="1">
                <a:defRPr>
                  <a:latin typeface="+mn-lt"/>
                  <a:ea typeface="+mn-ea"/>
                  <a:cs typeface="+mn-cs"/>
                </a:defRPr>
              </a:lvl8pPr>
              <a:lvl9pPr marL="2630778" eaLnBrk="1" hangingPunct="1">
                <a:defRPr>
                  <a:latin typeface="+mn-lt"/>
                  <a:ea typeface="+mn-ea"/>
                  <a:cs typeface="+mn-cs"/>
                </a:defRPr>
              </a:lvl9pPr>
            </a:lstStyle>
            <a:p>
              <a:pPr marL="0" lvl="1" indent="0" defTabSz="1009040">
                <a:spcBef>
                  <a:spcPts val="0"/>
                </a:spcBef>
                <a:buClr>
                  <a:schemeClr val="tx2"/>
                </a:buClr>
                <a:buNone/>
                <a:defRPr/>
              </a:pPr>
              <a:r>
                <a:rPr lang="fr-FR" sz="1500" b="1">
                  <a:solidFill>
                    <a:schemeClr val="bg1"/>
                  </a:solidFill>
                </a:rPr>
                <a:t>Focus sur le contenu</a:t>
              </a:r>
              <a:r>
                <a:rPr lang="fr-FR" sz="1500" b="1">
                  <a:solidFill>
                    <a:schemeClr val="tx2"/>
                  </a:solidFill>
                </a:rPr>
                <a:t>: </a:t>
              </a:r>
              <a:r>
                <a:rPr lang="fr-FR" sz="1500">
                  <a:solidFill>
                    <a:schemeClr val="tx2"/>
                  </a:solidFill>
                </a:rPr>
                <a:t>expertises, analyses &amp; convictions</a:t>
              </a:r>
            </a:p>
            <a:p>
              <a:pPr marL="0" lvl="1" indent="0" defTabSz="1009040">
                <a:spcBef>
                  <a:spcPts val="0"/>
                </a:spcBef>
                <a:buClr>
                  <a:schemeClr val="tx2"/>
                </a:buClr>
                <a:buNone/>
                <a:defRPr/>
              </a:pPr>
              <a:endParaRPr lang="fr-FR" sz="1500" b="1">
                <a:solidFill>
                  <a:schemeClr val="tx2"/>
                </a:solidFill>
              </a:endParaRPr>
            </a:p>
          </p:txBody>
        </p:sp>
        <p:sp>
          <p:nvSpPr>
            <p:cNvPr id="65" name="Espace réservé du texte 3">
              <a:extLst>
                <a:ext uri="{FF2B5EF4-FFF2-40B4-BE49-F238E27FC236}">
                  <a16:creationId xmlns:a16="http://schemas.microsoft.com/office/drawing/2014/main" id="{5BA4F380-B39B-41B5-9ED4-40110B12B6CA}"/>
                </a:ext>
              </a:extLst>
            </p:cNvPr>
            <p:cNvSpPr txBox="1">
              <a:spLocks/>
            </p:cNvSpPr>
            <p:nvPr/>
          </p:nvSpPr>
          <p:spPr>
            <a:xfrm>
              <a:off x="8675048" y="2514863"/>
              <a:ext cx="3238858" cy="1310268"/>
            </a:xfrm>
            <a:prstGeom prst="rect">
              <a:avLst/>
            </a:prstGeom>
          </p:spPr>
          <p:txBody>
            <a:bodyPr/>
            <a:lstStyle>
              <a:lvl1pPr marL="0" eaLnBrk="1" hangingPunct="1">
                <a:spcBef>
                  <a:spcPts val="600"/>
                </a:spcBef>
                <a:spcAft>
                  <a:spcPts val="0"/>
                </a:spcAft>
                <a:defRPr lang="en-US" sz="1600" b="0" kern="1200" cap="none" spc="0" baseline="0" dirty="0" smtClean="0">
                  <a:solidFill>
                    <a:schemeClr val="tx1"/>
                  </a:solidFill>
                  <a:latin typeface="+mn-lt"/>
                  <a:ea typeface="+mn-ea"/>
                  <a:cs typeface="Arial" pitchFamily="34" charset="0"/>
                </a:defRPr>
              </a:lvl1pPr>
              <a:lvl2pPr marL="246820" indent="-246820" eaLnBrk="1" hangingPunct="1">
                <a:spcBef>
                  <a:spcPts val="600"/>
                </a:spcBef>
                <a:spcAft>
                  <a:spcPts val="0"/>
                </a:spcAft>
                <a:buFont typeface="Wingdings" pitchFamily="2" charset="2"/>
                <a:buChar char="§"/>
                <a:defRPr sz="1600" b="0" kern="1200" spc="0">
                  <a:solidFill>
                    <a:schemeClr val="tx1"/>
                  </a:solidFill>
                  <a:latin typeface="+mn-lt"/>
                  <a:ea typeface="+mn-ea"/>
                  <a:cs typeface="Arial" pitchFamily="34" charset="0"/>
                </a:defRPr>
              </a:lvl2pPr>
              <a:lvl3pPr marL="493640" indent="-246820" eaLnBrk="1" hangingPunct="1">
                <a:spcBef>
                  <a:spcPts val="600"/>
                </a:spcBef>
                <a:spcAft>
                  <a:spcPts val="0"/>
                </a:spcAft>
                <a:buFont typeface="Webdings" pitchFamily="18" charset="2"/>
                <a:buChar char="4"/>
                <a:defRPr sz="1600" b="0" kern="1200" spc="0">
                  <a:solidFill>
                    <a:schemeClr val="tx1"/>
                  </a:solidFill>
                  <a:latin typeface="+mn-lt"/>
                  <a:ea typeface="+mn-ea"/>
                  <a:cs typeface="Arial" pitchFamily="34" charset="0"/>
                </a:defRPr>
              </a:lvl3pPr>
              <a:lvl4pPr marL="781596" indent="-205683" eaLnBrk="1" hangingPunct="1">
                <a:spcBef>
                  <a:spcPts val="600"/>
                </a:spcBef>
                <a:spcAft>
                  <a:spcPts val="0"/>
                </a:spcAft>
                <a:buFont typeface="Symbol" pitchFamily="18" charset="2"/>
                <a:buChar char="-"/>
                <a:defRPr sz="1600" b="0" i="0" kern="1200" spc="0" baseline="0">
                  <a:solidFill>
                    <a:schemeClr val="tx1"/>
                  </a:solidFill>
                  <a:latin typeface="+mn-lt"/>
                  <a:ea typeface="+mn-ea"/>
                  <a:cs typeface="+mn-cs"/>
                </a:defRPr>
              </a:lvl4pPr>
              <a:lvl5pPr marL="1069552" indent="-246820" eaLnBrk="1" hangingPunct="1">
                <a:spcBef>
                  <a:spcPts val="600"/>
                </a:spcBef>
                <a:spcAft>
                  <a:spcPts val="0"/>
                </a:spcAft>
                <a:buFont typeface="Arial" pitchFamily="34" charset="0"/>
                <a:buChar char="•"/>
                <a:defRPr sz="1600" b="0" i="0" kern="1200" spc="0" baseline="0">
                  <a:solidFill>
                    <a:schemeClr val="tx1"/>
                  </a:solidFill>
                  <a:latin typeface="+mn-lt"/>
                  <a:ea typeface="+mn-ea"/>
                  <a:cs typeface="+mn-cs"/>
                </a:defRPr>
              </a:lvl5pPr>
              <a:lvl6pPr marL="1357509" indent="-246820" eaLnBrk="1" hangingPunct="1">
                <a:spcBef>
                  <a:spcPts val="600"/>
                </a:spcBef>
                <a:spcAft>
                  <a:spcPts val="0"/>
                </a:spcAft>
                <a:buSzPct val="65000"/>
                <a:buFont typeface="Wingdings" pitchFamily="2" charset="2"/>
                <a:buChar char="w"/>
                <a:defRPr sz="1600" b="0" i="0" kern="1200" spc="0" baseline="0">
                  <a:solidFill>
                    <a:schemeClr val="tx1"/>
                  </a:solidFill>
                  <a:latin typeface="+mn-lt"/>
                  <a:ea typeface="+mn-ea"/>
                  <a:cs typeface="+mn-cs"/>
                </a:defRPr>
              </a:lvl6pPr>
              <a:lvl7pPr marL="1973082" eaLnBrk="1" hangingPunct="1">
                <a:defRPr>
                  <a:latin typeface="+mn-lt"/>
                  <a:ea typeface="+mn-ea"/>
                  <a:cs typeface="+mn-cs"/>
                </a:defRPr>
              </a:lvl7pPr>
              <a:lvl8pPr marL="2301932" eaLnBrk="1" hangingPunct="1">
                <a:defRPr>
                  <a:latin typeface="+mn-lt"/>
                  <a:ea typeface="+mn-ea"/>
                  <a:cs typeface="+mn-cs"/>
                </a:defRPr>
              </a:lvl8pPr>
              <a:lvl9pPr marL="2630778" eaLnBrk="1" hangingPunct="1">
                <a:defRPr>
                  <a:latin typeface="+mn-lt"/>
                  <a:ea typeface="+mn-ea"/>
                  <a:cs typeface="+mn-cs"/>
                </a:defRPr>
              </a:lvl9pPr>
            </a:lstStyle>
            <a:p>
              <a:pPr marL="92075" lvl="1" indent="0" defTabSz="1009040">
                <a:spcBef>
                  <a:spcPts val="0"/>
                </a:spcBef>
                <a:buClr>
                  <a:schemeClr val="tx2"/>
                </a:buClr>
                <a:buNone/>
                <a:defRPr/>
              </a:pPr>
              <a:r>
                <a:rPr lang="fr-FR" sz="1500" b="1" dirty="0">
                  <a:solidFill>
                    <a:schemeClr val="bg1"/>
                  </a:solidFill>
                </a:rPr>
                <a:t>La mise en œuvre opérationnelle </a:t>
              </a:r>
              <a:r>
                <a:rPr lang="fr-FR" sz="1500" dirty="0">
                  <a:solidFill>
                    <a:schemeClr val="tx2"/>
                  </a:solidFill>
                </a:rPr>
                <a:t>au cœur de notre approche dès le début des projets…</a:t>
              </a:r>
            </a:p>
            <a:p>
              <a:pPr marL="92075" lvl="1" indent="0" defTabSz="1009040">
                <a:spcBef>
                  <a:spcPts val="0"/>
                </a:spcBef>
                <a:buClr>
                  <a:schemeClr val="tx2"/>
                </a:buClr>
                <a:buNone/>
                <a:defRPr/>
              </a:pPr>
              <a:r>
                <a:rPr lang="fr-FR" sz="1500" dirty="0">
                  <a:solidFill>
                    <a:schemeClr val="bg1"/>
                  </a:solidFill>
                </a:rPr>
                <a:t>…</a:t>
              </a:r>
              <a:r>
                <a:rPr lang="fr-FR" sz="1500" b="1" dirty="0">
                  <a:solidFill>
                    <a:schemeClr val="bg1"/>
                  </a:solidFill>
                </a:rPr>
                <a:t>Adaptée au contexte </a:t>
              </a:r>
              <a:r>
                <a:rPr lang="fr-FR" sz="1500" dirty="0">
                  <a:solidFill>
                    <a:schemeClr val="tx2"/>
                  </a:solidFill>
                </a:rPr>
                <a:t>/ culture / organisations de nos clients</a:t>
              </a:r>
            </a:p>
            <a:p>
              <a:pPr marL="0" lvl="1" indent="0" defTabSz="1009040">
                <a:spcBef>
                  <a:spcPts val="0"/>
                </a:spcBef>
                <a:buClr>
                  <a:schemeClr val="tx2"/>
                </a:buClr>
                <a:buNone/>
                <a:defRPr/>
              </a:pPr>
              <a:endParaRPr lang="fr-FR" sz="1500" dirty="0">
                <a:solidFill>
                  <a:schemeClr val="tx2"/>
                </a:solidFill>
              </a:endParaRPr>
            </a:p>
          </p:txBody>
        </p:sp>
        <p:sp>
          <p:nvSpPr>
            <p:cNvPr id="66" name="Espace réservé du texte 3">
              <a:extLst>
                <a:ext uri="{FF2B5EF4-FFF2-40B4-BE49-F238E27FC236}">
                  <a16:creationId xmlns:a16="http://schemas.microsoft.com/office/drawing/2014/main" id="{64F9F71A-E704-4335-BDD3-B2D3ECBD0807}"/>
                </a:ext>
              </a:extLst>
            </p:cNvPr>
            <p:cNvSpPr txBox="1">
              <a:spLocks/>
            </p:cNvSpPr>
            <p:nvPr/>
          </p:nvSpPr>
          <p:spPr>
            <a:xfrm>
              <a:off x="8675048" y="4851388"/>
              <a:ext cx="3238858" cy="323213"/>
            </a:xfrm>
            <a:prstGeom prst="rect">
              <a:avLst/>
            </a:prstGeom>
          </p:spPr>
          <p:txBody>
            <a:bodyPr/>
            <a:lstStyle>
              <a:lvl1pPr marL="0" eaLnBrk="1" hangingPunct="1">
                <a:spcBef>
                  <a:spcPts val="600"/>
                </a:spcBef>
                <a:spcAft>
                  <a:spcPts val="0"/>
                </a:spcAft>
                <a:defRPr lang="en-US" sz="1600" b="0" kern="1200" cap="none" spc="0" baseline="0" dirty="0" smtClean="0">
                  <a:solidFill>
                    <a:schemeClr val="tx1"/>
                  </a:solidFill>
                  <a:latin typeface="+mn-lt"/>
                  <a:ea typeface="+mn-ea"/>
                  <a:cs typeface="Arial" pitchFamily="34" charset="0"/>
                </a:defRPr>
              </a:lvl1pPr>
              <a:lvl2pPr marL="246820" indent="-246820" eaLnBrk="1" hangingPunct="1">
                <a:spcBef>
                  <a:spcPts val="600"/>
                </a:spcBef>
                <a:spcAft>
                  <a:spcPts val="0"/>
                </a:spcAft>
                <a:buFont typeface="Wingdings" pitchFamily="2" charset="2"/>
                <a:buChar char="§"/>
                <a:defRPr sz="1600" b="0" kern="1200" spc="0">
                  <a:solidFill>
                    <a:schemeClr val="tx1"/>
                  </a:solidFill>
                  <a:latin typeface="+mn-lt"/>
                  <a:ea typeface="+mn-ea"/>
                  <a:cs typeface="Arial" pitchFamily="34" charset="0"/>
                </a:defRPr>
              </a:lvl2pPr>
              <a:lvl3pPr marL="493640" indent="-246820" eaLnBrk="1" hangingPunct="1">
                <a:spcBef>
                  <a:spcPts val="600"/>
                </a:spcBef>
                <a:spcAft>
                  <a:spcPts val="0"/>
                </a:spcAft>
                <a:buFont typeface="Webdings" pitchFamily="18" charset="2"/>
                <a:buChar char="4"/>
                <a:defRPr sz="1600" b="0" kern="1200" spc="0">
                  <a:solidFill>
                    <a:schemeClr val="tx1"/>
                  </a:solidFill>
                  <a:latin typeface="+mn-lt"/>
                  <a:ea typeface="+mn-ea"/>
                  <a:cs typeface="Arial" pitchFamily="34" charset="0"/>
                </a:defRPr>
              </a:lvl3pPr>
              <a:lvl4pPr marL="781596" indent="-205683" eaLnBrk="1" hangingPunct="1">
                <a:spcBef>
                  <a:spcPts val="600"/>
                </a:spcBef>
                <a:spcAft>
                  <a:spcPts val="0"/>
                </a:spcAft>
                <a:buFont typeface="Symbol" pitchFamily="18" charset="2"/>
                <a:buChar char="-"/>
                <a:defRPr sz="1600" b="0" i="0" kern="1200" spc="0" baseline="0">
                  <a:solidFill>
                    <a:schemeClr val="tx1"/>
                  </a:solidFill>
                  <a:latin typeface="+mn-lt"/>
                  <a:ea typeface="+mn-ea"/>
                  <a:cs typeface="+mn-cs"/>
                </a:defRPr>
              </a:lvl4pPr>
              <a:lvl5pPr marL="1069552" indent="-246820" eaLnBrk="1" hangingPunct="1">
                <a:spcBef>
                  <a:spcPts val="600"/>
                </a:spcBef>
                <a:spcAft>
                  <a:spcPts val="0"/>
                </a:spcAft>
                <a:buFont typeface="Arial" pitchFamily="34" charset="0"/>
                <a:buChar char="•"/>
                <a:defRPr sz="1600" b="0" i="0" kern="1200" spc="0" baseline="0">
                  <a:solidFill>
                    <a:schemeClr val="tx1"/>
                  </a:solidFill>
                  <a:latin typeface="+mn-lt"/>
                  <a:ea typeface="+mn-ea"/>
                  <a:cs typeface="+mn-cs"/>
                </a:defRPr>
              </a:lvl5pPr>
              <a:lvl6pPr marL="1357509" indent="-246820" eaLnBrk="1" hangingPunct="1">
                <a:spcBef>
                  <a:spcPts val="600"/>
                </a:spcBef>
                <a:spcAft>
                  <a:spcPts val="0"/>
                </a:spcAft>
                <a:buSzPct val="65000"/>
                <a:buFont typeface="Wingdings" pitchFamily="2" charset="2"/>
                <a:buChar char="w"/>
                <a:defRPr sz="1600" b="0" i="0" kern="1200" spc="0" baseline="0">
                  <a:solidFill>
                    <a:schemeClr val="tx1"/>
                  </a:solidFill>
                  <a:latin typeface="+mn-lt"/>
                  <a:ea typeface="+mn-ea"/>
                  <a:cs typeface="+mn-cs"/>
                </a:defRPr>
              </a:lvl6pPr>
              <a:lvl7pPr marL="1973082" eaLnBrk="1" hangingPunct="1">
                <a:defRPr>
                  <a:latin typeface="+mn-lt"/>
                  <a:ea typeface="+mn-ea"/>
                  <a:cs typeface="+mn-cs"/>
                </a:defRPr>
              </a:lvl7pPr>
              <a:lvl8pPr marL="2301932" eaLnBrk="1" hangingPunct="1">
                <a:defRPr>
                  <a:latin typeface="+mn-lt"/>
                  <a:ea typeface="+mn-ea"/>
                  <a:cs typeface="+mn-cs"/>
                </a:defRPr>
              </a:lvl8pPr>
              <a:lvl9pPr marL="2630778" eaLnBrk="1" hangingPunct="1">
                <a:defRPr>
                  <a:latin typeface="+mn-lt"/>
                  <a:ea typeface="+mn-ea"/>
                  <a:cs typeface="+mn-cs"/>
                </a:defRPr>
              </a:lvl9pPr>
            </a:lstStyle>
            <a:p>
              <a:pPr marL="0" lvl="1" indent="0" defTabSz="1009040">
                <a:spcBef>
                  <a:spcPts val="0"/>
                </a:spcBef>
                <a:buClr>
                  <a:schemeClr val="tx2"/>
                </a:buClr>
                <a:buNone/>
                <a:defRPr/>
              </a:pPr>
              <a:r>
                <a:rPr lang="fr-FR" sz="1500" dirty="0">
                  <a:solidFill>
                    <a:schemeClr val="tx2"/>
                  </a:solidFill>
                </a:rPr>
                <a:t>Développer </a:t>
              </a:r>
              <a:r>
                <a:rPr lang="fr-FR" sz="1500" b="1" dirty="0">
                  <a:solidFill>
                    <a:schemeClr val="bg1"/>
                  </a:solidFill>
                </a:rPr>
                <a:t>l’autonomie</a:t>
              </a:r>
              <a:r>
                <a:rPr lang="fr-FR" sz="1500" dirty="0">
                  <a:solidFill>
                    <a:schemeClr val="tx2"/>
                  </a:solidFill>
                </a:rPr>
                <a:t> de nos clients, pour un </a:t>
              </a:r>
              <a:r>
                <a:rPr lang="fr-FR" sz="1500" b="1" dirty="0">
                  <a:solidFill>
                    <a:schemeClr val="bg1"/>
                  </a:solidFill>
                </a:rPr>
                <a:t>impact durable </a:t>
              </a:r>
              <a:r>
                <a:rPr lang="fr-FR" sz="1500" dirty="0">
                  <a:solidFill>
                    <a:schemeClr val="tx2"/>
                  </a:solidFill>
                </a:rPr>
                <a:t>et des solutions pérennes</a:t>
              </a:r>
            </a:p>
          </p:txBody>
        </p:sp>
        <p:sp>
          <p:nvSpPr>
            <p:cNvPr id="67" name="Espace réservé du texte 3">
              <a:extLst>
                <a:ext uri="{FF2B5EF4-FFF2-40B4-BE49-F238E27FC236}">
                  <a16:creationId xmlns:a16="http://schemas.microsoft.com/office/drawing/2014/main" id="{57F2EE21-B4A2-4E5A-BF4C-771B831FAAC9}"/>
                </a:ext>
              </a:extLst>
            </p:cNvPr>
            <p:cNvSpPr txBox="1">
              <a:spLocks/>
            </p:cNvSpPr>
            <p:nvPr/>
          </p:nvSpPr>
          <p:spPr>
            <a:xfrm>
              <a:off x="8675048" y="5763057"/>
              <a:ext cx="3238858" cy="323213"/>
            </a:xfrm>
            <a:prstGeom prst="rect">
              <a:avLst/>
            </a:prstGeom>
          </p:spPr>
          <p:txBody>
            <a:bodyPr/>
            <a:lstStyle>
              <a:lvl1pPr marL="0" eaLnBrk="1" hangingPunct="1">
                <a:spcBef>
                  <a:spcPts val="600"/>
                </a:spcBef>
                <a:spcAft>
                  <a:spcPts val="0"/>
                </a:spcAft>
                <a:defRPr lang="en-US" sz="1600" b="0" kern="1200" cap="none" spc="0" baseline="0" dirty="0" smtClean="0">
                  <a:solidFill>
                    <a:schemeClr val="tx1"/>
                  </a:solidFill>
                  <a:latin typeface="+mn-lt"/>
                  <a:ea typeface="+mn-ea"/>
                  <a:cs typeface="Arial" pitchFamily="34" charset="0"/>
                </a:defRPr>
              </a:lvl1pPr>
              <a:lvl2pPr marL="246820" indent="-246820" eaLnBrk="1" hangingPunct="1">
                <a:spcBef>
                  <a:spcPts val="600"/>
                </a:spcBef>
                <a:spcAft>
                  <a:spcPts val="0"/>
                </a:spcAft>
                <a:buFont typeface="Wingdings" pitchFamily="2" charset="2"/>
                <a:buChar char="§"/>
                <a:defRPr sz="1600" b="0" kern="1200" spc="0">
                  <a:solidFill>
                    <a:schemeClr val="tx1"/>
                  </a:solidFill>
                  <a:latin typeface="+mn-lt"/>
                  <a:ea typeface="+mn-ea"/>
                  <a:cs typeface="Arial" pitchFamily="34" charset="0"/>
                </a:defRPr>
              </a:lvl2pPr>
              <a:lvl3pPr marL="493640" indent="-246820" eaLnBrk="1" hangingPunct="1">
                <a:spcBef>
                  <a:spcPts val="600"/>
                </a:spcBef>
                <a:spcAft>
                  <a:spcPts val="0"/>
                </a:spcAft>
                <a:buFont typeface="Webdings" pitchFamily="18" charset="2"/>
                <a:buChar char="4"/>
                <a:defRPr sz="1600" b="0" kern="1200" spc="0">
                  <a:solidFill>
                    <a:schemeClr val="tx1"/>
                  </a:solidFill>
                  <a:latin typeface="+mn-lt"/>
                  <a:ea typeface="+mn-ea"/>
                  <a:cs typeface="Arial" pitchFamily="34" charset="0"/>
                </a:defRPr>
              </a:lvl3pPr>
              <a:lvl4pPr marL="781596" indent="-205683" eaLnBrk="1" hangingPunct="1">
                <a:spcBef>
                  <a:spcPts val="600"/>
                </a:spcBef>
                <a:spcAft>
                  <a:spcPts val="0"/>
                </a:spcAft>
                <a:buFont typeface="Symbol" pitchFamily="18" charset="2"/>
                <a:buChar char="-"/>
                <a:defRPr sz="1600" b="0" i="0" kern="1200" spc="0" baseline="0">
                  <a:solidFill>
                    <a:schemeClr val="tx1"/>
                  </a:solidFill>
                  <a:latin typeface="+mn-lt"/>
                  <a:ea typeface="+mn-ea"/>
                  <a:cs typeface="+mn-cs"/>
                </a:defRPr>
              </a:lvl4pPr>
              <a:lvl5pPr marL="1069552" indent="-246820" eaLnBrk="1" hangingPunct="1">
                <a:spcBef>
                  <a:spcPts val="600"/>
                </a:spcBef>
                <a:spcAft>
                  <a:spcPts val="0"/>
                </a:spcAft>
                <a:buFont typeface="Arial" pitchFamily="34" charset="0"/>
                <a:buChar char="•"/>
                <a:defRPr sz="1600" b="0" i="0" kern="1200" spc="0" baseline="0">
                  <a:solidFill>
                    <a:schemeClr val="tx1"/>
                  </a:solidFill>
                  <a:latin typeface="+mn-lt"/>
                  <a:ea typeface="+mn-ea"/>
                  <a:cs typeface="+mn-cs"/>
                </a:defRPr>
              </a:lvl5pPr>
              <a:lvl6pPr marL="1357509" indent="-246820" eaLnBrk="1" hangingPunct="1">
                <a:spcBef>
                  <a:spcPts val="600"/>
                </a:spcBef>
                <a:spcAft>
                  <a:spcPts val="0"/>
                </a:spcAft>
                <a:buSzPct val="65000"/>
                <a:buFont typeface="Wingdings" pitchFamily="2" charset="2"/>
                <a:buChar char="w"/>
                <a:defRPr sz="1600" b="0" i="0" kern="1200" spc="0" baseline="0">
                  <a:solidFill>
                    <a:schemeClr val="tx1"/>
                  </a:solidFill>
                  <a:latin typeface="+mn-lt"/>
                  <a:ea typeface="+mn-ea"/>
                  <a:cs typeface="+mn-cs"/>
                </a:defRPr>
              </a:lvl6pPr>
              <a:lvl7pPr marL="1973082" eaLnBrk="1" hangingPunct="1">
                <a:defRPr>
                  <a:latin typeface="+mn-lt"/>
                  <a:ea typeface="+mn-ea"/>
                  <a:cs typeface="+mn-cs"/>
                </a:defRPr>
              </a:lvl7pPr>
              <a:lvl8pPr marL="2301932" eaLnBrk="1" hangingPunct="1">
                <a:defRPr>
                  <a:latin typeface="+mn-lt"/>
                  <a:ea typeface="+mn-ea"/>
                  <a:cs typeface="+mn-cs"/>
                </a:defRPr>
              </a:lvl8pPr>
              <a:lvl9pPr marL="2630778" eaLnBrk="1" hangingPunct="1">
                <a:defRPr>
                  <a:latin typeface="+mn-lt"/>
                  <a:ea typeface="+mn-ea"/>
                  <a:cs typeface="+mn-cs"/>
                </a:defRPr>
              </a:lvl9pPr>
            </a:lstStyle>
            <a:p>
              <a:pPr marL="0" lvl="1" indent="0" defTabSz="1009040">
                <a:spcBef>
                  <a:spcPts val="0"/>
                </a:spcBef>
                <a:buClr>
                  <a:schemeClr val="tx2"/>
                </a:buClr>
                <a:buNone/>
                <a:defRPr/>
              </a:pPr>
              <a:r>
                <a:rPr lang="fr-FR" sz="1500" b="1" dirty="0">
                  <a:solidFill>
                    <a:schemeClr val="bg1"/>
                  </a:solidFill>
                </a:rPr>
                <a:t>Transparence</a:t>
              </a:r>
              <a:r>
                <a:rPr lang="fr-FR" sz="1500" dirty="0">
                  <a:solidFill>
                    <a:schemeClr val="tx2"/>
                  </a:solidFill>
                </a:rPr>
                <a:t> (« no </a:t>
              </a:r>
              <a:r>
                <a:rPr lang="fr-FR" sz="1500" dirty="0" err="1">
                  <a:solidFill>
                    <a:schemeClr val="tx2"/>
                  </a:solidFill>
                </a:rPr>
                <a:t>politics</a:t>
              </a:r>
              <a:r>
                <a:rPr lang="fr-FR" sz="1500" dirty="0">
                  <a:solidFill>
                    <a:schemeClr val="tx2"/>
                  </a:solidFill>
                </a:rPr>
                <a:t> ») et </a:t>
              </a:r>
              <a:r>
                <a:rPr lang="fr-FR" sz="1500" b="1" dirty="0">
                  <a:solidFill>
                    <a:schemeClr val="bg1"/>
                  </a:solidFill>
                </a:rPr>
                <a:t>authenticité</a:t>
              </a:r>
              <a:r>
                <a:rPr lang="fr-FR" sz="1500" dirty="0">
                  <a:solidFill>
                    <a:schemeClr val="tx2"/>
                  </a:solidFill>
                </a:rPr>
                <a:t> comme marqueurs de nos façons de travailler</a:t>
              </a:r>
            </a:p>
          </p:txBody>
        </p:sp>
      </p:grpSp>
      <p:sp>
        <p:nvSpPr>
          <p:cNvPr id="58" name="Titre 1">
            <a:extLst>
              <a:ext uri="{FF2B5EF4-FFF2-40B4-BE49-F238E27FC236}">
                <a16:creationId xmlns:a16="http://schemas.microsoft.com/office/drawing/2014/main" id="{7BDAB14A-FE01-4B85-81C7-368792430D1A}"/>
              </a:ext>
            </a:extLst>
          </p:cNvPr>
          <p:cNvSpPr txBox="1">
            <a:spLocks/>
          </p:cNvSpPr>
          <p:nvPr/>
        </p:nvSpPr>
        <p:spPr>
          <a:xfrm>
            <a:off x="609618" y="545662"/>
            <a:ext cx="12218110" cy="338554"/>
          </a:xfrm>
          <a:prstGeom prst="rect">
            <a:avLst/>
          </a:prstGeom>
        </p:spPr>
        <p:txBody>
          <a:bodyPr vert="horz" wrap="square" lIns="0" tIns="0" rIns="0" bIns="0" rtlCol="0" anchor="b" anchorCtr="0">
            <a:spAutoFit/>
          </a:bodyPr>
          <a:lstStyle>
            <a:lvl1pPr marL="0" indent="0" algn="l" eaLnBrk="1" hangingPunct="1">
              <a:lnSpc>
                <a:spcPct val="100000"/>
              </a:lnSpc>
              <a:spcBef>
                <a:spcPts val="0"/>
              </a:spcBef>
              <a:spcAft>
                <a:spcPts val="0"/>
              </a:spcAft>
              <a:tabLst>
                <a:tab pos="1821705" algn="l"/>
                <a:tab pos="4901824" algn="l"/>
                <a:tab pos="6076343" algn="l"/>
                <a:tab pos="8752172" algn="l"/>
              </a:tabLst>
              <a:defRPr lang="fr-FR" sz="2200" b="1" i="0" u="none" kern="1200" cap="none" spc="126" baseline="0">
                <a:solidFill>
                  <a:schemeClr val="tx2"/>
                </a:solidFill>
                <a:latin typeface="Calibri Light" panose="020F0302020204030204" pitchFamily="34" charset="0"/>
                <a:ea typeface="+mj-ea"/>
                <a:cs typeface="Calibri Light" panose="020F0302020204030204" pitchFamily="34" charset="0"/>
              </a:defRPr>
            </a:lvl1pPr>
          </a:lstStyle>
          <a:p>
            <a:pPr defTabSz="914400"/>
            <a:r>
              <a:rPr lang="fr-FR" dirty="0"/>
              <a:t>Ce qui caractérise </a:t>
            </a:r>
            <a:r>
              <a:rPr lang="fr-FR" dirty="0">
                <a:solidFill>
                  <a:schemeClr val="accent3"/>
                </a:solidFill>
              </a:rPr>
              <a:t>l’approche “CYLAD”</a:t>
            </a:r>
            <a:endParaRPr lang="fr-FR" dirty="0"/>
          </a:p>
        </p:txBody>
      </p:sp>
    </p:spTree>
    <p:extLst>
      <p:ext uri="{BB962C8B-B14F-4D97-AF65-F5344CB8AC3E}">
        <p14:creationId xmlns:p14="http://schemas.microsoft.com/office/powerpoint/2010/main" val="3769001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t 19" hidden="1">
            <a:extLst>
              <a:ext uri="{FF2B5EF4-FFF2-40B4-BE49-F238E27FC236}">
                <a16:creationId xmlns:a16="http://schemas.microsoft.com/office/drawing/2014/main" id="{D884B7E3-E3FF-4518-8006-2CE9D1532E6A}"/>
              </a:ext>
            </a:extLst>
          </p:cNvPr>
          <p:cNvGraphicFramePr>
            <a:graphicFrameLocks noChangeAspect="1"/>
          </p:cNvGraphicFramePr>
          <p:nvPr>
            <p:custDataLst>
              <p:tags r:id="rId2"/>
            </p:custDataLst>
            <p:extLst>
              <p:ext uri="{D42A27DB-BD31-4B8C-83A1-F6EECF244321}">
                <p14:modId xmlns:p14="http://schemas.microsoft.com/office/powerpoint/2010/main" val="2651763237"/>
              </p:ext>
            </p:extLst>
          </p:nvPr>
        </p:nvGraphicFramePr>
        <p:xfrm>
          <a:off x="1377157" y="1588"/>
          <a:ext cx="1588" cy="1588"/>
        </p:xfrm>
        <a:graphic>
          <a:graphicData uri="http://schemas.openxmlformats.org/presentationml/2006/ole">
            <mc:AlternateContent xmlns:mc="http://schemas.openxmlformats.org/markup-compatibility/2006">
              <mc:Choice xmlns:v="urn:schemas-microsoft-com:vml" Requires="v">
                <p:oleObj spid="_x0000_s34918" name="Diapositive think-cell" r:id="rId5" imgW="473" imgH="470" progId="TCLayout.ActiveDocument.1">
                  <p:embed/>
                </p:oleObj>
              </mc:Choice>
              <mc:Fallback>
                <p:oleObj name="Diapositive think-cell" r:id="rId5" imgW="473" imgH="470" progId="TCLayout.ActiveDocument.1">
                  <p:embed/>
                  <p:pic>
                    <p:nvPicPr>
                      <p:cNvPr id="20" name="Objet 19" hidden="1">
                        <a:extLst>
                          <a:ext uri="{FF2B5EF4-FFF2-40B4-BE49-F238E27FC236}">
                            <a16:creationId xmlns:a16="http://schemas.microsoft.com/office/drawing/2014/main" id="{D884B7E3-E3FF-4518-8006-2CE9D1532E6A}"/>
                          </a:ext>
                        </a:extLst>
                      </p:cNvPr>
                      <p:cNvPicPr/>
                      <p:nvPr/>
                    </p:nvPicPr>
                    <p:blipFill>
                      <a:blip r:embed="rId6"/>
                      <a:stretch>
                        <a:fillRect/>
                      </a:stretch>
                    </p:blipFill>
                    <p:spPr>
                      <a:xfrm>
                        <a:off x="1377157" y="1588"/>
                        <a:ext cx="1588" cy="1588"/>
                      </a:xfrm>
                      <a:prstGeom prst="rect">
                        <a:avLst/>
                      </a:prstGeom>
                    </p:spPr>
                  </p:pic>
                </p:oleObj>
              </mc:Fallback>
            </mc:AlternateContent>
          </a:graphicData>
        </a:graphic>
      </p:graphicFrame>
      <p:sp>
        <p:nvSpPr>
          <p:cNvPr id="34" name="Rectangle 33" hidden="1">
            <a:extLst>
              <a:ext uri="{FF2B5EF4-FFF2-40B4-BE49-F238E27FC236}">
                <a16:creationId xmlns:a16="http://schemas.microsoft.com/office/drawing/2014/main" id="{72ADF370-DFC5-4D50-A2A8-0550C1B6698A}"/>
              </a:ext>
            </a:extLst>
          </p:cNvPr>
          <p:cNvSpPr/>
          <p:nvPr>
            <p:custDataLst>
              <p:tags r:id="rId3"/>
            </p:custDataLst>
          </p:nvPr>
        </p:nvSpPr>
        <p:spPr>
          <a:xfrm>
            <a:off x="1375569" y="0"/>
            <a:ext cx="158750" cy="158750"/>
          </a:xfrm>
          <a:prstGeom prst="rect">
            <a:avLst/>
          </a:prstGeom>
          <a:solidFill>
            <a:schemeClr val="tx2"/>
          </a:solidFill>
        </p:spPr>
        <p:txBody>
          <a:bodyPr vert="horz" wrap="none" lIns="0" tIns="0" rIns="0" bIns="0" numCol="1" spcCol="0" rtlCol="0" anchor="ctr" anchorCtr="0">
            <a:noAutofit/>
          </a:bodyPr>
          <a:lstStyle/>
          <a:p>
            <a:pPr algn="ctr">
              <a:spcBef>
                <a:spcPct val="0"/>
              </a:spcBef>
              <a:spcAft>
                <a:spcPct val="0"/>
              </a:spcAft>
            </a:pPr>
            <a:endParaRPr lang="fr-FR" sz="2200" b="1" dirty="0" err="1">
              <a:solidFill>
                <a:schemeClr val="bg1"/>
              </a:solidFill>
              <a:latin typeface="Calibri Light" panose="020F0302020204030204" pitchFamily="34" charset="0"/>
              <a:ea typeface="+mj-ea"/>
              <a:cs typeface="Arial" panose="020B0604020202020204" pitchFamily="34" charset="0"/>
              <a:sym typeface="Calibri Light" panose="020F0302020204030204" pitchFamily="34" charset="0"/>
            </a:endParaRPr>
          </a:p>
        </p:txBody>
      </p:sp>
      <p:sp>
        <p:nvSpPr>
          <p:cNvPr id="16" name="Titre 15">
            <a:extLst>
              <a:ext uri="{FF2B5EF4-FFF2-40B4-BE49-F238E27FC236}">
                <a16:creationId xmlns:a16="http://schemas.microsoft.com/office/drawing/2014/main" id="{74646470-F092-4848-9279-FEB95F921429}"/>
              </a:ext>
            </a:extLst>
          </p:cNvPr>
          <p:cNvSpPr>
            <a:spLocks noGrp="1"/>
          </p:cNvSpPr>
          <p:nvPr>
            <p:ph type="title"/>
          </p:nvPr>
        </p:nvSpPr>
        <p:spPr>
          <a:xfrm>
            <a:off x="4975225" y="545309"/>
            <a:ext cx="7541828" cy="285632"/>
          </a:xfrm>
        </p:spPr>
        <p:txBody>
          <a:bodyPr/>
          <a:lstStyle/>
          <a:p>
            <a:pPr defTabSz="914400"/>
            <a:r>
              <a:rPr lang="fr-FR"/>
              <a:t>Nos </a:t>
            </a:r>
            <a:r>
              <a:rPr lang="fr-FR">
                <a:solidFill>
                  <a:schemeClr val="accent3"/>
                </a:solidFill>
              </a:rPr>
              <a:t>valeurs</a:t>
            </a:r>
          </a:p>
        </p:txBody>
      </p:sp>
      <p:sp>
        <p:nvSpPr>
          <p:cNvPr id="22" name="Espace réservé du texte 3">
            <a:extLst>
              <a:ext uri="{FF2B5EF4-FFF2-40B4-BE49-F238E27FC236}">
                <a16:creationId xmlns:a16="http://schemas.microsoft.com/office/drawing/2014/main" id="{7B1B026D-1C52-4768-826A-BA7A4977D811}"/>
              </a:ext>
            </a:extLst>
          </p:cNvPr>
          <p:cNvSpPr txBox="1">
            <a:spLocks/>
          </p:cNvSpPr>
          <p:nvPr/>
        </p:nvSpPr>
        <p:spPr>
          <a:xfrm>
            <a:off x="4975225" y="3484788"/>
            <a:ext cx="2736000" cy="556881"/>
          </a:xfrm>
          <a:prstGeom prst="rect">
            <a:avLst/>
          </a:prstGeom>
          <a:ln>
            <a:noFill/>
          </a:ln>
        </p:spPr>
        <p:txBody>
          <a:bodyPr/>
          <a:lstStyle>
            <a:lvl1pPr marL="0" eaLnBrk="1" hangingPunct="1">
              <a:spcBef>
                <a:spcPts val="600"/>
              </a:spcBef>
              <a:spcAft>
                <a:spcPts val="0"/>
              </a:spcAft>
              <a:defRPr lang="en-US" sz="1600" b="0" kern="1200" cap="none" spc="0" baseline="0" dirty="0" smtClean="0">
                <a:solidFill>
                  <a:schemeClr val="tx1"/>
                </a:solidFill>
                <a:latin typeface="+mn-lt"/>
                <a:ea typeface="+mn-ea"/>
                <a:cs typeface="Arial" pitchFamily="34" charset="0"/>
              </a:defRPr>
            </a:lvl1pPr>
            <a:lvl2pPr marL="246820" indent="-246820" eaLnBrk="1" hangingPunct="1">
              <a:spcBef>
                <a:spcPts val="600"/>
              </a:spcBef>
              <a:spcAft>
                <a:spcPts val="0"/>
              </a:spcAft>
              <a:buFont typeface="Wingdings" pitchFamily="2" charset="2"/>
              <a:buChar char="§"/>
              <a:defRPr sz="1600" b="0" kern="1200" spc="0">
                <a:solidFill>
                  <a:schemeClr val="tx1"/>
                </a:solidFill>
                <a:latin typeface="+mn-lt"/>
                <a:ea typeface="+mn-ea"/>
                <a:cs typeface="Arial" pitchFamily="34" charset="0"/>
              </a:defRPr>
            </a:lvl2pPr>
            <a:lvl3pPr marL="493640" indent="-246820" eaLnBrk="1" hangingPunct="1">
              <a:spcBef>
                <a:spcPts val="600"/>
              </a:spcBef>
              <a:spcAft>
                <a:spcPts val="0"/>
              </a:spcAft>
              <a:buFont typeface="Webdings" pitchFamily="18" charset="2"/>
              <a:buChar char="4"/>
              <a:defRPr sz="1600" b="0" kern="1200" spc="0">
                <a:solidFill>
                  <a:schemeClr val="tx1"/>
                </a:solidFill>
                <a:latin typeface="+mn-lt"/>
                <a:ea typeface="+mn-ea"/>
                <a:cs typeface="Arial" pitchFamily="34" charset="0"/>
              </a:defRPr>
            </a:lvl3pPr>
            <a:lvl4pPr marL="781596" indent="-205683" eaLnBrk="1" hangingPunct="1">
              <a:spcBef>
                <a:spcPts val="600"/>
              </a:spcBef>
              <a:spcAft>
                <a:spcPts val="0"/>
              </a:spcAft>
              <a:buFont typeface="Symbol" pitchFamily="18" charset="2"/>
              <a:buChar char="-"/>
              <a:defRPr sz="1600" b="0" i="0" kern="1200" spc="0" baseline="0">
                <a:solidFill>
                  <a:schemeClr val="tx1"/>
                </a:solidFill>
                <a:latin typeface="+mn-lt"/>
                <a:ea typeface="+mn-ea"/>
                <a:cs typeface="+mn-cs"/>
              </a:defRPr>
            </a:lvl4pPr>
            <a:lvl5pPr marL="1069552" indent="-246820" eaLnBrk="1" hangingPunct="1">
              <a:spcBef>
                <a:spcPts val="600"/>
              </a:spcBef>
              <a:spcAft>
                <a:spcPts val="0"/>
              </a:spcAft>
              <a:buFont typeface="Arial" pitchFamily="34" charset="0"/>
              <a:buChar char="•"/>
              <a:defRPr sz="1600" b="0" i="0" kern="1200" spc="0" baseline="0">
                <a:solidFill>
                  <a:schemeClr val="tx1"/>
                </a:solidFill>
                <a:latin typeface="+mn-lt"/>
                <a:ea typeface="+mn-ea"/>
                <a:cs typeface="+mn-cs"/>
              </a:defRPr>
            </a:lvl5pPr>
            <a:lvl6pPr marL="1357509" indent="-246820" eaLnBrk="1" hangingPunct="1">
              <a:spcBef>
                <a:spcPts val="600"/>
              </a:spcBef>
              <a:spcAft>
                <a:spcPts val="0"/>
              </a:spcAft>
              <a:buSzPct val="65000"/>
              <a:buFont typeface="Wingdings" pitchFamily="2" charset="2"/>
              <a:buChar char="w"/>
              <a:defRPr sz="1600" b="0" i="0" kern="1200" spc="0" baseline="0">
                <a:solidFill>
                  <a:schemeClr val="tx1"/>
                </a:solidFill>
                <a:latin typeface="+mn-lt"/>
                <a:ea typeface="+mn-ea"/>
                <a:cs typeface="+mn-cs"/>
              </a:defRPr>
            </a:lvl6pPr>
            <a:lvl7pPr marL="1973082" eaLnBrk="1" hangingPunct="1">
              <a:defRPr>
                <a:latin typeface="+mn-lt"/>
                <a:ea typeface="+mn-ea"/>
                <a:cs typeface="+mn-cs"/>
              </a:defRPr>
            </a:lvl7pPr>
            <a:lvl8pPr marL="2301932" eaLnBrk="1" hangingPunct="1">
              <a:defRPr>
                <a:latin typeface="+mn-lt"/>
                <a:ea typeface="+mn-ea"/>
                <a:cs typeface="+mn-cs"/>
              </a:defRPr>
            </a:lvl8pPr>
            <a:lvl9pPr marL="2630778" eaLnBrk="1" hangingPunct="1">
              <a:defRPr>
                <a:latin typeface="+mn-lt"/>
                <a:ea typeface="+mn-ea"/>
                <a:cs typeface="+mn-cs"/>
              </a:defRPr>
            </a:lvl9pPr>
          </a:lstStyle>
          <a:p>
            <a:pPr marL="0" lvl="1" indent="0" algn="ctr" defTabSz="1009040">
              <a:spcBef>
                <a:spcPts val="0"/>
              </a:spcBef>
              <a:buClr>
                <a:schemeClr val="tx2"/>
              </a:buClr>
              <a:buNone/>
              <a:defRPr/>
            </a:pPr>
            <a:r>
              <a:rPr lang="fr-FR" sz="2000" b="1" spc="130">
                <a:solidFill>
                  <a:schemeClr val="tx2"/>
                </a:solidFill>
              </a:rPr>
              <a:t>EMPATHIE</a:t>
            </a:r>
          </a:p>
        </p:txBody>
      </p:sp>
      <p:sp>
        <p:nvSpPr>
          <p:cNvPr id="24" name="Espace réservé du texte 3">
            <a:extLst>
              <a:ext uri="{FF2B5EF4-FFF2-40B4-BE49-F238E27FC236}">
                <a16:creationId xmlns:a16="http://schemas.microsoft.com/office/drawing/2014/main" id="{CE0675D2-3AA7-4482-AA2B-4AA23CF10654}"/>
              </a:ext>
            </a:extLst>
          </p:cNvPr>
          <p:cNvSpPr txBox="1">
            <a:spLocks/>
          </p:cNvSpPr>
          <p:nvPr/>
        </p:nvSpPr>
        <p:spPr>
          <a:xfrm>
            <a:off x="4975225" y="1651000"/>
            <a:ext cx="2736000" cy="556881"/>
          </a:xfrm>
          <a:prstGeom prst="rect">
            <a:avLst/>
          </a:prstGeom>
          <a:ln>
            <a:noFill/>
          </a:ln>
        </p:spPr>
        <p:txBody>
          <a:bodyPr/>
          <a:lstStyle>
            <a:lvl1pPr marL="0" eaLnBrk="1" hangingPunct="1">
              <a:spcBef>
                <a:spcPts val="600"/>
              </a:spcBef>
              <a:spcAft>
                <a:spcPts val="0"/>
              </a:spcAft>
              <a:defRPr lang="en-US" sz="1600" b="0" kern="1200" cap="none" spc="0" baseline="0" dirty="0" smtClean="0">
                <a:solidFill>
                  <a:schemeClr val="tx1"/>
                </a:solidFill>
                <a:latin typeface="+mn-lt"/>
                <a:ea typeface="+mn-ea"/>
                <a:cs typeface="Arial" pitchFamily="34" charset="0"/>
              </a:defRPr>
            </a:lvl1pPr>
            <a:lvl2pPr marL="246820" indent="-246820" eaLnBrk="1" hangingPunct="1">
              <a:spcBef>
                <a:spcPts val="600"/>
              </a:spcBef>
              <a:spcAft>
                <a:spcPts val="0"/>
              </a:spcAft>
              <a:buFont typeface="Wingdings" pitchFamily="2" charset="2"/>
              <a:buChar char="§"/>
              <a:defRPr sz="1600" b="0" kern="1200" spc="0">
                <a:solidFill>
                  <a:schemeClr val="tx1"/>
                </a:solidFill>
                <a:latin typeface="+mn-lt"/>
                <a:ea typeface="+mn-ea"/>
                <a:cs typeface="Arial" pitchFamily="34" charset="0"/>
              </a:defRPr>
            </a:lvl2pPr>
            <a:lvl3pPr marL="493640" indent="-246820" eaLnBrk="1" hangingPunct="1">
              <a:spcBef>
                <a:spcPts val="600"/>
              </a:spcBef>
              <a:spcAft>
                <a:spcPts val="0"/>
              </a:spcAft>
              <a:buFont typeface="Webdings" pitchFamily="18" charset="2"/>
              <a:buChar char="4"/>
              <a:defRPr sz="1600" b="0" kern="1200" spc="0">
                <a:solidFill>
                  <a:schemeClr val="tx1"/>
                </a:solidFill>
                <a:latin typeface="+mn-lt"/>
                <a:ea typeface="+mn-ea"/>
                <a:cs typeface="Arial" pitchFamily="34" charset="0"/>
              </a:defRPr>
            </a:lvl3pPr>
            <a:lvl4pPr marL="781596" indent="-205683" eaLnBrk="1" hangingPunct="1">
              <a:spcBef>
                <a:spcPts val="600"/>
              </a:spcBef>
              <a:spcAft>
                <a:spcPts val="0"/>
              </a:spcAft>
              <a:buFont typeface="Symbol" pitchFamily="18" charset="2"/>
              <a:buChar char="-"/>
              <a:defRPr sz="1600" b="0" i="0" kern="1200" spc="0" baseline="0">
                <a:solidFill>
                  <a:schemeClr val="tx1"/>
                </a:solidFill>
                <a:latin typeface="+mn-lt"/>
                <a:ea typeface="+mn-ea"/>
                <a:cs typeface="+mn-cs"/>
              </a:defRPr>
            </a:lvl4pPr>
            <a:lvl5pPr marL="1069552" indent="-246820" eaLnBrk="1" hangingPunct="1">
              <a:spcBef>
                <a:spcPts val="600"/>
              </a:spcBef>
              <a:spcAft>
                <a:spcPts val="0"/>
              </a:spcAft>
              <a:buFont typeface="Arial" pitchFamily="34" charset="0"/>
              <a:buChar char="•"/>
              <a:defRPr sz="1600" b="0" i="0" kern="1200" spc="0" baseline="0">
                <a:solidFill>
                  <a:schemeClr val="tx1"/>
                </a:solidFill>
                <a:latin typeface="+mn-lt"/>
                <a:ea typeface="+mn-ea"/>
                <a:cs typeface="+mn-cs"/>
              </a:defRPr>
            </a:lvl5pPr>
            <a:lvl6pPr marL="1357509" indent="-246820" eaLnBrk="1" hangingPunct="1">
              <a:spcBef>
                <a:spcPts val="600"/>
              </a:spcBef>
              <a:spcAft>
                <a:spcPts val="0"/>
              </a:spcAft>
              <a:buSzPct val="65000"/>
              <a:buFont typeface="Wingdings" pitchFamily="2" charset="2"/>
              <a:buChar char="w"/>
              <a:defRPr sz="1600" b="0" i="0" kern="1200" spc="0" baseline="0">
                <a:solidFill>
                  <a:schemeClr val="tx1"/>
                </a:solidFill>
                <a:latin typeface="+mn-lt"/>
                <a:ea typeface="+mn-ea"/>
                <a:cs typeface="+mn-cs"/>
              </a:defRPr>
            </a:lvl6pPr>
            <a:lvl7pPr marL="1973082" eaLnBrk="1" hangingPunct="1">
              <a:defRPr>
                <a:latin typeface="+mn-lt"/>
                <a:ea typeface="+mn-ea"/>
                <a:cs typeface="+mn-cs"/>
              </a:defRPr>
            </a:lvl7pPr>
            <a:lvl8pPr marL="2301932" eaLnBrk="1" hangingPunct="1">
              <a:defRPr>
                <a:latin typeface="+mn-lt"/>
                <a:ea typeface="+mn-ea"/>
                <a:cs typeface="+mn-cs"/>
              </a:defRPr>
            </a:lvl8pPr>
            <a:lvl9pPr marL="2630778" eaLnBrk="1" hangingPunct="1">
              <a:defRPr>
                <a:latin typeface="+mn-lt"/>
                <a:ea typeface="+mn-ea"/>
                <a:cs typeface="+mn-cs"/>
              </a:defRPr>
            </a:lvl9pPr>
          </a:lstStyle>
          <a:p>
            <a:pPr marL="0" lvl="1" indent="0" algn="ctr" defTabSz="1009040">
              <a:spcBef>
                <a:spcPts val="0"/>
              </a:spcBef>
              <a:buClr>
                <a:schemeClr val="tx2"/>
              </a:buClr>
              <a:buNone/>
              <a:defRPr/>
            </a:pPr>
            <a:r>
              <a:rPr lang="fr-FR" sz="2000" b="1" spc="130">
                <a:solidFill>
                  <a:schemeClr val="tx2"/>
                </a:solidFill>
              </a:rPr>
              <a:t>ENGAGEMENT</a:t>
            </a:r>
          </a:p>
        </p:txBody>
      </p:sp>
      <p:sp>
        <p:nvSpPr>
          <p:cNvPr id="25" name="Espace réservé du texte 3">
            <a:extLst>
              <a:ext uri="{FF2B5EF4-FFF2-40B4-BE49-F238E27FC236}">
                <a16:creationId xmlns:a16="http://schemas.microsoft.com/office/drawing/2014/main" id="{7AAF405A-E098-4BD5-9DF8-2C1BA7616FE0}"/>
              </a:ext>
            </a:extLst>
          </p:cNvPr>
          <p:cNvSpPr txBox="1">
            <a:spLocks/>
          </p:cNvSpPr>
          <p:nvPr/>
        </p:nvSpPr>
        <p:spPr>
          <a:xfrm>
            <a:off x="4975225" y="5318578"/>
            <a:ext cx="2736000" cy="556881"/>
          </a:xfrm>
          <a:prstGeom prst="rect">
            <a:avLst/>
          </a:prstGeom>
          <a:ln>
            <a:noFill/>
          </a:ln>
        </p:spPr>
        <p:txBody>
          <a:bodyPr/>
          <a:lstStyle>
            <a:lvl1pPr marL="0" eaLnBrk="1" hangingPunct="1">
              <a:spcBef>
                <a:spcPts val="600"/>
              </a:spcBef>
              <a:spcAft>
                <a:spcPts val="0"/>
              </a:spcAft>
              <a:defRPr lang="en-US" sz="1600" b="0" kern="1200" cap="none" spc="0" baseline="0" dirty="0" smtClean="0">
                <a:solidFill>
                  <a:schemeClr val="tx1"/>
                </a:solidFill>
                <a:latin typeface="+mn-lt"/>
                <a:ea typeface="+mn-ea"/>
                <a:cs typeface="Arial" pitchFamily="34" charset="0"/>
              </a:defRPr>
            </a:lvl1pPr>
            <a:lvl2pPr marL="246820" indent="-246820" eaLnBrk="1" hangingPunct="1">
              <a:spcBef>
                <a:spcPts val="600"/>
              </a:spcBef>
              <a:spcAft>
                <a:spcPts val="0"/>
              </a:spcAft>
              <a:buFont typeface="Wingdings" pitchFamily="2" charset="2"/>
              <a:buChar char="§"/>
              <a:defRPr sz="1600" b="0" kern="1200" spc="0">
                <a:solidFill>
                  <a:schemeClr val="tx1"/>
                </a:solidFill>
                <a:latin typeface="+mn-lt"/>
                <a:ea typeface="+mn-ea"/>
                <a:cs typeface="Arial" pitchFamily="34" charset="0"/>
              </a:defRPr>
            </a:lvl2pPr>
            <a:lvl3pPr marL="493640" indent="-246820" eaLnBrk="1" hangingPunct="1">
              <a:spcBef>
                <a:spcPts val="600"/>
              </a:spcBef>
              <a:spcAft>
                <a:spcPts val="0"/>
              </a:spcAft>
              <a:buFont typeface="Webdings" pitchFamily="18" charset="2"/>
              <a:buChar char="4"/>
              <a:defRPr sz="1600" b="0" kern="1200" spc="0">
                <a:solidFill>
                  <a:schemeClr val="tx1"/>
                </a:solidFill>
                <a:latin typeface="+mn-lt"/>
                <a:ea typeface="+mn-ea"/>
                <a:cs typeface="Arial" pitchFamily="34" charset="0"/>
              </a:defRPr>
            </a:lvl3pPr>
            <a:lvl4pPr marL="781596" indent="-205683" eaLnBrk="1" hangingPunct="1">
              <a:spcBef>
                <a:spcPts val="600"/>
              </a:spcBef>
              <a:spcAft>
                <a:spcPts val="0"/>
              </a:spcAft>
              <a:buFont typeface="Symbol" pitchFamily="18" charset="2"/>
              <a:buChar char="-"/>
              <a:defRPr sz="1600" b="0" i="0" kern="1200" spc="0" baseline="0">
                <a:solidFill>
                  <a:schemeClr val="tx1"/>
                </a:solidFill>
                <a:latin typeface="+mn-lt"/>
                <a:ea typeface="+mn-ea"/>
                <a:cs typeface="+mn-cs"/>
              </a:defRPr>
            </a:lvl4pPr>
            <a:lvl5pPr marL="1069552" indent="-246820" eaLnBrk="1" hangingPunct="1">
              <a:spcBef>
                <a:spcPts val="600"/>
              </a:spcBef>
              <a:spcAft>
                <a:spcPts val="0"/>
              </a:spcAft>
              <a:buFont typeface="Arial" pitchFamily="34" charset="0"/>
              <a:buChar char="•"/>
              <a:defRPr sz="1600" b="0" i="0" kern="1200" spc="0" baseline="0">
                <a:solidFill>
                  <a:schemeClr val="tx1"/>
                </a:solidFill>
                <a:latin typeface="+mn-lt"/>
                <a:ea typeface="+mn-ea"/>
                <a:cs typeface="+mn-cs"/>
              </a:defRPr>
            </a:lvl5pPr>
            <a:lvl6pPr marL="1357509" indent="-246820" eaLnBrk="1" hangingPunct="1">
              <a:spcBef>
                <a:spcPts val="600"/>
              </a:spcBef>
              <a:spcAft>
                <a:spcPts val="0"/>
              </a:spcAft>
              <a:buSzPct val="65000"/>
              <a:buFont typeface="Wingdings" pitchFamily="2" charset="2"/>
              <a:buChar char="w"/>
              <a:defRPr sz="1600" b="0" i="0" kern="1200" spc="0" baseline="0">
                <a:solidFill>
                  <a:schemeClr val="tx1"/>
                </a:solidFill>
                <a:latin typeface="+mn-lt"/>
                <a:ea typeface="+mn-ea"/>
                <a:cs typeface="+mn-cs"/>
              </a:defRPr>
            </a:lvl6pPr>
            <a:lvl7pPr marL="1973082" eaLnBrk="1" hangingPunct="1">
              <a:defRPr>
                <a:latin typeface="+mn-lt"/>
                <a:ea typeface="+mn-ea"/>
                <a:cs typeface="+mn-cs"/>
              </a:defRPr>
            </a:lvl7pPr>
            <a:lvl8pPr marL="2301932" eaLnBrk="1" hangingPunct="1">
              <a:defRPr>
                <a:latin typeface="+mn-lt"/>
                <a:ea typeface="+mn-ea"/>
                <a:cs typeface="+mn-cs"/>
              </a:defRPr>
            </a:lvl8pPr>
            <a:lvl9pPr marL="2630778" eaLnBrk="1" hangingPunct="1">
              <a:defRPr>
                <a:latin typeface="+mn-lt"/>
                <a:ea typeface="+mn-ea"/>
                <a:cs typeface="+mn-cs"/>
              </a:defRPr>
            </a:lvl9pPr>
          </a:lstStyle>
          <a:p>
            <a:pPr marL="0" lvl="1" indent="0" algn="ctr" defTabSz="1009040">
              <a:spcBef>
                <a:spcPts val="0"/>
              </a:spcBef>
              <a:buClr>
                <a:schemeClr val="tx2"/>
              </a:buClr>
              <a:buNone/>
              <a:defRPr/>
            </a:pPr>
            <a:r>
              <a:rPr lang="fr-FR" sz="2000" b="1" spc="130">
                <a:solidFill>
                  <a:schemeClr val="tx2"/>
                </a:solidFill>
              </a:rPr>
              <a:t>ESPRIT D’EQUIPE</a:t>
            </a:r>
          </a:p>
        </p:txBody>
      </p:sp>
      <p:sp>
        <p:nvSpPr>
          <p:cNvPr id="26" name="Espace réservé du texte 3">
            <a:extLst>
              <a:ext uri="{FF2B5EF4-FFF2-40B4-BE49-F238E27FC236}">
                <a16:creationId xmlns:a16="http://schemas.microsoft.com/office/drawing/2014/main" id="{D9A4E838-0035-4434-ABBD-4ACCC0EF960E}"/>
              </a:ext>
            </a:extLst>
          </p:cNvPr>
          <p:cNvSpPr txBox="1">
            <a:spLocks/>
          </p:cNvSpPr>
          <p:nvPr/>
        </p:nvSpPr>
        <p:spPr>
          <a:xfrm>
            <a:off x="8575225" y="2207881"/>
            <a:ext cx="2736000" cy="556881"/>
          </a:xfrm>
          <a:prstGeom prst="rect">
            <a:avLst/>
          </a:prstGeom>
          <a:ln>
            <a:noFill/>
          </a:ln>
        </p:spPr>
        <p:txBody>
          <a:bodyPr/>
          <a:lstStyle>
            <a:lvl1pPr marL="0" eaLnBrk="1" hangingPunct="1">
              <a:spcBef>
                <a:spcPts val="600"/>
              </a:spcBef>
              <a:spcAft>
                <a:spcPts val="0"/>
              </a:spcAft>
              <a:defRPr lang="en-US" sz="1600" b="0" kern="1200" cap="none" spc="0" baseline="0" dirty="0" smtClean="0">
                <a:solidFill>
                  <a:schemeClr val="tx1"/>
                </a:solidFill>
                <a:latin typeface="+mn-lt"/>
                <a:ea typeface="+mn-ea"/>
                <a:cs typeface="Arial" pitchFamily="34" charset="0"/>
              </a:defRPr>
            </a:lvl1pPr>
            <a:lvl2pPr marL="246820" indent="-246820" eaLnBrk="1" hangingPunct="1">
              <a:spcBef>
                <a:spcPts val="600"/>
              </a:spcBef>
              <a:spcAft>
                <a:spcPts val="0"/>
              </a:spcAft>
              <a:buFont typeface="Wingdings" pitchFamily="2" charset="2"/>
              <a:buChar char="§"/>
              <a:defRPr sz="1600" b="0" kern="1200" spc="0">
                <a:solidFill>
                  <a:schemeClr val="tx1"/>
                </a:solidFill>
                <a:latin typeface="+mn-lt"/>
                <a:ea typeface="+mn-ea"/>
                <a:cs typeface="Arial" pitchFamily="34" charset="0"/>
              </a:defRPr>
            </a:lvl2pPr>
            <a:lvl3pPr marL="493640" indent="-246820" eaLnBrk="1" hangingPunct="1">
              <a:spcBef>
                <a:spcPts val="600"/>
              </a:spcBef>
              <a:spcAft>
                <a:spcPts val="0"/>
              </a:spcAft>
              <a:buFont typeface="Webdings" pitchFamily="18" charset="2"/>
              <a:buChar char="4"/>
              <a:defRPr sz="1600" b="0" kern="1200" spc="0">
                <a:solidFill>
                  <a:schemeClr val="tx1"/>
                </a:solidFill>
                <a:latin typeface="+mn-lt"/>
                <a:ea typeface="+mn-ea"/>
                <a:cs typeface="Arial" pitchFamily="34" charset="0"/>
              </a:defRPr>
            </a:lvl3pPr>
            <a:lvl4pPr marL="781596" indent="-205683" eaLnBrk="1" hangingPunct="1">
              <a:spcBef>
                <a:spcPts val="600"/>
              </a:spcBef>
              <a:spcAft>
                <a:spcPts val="0"/>
              </a:spcAft>
              <a:buFont typeface="Symbol" pitchFamily="18" charset="2"/>
              <a:buChar char="-"/>
              <a:defRPr sz="1600" b="0" i="0" kern="1200" spc="0" baseline="0">
                <a:solidFill>
                  <a:schemeClr val="tx1"/>
                </a:solidFill>
                <a:latin typeface="+mn-lt"/>
                <a:ea typeface="+mn-ea"/>
                <a:cs typeface="+mn-cs"/>
              </a:defRPr>
            </a:lvl4pPr>
            <a:lvl5pPr marL="1069552" indent="-246820" eaLnBrk="1" hangingPunct="1">
              <a:spcBef>
                <a:spcPts val="600"/>
              </a:spcBef>
              <a:spcAft>
                <a:spcPts val="0"/>
              </a:spcAft>
              <a:buFont typeface="Arial" pitchFamily="34" charset="0"/>
              <a:buChar char="•"/>
              <a:defRPr sz="1600" b="0" i="0" kern="1200" spc="0" baseline="0">
                <a:solidFill>
                  <a:schemeClr val="tx1"/>
                </a:solidFill>
                <a:latin typeface="+mn-lt"/>
                <a:ea typeface="+mn-ea"/>
                <a:cs typeface="+mn-cs"/>
              </a:defRPr>
            </a:lvl5pPr>
            <a:lvl6pPr marL="1357509" indent="-246820" eaLnBrk="1" hangingPunct="1">
              <a:spcBef>
                <a:spcPts val="600"/>
              </a:spcBef>
              <a:spcAft>
                <a:spcPts val="0"/>
              </a:spcAft>
              <a:buSzPct val="65000"/>
              <a:buFont typeface="Wingdings" pitchFamily="2" charset="2"/>
              <a:buChar char="w"/>
              <a:defRPr sz="1600" b="0" i="0" kern="1200" spc="0" baseline="0">
                <a:solidFill>
                  <a:schemeClr val="tx1"/>
                </a:solidFill>
                <a:latin typeface="+mn-lt"/>
                <a:ea typeface="+mn-ea"/>
                <a:cs typeface="+mn-cs"/>
              </a:defRPr>
            </a:lvl6pPr>
            <a:lvl7pPr marL="1973082" eaLnBrk="1" hangingPunct="1">
              <a:defRPr>
                <a:latin typeface="+mn-lt"/>
                <a:ea typeface="+mn-ea"/>
                <a:cs typeface="+mn-cs"/>
              </a:defRPr>
            </a:lvl7pPr>
            <a:lvl8pPr marL="2301932" eaLnBrk="1" hangingPunct="1">
              <a:defRPr>
                <a:latin typeface="+mn-lt"/>
                <a:ea typeface="+mn-ea"/>
                <a:cs typeface="+mn-cs"/>
              </a:defRPr>
            </a:lvl8pPr>
            <a:lvl9pPr marL="2630778" eaLnBrk="1" hangingPunct="1">
              <a:defRPr>
                <a:latin typeface="+mn-lt"/>
                <a:ea typeface="+mn-ea"/>
                <a:cs typeface="+mn-cs"/>
              </a:defRPr>
            </a:lvl9pPr>
          </a:lstStyle>
          <a:p>
            <a:pPr marL="0" lvl="1" indent="0" algn="ctr" defTabSz="1009040">
              <a:spcBef>
                <a:spcPts val="0"/>
              </a:spcBef>
              <a:buClr>
                <a:schemeClr val="tx2"/>
              </a:buClr>
              <a:buNone/>
              <a:defRPr/>
            </a:pPr>
            <a:r>
              <a:rPr lang="fr-FR" sz="2000" b="1" spc="130">
                <a:solidFill>
                  <a:schemeClr val="tx2"/>
                </a:solidFill>
              </a:rPr>
              <a:t>LEADERSHIP</a:t>
            </a:r>
          </a:p>
        </p:txBody>
      </p:sp>
      <p:sp>
        <p:nvSpPr>
          <p:cNvPr id="27" name="Espace réservé du texte 3">
            <a:extLst>
              <a:ext uri="{FF2B5EF4-FFF2-40B4-BE49-F238E27FC236}">
                <a16:creationId xmlns:a16="http://schemas.microsoft.com/office/drawing/2014/main" id="{1D28517E-A9C1-4C18-BC8B-83BE004F2EB0}"/>
              </a:ext>
            </a:extLst>
          </p:cNvPr>
          <p:cNvSpPr txBox="1">
            <a:spLocks/>
          </p:cNvSpPr>
          <p:nvPr/>
        </p:nvSpPr>
        <p:spPr>
          <a:xfrm>
            <a:off x="8085624" y="4037641"/>
            <a:ext cx="3715200" cy="556881"/>
          </a:xfrm>
          <a:prstGeom prst="rect">
            <a:avLst/>
          </a:prstGeom>
          <a:ln>
            <a:noFill/>
          </a:ln>
        </p:spPr>
        <p:txBody>
          <a:bodyPr/>
          <a:lstStyle>
            <a:lvl1pPr marL="0" eaLnBrk="1" hangingPunct="1">
              <a:spcBef>
                <a:spcPts val="600"/>
              </a:spcBef>
              <a:spcAft>
                <a:spcPts val="0"/>
              </a:spcAft>
              <a:defRPr lang="en-US" sz="1600" b="0" kern="1200" cap="none" spc="0" baseline="0" dirty="0" smtClean="0">
                <a:solidFill>
                  <a:schemeClr val="tx1"/>
                </a:solidFill>
                <a:latin typeface="+mn-lt"/>
                <a:ea typeface="+mn-ea"/>
                <a:cs typeface="Arial" pitchFamily="34" charset="0"/>
              </a:defRPr>
            </a:lvl1pPr>
            <a:lvl2pPr marL="246820" indent="-246820" eaLnBrk="1" hangingPunct="1">
              <a:spcBef>
                <a:spcPts val="600"/>
              </a:spcBef>
              <a:spcAft>
                <a:spcPts val="0"/>
              </a:spcAft>
              <a:buFont typeface="Wingdings" pitchFamily="2" charset="2"/>
              <a:buChar char="§"/>
              <a:defRPr sz="1600" b="0" kern="1200" spc="0">
                <a:solidFill>
                  <a:schemeClr val="tx1"/>
                </a:solidFill>
                <a:latin typeface="+mn-lt"/>
                <a:ea typeface="+mn-ea"/>
                <a:cs typeface="Arial" pitchFamily="34" charset="0"/>
              </a:defRPr>
            </a:lvl2pPr>
            <a:lvl3pPr marL="493640" indent="-246820" eaLnBrk="1" hangingPunct="1">
              <a:spcBef>
                <a:spcPts val="600"/>
              </a:spcBef>
              <a:spcAft>
                <a:spcPts val="0"/>
              </a:spcAft>
              <a:buFont typeface="Webdings" pitchFamily="18" charset="2"/>
              <a:buChar char="4"/>
              <a:defRPr sz="1600" b="0" kern="1200" spc="0">
                <a:solidFill>
                  <a:schemeClr val="tx1"/>
                </a:solidFill>
                <a:latin typeface="+mn-lt"/>
                <a:ea typeface="+mn-ea"/>
                <a:cs typeface="Arial" pitchFamily="34" charset="0"/>
              </a:defRPr>
            </a:lvl3pPr>
            <a:lvl4pPr marL="781596" indent="-205683" eaLnBrk="1" hangingPunct="1">
              <a:spcBef>
                <a:spcPts val="600"/>
              </a:spcBef>
              <a:spcAft>
                <a:spcPts val="0"/>
              </a:spcAft>
              <a:buFont typeface="Symbol" pitchFamily="18" charset="2"/>
              <a:buChar char="-"/>
              <a:defRPr sz="1600" b="0" i="0" kern="1200" spc="0" baseline="0">
                <a:solidFill>
                  <a:schemeClr val="tx1"/>
                </a:solidFill>
                <a:latin typeface="+mn-lt"/>
                <a:ea typeface="+mn-ea"/>
                <a:cs typeface="+mn-cs"/>
              </a:defRPr>
            </a:lvl4pPr>
            <a:lvl5pPr marL="1069552" indent="-246820" eaLnBrk="1" hangingPunct="1">
              <a:spcBef>
                <a:spcPts val="600"/>
              </a:spcBef>
              <a:spcAft>
                <a:spcPts val="0"/>
              </a:spcAft>
              <a:buFont typeface="Arial" pitchFamily="34" charset="0"/>
              <a:buChar char="•"/>
              <a:defRPr sz="1600" b="0" i="0" kern="1200" spc="0" baseline="0">
                <a:solidFill>
                  <a:schemeClr val="tx1"/>
                </a:solidFill>
                <a:latin typeface="+mn-lt"/>
                <a:ea typeface="+mn-ea"/>
                <a:cs typeface="+mn-cs"/>
              </a:defRPr>
            </a:lvl5pPr>
            <a:lvl6pPr marL="1357509" indent="-246820" eaLnBrk="1" hangingPunct="1">
              <a:spcBef>
                <a:spcPts val="600"/>
              </a:spcBef>
              <a:spcAft>
                <a:spcPts val="0"/>
              </a:spcAft>
              <a:buSzPct val="65000"/>
              <a:buFont typeface="Wingdings" pitchFamily="2" charset="2"/>
              <a:buChar char="w"/>
              <a:defRPr sz="1600" b="0" i="0" kern="1200" spc="0" baseline="0">
                <a:solidFill>
                  <a:schemeClr val="tx1"/>
                </a:solidFill>
                <a:latin typeface="+mn-lt"/>
                <a:ea typeface="+mn-ea"/>
                <a:cs typeface="+mn-cs"/>
              </a:defRPr>
            </a:lvl6pPr>
            <a:lvl7pPr marL="1973082" eaLnBrk="1" hangingPunct="1">
              <a:defRPr>
                <a:latin typeface="+mn-lt"/>
                <a:ea typeface="+mn-ea"/>
                <a:cs typeface="+mn-cs"/>
              </a:defRPr>
            </a:lvl7pPr>
            <a:lvl8pPr marL="2301932" eaLnBrk="1" hangingPunct="1">
              <a:defRPr>
                <a:latin typeface="+mn-lt"/>
                <a:ea typeface="+mn-ea"/>
                <a:cs typeface="+mn-cs"/>
              </a:defRPr>
            </a:lvl8pPr>
            <a:lvl9pPr marL="2630778" eaLnBrk="1" hangingPunct="1">
              <a:defRPr>
                <a:latin typeface="+mn-lt"/>
                <a:ea typeface="+mn-ea"/>
                <a:cs typeface="+mn-cs"/>
              </a:defRPr>
            </a:lvl9pPr>
          </a:lstStyle>
          <a:p>
            <a:pPr marL="0" lvl="1" indent="0" algn="ctr" defTabSz="1009040">
              <a:spcBef>
                <a:spcPts val="0"/>
              </a:spcBef>
              <a:buClr>
                <a:schemeClr val="tx2"/>
              </a:buClr>
              <a:buNone/>
              <a:defRPr/>
            </a:pPr>
            <a:r>
              <a:rPr lang="fr-FR" sz="2000" b="1" spc="130">
                <a:solidFill>
                  <a:schemeClr val="tx2"/>
                </a:solidFill>
              </a:rPr>
              <a:t>OUVERTURE</a:t>
            </a:r>
          </a:p>
        </p:txBody>
      </p:sp>
      <p:sp>
        <p:nvSpPr>
          <p:cNvPr id="28" name="Espace réservé du texte 3">
            <a:extLst>
              <a:ext uri="{FF2B5EF4-FFF2-40B4-BE49-F238E27FC236}">
                <a16:creationId xmlns:a16="http://schemas.microsoft.com/office/drawing/2014/main" id="{E94ADB0A-0E6A-4475-9CCC-C70366AB237C}"/>
              </a:ext>
            </a:extLst>
          </p:cNvPr>
          <p:cNvSpPr txBox="1">
            <a:spLocks/>
          </p:cNvSpPr>
          <p:nvPr/>
        </p:nvSpPr>
        <p:spPr>
          <a:xfrm>
            <a:off x="8161824" y="5867400"/>
            <a:ext cx="3562800" cy="556881"/>
          </a:xfrm>
          <a:prstGeom prst="rect">
            <a:avLst/>
          </a:prstGeom>
          <a:ln>
            <a:noFill/>
          </a:ln>
        </p:spPr>
        <p:txBody>
          <a:bodyPr/>
          <a:lstStyle>
            <a:lvl1pPr marL="0" eaLnBrk="1" hangingPunct="1">
              <a:spcBef>
                <a:spcPts val="600"/>
              </a:spcBef>
              <a:spcAft>
                <a:spcPts val="0"/>
              </a:spcAft>
              <a:defRPr lang="en-US" sz="1600" b="0" kern="1200" cap="none" spc="0" baseline="0" dirty="0" smtClean="0">
                <a:solidFill>
                  <a:schemeClr val="tx1"/>
                </a:solidFill>
                <a:latin typeface="+mn-lt"/>
                <a:ea typeface="+mn-ea"/>
                <a:cs typeface="Arial" pitchFamily="34" charset="0"/>
              </a:defRPr>
            </a:lvl1pPr>
            <a:lvl2pPr marL="246820" indent="-246820" eaLnBrk="1" hangingPunct="1">
              <a:spcBef>
                <a:spcPts val="600"/>
              </a:spcBef>
              <a:spcAft>
                <a:spcPts val="0"/>
              </a:spcAft>
              <a:buFont typeface="Wingdings" pitchFamily="2" charset="2"/>
              <a:buChar char="§"/>
              <a:defRPr sz="1600" b="0" kern="1200" spc="0">
                <a:solidFill>
                  <a:schemeClr val="tx1"/>
                </a:solidFill>
                <a:latin typeface="+mn-lt"/>
                <a:ea typeface="+mn-ea"/>
                <a:cs typeface="Arial" pitchFamily="34" charset="0"/>
              </a:defRPr>
            </a:lvl2pPr>
            <a:lvl3pPr marL="493640" indent="-246820" eaLnBrk="1" hangingPunct="1">
              <a:spcBef>
                <a:spcPts val="600"/>
              </a:spcBef>
              <a:spcAft>
                <a:spcPts val="0"/>
              </a:spcAft>
              <a:buFont typeface="Webdings" pitchFamily="18" charset="2"/>
              <a:buChar char="4"/>
              <a:defRPr sz="1600" b="0" kern="1200" spc="0">
                <a:solidFill>
                  <a:schemeClr val="tx1"/>
                </a:solidFill>
                <a:latin typeface="+mn-lt"/>
                <a:ea typeface="+mn-ea"/>
                <a:cs typeface="Arial" pitchFamily="34" charset="0"/>
              </a:defRPr>
            </a:lvl3pPr>
            <a:lvl4pPr marL="781596" indent="-205683" eaLnBrk="1" hangingPunct="1">
              <a:spcBef>
                <a:spcPts val="600"/>
              </a:spcBef>
              <a:spcAft>
                <a:spcPts val="0"/>
              </a:spcAft>
              <a:buFont typeface="Symbol" pitchFamily="18" charset="2"/>
              <a:buChar char="-"/>
              <a:defRPr sz="1600" b="0" i="0" kern="1200" spc="0" baseline="0">
                <a:solidFill>
                  <a:schemeClr val="tx1"/>
                </a:solidFill>
                <a:latin typeface="+mn-lt"/>
                <a:ea typeface="+mn-ea"/>
                <a:cs typeface="+mn-cs"/>
              </a:defRPr>
            </a:lvl4pPr>
            <a:lvl5pPr marL="1069552" indent="-246820" eaLnBrk="1" hangingPunct="1">
              <a:spcBef>
                <a:spcPts val="600"/>
              </a:spcBef>
              <a:spcAft>
                <a:spcPts val="0"/>
              </a:spcAft>
              <a:buFont typeface="Arial" pitchFamily="34" charset="0"/>
              <a:buChar char="•"/>
              <a:defRPr sz="1600" b="0" i="0" kern="1200" spc="0" baseline="0">
                <a:solidFill>
                  <a:schemeClr val="tx1"/>
                </a:solidFill>
                <a:latin typeface="+mn-lt"/>
                <a:ea typeface="+mn-ea"/>
                <a:cs typeface="+mn-cs"/>
              </a:defRPr>
            </a:lvl5pPr>
            <a:lvl6pPr marL="1357509" indent="-246820" eaLnBrk="1" hangingPunct="1">
              <a:spcBef>
                <a:spcPts val="600"/>
              </a:spcBef>
              <a:spcAft>
                <a:spcPts val="0"/>
              </a:spcAft>
              <a:buSzPct val="65000"/>
              <a:buFont typeface="Wingdings" pitchFamily="2" charset="2"/>
              <a:buChar char="w"/>
              <a:defRPr sz="1600" b="0" i="0" kern="1200" spc="0" baseline="0">
                <a:solidFill>
                  <a:schemeClr val="tx1"/>
                </a:solidFill>
                <a:latin typeface="+mn-lt"/>
                <a:ea typeface="+mn-ea"/>
                <a:cs typeface="+mn-cs"/>
              </a:defRPr>
            </a:lvl6pPr>
            <a:lvl7pPr marL="1973082" eaLnBrk="1" hangingPunct="1">
              <a:defRPr>
                <a:latin typeface="+mn-lt"/>
                <a:ea typeface="+mn-ea"/>
                <a:cs typeface="+mn-cs"/>
              </a:defRPr>
            </a:lvl7pPr>
            <a:lvl8pPr marL="2301932" eaLnBrk="1" hangingPunct="1">
              <a:defRPr>
                <a:latin typeface="+mn-lt"/>
                <a:ea typeface="+mn-ea"/>
                <a:cs typeface="+mn-cs"/>
              </a:defRPr>
            </a:lvl8pPr>
            <a:lvl9pPr marL="2630778" eaLnBrk="1" hangingPunct="1">
              <a:defRPr>
                <a:latin typeface="+mn-lt"/>
                <a:ea typeface="+mn-ea"/>
                <a:cs typeface="+mn-cs"/>
              </a:defRPr>
            </a:lvl9pPr>
          </a:lstStyle>
          <a:p>
            <a:pPr marL="0" lvl="1" indent="0" algn="ctr" defTabSz="1009040">
              <a:spcBef>
                <a:spcPts val="0"/>
              </a:spcBef>
              <a:buClr>
                <a:schemeClr val="tx2"/>
              </a:buClr>
              <a:buNone/>
              <a:defRPr/>
            </a:pPr>
            <a:r>
              <a:rPr lang="fr-FR" sz="2000" b="1" spc="130">
                <a:solidFill>
                  <a:schemeClr val="tx2"/>
                </a:solidFill>
              </a:rPr>
              <a:t>ENTREPRENEURIAT</a:t>
            </a:r>
          </a:p>
        </p:txBody>
      </p:sp>
      <p:sp>
        <p:nvSpPr>
          <p:cNvPr id="29" name="object 18">
            <a:extLst>
              <a:ext uri="{FF2B5EF4-FFF2-40B4-BE49-F238E27FC236}">
                <a16:creationId xmlns:a16="http://schemas.microsoft.com/office/drawing/2014/main" id="{AB662AD2-2320-4162-865B-7BB67B0782FC}"/>
              </a:ext>
            </a:extLst>
          </p:cNvPr>
          <p:cNvSpPr>
            <a:spLocks noChangeAspect="1"/>
          </p:cNvSpPr>
          <p:nvPr/>
        </p:nvSpPr>
        <p:spPr>
          <a:xfrm>
            <a:off x="6269717" y="2651274"/>
            <a:ext cx="147017" cy="390121"/>
          </a:xfrm>
          <a:custGeom>
            <a:avLst/>
            <a:gdLst/>
            <a:ahLst/>
            <a:cxnLst/>
            <a:rect l="l" t="t" r="r" b="b"/>
            <a:pathLst>
              <a:path w="546734" h="1352550">
                <a:moveTo>
                  <a:pt x="0" y="1352428"/>
                </a:moveTo>
                <a:lnTo>
                  <a:pt x="546414" y="0"/>
                </a:lnTo>
              </a:path>
            </a:pathLst>
          </a:custGeom>
          <a:ln w="12700">
            <a:solidFill>
              <a:schemeClr val="accent3"/>
            </a:solidFill>
          </a:ln>
        </p:spPr>
        <p:txBody>
          <a:bodyPr wrap="square" lIns="0" tIns="0" rIns="0" bIns="0" rtlCol="0"/>
          <a:lstStyle/>
          <a:p>
            <a:pPr defTabSz="1045848">
              <a:defRPr/>
            </a:pPr>
            <a:endParaRPr lang="fr-FR" sz="2300" spc="100">
              <a:solidFill>
                <a:srgbClr val="000000"/>
              </a:solidFill>
            </a:endParaRPr>
          </a:p>
        </p:txBody>
      </p:sp>
      <p:sp>
        <p:nvSpPr>
          <p:cNvPr id="30" name="object 18">
            <a:extLst>
              <a:ext uri="{FF2B5EF4-FFF2-40B4-BE49-F238E27FC236}">
                <a16:creationId xmlns:a16="http://schemas.microsoft.com/office/drawing/2014/main" id="{B1695D44-1D12-4325-9E10-5B0C5867913A}"/>
              </a:ext>
            </a:extLst>
          </p:cNvPr>
          <p:cNvSpPr>
            <a:spLocks noChangeAspect="1"/>
          </p:cNvSpPr>
          <p:nvPr/>
        </p:nvSpPr>
        <p:spPr>
          <a:xfrm>
            <a:off x="6269717" y="4485062"/>
            <a:ext cx="147017" cy="390121"/>
          </a:xfrm>
          <a:custGeom>
            <a:avLst/>
            <a:gdLst/>
            <a:ahLst/>
            <a:cxnLst/>
            <a:rect l="l" t="t" r="r" b="b"/>
            <a:pathLst>
              <a:path w="546734" h="1352550">
                <a:moveTo>
                  <a:pt x="0" y="1352428"/>
                </a:moveTo>
                <a:lnTo>
                  <a:pt x="546414" y="0"/>
                </a:lnTo>
              </a:path>
            </a:pathLst>
          </a:custGeom>
          <a:ln w="12700">
            <a:solidFill>
              <a:schemeClr val="accent3"/>
            </a:solidFill>
          </a:ln>
        </p:spPr>
        <p:txBody>
          <a:bodyPr wrap="square" lIns="0" tIns="0" rIns="0" bIns="0" rtlCol="0"/>
          <a:lstStyle/>
          <a:p>
            <a:pPr defTabSz="1045848">
              <a:defRPr/>
            </a:pPr>
            <a:endParaRPr lang="fr-FR" sz="2300" spc="100">
              <a:solidFill>
                <a:srgbClr val="000000"/>
              </a:solidFill>
            </a:endParaRPr>
          </a:p>
        </p:txBody>
      </p:sp>
      <p:sp>
        <p:nvSpPr>
          <p:cNvPr id="31" name="object 18">
            <a:extLst>
              <a:ext uri="{FF2B5EF4-FFF2-40B4-BE49-F238E27FC236}">
                <a16:creationId xmlns:a16="http://schemas.microsoft.com/office/drawing/2014/main" id="{C9CFB65A-9DDC-4BF2-B4CF-4C5233CF0858}"/>
              </a:ext>
            </a:extLst>
          </p:cNvPr>
          <p:cNvSpPr>
            <a:spLocks noChangeAspect="1"/>
          </p:cNvSpPr>
          <p:nvPr/>
        </p:nvSpPr>
        <p:spPr>
          <a:xfrm>
            <a:off x="9869716" y="3206141"/>
            <a:ext cx="147017" cy="390121"/>
          </a:xfrm>
          <a:custGeom>
            <a:avLst/>
            <a:gdLst/>
            <a:ahLst/>
            <a:cxnLst/>
            <a:rect l="l" t="t" r="r" b="b"/>
            <a:pathLst>
              <a:path w="546734" h="1352550">
                <a:moveTo>
                  <a:pt x="0" y="1352428"/>
                </a:moveTo>
                <a:lnTo>
                  <a:pt x="546414" y="0"/>
                </a:lnTo>
              </a:path>
            </a:pathLst>
          </a:custGeom>
          <a:ln w="12700">
            <a:solidFill>
              <a:schemeClr val="accent3"/>
            </a:solidFill>
          </a:ln>
        </p:spPr>
        <p:txBody>
          <a:bodyPr wrap="square" lIns="0" tIns="0" rIns="0" bIns="0" rtlCol="0"/>
          <a:lstStyle/>
          <a:p>
            <a:pPr defTabSz="1045848">
              <a:defRPr/>
            </a:pPr>
            <a:endParaRPr lang="fr-FR" sz="2300" spc="100">
              <a:solidFill>
                <a:srgbClr val="000000"/>
              </a:solidFill>
            </a:endParaRPr>
          </a:p>
        </p:txBody>
      </p:sp>
      <p:sp>
        <p:nvSpPr>
          <p:cNvPr id="32" name="object 18">
            <a:extLst>
              <a:ext uri="{FF2B5EF4-FFF2-40B4-BE49-F238E27FC236}">
                <a16:creationId xmlns:a16="http://schemas.microsoft.com/office/drawing/2014/main" id="{20EF1D53-FAE2-4BB6-82AC-3BDE5C656F8D}"/>
              </a:ext>
            </a:extLst>
          </p:cNvPr>
          <p:cNvSpPr>
            <a:spLocks noChangeAspect="1"/>
          </p:cNvSpPr>
          <p:nvPr/>
        </p:nvSpPr>
        <p:spPr>
          <a:xfrm>
            <a:off x="9869716" y="5035901"/>
            <a:ext cx="147017" cy="390121"/>
          </a:xfrm>
          <a:custGeom>
            <a:avLst/>
            <a:gdLst/>
            <a:ahLst/>
            <a:cxnLst/>
            <a:rect l="l" t="t" r="r" b="b"/>
            <a:pathLst>
              <a:path w="546734" h="1352550">
                <a:moveTo>
                  <a:pt x="0" y="1352428"/>
                </a:moveTo>
                <a:lnTo>
                  <a:pt x="546414" y="0"/>
                </a:lnTo>
              </a:path>
            </a:pathLst>
          </a:custGeom>
          <a:ln w="12700">
            <a:solidFill>
              <a:schemeClr val="accent3"/>
            </a:solidFill>
          </a:ln>
        </p:spPr>
        <p:txBody>
          <a:bodyPr wrap="square" lIns="0" tIns="0" rIns="0" bIns="0" rtlCol="0"/>
          <a:lstStyle/>
          <a:p>
            <a:pPr defTabSz="1045848">
              <a:defRPr/>
            </a:pPr>
            <a:endParaRPr lang="fr-FR" sz="2300" spc="100">
              <a:solidFill>
                <a:srgbClr val="000000"/>
              </a:solidFill>
            </a:endParaRPr>
          </a:p>
        </p:txBody>
      </p:sp>
      <p:pic>
        <p:nvPicPr>
          <p:cNvPr id="18" name="Espace réservé pour une image  10" descr="Une image contenant eau, ciel, personne&#10;&#10;Description générée avec un niveau de confiance très élevé">
            <a:extLst>
              <a:ext uri="{FF2B5EF4-FFF2-40B4-BE49-F238E27FC236}">
                <a16:creationId xmlns:a16="http://schemas.microsoft.com/office/drawing/2014/main" id="{FF34A0F6-B739-4E2E-81C8-F6E2C887708C}"/>
              </a:ext>
            </a:extLst>
          </p:cNvPr>
          <p:cNvPicPr>
            <a:picLocks noGrp="1" noChangeAspect="1"/>
          </p:cNvPicPr>
          <p:nvPr>
            <p:ph type="pic" sz="quarter" idx="19"/>
          </p:nvPr>
        </p:nvPicPr>
        <p:blipFill>
          <a:blip r:embed="rId7" cstate="print">
            <a:extLst>
              <a:ext uri="{28A0092B-C50C-407E-A947-70E740481C1C}">
                <a14:useLocalDpi xmlns:a14="http://schemas.microsoft.com/office/drawing/2010/main" val="0"/>
              </a:ext>
            </a:extLst>
          </a:blip>
          <a:srcRect l="27001" r="27001"/>
          <a:stretch>
            <a:fillRect/>
          </a:stretch>
        </p:blipFill>
        <p:spPr>
          <a:xfrm>
            <a:off x="-8919" y="-7230"/>
            <a:ext cx="4968000" cy="7560000"/>
          </a:xfrm>
        </p:spPr>
      </p:pic>
      <p:sp>
        <p:nvSpPr>
          <p:cNvPr id="17" name="object 23">
            <a:extLst>
              <a:ext uri="{FF2B5EF4-FFF2-40B4-BE49-F238E27FC236}">
                <a16:creationId xmlns:a16="http://schemas.microsoft.com/office/drawing/2014/main" id="{B6BE8FAE-9597-403D-BA8F-10338BFE899E}"/>
              </a:ext>
            </a:extLst>
          </p:cNvPr>
          <p:cNvSpPr>
            <a:spLocks noChangeAspect="1"/>
          </p:cNvSpPr>
          <p:nvPr/>
        </p:nvSpPr>
        <p:spPr>
          <a:xfrm>
            <a:off x="0" y="1"/>
            <a:ext cx="484975" cy="1237344"/>
          </a:xfrm>
          <a:custGeom>
            <a:avLst/>
            <a:gdLst/>
            <a:ahLst/>
            <a:cxnLst/>
            <a:rect l="l" t="t" r="r" b="b"/>
            <a:pathLst>
              <a:path w="799465" h="1977389">
                <a:moveTo>
                  <a:pt x="798918" y="0"/>
                </a:moveTo>
                <a:lnTo>
                  <a:pt x="0" y="0"/>
                </a:lnTo>
                <a:lnTo>
                  <a:pt x="0" y="1977389"/>
                </a:lnTo>
                <a:lnTo>
                  <a:pt x="798918" y="0"/>
                </a:lnTo>
                <a:close/>
              </a:path>
            </a:pathLst>
          </a:custGeom>
          <a:solidFill>
            <a:srgbClr val="FFFFFF"/>
          </a:solidFill>
        </p:spPr>
        <p:txBody>
          <a:bodyPr wrap="square" lIns="0" tIns="0" rIns="0" bIns="0" rtlCol="0"/>
          <a:lstStyle/>
          <a:p>
            <a:pPr defTabSz="914400">
              <a:defRPr/>
            </a:pPr>
            <a:endParaRPr lang="fr-FR" sz="1800" kern="0" spc="100">
              <a:solidFill>
                <a:srgbClr val="000000"/>
              </a:solidFill>
            </a:endParaRPr>
          </a:p>
        </p:txBody>
      </p:sp>
    </p:spTree>
    <p:extLst>
      <p:ext uri="{BB962C8B-B14F-4D97-AF65-F5344CB8AC3E}">
        <p14:creationId xmlns:p14="http://schemas.microsoft.com/office/powerpoint/2010/main" val="25522744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BDB7D031-76F3-4ECF-A865-EB227EAB0CEB}"/>
              </a:ext>
            </a:extLst>
          </p:cNvPr>
          <p:cNvGraphicFramePr>
            <a:graphicFrameLocks noChangeAspect="1"/>
          </p:cNvGraphicFramePr>
          <p:nvPr>
            <p:custDataLst>
              <p:tags r:id="rId2"/>
            </p:custDataLst>
            <p:extLst>
              <p:ext uri="{D42A27DB-BD31-4B8C-83A1-F6EECF244321}">
                <p14:modId xmlns:p14="http://schemas.microsoft.com/office/powerpoint/2010/main" val="2862877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256" name="Diapositive think-cell" r:id="rId5" imgW="473" imgH="470" progId="TCLayout.ActiveDocument.1">
                  <p:embed/>
                </p:oleObj>
              </mc:Choice>
              <mc:Fallback>
                <p:oleObj name="Diapositive think-cell" r:id="rId5" imgW="473" imgH="470" progId="TCLayout.ActiveDocument.1">
                  <p:embed/>
                  <p:pic>
                    <p:nvPicPr>
                      <p:cNvPr id="7" name="Objet 6" hidden="1">
                        <a:extLst>
                          <a:ext uri="{FF2B5EF4-FFF2-40B4-BE49-F238E27FC236}">
                            <a16:creationId xmlns:a16="http://schemas.microsoft.com/office/drawing/2014/main" id="{BDB7D031-76F3-4ECF-A865-EB227EAB0CE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AF06F9F-56A6-4C52-B69E-29763697990D}"/>
              </a:ext>
            </a:extLst>
          </p:cNvPr>
          <p:cNvSpPr/>
          <p:nvPr>
            <p:custDataLst>
              <p:tags r:id="rId3"/>
            </p:custDataLst>
          </p:nvPr>
        </p:nvSpPr>
        <p:spPr>
          <a:xfrm>
            <a:off x="0" y="0"/>
            <a:ext cx="158750" cy="158750"/>
          </a:xfrm>
          <a:prstGeom prst="rect">
            <a:avLst/>
          </a:prstGeom>
          <a:solidFill>
            <a:schemeClr val="tx2"/>
          </a:solidFill>
        </p:spPr>
        <p:txBody>
          <a:bodyPr wrap="none" lIns="0" tIns="0" rIns="0" bIns="0" numCol="1" spcCol="0" rtlCol="0" anchor="ctr" anchorCtr="0">
            <a:noAutofit/>
          </a:bodyPr>
          <a:lstStyle/>
          <a:p>
            <a:pPr algn="ctr"/>
            <a:endParaRPr lang="fr-FR" sz="2200" b="1" dirty="0" err="1">
              <a:solidFill>
                <a:schemeClr val="bg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36" name="Content Placeholder 4">
            <a:extLst>
              <a:ext uri="{FF2B5EF4-FFF2-40B4-BE49-F238E27FC236}">
                <a16:creationId xmlns:a16="http://schemas.microsoft.com/office/drawing/2014/main" id="{D2C6FABF-D46E-4102-A971-8F7675D17F8C}"/>
              </a:ext>
            </a:extLst>
          </p:cNvPr>
          <p:cNvSpPr txBox="1">
            <a:spLocks/>
          </p:cNvSpPr>
          <p:nvPr/>
        </p:nvSpPr>
        <p:spPr>
          <a:xfrm>
            <a:off x="484976" y="2349648"/>
            <a:ext cx="8528849" cy="3733800"/>
          </a:xfrm>
          <a:prstGeom prst="rect">
            <a:avLst/>
          </a:prstGeom>
          <a:noFill/>
        </p:spPr>
        <p:txBody>
          <a:bodyPr vert="horz" lIns="0" tIns="36000" rIns="0" bIns="36000" rtlCol="0">
            <a:noAutofit/>
          </a:bodyPr>
          <a:lstStyle>
            <a:lvl1pPr marL="216000" indent="-216000" algn="l" defTabSz="390997" rtl="0" eaLnBrk="1" latinLnBrk="0" hangingPunct="1">
              <a:spcBef>
                <a:spcPts val="600"/>
              </a:spcBef>
              <a:buClr>
                <a:schemeClr val="tx1"/>
              </a:buClr>
              <a:buSzPct val="100000"/>
              <a:buFont typeface="Wingdings" panose="05000000000000000000" pitchFamily="2" charset="2"/>
              <a:buChar char=""/>
              <a:defRPr sz="1400" kern="1200" baseline="0">
                <a:solidFill>
                  <a:schemeClr val="tx1"/>
                </a:solidFill>
                <a:latin typeface="+mn-lt"/>
                <a:ea typeface="+mn-ea"/>
                <a:cs typeface="+mn-cs"/>
              </a:defRPr>
            </a:lvl1pPr>
            <a:lvl2pPr marL="432000" indent="-216000" algn="l" defTabSz="390997" rtl="0" eaLnBrk="1" latinLnBrk="0" hangingPunct="1">
              <a:spcBef>
                <a:spcPts val="600"/>
              </a:spcBef>
              <a:buClr>
                <a:schemeClr val="tx1"/>
              </a:buClr>
              <a:buSzPct val="100000"/>
              <a:buFont typeface="Wingdings 2" panose="05020102010507070707" pitchFamily="18" charset="2"/>
              <a:buChar char=""/>
              <a:defRPr sz="1400" kern="1200" baseline="0">
                <a:solidFill>
                  <a:schemeClr val="tx1"/>
                </a:solidFill>
                <a:latin typeface="+mn-lt"/>
                <a:ea typeface="+mn-ea"/>
                <a:cs typeface="+mn-cs"/>
              </a:defRPr>
            </a:lvl2pPr>
            <a:lvl3pPr marL="648000" indent="-216000" algn="l" defTabSz="390997" rtl="0" eaLnBrk="1" latinLnBrk="0" hangingPunct="1">
              <a:spcBef>
                <a:spcPts val="600"/>
              </a:spcBef>
              <a:buSzPct val="100000"/>
              <a:buFont typeface="Symbol" charset="2"/>
              <a:buChar char="-"/>
              <a:defRPr sz="1400" kern="1200">
                <a:solidFill>
                  <a:schemeClr val="tx1"/>
                </a:solidFill>
                <a:latin typeface="+mn-lt"/>
                <a:ea typeface="+mn-ea"/>
                <a:cs typeface="+mn-cs"/>
              </a:defRPr>
            </a:lvl3pPr>
            <a:lvl4pPr marL="864000" indent="-216000" algn="l" defTabSz="390997" rtl="0" eaLnBrk="1" latinLnBrk="0" hangingPunct="1">
              <a:spcBef>
                <a:spcPts val="600"/>
              </a:spcBef>
              <a:buSzPct val="80000"/>
              <a:buFont typeface="Symbol" charset="2"/>
              <a:buChar char="-"/>
              <a:defRPr sz="1400" kern="1200">
                <a:solidFill>
                  <a:schemeClr val="tx1"/>
                </a:solidFill>
                <a:latin typeface="+mn-lt"/>
                <a:ea typeface="+mn-ea"/>
                <a:cs typeface="+mn-cs"/>
              </a:defRPr>
            </a:lvl4pPr>
            <a:lvl5pPr marL="811339" indent="0" algn="l" defTabSz="390997" rtl="0" eaLnBrk="1" latinLnBrk="0" hangingPunct="1">
              <a:spcBef>
                <a:spcPct val="20000"/>
              </a:spcBef>
              <a:buSzPct val="100000"/>
              <a:buFontTx/>
              <a:buNone/>
              <a:defRPr sz="1500" kern="1200" baseline="0">
                <a:solidFill>
                  <a:schemeClr val="tx2"/>
                </a:solidFill>
                <a:latin typeface="+mn-lt"/>
                <a:ea typeface="+mn-ea"/>
                <a:cs typeface="+mn-cs"/>
              </a:defRPr>
            </a:lvl5pPr>
            <a:lvl6pPr marL="1019969" indent="0" algn="l" defTabSz="390997" rtl="0" eaLnBrk="1" latinLnBrk="0" hangingPunct="1">
              <a:spcBef>
                <a:spcPct val="20000"/>
              </a:spcBef>
              <a:buSzPct val="100000"/>
              <a:buFontTx/>
              <a:buNone/>
              <a:defRPr lang="de-DE" sz="1500" kern="1200" dirty="0" smtClean="0">
                <a:solidFill>
                  <a:schemeClr val="tx2"/>
                </a:solidFill>
                <a:latin typeface="+mn-lt"/>
                <a:ea typeface="+mn-ea"/>
                <a:cs typeface="+mn-cs"/>
              </a:defRPr>
            </a:lvl6pPr>
            <a:lvl7pPr marL="2541483" indent="-195499" algn="l" defTabSz="390997" rtl="0" eaLnBrk="1" latinLnBrk="0" hangingPunct="1">
              <a:spcBef>
                <a:spcPct val="20000"/>
              </a:spcBef>
              <a:buFont typeface="Arial"/>
              <a:buChar char="•"/>
              <a:defRPr sz="1710" kern="1200">
                <a:solidFill>
                  <a:schemeClr val="tx1"/>
                </a:solidFill>
                <a:latin typeface="+mn-lt"/>
                <a:ea typeface="+mn-ea"/>
                <a:cs typeface="+mn-cs"/>
              </a:defRPr>
            </a:lvl7pPr>
            <a:lvl8pPr marL="2932481" indent="-195499" algn="l" defTabSz="390997" rtl="0" eaLnBrk="1" latinLnBrk="0" hangingPunct="1">
              <a:spcBef>
                <a:spcPct val="20000"/>
              </a:spcBef>
              <a:buFont typeface="Arial"/>
              <a:buChar char="•"/>
              <a:defRPr sz="1710" kern="1200">
                <a:solidFill>
                  <a:schemeClr val="tx1"/>
                </a:solidFill>
                <a:latin typeface="+mn-lt"/>
                <a:ea typeface="+mn-ea"/>
                <a:cs typeface="+mn-cs"/>
              </a:defRPr>
            </a:lvl8pPr>
            <a:lvl9pPr marL="3323478" indent="-195499" algn="l" defTabSz="390997" rtl="0" eaLnBrk="1" latinLnBrk="0" hangingPunct="1">
              <a:spcBef>
                <a:spcPct val="20000"/>
              </a:spcBef>
              <a:buFont typeface="Arial"/>
              <a:buChar char="•"/>
              <a:defRPr sz="1710" kern="1200">
                <a:solidFill>
                  <a:schemeClr val="tx1"/>
                </a:solidFill>
                <a:latin typeface="+mn-lt"/>
                <a:ea typeface="+mn-ea"/>
                <a:cs typeface="+mn-cs"/>
              </a:defRPr>
            </a:lvl9pPr>
          </a:lstStyle>
          <a:p>
            <a:pPr marL="182563" indent="-182563">
              <a:spcBef>
                <a:spcPts val="300"/>
              </a:spcBef>
              <a:spcAft>
                <a:spcPts val="300"/>
              </a:spcAft>
              <a:buClr>
                <a:schemeClr val="accent3"/>
              </a:buClr>
              <a:buFont typeface="Wingdings" panose="05000000000000000000" pitchFamily="2" charset="2"/>
              <a:buChar char="§"/>
            </a:pPr>
            <a:r>
              <a:rPr lang="fr-FR" sz="2000" dirty="0">
                <a:solidFill>
                  <a:schemeClr val="tx2"/>
                </a:solidFill>
                <a:cs typeface="Arial"/>
              </a:rPr>
              <a:t>L’Etat a pour objectif d’accompagner  10.000 PME françaises sur 3 ans vers l’Industrie du Futur via les Régions.</a:t>
            </a:r>
          </a:p>
          <a:p>
            <a:pPr marL="182563" indent="-182563">
              <a:spcBef>
                <a:spcPts val="300"/>
              </a:spcBef>
              <a:spcAft>
                <a:spcPts val="300"/>
              </a:spcAft>
              <a:buClr>
                <a:schemeClr val="accent3"/>
              </a:buClr>
              <a:buFont typeface="Wingdings" panose="05000000000000000000" pitchFamily="2" charset="2"/>
              <a:buChar char="§"/>
            </a:pPr>
            <a:endParaRPr lang="fr-FR" sz="2000" dirty="0">
              <a:solidFill>
                <a:schemeClr val="tx2"/>
              </a:solidFill>
              <a:cs typeface="Arial"/>
            </a:endParaRPr>
          </a:p>
          <a:p>
            <a:pPr marL="182563" indent="-182563">
              <a:spcBef>
                <a:spcPts val="300"/>
              </a:spcBef>
              <a:spcAft>
                <a:spcPts val="300"/>
              </a:spcAft>
              <a:buClr>
                <a:schemeClr val="accent3"/>
              </a:buClr>
              <a:buFont typeface="Wingdings" panose="05000000000000000000" pitchFamily="2" charset="2"/>
              <a:buChar char="§"/>
            </a:pPr>
            <a:r>
              <a:rPr lang="fr-FR" sz="2000" dirty="0">
                <a:solidFill>
                  <a:schemeClr val="tx2"/>
                </a:solidFill>
                <a:cs typeface="Arial"/>
              </a:rPr>
              <a:t>La Région Occitanie fait du soutien à la modernisation, à l’attractivité, à la croissance et à la compétitivité des entreprises industrielles locales une de ses priorités. </a:t>
            </a:r>
          </a:p>
          <a:p>
            <a:pPr marL="182563" indent="-182563">
              <a:spcBef>
                <a:spcPts val="300"/>
              </a:spcBef>
              <a:spcAft>
                <a:spcPts val="300"/>
              </a:spcAft>
              <a:buClr>
                <a:schemeClr val="accent3"/>
              </a:buClr>
              <a:buFont typeface="Wingdings" panose="05000000000000000000" pitchFamily="2" charset="2"/>
              <a:buChar char="§"/>
            </a:pPr>
            <a:endParaRPr lang="fr-FR" sz="2000" dirty="0">
              <a:solidFill>
                <a:schemeClr val="tx2"/>
              </a:solidFill>
              <a:cs typeface="Arial"/>
            </a:endParaRPr>
          </a:p>
          <a:p>
            <a:pPr marL="182563" indent="-182563">
              <a:spcBef>
                <a:spcPts val="300"/>
              </a:spcBef>
              <a:spcAft>
                <a:spcPts val="300"/>
              </a:spcAft>
              <a:buClr>
                <a:schemeClr val="accent3"/>
              </a:buClr>
              <a:buFont typeface="Wingdings" panose="05000000000000000000" pitchFamily="2" charset="2"/>
              <a:buChar char="§"/>
            </a:pPr>
            <a:r>
              <a:rPr lang="fr-FR" sz="2000" dirty="0">
                <a:solidFill>
                  <a:schemeClr val="tx2"/>
                </a:solidFill>
                <a:cs typeface="Arial"/>
              </a:rPr>
              <a:t>A ce titre, elle s’est engagée à  soutenir d’ici 2022 400 TPE, PME et ETI industrielles dans le cadre d’un parcours d’accompagnement à la transformation vers l’Industrie du Futur.</a:t>
            </a:r>
          </a:p>
          <a:p>
            <a:pPr marL="182563" indent="-182563">
              <a:spcBef>
                <a:spcPts val="300"/>
              </a:spcBef>
              <a:spcAft>
                <a:spcPts val="300"/>
              </a:spcAft>
              <a:buClr>
                <a:schemeClr val="accent3"/>
              </a:buClr>
              <a:buFont typeface="Wingdings" panose="05000000000000000000" pitchFamily="2" charset="2"/>
              <a:buChar char="§"/>
            </a:pPr>
            <a:endParaRPr lang="fr-FR" sz="2000" dirty="0">
              <a:solidFill>
                <a:schemeClr val="tx2"/>
              </a:solidFill>
              <a:cs typeface="Arial"/>
            </a:endParaRPr>
          </a:p>
        </p:txBody>
      </p:sp>
      <p:sp>
        <p:nvSpPr>
          <p:cNvPr id="76" name="object 23">
            <a:extLst>
              <a:ext uri="{FF2B5EF4-FFF2-40B4-BE49-F238E27FC236}">
                <a16:creationId xmlns:a16="http://schemas.microsoft.com/office/drawing/2014/main" id="{C814FC66-0FEA-433D-B741-D7BB7BCE3D4D}"/>
              </a:ext>
            </a:extLst>
          </p:cNvPr>
          <p:cNvSpPr>
            <a:spLocks noChangeAspect="1"/>
          </p:cNvSpPr>
          <p:nvPr/>
        </p:nvSpPr>
        <p:spPr>
          <a:xfrm>
            <a:off x="1" y="-30480"/>
            <a:ext cx="484975" cy="1237344"/>
          </a:xfrm>
          <a:custGeom>
            <a:avLst/>
            <a:gdLst/>
            <a:ahLst/>
            <a:cxnLst/>
            <a:rect l="l" t="t" r="r" b="b"/>
            <a:pathLst>
              <a:path w="799465" h="1977389">
                <a:moveTo>
                  <a:pt x="798918" y="0"/>
                </a:moveTo>
                <a:lnTo>
                  <a:pt x="0" y="0"/>
                </a:lnTo>
                <a:lnTo>
                  <a:pt x="0" y="1977389"/>
                </a:lnTo>
                <a:lnTo>
                  <a:pt x="798918" y="0"/>
                </a:lnTo>
                <a:close/>
              </a:path>
            </a:pathLst>
          </a:custGeom>
          <a:solidFill>
            <a:schemeClr val="accent3"/>
          </a:solidFill>
        </p:spPr>
        <p:txBody>
          <a:bodyPr wrap="square" lIns="0" tIns="0" rIns="0" bIns="0" rtlCol="0"/>
          <a:lstStyle/>
          <a:p>
            <a:endParaRPr spc="100" baseline="0"/>
          </a:p>
        </p:txBody>
      </p:sp>
      <p:pic>
        <p:nvPicPr>
          <p:cNvPr id="8" name="Image 29">
            <a:extLst>
              <a:ext uri="{FF2B5EF4-FFF2-40B4-BE49-F238E27FC236}">
                <a16:creationId xmlns:a16="http://schemas.microsoft.com/office/drawing/2014/main" id="{BB52EC9A-A3C6-44F3-B176-C4ADCD88CAD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10800000">
            <a:off x="8331992" y="-10816"/>
            <a:ext cx="5123657" cy="7580015"/>
          </a:xfrm>
          <a:prstGeom prst="rect">
            <a:avLst/>
          </a:prstGeom>
        </p:spPr>
      </p:pic>
      <p:sp>
        <p:nvSpPr>
          <p:cNvPr id="4" name="Titre 3">
            <a:extLst>
              <a:ext uri="{FF2B5EF4-FFF2-40B4-BE49-F238E27FC236}">
                <a16:creationId xmlns:a16="http://schemas.microsoft.com/office/drawing/2014/main" id="{27E639DE-A83F-440F-9172-D1F5F54079D7}"/>
              </a:ext>
            </a:extLst>
          </p:cNvPr>
          <p:cNvSpPr>
            <a:spLocks noGrp="1"/>
          </p:cNvSpPr>
          <p:nvPr>
            <p:ph type="title"/>
          </p:nvPr>
        </p:nvSpPr>
        <p:spPr>
          <a:xfrm>
            <a:off x="609618" y="207108"/>
            <a:ext cx="12218110" cy="677108"/>
          </a:xfrm>
        </p:spPr>
        <p:txBody>
          <a:bodyPr/>
          <a:lstStyle/>
          <a:p>
            <a:r>
              <a:rPr lang="en-US" dirty="0" err="1"/>
              <a:t>Contexte</a:t>
            </a:r>
            <a:r>
              <a:rPr lang="en-US" dirty="0"/>
              <a:t> </a:t>
            </a:r>
            <a:br>
              <a:rPr lang="en-US" dirty="0"/>
            </a:br>
            <a:r>
              <a:rPr lang="fr-FR" dirty="0"/>
              <a:t>Le grand plan national « 10 000 PME vers l’industrie du futur ». </a:t>
            </a:r>
            <a:endParaRPr lang="en-US" dirty="0"/>
          </a:p>
        </p:txBody>
      </p:sp>
      <p:sp>
        <p:nvSpPr>
          <p:cNvPr id="5" name="Rectangle 4">
            <a:extLst>
              <a:ext uri="{FF2B5EF4-FFF2-40B4-BE49-F238E27FC236}">
                <a16:creationId xmlns:a16="http://schemas.microsoft.com/office/drawing/2014/main" id="{A14DC5C9-4F3A-4ABA-ACF8-BE85190527AB}"/>
              </a:ext>
            </a:extLst>
          </p:cNvPr>
          <p:cNvSpPr/>
          <p:nvPr/>
        </p:nvSpPr>
        <p:spPr>
          <a:xfrm>
            <a:off x="10233025" y="3251200"/>
            <a:ext cx="3048000" cy="1569660"/>
          </a:xfrm>
          <a:prstGeom prst="rect">
            <a:avLst/>
          </a:prstGeom>
        </p:spPr>
        <p:txBody>
          <a:bodyPr wrap="square">
            <a:spAutoFit/>
          </a:bodyPr>
          <a:lstStyle/>
          <a:p>
            <a:pPr>
              <a:spcBef>
                <a:spcPts val="300"/>
              </a:spcBef>
              <a:spcAft>
                <a:spcPts val="300"/>
              </a:spcAft>
              <a:buClr>
                <a:schemeClr val="accent3"/>
              </a:buClr>
            </a:pPr>
            <a:r>
              <a:rPr lang="fr-FR" sz="2400" dirty="0">
                <a:solidFill>
                  <a:schemeClr val="bg1"/>
                </a:solidFill>
                <a:cs typeface="Arial"/>
              </a:rPr>
              <a:t>La Région Occitanie a référencé </a:t>
            </a:r>
            <a:r>
              <a:rPr lang="fr-FR" sz="2400" dirty="0">
                <a:solidFill>
                  <a:schemeClr val="accent3"/>
                </a:solidFill>
                <a:cs typeface="Arial"/>
              </a:rPr>
              <a:t>CYLAD Consulting </a:t>
            </a:r>
            <a:r>
              <a:rPr lang="fr-FR" sz="2400" dirty="0">
                <a:solidFill>
                  <a:schemeClr val="bg1"/>
                </a:solidFill>
                <a:cs typeface="Arial"/>
              </a:rPr>
              <a:t>dans le cadre de ce parcours</a:t>
            </a:r>
          </a:p>
        </p:txBody>
      </p:sp>
    </p:spTree>
    <p:extLst>
      <p:ext uri="{BB962C8B-B14F-4D97-AF65-F5344CB8AC3E}">
        <p14:creationId xmlns:p14="http://schemas.microsoft.com/office/powerpoint/2010/main" val="927733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A58D52A3-2D0C-4F24-BA8F-C7F0FA5B8FE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540" name="Diapositive think-cell" r:id="rId5" imgW="473" imgH="470" progId="TCLayout.ActiveDocument.1">
                  <p:embed/>
                </p:oleObj>
              </mc:Choice>
              <mc:Fallback>
                <p:oleObj name="Diapositive think-cell" r:id="rId5" imgW="473" imgH="470" progId="TCLayout.ActiveDocument.1">
                  <p:embed/>
                  <p:pic>
                    <p:nvPicPr>
                      <p:cNvPr id="7" name="Objet 6" hidden="1">
                        <a:extLst>
                          <a:ext uri="{FF2B5EF4-FFF2-40B4-BE49-F238E27FC236}">
                            <a16:creationId xmlns:a16="http://schemas.microsoft.com/office/drawing/2014/main" id="{A58D52A3-2D0C-4F24-BA8F-C7F0FA5B8FE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2E98E7E-637C-4F38-89FD-B080A8090A43}"/>
              </a:ext>
            </a:extLst>
          </p:cNvPr>
          <p:cNvSpPr/>
          <p:nvPr>
            <p:custDataLst>
              <p:tags r:id="rId3"/>
            </p:custDataLst>
          </p:nvPr>
        </p:nvSpPr>
        <p:spPr>
          <a:xfrm>
            <a:off x="0" y="0"/>
            <a:ext cx="158750" cy="158750"/>
          </a:xfrm>
          <a:prstGeom prst="rect">
            <a:avLst/>
          </a:prstGeom>
          <a:solidFill>
            <a:schemeClr val="tx2"/>
          </a:solidFill>
        </p:spPr>
        <p:txBody>
          <a:bodyPr wrap="none" lIns="0" tIns="0" rIns="0" bIns="0" numCol="1" spcCol="0" rtlCol="0" anchor="ctr" anchorCtr="0">
            <a:noAutofit/>
          </a:bodyPr>
          <a:lstStyle/>
          <a:p>
            <a:pPr algn="ctr"/>
            <a:endParaRPr lang="fr-FR" sz="2200" b="1" dirty="0" err="1">
              <a:solidFill>
                <a:schemeClr val="bg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2" name="Titre 1">
            <a:extLst>
              <a:ext uri="{FF2B5EF4-FFF2-40B4-BE49-F238E27FC236}">
                <a16:creationId xmlns:a16="http://schemas.microsoft.com/office/drawing/2014/main" id="{96B99EC4-560E-4641-A169-13130ED3C032}"/>
              </a:ext>
            </a:extLst>
          </p:cNvPr>
          <p:cNvSpPr>
            <a:spLocks noGrp="1"/>
          </p:cNvSpPr>
          <p:nvPr>
            <p:ph type="title"/>
          </p:nvPr>
        </p:nvSpPr>
        <p:spPr/>
        <p:txBody>
          <a:bodyPr/>
          <a:lstStyle/>
          <a:p>
            <a:r>
              <a:rPr lang="fr-FR" dirty="0"/>
              <a:t>Quelques unes de nos références sur des projets similaires</a:t>
            </a:r>
          </a:p>
        </p:txBody>
      </p:sp>
      <p:sp>
        <p:nvSpPr>
          <p:cNvPr id="48" name="Rectangle 47">
            <a:extLst>
              <a:ext uri="{FF2B5EF4-FFF2-40B4-BE49-F238E27FC236}">
                <a16:creationId xmlns:a16="http://schemas.microsoft.com/office/drawing/2014/main" id="{B54E2621-457C-4296-9C4D-C6AE9FDAEA4E}"/>
              </a:ext>
            </a:extLst>
          </p:cNvPr>
          <p:cNvSpPr/>
          <p:nvPr/>
        </p:nvSpPr>
        <p:spPr bwMode="auto">
          <a:xfrm>
            <a:off x="308621" y="2549025"/>
            <a:ext cx="11764941" cy="320927"/>
          </a:xfrm>
          <a:prstGeom prst="rect">
            <a:avLst/>
          </a:prstGeom>
          <a:solidFill>
            <a:schemeClr val="bg1">
              <a:lumMod val="85000"/>
              <a:alpha val="47000"/>
            </a:schemeClr>
          </a:solidFill>
          <a:ln w="12700" cap="flat" cmpd="sng" algn="ctr">
            <a:noFill/>
            <a:prstDash val="solid"/>
            <a:round/>
            <a:headEnd type="none" w="med" len="med"/>
            <a:tailEnd type="none" w="med" len="med"/>
          </a:ln>
          <a:effectLst/>
        </p:spPr>
        <p:txBody>
          <a:bodyPr vert="horz" wrap="square" lIns="54000" tIns="0" rIns="0" bIns="0" numCol="1" rtlCol="0" anchor="ctr" anchorCtr="0" compatLnSpc="1">
            <a:prstTxWarp prst="textNoShape">
              <a:avLst/>
            </a:prstTxWarp>
          </a:bodyPr>
          <a:lstStyle/>
          <a:p>
            <a:pPr algn="ctr" defTabSz="391036">
              <a:buClr>
                <a:schemeClr val="bg1"/>
              </a:buClr>
              <a:buSzPct val="100000"/>
            </a:pPr>
            <a:endParaRPr lang="fr-FR" sz="1100" b="1" dirty="0">
              <a:solidFill>
                <a:schemeClr val="tx2"/>
              </a:solidFill>
              <a:highlight>
                <a:srgbClr val="FFFF00"/>
              </a:highlight>
            </a:endParaRPr>
          </a:p>
        </p:txBody>
      </p:sp>
      <p:sp>
        <p:nvSpPr>
          <p:cNvPr id="51" name="ListLeanHorizontalTextTopic2">
            <a:extLst>
              <a:ext uri="{FF2B5EF4-FFF2-40B4-BE49-F238E27FC236}">
                <a16:creationId xmlns:a16="http://schemas.microsoft.com/office/drawing/2014/main" id="{B0102A3C-3E83-49E1-8E34-2FE223A01FBA}"/>
              </a:ext>
            </a:extLst>
          </p:cNvPr>
          <p:cNvSpPr txBox="1">
            <a:spLocks/>
          </p:cNvSpPr>
          <p:nvPr/>
        </p:nvSpPr>
        <p:spPr>
          <a:xfrm rot="18917880">
            <a:off x="8607823" y="1547540"/>
            <a:ext cx="1557943" cy="138499"/>
          </a:xfrm>
          <a:prstGeom prst="rect">
            <a:avLst/>
          </a:prstGeom>
          <a:noFill/>
          <a:ln w="9525">
            <a:noFill/>
          </a:ln>
        </p:spPr>
        <p:txBody>
          <a:bodyPr vert="horz" wrap="square" lIns="0" tIns="0" rIns="0" bIns="0" rtlCol="0" anchor="t">
            <a:spAutoFit/>
          </a:bodyPr>
          <a:lstStyle/>
          <a:p>
            <a:pPr defTabSz="1043810">
              <a:lnSpc>
                <a:spcPct val="90000"/>
              </a:lnSpc>
              <a:buClr>
                <a:srgbClr val="000000"/>
              </a:buClr>
              <a:buSzPct val="100000"/>
            </a:pPr>
            <a:r>
              <a:rPr lang="fr-FR" sz="1000" b="1" dirty="0">
                <a:solidFill>
                  <a:srgbClr val="004B5A"/>
                </a:solidFill>
                <a:cs typeface="Arial" pitchFamily="34" charset="0"/>
              </a:rPr>
              <a:t>Performance industrielle</a:t>
            </a:r>
          </a:p>
        </p:txBody>
      </p:sp>
      <p:grpSp>
        <p:nvGrpSpPr>
          <p:cNvPr id="52" name="Groupe 70">
            <a:extLst>
              <a:ext uri="{FF2B5EF4-FFF2-40B4-BE49-F238E27FC236}">
                <a16:creationId xmlns:a16="http://schemas.microsoft.com/office/drawing/2014/main" id="{C6DE0A7C-524F-4934-B235-CB550A27F4C9}"/>
              </a:ext>
            </a:extLst>
          </p:cNvPr>
          <p:cNvGrpSpPr/>
          <p:nvPr/>
        </p:nvGrpSpPr>
        <p:grpSpPr>
          <a:xfrm>
            <a:off x="8855518" y="1871354"/>
            <a:ext cx="622228" cy="5626443"/>
            <a:chOff x="5824710" y="1645568"/>
            <a:chExt cx="622228" cy="5150217"/>
          </a:xfrm>
        </p:grpSpPr>
        <p:cxnSp>
          <p:nvCxnSpPr>
            <p:cNvPr id="53" name="Connecteur droit 71">
              <a:extLst>
                <a:ext uri="{FF2B5EF4-FFF2-40B4-BE49-F238E27FC236}">
                  <a16:creationId xmlns:a16="http://schemas.microsoft.com/office/drawing/2014/main" id="{E12DB70D-A133-4E99-84B1-5DED24C7C64A}"/>
                </a:ext>
              </a:extLst>
            </p:cNvPr>
            <p:cNvCxnSpPr>
              <a:cxnSpLocks/>
            </p:cNvCxnSpPr>
            <p:nvPr/>
          </p:nvCxnSpPr>
          <p:spPr bwMode="auto">
            <a:xfrm>
              <a:off x="5824710" y="2214560"/>
              <a:ext cx="0" cy="4581225"/>
            </a:xfrm>
            <a:prstGeom prst="line">
              <a:avLst/>
            </a:prstGeom>
            <a:solidFill>
              <a:schemeClr val="accent1"/>
            </a:solidFill>
            <a:ln w="9525" cap="flat" cmpd="sng" algn="ctr">
              <a:solidFill>
                <a:schemeClr val="accent1"/>
              </a:solidFill>
              <a:prstDash val="sysDot"/>
              <a:round/>
              <a:headEnd type="none" w="med" len="med"/>
              <a:tailEnd type="none" w="med" len="med"/>
            </a:ln>
            <a:effectLst/>
          </p:spPr>
        </p:cxnSp>
        <p:cxnSp>
          <p:nvCxnSpPr>
            <p:cNvPr id="54" name="Connecteur droit 72">
              <a:extLst>
                <a:ext uri="{FF2B5EF4-FFF2-40B4-BE49-F238E27FC236}">
                  <a16:creationId xmlns:a16="http://schemas.microsoft.com/office/drawing/2014/main" id="{05C0F274-FAED-43FC-BD56-399160B6F722}"/>
                </a:ext>
              </a:extLst>
            </p:cNvPr>
            <p:cNvCxnSpPr>
              <a:cxnSpLocks/>
            </p:cNvCxnSpPr>
            <p:nvPr/>
          </p:nvCxnSpPr>
          <p:spPr bwMode="auto">
            <a:xfrm flipV="1">
              <a:off x="5825150" y="1645568"/>
              <a:ext cx="621788" cy="551294"/>
            </a:xfrm>
            <a:prstGeom prst="line">
              <a:avLst/>
            </a:prstGeom>
            <a:solidFill>
              <a:schemeClr val="accent1"/>
            </a:solidFill>
            <a:ln w="9525" cap="flat" cmpd="sng" algn="ctr">
              <a:solidFill>
                <a:schemeClr val="accent1"/>
              </a:solidFill>
              <a:prstDash val="sysDot"/>
              <a:round/>
              <a:headEnd type="none" w="med" len="med"/>
              <a:tailEnd type="none" w="med" len="med"/>
            </a:ln>
            <a:effectLst/>
          </p:spPr>
        </p:cxnSp>
      </p:grpSp>
      <p:sp>
        <p:nvSpPr>
          <p:cNvPr id="55" name="ListLeanHorizontalTextTopic2">
            <a:extLst>
              <a:ext uri="{FF2B5EF4-FFF2-40B4-BE49-F238E27FC236}">
                <a16:creationId xmlns:a16="http://schemas.microsoft.com/office/drawing/2014/main" id="{B8AF47FF-4498-46CF-80E3-B3842656564A}"/>
              </a:ext>
            </a:extLst>
          </p:cNvPr>
          <p:cNvSpPr txBox="1">
            <a:spLocks/>
          </p:cNvSpPr>
          <p:nvPr/>
        </p:nvSpPr>
        <p:spPr>
          <a:xfrm rot="18929194">
            <a:off x="7883559" y="1476034"/>
            <a:ext cx="1935795" cy="415498"/>
          </a:xfrm>
          <a:prstGeom prst="rect">
            <a:avLst/>
          </a:prstGeom>
          <a:noFill/>
          <a:ln w="9525">
            <a:noFill/>
          </a:ln>
        </p:spPr>
        <p:txBody>
          <a:bodyPr vert="horz" wrap="square" lIns="0" tIns="0" rIns="0" bIns="0" rtlCol="0" anchor="t">
            <a:spAutoFit/>
          </a:bodyPr>
          <a:lstStyle/>
          <a:p>
            <a:pPr defTabSz="1043810">
              <a:lnSpc>
                <a:spcPct val="90000"/>
              </a:lnSpc>
              <a:buClr>
                <a:srgbClr val="000000"/>
              </a:buClr>
              <a:buSzPct val="100000"/>
            </a:pPr>
            <a:r>
              <a:rPr lang="fr-FR" sz="1000" b="1" dirty="0">
                <a:solidFill>
                  <a:srgbClr val="004B5A"/>
                </a:solidFill>
                <a:cs typeface="Arial" pitchFamily="34" charset="0"/>
              </a:rPr>
              <a:t>Intégration du numérique et des technologies de production avancées, place de la sûreté</a:t>
            </a:r>
          </a:p>
        </p:txBody>
      </p:sp>
      <p:grpSp>
        <p:nvGrpSpPr>
          <p:cNvPr id="56" name="Groupe 32">
            <a:extLst>
              <a:ext uri="{FF2B5EF4-FFF2-40B4-BE49-F238E27FC236}">
                <a16:creationId xmlns:a16="http://schemas.microsoft.com/office/drawing/2014/main" id="{0762107D-D320-4D6E-B17A-9FC9DC0A9DA3}"/>
              </a:ext>
            </a:extLst>
          </p:cNvPr>
          <p:cNvGrpSpPr/>
          <p:nvPr/>
        </p:nvGrpSpPr>
        <p:grpSpPr>
          <a:xfrm>
            <a:off x="8130370" y="1871354"/>
            <a:ext cx="622228" cy="5626443"/>
            <a:chOff x="5824710" y="1645568"/>
            <a:chExt cx="622228" cy="5150217"/>
          </a:xfrm>
        </p:grpSpPr>
        <p:cxnSp>
          <p:nvCxnSpPr>
            <p:cNvPr id="57" name="Connecteur droit 52">
              <a:extLst>
                <a:ext uri="{FF2B5EF4-FFF2-40B4-BE49-F238E27FC236}">
                  <a16:creationId xmlns:a16="http://schemas.microsoft.com/office/drawing/2014/main" id="{6EBCD83F-AD50-4399-9EC0-F43A4231EEB8}"/>
                </a:ext>
              </a:extLst>
            </p:cNvPr>
            <p:cNvCxnSpPr>
              <a:cxnSpLocks/>
            </p:cNvCxnSpPr>
            <p:nvPr/>
          </p:nvCxnSpPr>
          <p:spPr bwMode="auto">
            <a:xfrm>
              <a:off x="5824710" y="2214560"/>
              <a:ext cx="0" cy="4581225"/>
            </a:xfrm>
            <a:prstGeom prst="line">
              <a:avLst/>
            </a:prstGeom>
            <a:solidFill>
              <a:schemeClr val="accent1"/>
            </a:solidFill>
            <a:ln w="9525" cap="flat" cmpd="sng" algn="ctr">
              <a:solidFill>
                <a:schemeClr val="accent1"/>
              </a:solidFill>
              <a:prstDash val="sysDot"/>
              <a:round/>
              <a:headEnd type="none" w="med" len="med"/>
              <a:tailEnd type="none" w="med" len="med"/>
            </a:ln>
            <a:effectLst/>
          </p:spPr>
        </p:cxnSp>
        <p:cxnSp>
          <p:nvCxnSpPr>
            <p:cNvPr id="58" name="Connecteur droit 57">
              <a:extLst>
                <a:ext uri="{FF2B5EF4-FFF2-40B4-BE49-F238E27FC236}">
                  <a16:creationId xmlns:a16="http://schemas.microsoft.com/office/drawing/2014/main" id="{3AEAF4ED-831B-484F-884E-8D265AF8AD3A}"/>
                </a:ext>
              </a:extLst>
            </p:cNvPr>
            <p:cNvCxnSpPr>
              <a:cxnSpLocks/>
            </p:cNvCxnSpPr>
            <p:nvPr/>
          </p:nvCxnSpPr>
          <p:spPr bwMode="auto">
            <a:xfrm flipV="1">
              <a:off x="5825150" y="1645568"/>
              <a:ext cx="621788" cy="551294"/>
            </a:xfrm>
            <a:prstGeom prst="line">
              <a:avLst/>
            </a:prstGeom>
            <a:solidFill>
              <a:schemeClr val="accent1"/>
            </a:solidFill>
            <a:ln w="9525" cap="flat" cmpd="sng" algn="ctr">
              <a:solidFill>
                <a:schemeClr val="accent1"/>
              </a:solidFill>
              <a:prstDash val="sysDot"/>
              <a:round/>
              <a:headEnd type="none" w="med" len="med"/>
              <a:tailEnd type="none" w="med" len="med"/>
            </a:ln>
            <a:effectLst/>
          </p:spPr>
        </p:cxnSp>
      </p:grpSp>
      <p:sp>
        <p:nvSpPr>
          <p:cNvPr id="59" name="ListLeanHorizontalTextTopic2">
            <a:extLst>
              <a:ext uri="{FF2B5EF4-FFF2-40B4-BE49-F238E27FC236}">
                <a16:creationId xmlns:a16="http://schemas.microsoft.com/office/drawing/2014/main" id="{CBAD4E8B-35AD-45DB-AAF6-382F8428B7C7}"/>
              </a:ext>
            </a:extLst>
          </p:cNvPr>
          <p:cNvSpPr txBox="1">
            <a:spLocks/>
          </p:cNvSpPr>
          <p:nvPr/>
        </p:nvSpPr>
        <p:spPr>
          <a:xfrm rot="18960641">
            <a:off x="10847772" y="1469487"/>
            <a:ext cx="1876374" cy="415498"/>
          </a:xfrm>
          <a:prstGeom prst="rect">
            <a:avLst/>
          </a:prstGeom>
          <a:noFill/>
          <a:ln w="9525">
            <a:noFill/>
          </a:ln>
        </p:spPr>
        <p:txBody>
          <a:bodyPr vert="horz" wrap="square" lIns="0" tIns="0" rIns="0" bIns="0" rtlCol="0" anchor="t">
            <a:spAutoFit/>
          </a:bodyPr>
          <a:lstStyle/>
          <a:p>
            <a:pPr defTabSz="1043810">
              <a:lnSpc>
                <a:spcPct val="90000"/>
              </a:lnSpc>
              <a:buClr>
                <a:srgbClr val="000000"/>
              </a:buClr>
              <a:buSzPct val="100000"/>
            </a:pPr>
            <a:r>
              <a:rPr lang="fr-FR" sz="1000" b="1" dirty="0">
                <a:solidFill>
                  <a:srgbClr val="004B5A"/>
                </a:solidFill>
                <a:cs typeface="Arial" pitchFamily="34" charset="0"/>
              </a:rPr>
              <a:t>Accompagnement humain, acceptabilité du changement, valorisation des salariés, etc.</a:t>
            </a:r>
          </a:p>
        </p:txBody>
      </p:sp>
      <p:grpSp>
        <p:nvGrpSpPr>
          <p:cNvPr id="60" name="Groupe 82">
            <a:extLst>
              <a:ext uri="{FF2B5EF4-FFF2-40B4-BE49-F238E27FC236}">
                <a16:creationId xmlns:a16="http://schemas.microsoft.com/office/drawing/2014/main" id="{CC5BB15E-B742-41B4-ABB2-6B88CAA4C629}"/>
              </a:ext>
            </a:extLst>
          </p:cNvPr>
          <p:cNvGrpSpPr/>
          <p:nvPr/>
        </p:nvGrpSpPr>
        <p:grpSpPr>
          <a:xfrm>
            <a:off x="11108272" y="1871354"/>
            <a:ext cx="622228" cy="5626443"/>
            <a:chOff x="5824710" y="1645568"/>
            <a:chExt cx="622228" cy="5150217"/>
          </a:xfrm>
        </p:grpSpPr>
        <p:cxnSp>
          <p:nvCxnSpPr>
            <p:cNvPr id="61" name="Connecteur droit 83">
              <a:extLst>
                <a:ext uri="{FF2B5EF4-FFF2-40B4-BE49-F238E27FC236}">
                  <a16:creationId xmlns:a16="http://schemas.microsoft.com/office/drawing/2014/main" id="{9B640728-A1B0-456F-B397-D37D9289BF65}"/>
                </a:ext>
              </a:extLst>
            </p:cNvPr>
            <p:cNvCxnSpPr>
              <a:cxnSpLocks/>
            </p:cNvCxnSpPr>
            <p:nvPr/>
          </p:nvCxnSpPr>
          <p:spPr bwMode="auto">
            <a:xfrm>
              <a:off x="5824710" y="2214560"/>
              <a:ext cx="0" cy="4581225"/>
            </a:xfrm>
            <a:prstGeom prst="line">
              <a:avLst/>
            </a:prstGeom>
            <a:solidFill>
              <a:schemeClr val="accent1"/>
            </a:solidFill>
            <a:ln w="9525" cap="flat" cmpd="sng" algn="ctr">
              <a:solidFill>
                <a:schemeClr val="accent1"/>
              </a:solidFill>
              <a:prstDash val="sysDot"/>
              <a:round/>
              <a:headEnd type="none" w="med" len="med"/>
              <a:tailEnd type="none" w="med" len="med"/>
            </a:ln>
            <a:effectLst/>
          </p:spPr>
        </p:cxnSp>
        <p:cxnSp>
          <p:nvCxnSpPr>
            <p:cNvPr id="62" name="Connecteur droit 84">
              <a:extLst>
                <a:ext uri="{FF2B5EF4-FFF2-40B4-BE49-F238E27FC236}">
                  <a16:creationId xmlns:a16="http://schemas.microsoft.com/office/drawing/2014/main" id="{D894C0D7-9AEF-4B4D-807E-158D878E5A30}"/>
                </a:ext>
              </a:extLst>
            </p:cNvPr>
            <p:cNvCxnSpPr>
              <a:cxnSpLocks/>
            </p:cNvCxnSpPr>
            <p:nvPr/>
          </p:nvCxnSpPr>
          <p:spPr bwMode="auto">
            <a:xfrm flipV="1">
              <a:off x="5825150" y="1645568"/>
              <a:ext cx="621788" cy="551294"/>
            </a:xfrm>
            <a:prstGeom prst="line">
              <a:avLst/>
            </a:prstGeom>
            <a:solidFill>
              <a:schemeClr val="accent1"/>
            </a:solidFill>
            <a:ln w="9525" cap="flat" cmpd="sng" algn="ctr">
              <a:solidFill>
                <a:schemeClr val="accent1"/>
              </a:solidFill>
              <a:prstDash val="sysDot"/>
              <a:round/>
              <a:headEnd type="none" w="med" len="med"/>
              <a:tailEnd type="none" w="med" len="med"/>
            </a:ln>
            <a:effectLst/>
          </p:spPr>
        </p:cxnSp>
      </p:grpSp>
      <p:sp>
        <p:nvSpPr>
          <p:cNvPr id="63" name="ListLeanHorizontalTextTopic2">
            <a:extLst>
              <a:ext uri="{FF2B5EF4-FFF2-40B4-BE49-F238E27FC236}">
                <a16:creationId xmlns:a16="http://schemas.microsoft.com/office/drawing/2014/main" id="{67EDDB06-7989-438F-B626-68A92A020F09}"/>
              </a:ext>
            </a:extLst>
          </p:cNvPr>
          <p:cNvSpPr txBox="1">
            <a:spLocks/>
          </p:cNvSpPr>
          <p:nvPr/>
        </p:nvSpPr>
        <p:spPr>
          <a:xfrm rot="18886600">
            <a:off x="9173986" y="1413787"/>
            <a:ext cx="2046004" cy="415498"/>
          </a:xfrm>
          <a:prstGeom prst="rect">
            <a:avLst/>
          </a:prstGeom>
          <a:noFill/>
          <a:ln w="9525">
            <a:noFill/>
          </a:ln>
        </p:spPr>
        <p:txBody>
          <a:bodyPr vert="horz" wrap="square" lIns="0" tIns="0" rIns="0" bIns="0" rtlCol="0" anchor="t">
            <a:spAutoFit/>
          </a:bodyPr>
          <a:lstStyle/>
          <a:p>
            <a:pPr defTabSz="1043810">
              <a:lnSpc>
                <a:spcPct val="90000"/>
              </a:lnSpc>
              <a:buClr>
                <a:srgbClr val="000000"/>
              </a:buClr>
              <a:buSzPct val="100000"/>
            </a:pPr>
            <a:r>
              <a:rPr lang="fr-FR" sz="1000" b="1" dirty="0">
                <a:solidFill>
                  <a:srgbClr val="004B5A"/>
                </a:solidFill>
                <a:cs typeface="Arial" pitchFamily="34" charset="0"/>
              </a:rPr>
              <a:t>Performance organisationnelle, qualité, prise en compte de l’entreprise étendue</a:t>
            </a:r>
          </a:p>
        </p:txBody>
      </p:sp>
      <p:grpSp>
        <p:nvGrpSpPr>
          <p:cNvPr id="64" name="Groupe 73">
            <a:extLst>
              <a:ext uri="{FF2B5EF4-FFF2-40B4-BE49-F238E27FC236}">
                <a16:creationId xmlns:a16="http://schemas.microsoft.com/office/drawing/2014/main" id="{162D3BF8-E638-4501-9BBD-812C909EEB74}"/>
              </a:ext>
            </a:extLst>
          </p:cNvPr>
          <p:cNvGrpSpPr/>
          <p:nvPr/>
        </p:nvGrpSpPr>
        <p:grpSpPr>
          <a:xfrm>
            <a:off x="9598595" y="1871354"/>
            <a:ext cx="622228" cy="5626443"/>
            <a:chOff x="5824710" y="1645568"/>
            <a:chExt cx="622228" cy="5150217"/>
          </a:xfrm>
        </p:grpSpPr>
        <p:cxnSp>
          <p:nvCxnSpPr>
            <p:cNvPr id="68" name="Connecteur droit 74">
              <a:extLst>
                <a:ext uri="{FF2B5EF4-FFF2-40B4-BE49-F238E27FC236}">
                  <a16:creationId xmlns:a16="http://schemas.microsoft.com/office/drawing/2014/main" id="{16E3A9DE-D23A-4D95-B773-6AB82D105B1D}"/>
                </a:ext>
              </a:extLst>
            </p:cNvPr>
            <p:cNvCxnSpPr>
              <a:cxnSpLocks/>
            </p:cNvCxnSpPr>
            <p:nvPr/>
          </p:nvCxnSpPr>
          <p:spPr bwMode="auto">
            <a:xfrm>
              <a:off x="5824710" y="2214560"/>
              <a:ext cx="0" cy="4581225"/>
            </a:xfrm>
            <a:prstGeom prst="line">
              <a:avLst/>
            </a:prstGeom>
            <a:solidFill>
              <a:schemeClr val="accent1"/>
            </a:solidFill>
            <a:ln w="9525" cap="flat" cmpd="sng" algn="ctr">
              <a:solidFill>
                <a:schemeClr val="accent1"/>
              </a:solidFill>
              <a:prstDash val="sysDot"/>
              <a:round/>
              <a:headEnd type="none" w="med" len="med"/>
              <a:tailEnd type="none" w="med" len="med"/>
            </a:ln>
            <a:effectLst/>
          </p:spPr>
        </p:cxnSp>
        <p:cxnSp>
          <p:nvCxnSpPr>
            <p:cNvPr id="69" name="Connecteur droit 75">
              <a:extLst>
                <a:ext uri="{FF2B5EF4-FFF2-40B4-BE49-F238E27FC236}">
                  <a16:creationId xmlns:a16="http://schemas.microsoft.com/office/drawing/2014/main" id="{ADF3027F-EF1D-4174-8EB8-B52FAB43BDAA}"/>
                </a:ext>
              </a:extLst>
            </p:cNvPr>
            <p:cNvCxnSpPr>
              <a:cxnSpLocks/>
            </p:cNvCxnSpPr>
            <p:nvPr/>
          </p:nvCxnSpPr>
          <p:spPr bwMode="auto">
            <a:xfrm flipV="1">
              <a:off x="5825150" y="1645568"/>
              <a:ext cx="621788" cy="551294"/>
            </a:xfrm>
            <a:prstGeom prst="line">
              <a:avLst/>
            </a:prstGeom>
            <a:solidFill>
              <a:schemeClr val="accent1"/>
            </a:solidFill>
            <a:ln w="9525" cap="flat" cmpd="sng" algn="ctr">
              <a:solidFill>
                <a:schemeClr val="accent1"/>
              </a:solidFill>
              <a:prstDash val="sysDot"/>
              <a:round/>
              <a:headEnd type="none" w="med" len="med"/>
              <a:tailEnd type="none" w="med" len="med"/>
            </a:ln>
            <a:effectLst/>
          </p:spPr>
        </p:cxnSp>
      </p:grpSp>
      <p:sp>
        <p:nvSpPr>
          <p:cNvPr id="70" name="ListLeanHorizontalTextTopic2">
            <a:extLst>
              <a:ext uri="{FF2B5EF4-FFF2-40B4-BE49-F238E27FC236}">
                <a16:creationId xmlns:a16="http://schemas.microsoft.com/office/drawing/2014/main" id="{948D9661-927F-4511-B71D-8E2B5734F6A7}"/>
              </a:ext>
            </a:extLst>
          </p:cNvPr>
          <p:cNvSpPr txBox="1">
            <a:spLocks/>
          </p:cNvSpPr>
          <p:nvPr/>
        </p:nvSpPr>
        <p:spPr>
          <a:xfrm rot="18950600">
            <a:off x="10125184" y="1286523"/>
            <a:ext cx="1747358" cy="415498"/>
          </a:xfrm>
          <a:prstGeom prst="rect">
            <a:avLst/>
          </a:prstGeom>
          <a:noFill/>
          <a:ln w="9525">
            <a:noFill/>
          </a:ln>
        </p:spPr>
        <p:txBody>
          <a:bodyPr vert="horz" wrap="square" lIns="0" tIns="0" rIns="0" bIns="0" rtlCol="0" anchor="t">
            <a:spAutoFit/>
          </a:bodyPr>
          <a:lstStyle/>
          <a:p>
            <a:pPr defTabSz="1043810">
              <a:lnSpc>
                <a:spcPct val="90000"/>
              </a:lnSpc>
              <a:buClr>
                <a:srgbClr val="000000"/>
              </a:buClr>
              <a:buSzPct val="100000"/>
            </a:pPr>
            <a:r>
              <a:rPr lang="fr-FR" sz="1000" b="1" dirty="0">
                <a:solidFill>
                  <a:srgbClr val="004B5A"/>
                </a:solidFill>
                <a:cs typeface="Arial" pitchFamily="34" charset="0"/>
              </a:rPr>
              <a:t>Réduction de l’empreinte environnementale et économies d’énergie</a:t>
            </a:r>
          </a:p>
        </p:txBody>
      </p:sp>
      <p:grpSp>
        <p:nvGrpSpPr>
          <p:cNvPr id="71" name="Groupe 76">
            <a:extLst>
              <a:ext uri="{FF2B5EF4-FFF2-40B4-BE49-F238E27FC236}">
                <a16:creationId xmlns:a16="http://schemas.microsoft.com/office/drawing/2014/main" id="{C887DB75-8AC2-42A5-B7CD-53BFFB64B737}"/>
              </a:ext>
            </a:extLst>
          </p:cNvPr>
          <p:cNvGrpSpPr/>
          <p:nvPr/>
        </p:nvGrpSpPr>
        <p:grpSpPr>
          <a:xfrm>
            <a:off x="10350591" y="1871354"/>
            <a:ext cx="622228" cy="5626443"/>
            <a:chOff x="5824710" y="1645568"/>
            <a:chExt cx="622228" cy="5150217"/>
          </a:xfrm>
        </p:grpSpPr>
        <p:cxnSp>
          <p:nvCxnSpPr>
            <p:cNvPr id="85" name="Connecteur droit 77">
              <a:extLst>
                <a:ext uri="{FF2B5EF4-FFF2-40B4-BE49-F238E27FC236}">
                  <a16:creationId xmlns:a16="http://schemas.microsoft.com/office/drawing/2014/main" id="{AC42BF63-5244-4B41-A678-351CC798EF42}"/>
                </a:ext>
              </a:extLst>
            </p:cNvPr>
            <p:cNvCxnSpPr>
              <a:cxnSpLocks/>
            </p:cNvCxnSpPr>
            <p:nvPr/>
          </p:nvCxnSpPr>
          <p:spPr bwMode="auto">
            <a:xfrm>
              <a:off x="5824710" y="2214560"/>
              <a:ext cx="0" cy="4581225"/>
            </a:xfrm>
            <a:prstGeom prst="line">
              <a:avLst/>
            </a:prstGeom>
            <a:solidFill>
              <a:schemeClr val="accent1"/>
            </a:solidFill>
            <a:ln w="9525" cap="flat" cmpd="sng" algn="ctr">
              <a:solidFill>
                <a:schemeClr val="accent1"/>
              </a:solidFill>
              <a:prstDash val="sysDot"/>
              <a:round/>
              <a:headEnd type="none" w="med" len="med"/>
              <a:tailEnd type="none" w="med" len="med"/>
            </a:ln>
            <a:effectLst/>
          </p:spPr>
        </p:cxnSp>
        <p:cxnSp>
          <p:nvCxnSpPr>
            <p:cNvPr id="86" name="Connecteur droit 78">
              <a:extLst>
                <a:ext uri="{FF2B5EF4-FFF2-40B4-BE49-F238E27FC236}">
                  <a16:creationId xmlns:a16="http://schemas.microsoft.com/office/drawing/2014/main" id="{4B748426-59AA-48DD-BDD5-F0EC5299F8E1}"/>
                </a:ext>
              </a:extLst>
            </p:cNvPr>
            <p:cNvCxnSpPr>
              <a:cxnSpLocks/>
            </p:cNvCxnSpPr>
            <p:nvPr/>
          </p:nvCxnSpPr>
          <p:spPr bwMode="auto">
            <a:xfrm flipV="1">
              <a:off x="5825150" y="1645568"/>
              <a:ext cx="621788" cy="551294"/>
            </a:xfrm>
            <a:prstGeom prst="line">
              <a:avLst/>
            </a:prstGeom>
            <a:solidFill>
              <a:schemeClr val="accent1"/>
            </a:solidFill>
            <a:ln w="9525" cap="flat" cmpd="sng" algn="ctr">
              <a:solidFill>
                <a:schemeClr val="accent1"/>
              </a:solidFill>
              <a:prstDash val="sysDot"/>
              <a:round/>
              <a:headEnd type="none" w="med" len="med"/>
              <a:tailEnd type="none" w="med" len="med"/>
            </a:ln>
            <a:effectLst/>
          </p:spPr>
        </p:cxnSp>
      </p:grpSp>
      <p:sp>
        <p:nvSpPr>
          <p:cNvPr id="87" name="ListLeanHorizontalTextTopic2">
            <a:extLst>
              <a:ext uri="{FF2B5EF4-FFF2-40B4-BE49-F238E27FC236}">
                <a16:creationId xmlns:a16="http://schemas.microsoft.com/office/drawing/2014/main" id="{ECAA86C4-7728-4C90-AA52-3DBDD51E96E3}"/>
              </a:ext>
            </a:extLst>
          </p:cNvPr>
          <p:cNvSpPr txBox="1">
            <a:spLocks/>
          </p:cNvSpPr>
          <p:nvPr/>
        </p:nvSpPr>
        <p:spPr>
          <a:xfrm rot="18960641">
            <a:off x="11586397" y="1538813"/>
            <a:ext cx="1561449" cy="276999"/>
          </a:xfrm>
          <a:prstGeom prst="rect">
            <a:avLst/>
          </a:prstGeom>
          <a:noFill/>
          <a:ln w="9525">
            <a:noFill/>
          </a:ln>
        </p:spPr>
        <p:txBody>
          <a:bodyPr vert="horz" wrap="square" lIns="0" tIns="0" rIns="0" bIns="0" rtlCol="0" anchor="t">
            <a:spAutoFit/>
          </a:bodyPr>
          <a:lstStyle/>
          <a:p>
            <a:pPr defTabSz="1043810">
              <a:lnSpc>
                <a:spcPct val="90000"/>
              </a:lnSpc>
              <a:buClr>
                <a:srgbClr val="000000"/>
              </a:buClr>
              <a:buSzPct val="100000"/>
            </a:pPr>
            <a:r>
              <a:rPr lang="fr-FR" sz="1000" b="1" dirty="0">
                <a:solidFill>
                  <a:srgbClr val="004B5A"/>
                </a:solidFill>
                <a:cs typeface="Arial" pitchFamily="34" charset="0"/>
              </a:rPr>
              <a:t>Performance économique et nouveaux modèles</a:t>
            </a:r>
          </a:p>
        </p:txBody>
      </p:sp>
      <p:grpSp>
        <p:nvGrpSpPr>
          <p:cNvPr id="88" name="Groupe 82">
            <a:extLst>
              <a:ext uri="{FF2B5EF4-FFF2-40B4-BE49-F238E27FC236}">
                <a16:creationId xmlns:a16="http://schemas.microsoft.com/office/drawing/2014/main" id="{9B4389DD-0C3A-4A67-8365-700A6BF54FBF}"/>
              </a:ext>
            </a:extLst>
          </p:cNvPr>
          <p:cNvGrpSpPr/>
          <p:nvPr/>
        </p:nvGrpSpPr>
        <p:grpSpPr>
          <a:xfrm>
            <a:off x="11863462" y="1871354"/>
            <a:ext cx="622228" cy="5626443"/>
            <a:chOff x="5824710" y="1645568"/>
            <a:chExt cx="622228" cy="5150217"/>
          </a:xfrm>
        </p:grpSpPr>
        <p:cxnSp>
          <p:nvCxnSpPr>
            <p:cNvPr id="89" name="Connecteur droit 83">
              <a:extLst>
                <a:ext uri="{FF2B5EF4-FFF2-40B4-BE49-F238E27FC236}">
                  <a16:creationId xmlns:a16="http://schemas.microsoft.com/office/drawing/2014/main" id="{B9008B58-CF7C-48E9-A0BA-FCE83AF9D03A}"/>
                </a:ext>
              </a:extLst>
            </p:cNvPr>
            <p:cNvCxnSpPr>
              <a:cxnSpLocks/>
            </p:cNvCxnSpPr>
            <p:nvPr/>
          </p:nvCxnSpPr>
          <p:spPr bwMode="auto">
            <a:xfrm>
              <a:off x="5824710" y="2214560"/>
              <a:ext cx="0" cy="4581225"/>
            </a:xfrm>
            <a:prstGeom prst="line">
              <a:avLst/>
            </a:prstGeom>
            <a:solidFill>
              <a:schemeClr val="accent1"/>
            </a:solidFill>
            <a:ln w="9525" cap="flat" cmpd="sng" algn="ctr">
              <a:solidFill>
                <a:schemeClr val="accent1"/>
              </a:solidFill>
              <a:prstDash val="sysDot"/>
              <a:round/>
              <a:headEnd type="none" w="med" len="med"/>
              <a:tailEnd type="none" w="med" len="med"/>
            </a:ln>
            <a:effectLst/>
          </p:spPr>
        </p:cxnSp>
        <p:cxnSp>
          <p:nvCxnSpPr>
            <p:cNvPr id="90" name="Connecteur droit 84">
              <a:extLst>
                <a:ext uri="{FF2B5EF4-FFF2-40B4-BE49-F238E27FC236}">
                  <a16:creationId xmlns:a16="http://schemas.microsoft.com/office/drawing/2014/main" id="{E2A9ED23-5ACC-48DF-85FE-3D6C4F57ADDC}"/>
                </a:ext>
              </a:extLst>
            </p:cNvPr>
            <p:cNvCxnSpPr>
              <a:cxnSpLocks/>
            </p:cNvCxnSpPr>
            <p:nvPr/>
          </p:nvCxnSpPr>
          <p:spPr bwMode="auto">
            <a:xfrm flipV="1">
              <a:off x="5825150" y="1645568"/>
              <a:ext cx="621788" cy="551294"/>
            </a:xfrm>
            <a:prstGeom prst="line">
              <a:avLst/>
            </a:prstGeom>
            <a:solidFill>
              <a:schemeClr val="accent1"/>
            </a:solidFill>
            <a:ln w="9525" cap="flat" cmpd="sng" algn="ctr">
              <a:solidFill>
                <a:schemeClr val="accent1"/>
              </a:solidFill>
              <a:prstDash val="sysDot"/>
              <a:round/>
              <a:headEnd type="none" w="med" len="med"/>
              <a:tailEnd type="none" w="med" len="med"/>
            </a:ln>
            <a:effectLst/>
          </p:spPr>
        </p:cxnSp>
      </p:grpSp>
      <p:sp>
        <p:nvSpPr>
          <p:cNvPr id="91" name="ListLeanHorizontalTextTopic2">
            <a:extLst>
              <a:ext uri="{FF2B5EF4-FFF2-40B4-BE49-F238E27FC236}">
                <a16:creationId xmlns:a16="http://schemas.microsoft.com/office/drawing/2014/main" id="{D2A1CCC9-20B9-44FA-BEB9-4FF4552D5961}"/>
              </a:ext>
            </a:extLst>
          </p:cNvPr>
          <p:cNvSpPr txBox="1">
            <a:spLocks/>
          </p:cNvSpPr>
          <p:nvPr/>
        </p:nvSpPr>
        <p:spPr>
          <a:xfrm rot="18929194">
            <a:off x="7199268" y="1503619"/>
            <a:ext cx="1573177" cy="276999"/>
          </a:xfrm>
          <a:prstGeom prst="rect">
            <a:avLst/>
          </a:prstGeom>
          <a:noFill/>
          <a:ln w="9525">
            <a:noFill/>
          </a:ln>
        </p:spPr>
        <p:txBody>
          <a:bodyPr vert="horz" wrap="square" lIns="0" tIns="0" rIns="0" bIns="0" rtlCol="0" anchor="t">
            <a:spAutoFit/>
          </a:bodyPr>
          <a:lstStyle/>
          <a:p>
            <a:pPr defTabSz="1043810">
              <a:lnSpc>
                <a:spcPct val="90000"/>
              </a:lnSpc>
              <a:buClr>
                <a:srgbClr val="000000"/>
              </a:buClr>
              <a:buSzPct val="100000"/>
            </a:pPr>
            <a:r>
              <a:rPr lang="fr-FR" sz="1000" b="1" dirty="0">
                <a:solidFill>
                  <a:srgbClr val="004B5A"/>
                </a:solidFill>
                <a:cs typeface="Arial" pitchFamily="34" charset="0"/>
              </a:rPr>
              <a:t>Vision et stratégie du dirigeant</a:t>
            </a:r>
          </a:p>
        </p:txBody>
      </p:sp>
      <p:grpSp>
        <p:nvGrpSpPr>
          <p:cNvPr id="92" name="Groupe 32">
            <a:extLst>
              <a:ext uri="{FF2B5EF4-FFF2-40B4-BE49-F238E27FC236}">
                <a16:creationId xmlns:a16="http://schemas.microsoft.com/office/drawing/2014/main" id="{8443177E-E9F6-4B19-B187-6DA79967A86A}"/>
              </a:ext>
            </a:extLst>
          </p:cNvPr>
          <p:cNvGrpSpPr/>
          <p:nvPr/>
        </p:nvGrpSpPr>
        <p:grpSpPr>
          <a:xfrm>
            <a:off x="7394059" y="1871354"/>
            <a:ext cx="622228" cy="5626443"/>
            <a:chOff x="5824710" y="1645568"/>
            <a:chExt cx="622228" cy="5150217"/>
          </a:xfrm>
        </p:grpSpPr>
        <p:cxnSp>
          <p:nvCxnSpPr>
            <p:cNvPr id="93" name="Connecteur droit 52">
              <a:extLst>
                <a:ext uri="{FF2B5EF4-FFF2-40B4-BE49-F238E27FC236}">
                  <a16:creationId xmlns:a16="http://schemas.microsoft.com/office/drawing/2014/main" id="{6BCAD02C-04AF-4D3C-840E-E50009327397}"/>
                </a:ext>
              </a:extLst>
            </p:cNvPr>
            <p:cNvCxnSpPr>
              <a:cxnSpLocks/>
            </p:cNvCxnSpPr>
            <p:nvPr/>
          </p:nvCxnSpPr>
          <p:spPr bwMode="auto">
            <a:xfrm>
              <a:off x="5824710" y="2214560"/>
              <a:ext cx="0" cy="4581225"/>
            </a:xfrm>
            <a:prstGeom prst="line">
              <a:avLst/>
            </a:prstGeom>
            <a:solidFill>
              <a:schemeClr val="accent1"/>
            </a:solidFill>
            <a:ln w="9525" cap="flat" cmpd="sng" algn="ctr">
              <a:solidFill>
                <a:schemeClr val="accent1"/>
              </a:solidFill>
              <a:prstDash val="sysDot"/>
              <a:round/>
              <a:headEnd type="none" w="med" len="med"/>
              <a:tailEnd type="none" w="med" len="med"/>
            </a:ln>
            <a:effectLst/>
          </p:spPr>
        </p:cxnSp>
        <p:cxnSp>
          <p:nvCxnSpPr>
            <p:cNvPr id="94" name="Connecteur droit 57">
              <a:extLst>
                <a:ext uri="{FF2B5EF4-FFF2-40B4-BE49-F238E27FC236}">
                  <a16:creationId xmlns:a16="http://schemas.microsoft.com/office/drawing/2014/main" id="{980A1FF7-2D10-4A71-B2F5-3309D5AD268E}"/>
                </a:ext>
              </a:extLst>
            </p:cNvPr>
            <p:cNvCxnSpPr>
              <a:cxnSpLocks/>
            </p:cNvCxnSpPr>
            <p:nvPr/>
          </p:nvCxnSpPr>
          <p:spPr bwMode="auto">
            <a:xfrm flipV="1">
              <a:off x="5825150" y="1645568"/>
              <a:ext cx="621788" cy="551294"/>
            </a:xfrm>
            <a:prstGeom prst="line">
              <a:avLst/>
            </a:prstGeom>
            <a:solidFill>
              <a:schemeClr val="accent1"/>
            </a:solidFill>
            <a:ln w="9525" cap="flat" cmpd="sng" algn="ctr">
              <a:solidFill>
                <a:schemeClr val="accent1"/>
              </a:solidFill>
              <a:prstDash val="sysDot"/>
              <a:round/>
              <a:headEnd type="none" w="med" len="med"/>
              <a:tailEnd type="none" w="med" len="med"/>
            </a:ln>
            <a:effectLst/>
          </p:spPr>
        </p:cxnSp>
      </p:grpSp>
      <p:sp>
        <p:nvSpPr>
          <p:cNvPr id="95" name="Ellipse 124">
            <a:extLst>
              <a:ext uri="{FF2B5EF4-FFF2-40B4-BE49-F238E27FC236}">
                <a16:creationId xmlns:a16="http://schemas.microsoft.com/office/drawing/2014/main" id="{5CACBCF6-BC73-4BC9-9D0C-B90600C11A54}"/>
              </a:ext>
            </a:extLst>
          </p:cNvPr>
          <p:cNvSpPr>
            <a:spLocks noChangeAspect="1"/>
          </p:cNvSpPr>
          <p:nvPr/>
        </p:nvSpPr>
        <p:spPr bwMode="auto">
          <a:xfrm>
            <a:off x="8766935" y="2617943"/>
            <a:ext cx="182907" cy="182907"/>
          </a:xfrm>
          <a:prstGeom prst="ellipse">
            <a:avLst/>
          </a:prstGeom>
          <a:solidFill>
            <a:srgbClr val="006D83"/>
          </a:solidFill>
          <a:ln w="12700" cap="flat" cmpd="sng" algn="ctr">
            <a:solidFill>
              <a:schemeClr val="accent2"/>
            </a:solidFill>
            <a:prstDash val="solid"/>
            <a:round/>
            <a:headEnd type="none" w="med" len="med"/>
            <a:tailEnd type="none" w="med" len="med"/>
          </a:ln>
          <a:effectLst/>
        </p:spPr>
        <p:txBody>
          <a:bodyPr vert="horz" wrap="square" lIns="72071" tIns="72071" rIns="72071" bIns="72071" numCol="1" rtlCol="0" anchor="t" anchorCtr="0" compatLnSpc="1">
            <a:prstTxWarp prst="textNoShape">
              <a:avLst/>
            </a:prstTxWarp>
          </a:bodyPr>
          <a:lstStyle/>
          <a:p>
            <a:pPr marL="343208" indent="-343208" defTabSz="1043926" fontAlgn="base">
              <a:spcBef>
                <a:spcPts val="600"/>
              </a:spcBef>
              <a:spcAft>
                <a:spcPct val="0"/>
              </a:spcAft>
              <a:buSzPct val="80000"/>
              <a:buFont typeface="Webdings" pitchFamily="18" charset="2"/>
              <a:buChar char="4"/>
            </a:pPr>
            <a:endParaRPr lang="fr-FR" sz="1401">
              <a:solidFill>
                <a:srgbClr val="004B5A"/>
              </a:solidFill>
            </a:endParaRPr>
          </a:p>
        </p:txBody>
      </p:sp>
      <p:pic>
        <p:nvPicPr>
          <p:cNvPr id="96" name="Graphic 82">
            <a:extLst>
              <a:ext uri="{FF2B5EF4-FFF2-40B4-BE49-F238E27FC236}">
                <a16:creationId xmlns:a16="http://schemas.microsoft.com/office/drawing/2014/main" id="{0FFB7573-34AE-4A32-A9C5-A6B1068FD18B}"/>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433996" y="2190705"/>
            <a:ext cx="386890" cy="386890"/>
          </a:xfrm>
          <a:prstGeom prst="rect">
            <a:avLst/>
          </a:prstGeom>
        </p:spPr>
      </p:pic>
      <p:pic>
        <p:nvPicPr>
          <p:cNvPr id="97" name="Graphic 83">
            <a:extLst>
              <a:ext uri="{FF2B5EF4-FFF2-40B4-BE49-F238E27FC236}">
                <a16:creationId xmlns:a16="http://schemas.microsoft.com/office/drawing/2014/main" id="{799B0505-DACE-4361-A577-24454B982164}"/>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727328" y="2190705"/>
            <a:ext cx="386890" cy="386890"/>
          </a:xfrm>
          <a:prstGeom prst="rect">
            <a:avLst/>
          </a:prstGeom>
        </p:spPr>
      </p:pic>
      <p:pic>
        <p:nvPicPr>
          <p:cNvPr id="98" name="Graphic 84">
            <a:extLst>
              <a:ext uri="{FF2B5EF4-FFF2-40B4-BE49-F238E27FC236}">
                <a16:creationId xmlns:a16="http://schemas.microsoft.com/office/drawing/2014/main" id="{463838AD-5E5E-472F-813F-210161324A9E}"/>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090025" y="2192572"/>
            <a:ext cx="386890" cy="386890"/>
          </a:xfrm>
          <a:prstGeom prst="rect">
            <a:avLst/>
          </a:prstGeom>
        </p:spPr>
      </p:pic>
      <p:pic>
        <p:nvPicPr>
          <p:cNvPr id="99" name="Graphic 85">
            <a:extLst>
              <a:ext uri="{FF2B5EF4-FFF2-40B4-BE49-F238E27FC236}">
                <a16:creationId xmlns:a16="http://schemas.microsoft.com/office/drawing/2014/main" id="{9284F1B3-1BD1-41CB-A007-057A69C13CED}"/>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1440333" y="2190705"/>
            <a:ext cx="386890" cy="386890"/>
          </a:xfrm>
          <a:prstGeom prst="rect">
            <a:avLst/>
          </a:prstGeom>
        </p:spPr>
      </p:pic>
      <p:pic>
        <p:nvPicPr>
          <p:cNvPr id="100" name="Graphic 89">
            <a:extLst>
              <a:ext uri="{FF2B5EF4-FFF2-40B4-BE49-F238E27FC236}">
                <a16:creationId xmlns:a16="http://schemas.microsoft.com/office/drawing/2014/main" id="{409B23E8-1166-4D54-AC99-0B9B33BD5974}"/>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9988877" y="2207971"/>
            <a:ext cx="386890" cy="386890"/>
          </a:xfrm>
          <a:prstGeom prst="rect">
            <a:avLst/>
          </a:prstGeom>
        </p:spPr>
      </p:pic>
      <p:pic>
        <p:nvPicPr>
          <p:cNvPr id="101" name="Graphic 90">
            <a:extLst>
              <a:ext uri="{FF2B5EF4-FFF2-40B4-BE49-F238E27FC236}">
                <a16:creationId xmlns:a16="http://schemas.microsoft.com/office/drawing/2014/main" id="{44A67014-9315-4879-9596-9B964C5DB40E}"/>
              </a:ext>
            </a:extLst>
          </p:cNvPr>
          <p:cNvPicPr>
            <a:picLocks noChangeAspect="1"/>
          </p:cNvPicPr>
          <p:nvPr/>
        </p:nvPicPr>
        <p:blipFill>
          <a:blip r:embed="rId17" cstate="email">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7035660" y="2188419"/>
            <a:ext cx="386890" cy="386890"/>
          </a:xfrm>
          <a:prstGeom prst="rect">
            <a:avLst/>
          </a:prstGeom>
        </p:spPr>
      </p:pic>
      <p:grpSp>
        <p:nvGrpSpPr>
          <p:cNvPr id="102" name="Group 91">
            <a:extLst>
              <a:ext uri="{FF2B5EF4-FFF2-40B4-BE49-F238E27FC236}">
                <a16:creationId xmlns:a16="http://schemas.microsoft.com/office/drawing/2014/main" id="{AF5E74C0-AA7F-435E-A7A4-770B7621E113}"/>
              </a:ext>
            </a:extLst>
          </p:cNvPr>
          <p:cNvGrpSpPr/>
          <p:nvPr/>
        </p:nvGrpSpPr>
        <p:grpSpPr>
          <a:xfrm>
            <a:off x="7724157" y="2198085"/>
            <a:ext cx="386890" cy="386890"/>
            <a:chOff x="4304022" y="2093293"/>
            <a:chExt cx="457200" cy="457200"/>
          </a:xfrm>
          <a:solidFill>
            <a:schemeClr val="accent1"/>
          </a:solidFill>
        </p:grpSpPr>
        <p:pic>
          <p:nvPicPr>
            <p:cNvPr id="103" name="Graphic 94">
              <a:extLst>
                <a:ext uri="{FF2B5EF4-FFF2-40B4-BE49-F238E27FC236}">
                  <a16:creationId xmlns:a16="http://schemas.microsoft.com/office/drawing/2014/main" id="{DFBD8472-6200-446B-9244-E3700A886F92}"/>
                </a:ext>
              </a:extLst>
            </p:cNvPr>
            <p:cNvPicPr>
              <a:picLocks noChangeAspect="1"/>
            </p:cNvPicPr>
            <p:nvPr/>
          </p:nvPicPr>
          <p:blipFill>
            <a:blip r:embed="rId19" cstate="email">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rot="1256931">
              <a:off x="4408392" y="2162549"/>
              <a:ext cx="248458" cy="248458"/>
            </a:xfrm>
            <a:prstGeom prst="rect">
              <a:avLst/>
            </a:prstGeom>
          </p:spPr>
        </p:pic>
        <p:pic>
          <p:nvPicPr>
            <p:cNvPr id="104" name="Graphic 95">
              <a:extLst>
                <a:ext uri="{FF2B5EF4-FFF2-40B4-BE49-F238E27FC236}">
                  <a16:creationId xmlns:a16="http://schemas.microsoft.com/office/drawing/2014/main" id="{A97109E4-D5E7-42BC-B86A-B9FBF1FBCB1A}"/>
                </a:ext>
              </a:extLst>
            </p:cNvPr>
            <p:cNvPicPr>
              <a:picLocks noChangeAspect="1"/>
            </p:cNvPicPr>
            <p:nvPr/>
          </p:nvPicPr>
          <p:blipFill>
            <a:blip r:embed="rId21" cstate="email">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4304022" y="2093293"/>
              <a:ext cx="457200" cy="457200"/>
            </a:xfrm>
            <a:prstGeom prst="rect">
              <a:avLst/>
            </a:prstGeom>
          </p:spPr>
        </p:pic>
      </p:grpSp>
      <p:sp>
        <p:nvSpPr>
          <p:cNvPr id="106" name="Rectangle 105">
            <a:extLst>
              <a:ext uri="{FF2B5EF4-FFF2-40B4-BE49-F238E27FC236}">
                <a16:creationId xmlns:a16="http://schemas.microsoft.com/office/drawing/2014/main" id="{4598D6A3-510D-4D99-8523-B6EC1E378527}"/>
              </a:ext>
            </a:extLst>
          </p:cNvPr>
          <p:cNvSpPr/>
          <p:nvPr/>
        </p:nvSpPr>
        <p:spPr bwMode="auto">
          <a:xfrm>
            <a:off x="308621" y="2569419"/>
            <a:ext cx="6444000" cy="252000"/>
          </a:xfrm>
          <a:prstGeom prst="rect">
            <a:avLst/>
          </a:prstGeom>
          <a:noFill/>
          <a:ln w="12700" cap="flat" cmpd="sng" algn="ctr">
            <a:noFill/>
            <a:prstDash val="solid"/>
            <a:round/>
            <a:headEnd type="none" w="med" len="med"/>
            <a:tailEnd type="none" w="med" len="med"/>
          </a:ln>
          <a:effectLst/>
        </p:spPr>
        <p:txBody>
          <a:bodyPr vert="horz" wrap="square" lIns="54000" tIns="0" rIns="0" bIns="0" numCol="1" rtlCol="0" anchor="ctr" anchorCtr="0" compatLnSpc="1">
            <a:prstTxWarp prst="textNoShape">
              <a:avLst/>
            </a:prstTxWarp>
          </a:bodyPr>
          <a:lstStyle/>
          <a:p>
            <a:pPr defTabSz="391036">
              <a:spcBef>
                <a:spcPts val="600"/>
              </a:spcBef>
              <a:buClr>
                <a:schemeClr val="bg1"/>
              </a:buClr>
              <a:buSzPct val="100000"/>
            </a:pPr>
            <a:r>
              <a:rPr lang="fr-FR" sz="1400" b="1" dirty="0">
                <a:solidFill>
                  <a:schemeClr val="tx2"/>
                </a:solidFill>
              </a:rPr>
              <a:t>Mise en place d’un Système de Management de la Qualité (SMQ) par les processus</a:t>
            </a:r>
          </a:p>
        </p:txBody>
      </p:sp>
      <p:sp>
        <p:nvSpPr>
          <p:cNvPr id="107" name="ZoneTexte 106">
            <a:extLst>
              <a:ext uri="{FF2B5EF4-FFF2-40B4-BE49-F238E27FC236}">
                <a16:creationId xmlns:a16="http://schemas.microsoft.com/office/drawing/2014/main" id="{C5C75728-249E-46B7-8667-1E10E154A1A6}"/>
              </a:ext>
            </a:extLst>
          </p:cNvPr>
          <p:cNvSpPr txBox="1"/>
          <p:nvPr/>
        </p:nvSpPr>
        <p:spPr>
          <a:xfrm>
            <a:off x="308621" y="2974944"/>
            <a:ext cx="5760000" cy="511227"/>
          </a:xfrm>
          <a:prstGeom prst="rect">
            <a:avLst/>
          </a:prstGeom>
          <a:noFill/>
        </p:spPr>
        <p:txBody>
          <a:bodyPr wrap="square" lIns="18000" tIns="18000" rIns="18000" bIns="18000" rtlCol="0" anchor="ctr">
            <a:noAutofit/>
          </a:bodyPr>
          <a:lstStyle/>
          <a:p>
            <a:pPr defTabSz="878978" eaLnBrk="0" hangingPunct="0">
              <a:buSzPct val="80000"/>
              <a:defRPr/>
            </a:pPr>
            <a:r>
              <a:rPr lang="fr-FR" sz="1400" dirty="0">
                <a:solidFill>
                  <a:srgbClr val="004B5A"/>
                </a:solidFill>
              </a:rPr>
              <a:t>Cartographie, description et optimisation des processus. Mise en place et</a:t>
            </a:r>
          </a:p>
          <a:p>
            <a:pPr defTabSz="878978" eaLnBrk="0" hangingPunct="0">
              <a:buSzPct val="80000"/>
              <a:defRPr/>
            </a:pPr>
            <a:r>
              <a:rPr lang="fr-FR" sz="1400" dirty="0">
                <a:solidFill>
                  <a:srgbClr val="004B5A"/>
                </a:solidFill>
              </a:rPr>
              <a:t>suivi d’indicateurs de fonctionnement et de performance. Formation et</a:t>
            </a:r>
          </a:p>
          <a:p>
            <a:pPr defTabSz="878978" eaLnBrk="0" hangingPunct="0">
              <a:buSzPct val="80000"/>
              <a:defRPr/>
            </a:pPr>
            <a:r>
              <a:rPr lang="fr-FR" sz="1400" dirty="0">
                <a:solidFill>
                  <a:srgbClr val="004B5A"/>
                </a:solidFill>
              </a:rPr>
              <a:t>accompagnement des responsables de processus.</a:t>
            </a:r>
          </a:p>
        </p:txBody>
      </p:sp>
      <p:sp>
        <p:nvSpPr>
          <p:cNvPr id="108" name="Rectangle 107">
            <a:extLst>
              <a:ext uri="{FF2B5EF4-FFF2-40B4-BE49-F238E27FC236}">
                <a16:creationId xmlns:a16="http://schemas.microsoft.com/office/drawing/2014/main" id="{EFCB9F88-44D7-4F1A-A726-2A1959F7361C}"/>
              </a:ext>
            </a:extLst>
          </p:cNvPr>
          <p:cNvSpPr/>
          <p:nvPr/>
        </p:nvSpPr>
        <p:spPr bwMode="auto">
          <a:xfrm>
            <a:off x="308621" y="3714664"/>
            <a:ext cx="11764941" cy="320927"/>
          </a:xfrm>
          <a:prstGeom prst="rect">
            <a:avLst/>
          </a:prstGeom>
          <a:solidFill>
            <a:schemeClr val="bg1">
              <a:lumMod val="85000"/>
              <a:alpha val="47000"/>
            </a:schemeClr>
          </a:solidFill>
          <a:ln w="12700" cap="flat" cmpd="sng" algn="ctr">
            <a:noFill/>
            <a:prstDash val="solid"/>
            <a:round/>
            <a:headEnd type="none" w="med" len="med"/>
            <a:tailEnd type="none" w="med" len="med"/>
          </a:ln>
          <a:effectLst/>
        </p:spPr>
        <p:txBody>
          <a:bodyPr vert="horz" wrap="square" lIns="54000" tIns="0" rIns="0" bIns="0" numCol="1" rtlCol="0" anchor="ctr" anchorCtr="0" compatLnSpc="1">
            <a:prstTxWarp prst="textNoShape">
              <a:avLst/>
            </a:prstTxWarp>
          </a:bodyPr>
          <a:lstStyle/>
          <a:p>
            <a:pPr algn="ctr" defTabSz="391036">
              <a:buClr>
                <a:schemeClr val="bg1"/>
              </a:buClr>
              <a:buSzPct val="100000"/>
            </a:pPr>
            <a:endParaRPr lang="fr-FR" sz="1100" b="1" dirty="0">
              <a:solidFill>
                <a:schemeClr val="tx2"/>
              </a:solidFill>
              <a:highlight>
                <a:srgbClr val="FFFF00"/>
              </a:highlight>
            </a:endParaRPr>
          </a:p>
        </p:txBody>
      </p:sp>
      <p:sp>
        <p:nvSpPr>
          <p:cNvPr id="109" name="Rectangle 108">
            <a:extLst>
              <a:ext uri="{FF2B5EF4-FFF2-40B4-BE49-F238E27FC236}">
                <a16:creationId xmlns:a16="http://schemas.microsoft.com/office/drawing/2014/main" id="{BC9A19F0-A84C-46D3-9D67-604C9708463F}"/>
              </a:ext>
            </a:extLst>
          </p:cNvPr>
          <p:cNvSpPr/>
          <p:nvPr/>
        </p:nvSpPr>
        <p:spPr bwMode="auto">
          <a:xfrm>
            <a:off x="308621" y="3721555"/>
            <a:ext cx="6444000" cy="252000"/>
          </a:xfrm>
          <a:prstGeom prst="rect">
            <a:avLst/>
          </a:prstGeom>
          <a:noFill/>
          <a:ln w="12700" cap="flat" cmpd="sng" algn="ctr">
            <a:noFill/>
            <a:prstDash val="solid"/>
            <a:round/>
            <a:headEnd type="none" w="med" len="med"/>
            <a:tailEnd type="none" w="med" len="med"/>
          </a:ln>
          <a:effectLst/>
        </p:spPr>
        <p:txBody>
          <a:bodyPr vert="horz" wrap="square" lIns="54000" tIns="0" rIns="0" bIns="0" numCol="1" rtlCol="0" anchor="ctr" anchorCtr="0" compatLnSpc="1">
            <a:prstTxWarp prst="textNoShape">
              <a:avLst/>
            </a:prstTxWarp>
          </a:bodyPr>
          <a:lstStyle/>
          <a:p>
            <a:pPr defTabSz="391036">
              <a:spcBef>
                <a:spcPts val="600"/>
              </a:spcBef>
              <a:buClr>
                <a:schemeClr val="bg1"/>
              </a:buClr>
              <a:buSzPct val="100000"/>
            </a:pPr>
            <a:r>
              <a:rPr lang="fr-FR" sz="1400" b="1" dirty="0">
                <a:solidFill>
                  <a:schemeClr val="tx2"/>
                </a:solidFill>
              </a:rPr>
              <a:t>Transformation digitale d’une organisation</a:t>
            </a:r>
          </a:p>
        </p:txBody>
      </p:sp>
      <p:sp>
        <p:nvSpPr>
          <p:cNvPr id="110" name="ZoneTexte 109">
            <a:extLst>
              <a:ext uri="{FF2B5EF4-FFF2-40B4-BE49-F238E27FC236}">
                <a16:creationId xmlns:a16="http://schemas.microsoft.com/office/drawing/2014/main" id="{2394155E-CD62-4BDF-BA96-A828BB2D305D}"/>
              </a:ext>
            </a:extLst>
          </p:cNvPr>
          <p:cNvSpPr txBox="1"/>
          <p:nvPr/>
        </p:nvSpPr>
        <p:spPr>
          <a:xfrm>
            <a:off x="308621" y="4103443"/>
            <a:ext cx="5760000" cy="725910"/>
          </a:xfrm>
          <a:prstGeom prst="rect">
            <a:avLst/>
          </a:prstGeom>
          <a:noFill/>
        </p:spPr>
        <p:txBody>
          <a:bodyPr wrap="square" lIns="18000" tIns="18000" rIns="18000" bIns="18000" rtlCol="0">
            <a:noAutofit/>
          </a:bodyPr>
          <a:lstStyle/>
          <a:p>
            <a:pPr defTabSz="878978" eaLnBrk="0" hangingPunct="0">
              <a:buSzPct val="80000"/>
              <a:defRPr/>
            </a:pPr>
            <a:r>
              <a:rPr lang="fr-FR" sz="1400" dirty="0">
                <a:solidFill>
                  <a:srgbClr val="004B5A"/>
                </a:solidFill>
              </a:rPr>
              <a:t>Évaluation de la maturité digitale des produits, des compétences et de</a:t>
            </a:r>
          </a:p>
          <a:p>
            <a:pPr defTabSz="878978" eaLnBrk="0" hangingPunct="0">
              <a:buSzPct val="80000"/>
              <a:defRPr/>
            </a:pPr>
            <a:r>
              <a:rPr lang="fr-FR" sz="1400" dirty="0">
                <a:solidFill>
                  <a:srgbClr val="004B5A"/>
                </a:solidFill>
              </a:rPr>
              <a:t>l’ensemble de l’organisation. Identification des leviers clés pour la transformation. Réalisation de pilotes pour tester ces idées et recommandations.</a:t>
            </a:r>
          </a:p>
        </p:txBody>
      </p:sp>
      <p:sp>
        <p:nvSpPr>
          <p:cNvPr id="111" name="Rectangle 110">
            <a:extLst>
              <a:ext uri="{FF2B5EF4-FFF2-40B4-BE49-F238E27FC236}">
                <a16:creationId xmlns:a16="http://schemas.microsoft.com/office/drawing/2014/main" id="{72FB92AF-4D60-45A3-AB77-845D359BE2E3}"/>
              </a:ext>
            </a:extLst>
          </p:cNvPr>
          <p:cNvSpPr/>
          <p:nvPr/>
        </p:nvSpPr>
        <p:spPr bwMode="auto">
          <a:xfrm>
            <a:off x="308621" y="5068857"/>
            <a:ext cx="11764941" cy="320927"/>
          </a:xfrm>
          <a:prstGeom prst="rect">
            <a:avLst/>
          </a:prstGeom>
          <a:solidFill>
            <a:schemeClr val="bg1">
              <a:lumMod val="85000"/>
              <a:alpha val="47000"/>
            </a:schemeClr>
          </a:solidFill>
          <a:ln w="12700" cap="flat" cmpd="sng" algn="ctr">
            <a:noFill/>
            <a:prstDash val="solid"/>
            <a:round/>
            <a:headEnd type="none" w="med" len="med"/>
            <a:tailEnd type="none" w="med" len="med"/>
          </a:ln>
          <a:effectLst/>
        </p:spPr>
        <p:txBody>
          <a:bodyPr vert="horz" wrap="square" lIns="54000" tIns="0" rIns="0" bIns="0" numCol="1" rtlCol="0" anchor="ctr" anchorCtr="0" compatLnSpc="1">
            <a:prstTxWarp prst="textNoShape">
              <a:avLst/>
            </a:prstTxWarp>
          </a:bodyPr>
          <a:lstStyle/>
          <a:p>
            <a:pPr algn="ctr" defTabSz="391036">
              <a:buClr>
                <a:schemeClr val="bg1"/>
              </a:buClr>
              <a:buSzPct val="100000"/>
            </a:pPr>
            <a:endParaRPr lang="fr-FR" sz="1100" b="1" dirty="0">
              <a:solidFill>
                <a:schemeClr val="tx2"/>
              </a:solidFill>
              <a:highlight>
                <a:srgbClr val="FFFF00"/>
              </a:highlight>
            </a:endParaRPr>
          </a:p>
        </p:txBody>
      </p:sp>
      <p:sp>
        <p:nvSpPr>
          <p:cNvPr id="112" name="Rectangle 111">
            <a:extLst>
              <a:ext uri="{FF2B5EF4-FFF2-40B4-BE49-F238E27FC236}">
                <a16:creationId xmlns:a16="http://schemas.microsoft.com/office/drawing/2014/main" id="{9E3749A5-55B0-4085-BA57-D27F31497F51}"/>
              </a:ext>
            </a:extLst>
          </p:cNvPr>
          <p:cNvSpPr/>
          <p:nvPr/>
        </p:nvSpPr>
        <p:spPr bwMode="auto">
          <a:xfrm>
            <a:off x="308621" y="5075748"/>
            <a:ext cx="6444000" cy="252000"/>
          </a:xfrm>
          <a:prstGeom prst="rect">
            <a:avLst/>
          </a:prstGeom>
          <a:noFill/>
          <a:ln w="12700" cap="flat" cmpd="sng" algn="ctr">
            <a:noFill/>
            <a:prstDash val="solid"/>
            <a:round/>
            <a:headEnd type="none" w="med" len="med"/>
            <a:tailEnd type="none" w="med" len="med"/>
          </a:ln>
          <a:effectLst/>
        </p:spPr>
        <p:txBody>
          <a:bodyPr vert="horz" wrap="square" lIns="54000" tIns="0" rIns="0" bIns="0" numCol="1" rtlCol="0" anchor="ctr" anchorCtr="0" compatLnSpc="1">
            <a:prstTxWarp prst="textNoShape">
              <a:avLst/>
            </a:prstTxWarp>
          </a:bodyPr>
          <a:lstStyle/>
          <a:p>
            <a:pPr defTabSz="391036">
              <a:spcBef>
                <a:spcPts val="600"/>
              </a:spcBef>
              <a:buClr>
                <a:schemeClr val="bg1"/>
              </a:buClr>
              <a:buSzPct val="100000"/>
            </a:pPr>
            <a:r>
              <a:rPr lang="fr-FR" sz="1400" b="1" dirty="0">
                <a:solidFill>
                  <a:schemeClr val="tx2"/>
                </a:solidFill>
              </a:rPr>
              <a:t>Programme commun d’améliorations  client / fournisseur</a:t>
            </a:r>
            <a:endParaRPr lang="fr-FR" sz="1400" b="1" dirty="0">
              <a:solidFill>
                <a:schemeClr val="tx2"/>
              </a:solidFill>
              <a:highlight>
                <a:srgbClr val="FFFF00"/>
              </a:highlight>
            </a:endParaRPr>
          </a:p>
        </p:txBody>
      </p:sp>
      <p:sp>
        <p:nvSpPr>
          <p:cNvPr id="113" name="ZoneTexte 112">
            <a:extLst>
              <a:ext uri="{FF2B5EF4-FFF2-40B4-BE49-F238E27FC236}">
                <a16:creationId xmlns:a16="http://schemas.microsoft.com/office/drawing/2014/main" id="{E2CAE272-DCE9-4BEE-8A9C-1A8C3DAAA93C}"/>
              </a:ext>
            </a:extLst>
          </p:cNvPr>
          <p:cNvSpPr txBox="1"/>
          <p:nvPr/>
        </p:nvSpPr>
        <p:spPr>
          <a:xfrm>
            <a:off x="308621" y="5457636"/>
            <a:ext cx="5760000" cy="725910"/>
          </a:xfrm>
          <a:prstGeom prst="rect">
            <a:avLst/>
          </a:prstGeom>
          <a:noFill/>
        </p:spPr>
        <p:txBody>
          <a:bodyPr wrap="square" lIns="18000" tIns="18000" rIns="18000" bIns="18000" rtlCol="0">
            <a:noAutofit/>
          </a:bodyPr>
          <a:lstStyle/>
          <a:p>
            <a:pPr defTabSz="878978" eaLnBrk="0" hangingPunct="0">
              <a:buSzPct val="80000"/>
              <a:defRPr/>
            </a:pPr>
            <a:r>
              <a:rPr lang="fr-FR" sz="1400" dirty="0">
                <a:solidFill>
                  <a:srgbClr val="004B5A"/>
                </a:solidFill>
              </a:rPr>
              <a:t>Phase de diagnostic, identification des leviers d’amélioration, implémentation des Quick </a:t>
            </a:r>
            <a:r>
              <a:rPr lang="fr-FR" sz="1400" dirty="0" err="1">
                <a:solidFill>
                  <a:srgbClr val="004B5A"/>
                </a:solidFill>
              </a:rPr>
              <a:t>Wins</a:t>
            </a:r>
            <a:r>
              <a:rPr lang="fr-FR" sz="1400" dirty="0">
                <a:solidFill>
                  <a:srgbClr val="004B5A"/>
                </a:solidFill>
              </a:rPr>
              <a:t>.</a:t>
            </a:r>
            <a:endParaRPr lang="fr-FR" sz="1400" dirty="0">
              <a:solidFill>
                <a:srgbClr val="004B5A"/>
              </a:solidFill>
              <a:highlight>
                <a:srgbClr val="FFFF00"/>
              </a:highlight>
            </a:endParaRPr>
          </a:p>
        </p:txBody>
      </p:sp>
      <p:sp>
        <p:nvSpPr>
          <p:cNvPr id="114" name="Rectangle 113">
            <a:extLst>
              <a:ext uri="{FF2B5EF4-FFF2-40B4-BE49-F238E27FC236}">
                <a16:creationId xmlns:a16="http://schemas.microsoft.com/office/drawing/2014/main" id="{6D6C4D8F-8333-4044-98CC-D9F206FE2026}"/>
              </a:ext>
            </a:extLst>
          </p:cNvPr>
          <p:cNvSpPr/>
          <p:nvPr/>
        </p:nvSpPr>
        <p:spPr bwMode="auto">
          <a:xfrm>
            <a:off x="308621" y="6101605"/>
            <a:ext cx="11764941" cy="320927"/>
          </a:xfrm>
          <a:prstGeom prst="rect">
            <a:avLst/>
          </a:prstGeom>
          <a:solidFill>
            <a:schemeClr val="bg1">
              <a:lumMod val="85000"/>
              <a:alpha val="47000"/>
            </a:schemeClr>
          </a:solidFill>
          <a:ln w="12700" cap="flat" cmpd="sng" algn="ctr">
            <a:noFill/>
            <a:prstDash val="solid"/>
            <a:round/>
            <a:headEnd type="none" w="med" len="med"/>
            <a:tailEnd type="none" w="med" len="med"/>
          </a:ln>
          <a:effectLst/>
        </p:spPr>
        <p:txBody>
          <a:bodyPr vert="horz" wrap="square" lIns="54000" tIns="0" rIns="0" bIns="0" numCol="1" rtlCol="0" anchor="ctr" anchorCtr="0" compatLnSpc="1">
            <a:prstTxWarp prst="textNoShape">
              <a:avLst/>
            </a:prstTxWarp>
          </a:bodyPr>
          <a:lstStyle/>
          <a:p>
            <a:pPr algn="ctr" defTabSz="391036">
              <a:buClr>
                <a:schemeClr val="bg1"/>
              </a:buClr>
              <a:buSzPct val="100000"/>
            </a:pPr>
            <a:endParaRPr lang="fr-FR" sz="1100" b="1" dirty="0">
              <a:solidFill>
                <a:schemeClr val="tx2"/>
              </a:solidFill>
              <a:highlight>
                <a:srgbClr val="FFFF00"/>
              </a:highlight>
            </a:endParaRPr>
          </a:p>
        </p:txBody>
      </p:sp>
      <p:sp>
        <p:nvSpPr>
          <p:cNvPr id="115" name="Rectangle 114">
            <a:extLst>
              <a:ext uri="{FF2B5EF4-FFF2-40B4-BE49-F238E27FC236}">
                <a16:creationId xmlns:a16="http://schemas.microsoft.com/office/drawing/2014/main" id="{62D81432-5DD7-4D98-90A4-CDD4C1AF40A9}"/>
              </a:ext>
            </a:extLst>
          </p:cNvPr>
          <p:cNvSpPr/>
          <p:nvPr/>
        </p:nvSpPr>
        <p:spPr bwMode="auto">
          <a:xfrm>
            <a:off x="308621" y="6108496"/>
            <a:ext cx="6444000" cy="252000"/>
          </a:xfrm>
          <a:prstGeom prst="rect">
            <a:avLst/>
          </a:prstGeom>
          <a:noFill/>
          <a:ln w="12700" cap="flat" cmpd="sng" algn="ctr">
            <a:noFill/>
            <a:prstDash val="solid"/>
            <a:round/>
            <a:headEnd type="none" w="med" len="med"/>
            <a:tailEnd type="none" w="med" len="med"/>
          </a:ln>
          <a:effectLst/>
        </p:spPr>
        <p:txBody>
          <a:bodyPr vert="horz" wrap="square" lIns="54000" tIns="0" rIns="0" bIns="0" numCol="1" rtlCol="0" anchor="ctr" anchorCtr="0" compatLnSpc="1">
            <a:prstTxWarp prst="textNoShape">
              <a:avLst/>
            </a:prstTxWarp>
          </a:bodyPr>
          <a:lstStyle/>
          <a:p>
            <a:pPr defTabSz="391036">
              <a:spcBef>
                <a:spcPts val="600"/>
              </a:spcBef>
              <a:buClr>
                <a:schemeClr val="bg1"/>
              </a:buClr>
              <a:buSzPct val="100000"/>
            </a:pPr>
            <a:r>
              <a:rPr lang="fr-FR" sz="1400" b="1" dirty="0">
                <a:solidFill>
                  <a:schemeClr val="tx2"/>
                </a:solidFill>
              </a:rPr>
              <a:t>Outils digitaux et bonnes pratiques de gestion de projet</a:t>
            </a:r>
            <a:endParaRPr lang="fr-FR" sz="1400" b="1" dirty="0">
              <a:solidFill>
                <a:schemeClr val="tx2"/>
              </a:solidFill>
              <a:highlight>
                <a:srgbClr val="FFFF00"/>
              </a:highlight>
            </a:endParaRPr>
          </a:p>
        </p:txBody>
      </p:sp>
      <p:sp>
        <p:nvSpPr>
          <p:cNvPr id="116" name="ZoneTexte 115">
            <a:extLst>
              <a:ext uri="{FF2B5EF4-FFF2-40B4-BE49-F238E27FC236}">
                <a16:creationId xmlns:a16="http://schemas.microsoft.com/office/drawing/2014/main" id="{07F4AB5B-BA02-45BD-B687-937CDA400CF5}"/>
              </a:ext>
            </a:extLst>
          </p:cNvPr>
          <p:cNvSpPr txBox="1"/>
          <p:nvPr/>
        </p:nvSpPr>
        <p:spPr>
          <a:xfrm>
            <a:off x="308621" y="6435225"/>
            <a:ext cx="5760000" cy="725910"/>
          </a:xfrm>
          <a:prstGeom prst="rect">
            <a:avLst/>
          </a:prstGeom>
          <a:noFill/>
        </p:spPr>
        <p:txBody>
          <a:bodyPr wrap="square" lIns="18000" tIns="18000" rIns="18000" bIns="18000" rtlCol="0">
            <a:noAutofit/>
          </a:bodyPr>
          <a:lstStyle/>
          <a:p>
            <a:pPr defTabSz="878978" eaLnBrk="0" hangingPunct="0">
              <a:buSzPct val="80000"/>
              <a:defRPr/>
            </a:pPr>
            <a:r>
              <a:rPr lang="fr-FR" sz="1400" dirty="0">
                <a:solidFill>
                  <a:srgbClr val="004B5A"/>
                </a:solidFill>
              </a:rPr>
              <a:t>Identification et étude des cas d’usage de la gestion de projet et des solutions</a:t>
            </a:r>
          </a:p>
          <a:p>
            <a:pPr defTabSz="878978" eaLnBrk="0" hangingPunct="0">
              <a:buSzPct val="80000"/>
              <a:defRPr/>
            </a:pPr>
            <a:r>
              <a:rPr lang="fr-FR" sz="1400" dirty="0">
                <a:solidFill>
                  <a:srgbClr val="004B5A"/>
                </a:solidFill>
              </a:rPr>
              <a:t>digitales associées (gestion des tâches et des équipes, conduite du</a:t>
            </a:r>
          </a:p>
          <a:p>
            <a:pPr defTabSz="878978" eaLnBrk="0" hangingPunct="0">
              <a:buSzPct val="80000"/>
              <a:defRPr/>
            </a:pPr>
            <a:r>
              <a:rPr lang="fr-FR" sz="1400" dirty="0">
                <a:solidFill>
                  <a:srgbClr val="004B5A"/>
                </a:solidFill>
              </a:rPr>
              <a:t>changement, gestion des risques, communication, etc.).</a:t>
            </a:r>
            <a:endParaRPr lang="fr-FR" sz="1400" dirty="0">
              <a:solidFill>
                <a:srgbClr val="004B5A"/>
              </a:solidFill>
              <a:highlight>
                <a:srgbClr val="FFFF00"/>
              </a:highlight>
            </a:endParaRPr>
          </a:p>
        </p:txBody>
      </p:sp>
      <p:sp>
        <p:nvSpPr>
          <p:cNvPr id="118" name="Ellipse 124">
            <a:extLst>
              <a:ext uri="{FF2B5EF4-FFF2-40B4-BE49-F238E27FC236}">
                <a16:creationId xmlns:a16="http://schemas.microsoft.com/office/drawing/2014/main" id="{EF4DB4F2-6052-4D05-B54C-1C277241F3AA}"/>
              </a:ext>
            </a:extLst>
          </p:cNvPr>
          <p:cNvSpPr>
            <a:spLocks noChangeAspect="1"/>
          </p:cNvSpPr>
          <p:nvPr/>
        </p:nvSpPr>
        <p:spPr bwMode="auto">
          <a:xfrm>
            <a:off x="9504478" y="2617943"/>
            <a:ext cx="182907" cy="182907"/>
          </a:xfrm>
          <a:prstGeom prst="ellipse">
            <a:avLst/>
          </a:prstGeom>
          <a:solidFill>
            <a:srgbClr val="006D83"/>
          </a:solidFill>
          <a:ln w="12700" cap="flat" cmpd="sng" algn="ctr">
            <a:solidFill>
              <a:schemeClr val="accent2"/>
            </a:solidFill>
            <a:prstDash val="solid"/>
            <a:round/>
            <a:headEnd type="none" w="med" len="med"/>
            <a:tailEnd type="none" w="med" len="med"/>
          </a:ln>
          <a:effectLst/>
        </p:spPr>
        <p:txBody>
          <a:bodyPr vert="horz" wrap="square" lIns="72071" tIns="72071" rIns="72071" bIns="72071" numCol="1" rtlCol="0" anchor="t" anchorCtr="0" compatLnSpc="1">
            <a:prstTxWarp prst="textNoShape">
              <a:avLst/>
            </a:prstTxWarp>
          </a:bodyPr>
          <a:lstStyle/>
          <a:p>
            <a:pPr marL="343208" indent="-343208" defTabSz="1043926" fontAlgn="base">
              <a:spcBef>
                <a:spcPts val="600"/>
              </a:spcBef>
              <a:spcAft>
                <a:spcPct val="0"/>
              </a:spcAft>
              <a:buSzPct val="80000"/>
              <a:buFont typeface="Webdings" pitchFamily="18" charset="2"/>
              <a:buChar char="4"/>
            </a:pPr>
            <a:endParaRPr lang="fr-FR" sz="1401">
              <a:solidFill>
                <a:srgbClr val="004B5A"/>
              </a:solidFill>
            </a:endParaRPr>
          </a:p>
        </p:txBody>
      </p:sp>
      <p:sp>
        <p:nvSpPr>
          <p:cNvPr id="119" name="Ellipse 124">
            <a:extLst>
              <a:ext uri="{FF2B5EF4-FFF2-40B4-BE49-F238E27FC236}">
                <a16:creationId xmlns:a16="http://schemas.microsoft.com/office/drawing/2014/main" id="{35BC2773-3DE9-4D8A-BCF7-22AFF6F50540}"/>
              </a:ext>
            </a:extLst>
          </p:cNvPr>
          <p:cNvSpPr>
            <a:spLocks noChangeAspect="1"/>
          </p:cNvSpPr>
          <p:nvPr/>
        </p:nvSpPr>
        <p:spPr bwMode="auto">
          <a:xfrm>
            <a:off x="8766935" y="3794954"/>
            <a:ext cx="182907" cy="182907"/>
          </a:xfrm>
          <a:prstGeom prst="ellipse">
            <a:avLst/>
          </a:prstGeom>
          <a:solidFill>
            <a:srgbClr val="006D83"/>
          </a:solidFill>
          <a:ln w="12700" cap="flat" cmpd="sng" algn="ctr">
            <a:solidFill>
              <a:schemeClr val="accent2"/>
            </a:solidFill>
            <a:prstDash val="solid"/>
            <a:round/>
            <a:headEnd type="none" w="med" len="med"/>
            <a:tailEnd type="none" w="med" len="med"/>
          </a:ln>
          <a:effectLst/>
        </p:spPr>
        <p:txBody>
          <a:bodyPr vert="horz" wrap="square" lIns="72071" tIns="72071" rIns="72071" bIns="72071" numCol="1" rtlCol="0" anchor="t" anchorCtr="0" compatLnSpc="1">
            <a:prstTxWarp prst="textNoShape">
              <a:avLst/>
            </a:prstTxWarp>
          </a:bodyPr>
          <a:lstStyle/>
          <a:p>
            <a:pPr marL="343208" indent="-343208" defTabSz="1043926" fontAlgn="base">
              <a:spcBef>
                <a:spcPts val="600"/>
              </a:spcBef>
              <a:spcAft>
                <a:spcPct val="0"/>
              </a:spcAft>
              <a:buSzPct val="80000"/>
              <a:buFont typeface="Webdings" pitchFamily="18" charset="2"/>
              <a:buChar char="4"/>
            </a:pPr>
            <a:endParaRPr lang="fr-FR" sz="1401">
              <a:solidFill>
                <a:srgbClr val="004B5A"/>
              </a:solidFill>
            </a:endParaRPr>
          </a:p>
        </p:txBody>
      </p:sp>
      <p:sp>
        <p:nvSpPr>
          <p:cNvPr id="120" name="Ellipse 124">
            <a:extLst>
              <a:ext uri="{FF2B5EF4-FFF2-40B4-BE49-F238E27FC236}">
                <a16:creationId xmlns:a16="http://schemas.microsoft.com/office/drawing/2014/main" id="{88238A74-92E5-4DB0-AEFA-A821BB3F752A}"/>
              </a:ext>
            </a:extLst>
          </p:cNvPr>
          <p:cNvSpPr>
            <a:spLocks noChangeAspect="1"/>
          </p:cNvSpPr>
          <p:nvPr/>
        </p:nvSpPr>
        <p:spPr bwMode="auto">
          <a:xfrm>
            <a:off x="10995025" y="3794954"/>
            <a:ext cx="182907" cy="182907"/>
          </a:xfrm>
          <a:prstGeom prst="ellipse">
            <a:avLst/>
          </a:prstGeom>
          <a:solidFill>
            <a:srgbClr val="006D83"/>
          </a:solidFill>
          <a:ln w="12700" cap="flat" cmpd="sng" algn="ctr">
            <a:solidFill>
              <a:schemeClr val="accent2"/>
            </a:solidFill>
            <a:prstDash val="solid"/>
            <a:round/>
            <a:headEnd type="none" w="med" len="med"/>
            <a:tailEnd type="none" w="med" len="med"/>
          </a:ln>
          <a:effectLst/>
        </p:spPr>
        <p:txBody>
          <a:bodyPr vert="horz" wrap="square" lIns="72071" tIns="72071" rIns="72071" bIns="72071" numCol="1" rtlCol="0" anchor="t" anchorCtr="0" compatLnSpc="1">
            <a:prstTxWarp prst="textNoShape">
              <a:avLst/>
            </a:prstTxWarp>
          </a:bodyPr>
          <a:lstStyle/>
          <a:p>
            <a:pPr marL="343208" indent="-343208" defTabSz="1043926" fontAlgn="base">
              <a:spcBef>
                <a:spcPts val="600"/>
              </a:spcBef>
              <a:spcAft>
                <a:spcPct val="0"/>
              </a:spcAft>
              <a:buSzPct val="80000"/>
              <a:buFont typeface="Webdings" pitchFamily="18" charset="2"/>
              <a:buChar char="4"/>
            </a:pPr>
            <a:endParaRPr lang="fr-FR" sz="1401">
              <a:solidFill>
                <a:srgbClr val="004B5A"/>
              </a:solidFill>
            </a:endParaRPr>
          </a:p>
        </p:txBody>
      </p:sp>
      <p:sp>
        <p:nvSpPr>
          <p:cNvPr id="121" name="Ellipse 124">
            <a:extLst>
              <a:ext uri="{FF2B5EF4-FFF2-40B4-BE49-F238E27FC236}">
                <a16:creationId xmlns:a16="http://schemas.microsoft.com/office/drawing/2014/main" id="{A50B0DDC-FB47-4FD0-B225-53DECB4C4283}"/>
              </a:ext>
            </a:extLst>
          </p:cNvPr>
          <p:cNvSpPr>
            <a:spLocks noChangeAspect="1"/>
          </p:cNvSpPr>
          <p:nvPr/>
        </p:nvSpPr>
        <p:spPr bwMode="auto">
          <a:xfrm>
            <a:off x="7310776" y="3794954"/>
            <a:ext cx="182907" cy="182907"/>
          </a:xfrm>
          <a:prstGeom prst="ellipse">
            <a:avLst/>
          </a:prstGeom>
          <a:solidFill>
            <a:srgbClr val="006D83"/>
          </a:solidFill>
          <a:ln w="12700" cap="flat" cmpd="sng" algn="ctr">
            <a:solidFill>
              <a:schemeClr val="accent2"/>
            </a:solidFill>
            <a:prstDash val="solid"/>
            <a:round/>
            <a:headEnd type="none" w="med" len="med"/>
            <a:tailEnd type="none" w="med" len="med"/>
          </a:ln>
          <a:effectLst/>
        </p:spPr>
        <p:txBody>
          <a:bodyPr vert="horz" wrap="square" lIns="72071" tIns="72071" rIns="72071" bIns="72071" numCol="1" rtlCol="0" anchor="t" anchorCtr="0" compatLnSpc="1">
            <a:prstTxWarp prst="textNoShape">
              <a:avLst/>
            </a:prstTxWarp>
          </a:bodyPr>
          <a:lstStyle/>
          <a:p>
            <a:pPr marL="343208" indent="-343208" defTabSz="1043926" fontAlgn="base">
              <a:spcBef>
                <a:spcPts val="600"/>
              </a:spcBef>
              <a:spcAft>
                <a:spcPct val="0"/>
              </a:spcAft>
              <a:buSzPct val="80000"/>
              <a:buFont typeface="Webdings" pitchFamily="18" charset="2"/>
              <a:buChar char="4"/>
            </a:pPr>
            <a:endParaRPr lang="fr-FR" sz="1401">
              <a:solidFill>
                <a:srgbClr val="004B5A"/>
              </a:solidFill>
            </a:endParaRPr>
          </a:p>
        </p:txBody>
      </p:sp>
      <p:sp>
        <p:nvSpPr>
          <p:cNvPr id="122" name="Ellipse 124">
            <a:extLst>
              <a:ext uri="{FF2B5EF4-FFF2-40B4-BE49-F238E27FC236}">
                <a16:creationId xmlns:a16="http://schemas.microsoft.com/office/drawing/2014/main" id="{CDD454D4-AD07-4515-BF12-9A11A78D63AE}"/>
              </a:ext>
            </a:extLst>
          </p:cNvPr>
          <p:cNvSpPr>
            <a:spLocks noChangeAspect="1"/>
          </p:cNvSpPr>
          <p:nvPr/>
        </p:nvSpPr>
        <p:spPr bwMode="auto">
          <a:xfrm>
            <a:off x="8039823" y="3794954"/>
            <a:ext cx="182907" cy="182907"/>
          </a:xfrm>
          <a:prstGeom prst="ellipse">
            <a:avLst/>
          </a:prstGeom>
          <a:solidFill>
            <a:srgbClr val="006D83"/>
          </a:solidFill>
          <a:ln w="12700" cap="flat" cmpd="sng" algn="ctr">
            <a:solidFill>
              <a:schemeClr val="accent2"/>
            </a:solidFill>
            <a:prstDash val="solid"/>
            <a:round/>
            <a:headEnd type="none" w="med" len="med"/>
            <a:tailEnd type="none" w="med" len="med"/>
          </a:ln>
          <a:effectLst/>
        </p:spPr>
        <p:txBody>
          <a:bodyPr vert="horz" wrap="square" lIns="72071" tIns="72071" rIns="72071" bIns="72071" numCol="1" rtlCol="0" anchor="t" anchorCtr="0" compatLnSpc="1">
            <a:prstTxWarp prst="textNoShape">
              <a:avLst/>
            </a:prstTxWarp>
          </a:bodyPr>
          <a:lstStyle/>
          <a:p>
            <a:pPr marL="343208" indent="-343208" defTabSz="1043926" fontAlgn="base">
              <a:spcBef>
                <a:spcPts val="600"/>
              </a:spcBef>
              <a:spcAft>
                <a:spcPct val="0"/>
              </a:spcAft>
              <a:buSzPct val="80000"/>
              <a:buFont typeface="Webdings" pitchFamily="18" charset="2"/>
              <a:buChar char="4"/>
            </a:pPr>
            <a:endParaRPr lang="fr-FR" sz="1401">
              <a:solidFill>
                <a:srgbClr val="004B5A"/>
              </a:solidFill>
            </a:endParaRPr>
          </a:p>
        </p:txBody>
      </p:sp>
      <p:sp>
        <p:nvSpPr>
          <p:cNvPr id="123" name="Ellipse 124">
            <a:extLst>
              <a:ext uri="{FF2B5EF4-FFF2-40B4-BE49-F238E27FC236}">
                <a16:creationId xmlns:a16="http://schemas.microsoft.com/office/drawing/2014/main" id="{646D9E58-623E-45EB-ABB2-9E5806E2FE46}"/>
              </a:ext>
            </a:extLst>
          </p:cNvPr>
          <p:cNvSpPr>
            <a:spLocks noChangeAspect="1"/>
          </p:cNvSpPr>
          <p:nvPr/>
        </p:nvSpPr>
        <p:spPr bwMode="auto">
          <a:xfrm>
            <a:off x="8766935" y="5159909"/>
            <a:ext cx="182907" cy="182907"/>
          </a:xfrm>
          <a:prstGeom prst="ellipse">
            <a:avLst/>
          </a:prstGeom>
          <a:solidFill>
            <a:srgbClr val="006D83"/>
          </a:solidFill>
          <a:ln w="12700" cap="flat" cmpd="sng" algn="ctr">
            <a:solidFill>
              <a:schemeClr val="accent2"/>
            </a:solidFill>
            <a:prstDash val="solid"/>
            <a:round/>
            <a:headEnd type="none" w="med" len="med"/>
            <a:tailEnd type="none" w="med" len="med"/>
          </a:ln>
          <a:effectLst/>
        </p:spPr>
        <p:txBody>
          <a:bodyPr vert="horz" wrap="square" lIns="72071" tIns="72071" rIns="72071" bIns="72071" numCol="1" rtlCol="0" anchor="t" anchorCtr="0" compatLnSpc="1">
            <a:prstTxWarp prst="textNoShape">
              <a:avLst/>
            </a:prstTxWarp>
          </a:bodyPr>
          <a:lstStyle/>
          <a:p>
            <a:pPr marL="343208" indent="-343208" defTabSz="1043926" fontAlgn="base">
              <a:spcBef>
                <a:spcPts val="600"/>
              </a:spcBef>
              <a:spcAft>
                <a:spcPct val="0"/>
              </a:spcAft>
              <a:buSzPct val="80000"/>
              <a:buFont typeface="Webdings" pitchFamily="18" charset="2"/>
              <a:buChar char="4"/>
            </a:pPr>
            <a:endParaRPr lang="fr-FR" sz="1401">
              <a:solidFill>
                <a:srgbClr val="004B5A"/>
              </a:solidFill>
            </a:endParaRPr>
          </a:p>
        </p:txBody>
      </p:sp>
      <p:sp>
        <p:nvSpPr>
          <p:cNvPr id="124" name="Ellipse 124">
            <a:extLst>
              <a:ext uri="{FF2B5EF4-FFF2-40B4-BE49-F238E27FC236}">
                <a16:creationId xmlns:a16="http://schemas.microsoft.com/office/drawing/2014/main" id="{0A39D051-BF14-489D-A086-3B36B9706B9B}"/>
              </a:ext>
            </a:extLst>
          </p:cNvPr>
          <p:cNvSpPr>
            <a:spLocks noChangeAspect="1"/>
          </p:cNvSpPr>
          <p:nvPr/>
        </p:nvSpPr>
        <p:spPr bwMode="auto">
          <a:xfrm>
            <a:off x="10995025" y="5159909"/>
            <a:ext cx="182907" cy="182907"/>
          </a:xfrm>
          <a:prstGeom prst="ellipse">
            <a:avLst/>
          </a:prstGeom>
          <a:solidFill>
            <a:srgbClr val="006D83"/>
          </a:solidFill>
          <a:ln w="12700" cap="flat" cmpd="sng" algn="ctr">
            <a:solidFill>
              <a:schemeClr val="accent2"/>
            </a:solidFill>
            <a:prstDash val="solid"/>
            <a:round/>
            <a:headEnd type="none" w="med" len="med"/>
            <a:tailEnd type="none" w="med" len="med"/>
          </a:ln>
          <a:effectLst/>
        </p:spPr>
        <p:txBody>
          <a:bodyPr vert="horz" wrap="square" lIns="72071" tIns="72071" rIns="72071" bIns="72071" numCol="1" rtlCol="0" anchor="t" anchorCtr="0" compatLnSpc="1">
            <a:prstTxWarp prst="textNoShape">
              <a:avLst/>
            </a:prstTxWarp>
          </a:bodyPr>
          <a:lstStyle/>
          <a:p>
            <a:pPr marL="343208" indent="-343208" defTabSz="1043926" fontAlgn="base">
              <a:spcBef>
                <a:spcPts val="600"/>
              </a:spcBef>
              <a:spcAft>
                <a:spcPct val="0"/>
              </a:spcAft>
              <a:buSzPct val="80000"/>
              <a:buFont typeface="Webdings" pitchFamily="18" charset="2"/>
              <a:buChar char="4"/>
            </a:pPr>
            <a:endParaRPr lang="fr-FR" sz="1401">
              <a:solidFill>
                <a:srgbClr val="004B5A"/>
              </a:solidFill>
            </a:endParaRPr>
          </a:p>
        </p:txBody>
      </p:sp>
      <p:sp>
        <p:nvSpPr>
          <p:cNvPr id="125" name="Ellipse 124">
            <a:extLst>
              <a:ext uri="{FF2B5EF4-FFF2-40B4-BE49-F238E27FC236}">
                <a16:creationId xmlns:a16="http://schemas.microsoft.com/office/drawing/2014/main" id="{D5FD749A-1C3B-4519-98EB-328A2EC70CA6}"/>
              </a:ext>
            </a:extLst>
          </p:cNvPr>
          <p:cNvSpPr>
            <a:spLocks noChangeAspect="1"/>
          </p:cNvSpPr>
          <p:nvPr/>
        </p:nvSpPr>
        <p:spPr bwMode="auto">
          <a:xfrm>
            <a:off x="9516179" y="5159909"/>
            <a:ext cx="182907" cy="182907"/>
          </a:xfrm>
          <a:prstGeom prst="ellipse">
            <a:avLst/>
          </a:prstGeom>
          <a:solidFill>
            <a:srgbClr val="006D83"/>
          </a:solidFill>
          <a:ln w="12700" cap="flat" cmpd="sng" algn="ctr">
            <a:solidFill>
              <a:schemeClr val="accent2"/>
            </a:solidFill>
            <a:prstDash val="solid"/>
            <a:round/>
            <a:headEnd type="none" w="med" len="med"/>
            <a:tailEnd type="none" w="med" len="med"/>
          </a:ln>
          <a:effectLst/>
        </p:spPr>
        <p:txBody>
          <a:bodyPr vert="horz" wrap="square" lIns="72071" tIns="72071" rIns="72071" bIns="72071" numCol="1" rtlCol="0" anchor="t" anchorCtr="0" compatLnSpc="1">
            <a:prstTxWarp prst="textNoShape">
              <a:avLst/>
            </a:prstTxWarp>
          </a:bodyPr>
          <a:lstStyle/>
          <a:p>
            <a:pPr marL="343208" indent="-343208" defTabSz="1043926" fontAlgn="base">
              <a:spcBef>
                <a:spcPts val="600"/>
              </a:spcBef>
              <a:spcAft>
                <a:spcPct val="0"/>
              </a:spcAft>
              <a:buSzPct val="80000"/>
              <a:buFont typeface="Webdings" pitchFamily="18" charset="2"/>
              <a:buChar char="4"/>
            </a:pPr>
            <a:endParaRPr lang="fr-FR" sz="1401">
              <a:solidFill>
                <a:srgbClr val="004B5A"/>
              </a:solidFill>
            </a:endParaRPr>
          </a:p>
        </p:txBody>
      </p:sp>
      <p:sp>
        <p:nvSpPr>
          <p:cNvPr id="126" name="Ellipse 124">
            <a:extLst>
              <a:ext uri="{FF2B5EF4-FFF2-40B4-BE49-F238E27FC236}">
                <a16:creationId xmlns:a16="http://schemas.microsoft.com/office/drawing/2014/main" id="{4255FE80-3C06-48EB-94E1-3C90263CE4CF}"/>
              </a:ext>
            </a:extLst>
          </p:cNvPr>
          <p:cNvSpPr>
            <a:spLocks noChangeAspect="1"/>
          </p:cNvSpPr>
          <p:nvPr/>
        </p:nvSpPr>
        <p:spPr bwMode="auto">
          <a:xfrm>
            <a:off x="8039823" y="5159909"/>
            <a:ext cx="182907" cy="182907"/>
          </a:xfrm>
          <a:prstGeom prst="ellipse">
            <a:avLst/>
          </a:prstGeom>
          <a:solidFill>
            <a:srgbClr val="006D83"/>
          </a:solidFill>
          <a:ln w="12700" cap="flat" cmpd="sng" algn="ctr">
            <a:solidFill>
              <a:schemeClr val="accent2"/>
            </a:solidFill>
            <a:prstDash val="solid"/>
            <a:round/>
            <a:headEnd type="none" w="med" len="med"/>
            <a:tailEnd type="none" w="med" len="med"/>
          </a:ln>
          <a:effectLst/>
        </p:spPr>
        <p:txBody>
          <a:bodyPr vert="horz" wrap="square" lIns="72071" tIns="72071" rIns="72071" bIns="72071" numCol="1" rtlCol="0" anchor="t" anchorCtr="0" compatLnSpc="1">
            <a:prstTxWarp prst="textNoShape">
              <a:avLst/>
            </a:prstTxWarp>
          </a:bodyPr>
          <a:lstStyle/>
          <a:p>
            <a:pPr marL="343208" indent="-343208" defTabSz="1043926" fontAlgn="base">
              <a:spcBef>
                <a:spcPts val="600"/>
              </a:spcBef>
              <a:spcAft>
                <a:spcPct val="0"/>
              </a:spcAft>
              <a:buSzPct val="80000"/>
              <a:buFont typeface="Webdings" pitchFamily="18" charset="2"/>
              <a:buChar char="4"/>
            </a:pPr>
            <a:endParaRPr lang="fr-FR" sz="1401">
              <a:solidFill>
                <a:srgbClr val="004B5A"/>
              </a:solidFill>
            </a:endParaRPr>
          </a:p>
        </p:txBody>
      </p:sp>
      <p:sp>
        <p:nvSpPr>
          <p:cNvPr id="127" name="Ellipse 126">
            <a:extLst>
              <a:ext uri="{FF2B5EF4-FFF2-40B4-BE49-F238E27FC236}">
                <a16:creationId xmlns:a16="http://schemas.microsoft.com/office/drawing/2014/main" id="{E98D371D-DD58-45E9-8D3C-222C1011E6E1}"/>
              </a:ext>
            </a:extLst>
          </p:cNvPr>
          <p:cNvSpPr>
            <a:spLocks noChangeAspect="1"/>
          </p:cNvSpPr>
          <p:nvPr/>
        </p:nvSpPr>
        <p:spPr bwMode="auto">
          <a:xfrm>
            <a:off x="11018416" y="2617943"/>
            <a:ext cx="182907" cy="182907"/>
          </a:xfrm>
          <a:prstGeom prst="ellipse">
            <a:avLst/>
          </a:prstGeom>
          <a:solidFill>
            <a:srgbClr val="006D83"/>
          </a:solidFill>
          <a:ln w="12700" cap="flat" cmpd="sng" algn="ctr">
            <a:solidFill>
              <a:schemeClr val="accent2"/>
            </a:solidFill>
            <a:prstDash val="solid"/>
            <a:round/>
            <a:headEnd type="none" w="med" len="med"/>
            <a:tailEnd type="none" w="med" len="med"/>
          </a:ln>
          <a:effectLst/>
        </p:spPr>
        <p:txBody>
          <a:bodyPr vert="horz" wrap="square" lIns="72071" tIns="72071" rIns="72071" bIns="72071" numCol="1" rtlCol="0" anchor="t" anchorCtr="0" compatLnSpc="1">
            <a:prstTxWarp prst="textNoShape">
              <a:avLst/>
            </a:prstTxWarp>
          </a:bodyPr>
          <a:lstStyle/>
          <a:p>
            <a:pPr marL="343208" indent="-343208" defTabSz="1043926" fontAlgn="base">
              <a:spcBef>
                <a:spcPts val="600"/>
              </a:spcBef>
              <a:spcAft>
                <a:spcPct val="0"/>
              </a:spcAft>
              <a:buSzPct val="80000"/>
              <a:buFont typeface="Webdings" pitchFamily="18" charset="2"/>
              <a:buChar char="4"/>
            </a:pPr>
            <a:endParaRPr lang="fr-FR" sz="1401">
              <a:solidFill>
                <a:srgbClr val="004B5A"/>
              </a:solidFill>
            </a:endParaRPr>
          </a:p>
        </p:txBody>
      </p:sp>
      <p:sp>
        <p:nvSpPr>
          <p:cNvPr id="128" name="Ellipse 124">
            <a:extLst>
              <a:ext uri="{FF2B5EF4-FFF2-40B4-BE49-F238E27FC236}">
                <a16:creationId xmlns:a16="http://schemas.microsoft.com/office/drawing/2014/main" id="{505FA1A2-09C9-4DF3-BAD2-F91A371594F9}"/>
              </a:ext>
            </a:extLst>
          </p:cNvPr>
          <p:cNvSpPr>
            <a:spLocks noChangeAspect="1"/>
          </p:cNvSpPr>
          <p:nvPr/>
        </p:nvSpPr>
        <p:spPr bwMode="auto">
          <a:xfrm>
            <a:off x="9516718" y="6173100"/>
            <a:ext cx="182907" cy="182907"/>
          </a:xfrm>
          <a:prstGeom prst="ellipse">
            <a:avLst/>
          </a:prstGeom>
          <a:solidFill>
            <a:srgbClr val="006D83"/>
          </a:solidFill>
          <a:ln w="12700" cap="flat" cmpd="sng" algn="ctr">
            <a:solidFill>
              <a:schemeClr val="accent2"/>
            </a:solidFill>
            <a:prstDash val="solid"/>
            <a:round/>
            <a:headEnd type="none" w="med" len="med"/>
            <a:tailEnd type="none" w="med" len="med"/>
          </a:ln>
          <a:effectLst/>
        </p:spPr>
        <p:txBody>
          <a:bodyPr vert="horz" wrap="square" lIns="72071" tIns="72071" rIns="72071" bIns="72071" numCol="1" rtlCol="0" anchor="t" anchorCtr="0" compatLnSpc="1">
            <a:prstTxWarp prst="textNoShape">
              <a:avLst/>
            </a:prstTxWarp>
          </a:bodyPr>
          <a:lstStyle/>
          <a:p>
            <a:pPr marL="343208" indent="-343208" defTabSz="1043926" fontAlgn="base">
              <a:spcBef>
                <a:spcPts val="600"/>
              </a:spcBef>
              <a:spcAft>
                <a:spcPct val="0"/>
              </a:spcAft>
              <a:buSzPct val="80000"/>
              <a:buFont typeface="Webdings" pitchFamily="18" charset="2"/>
              <a:buChar char="4"/>
            </a:pPr>
            <a:endParaRPr lang="fr-FR" sz="1401">
              <a:solidFill>
                <a:srgbClr val="004B5A"/>
              </a:solidFill>
            </a:endParaRPr>
          </a:p>
        </p:txBody>
      </p:sp>
      <p:sp>
        <p:nvSpPr>
          <p:cNvPr id="129" name="Ellipse 124">
            <a:extLst>
              <a:ext uri="{FF2B5EF4-FFF2-40B4-BE49-F238E27FC236}">
                <a16:creationId xmlns:a16="http://schemas.microsoft.com/office/drawing/2014/main" id="{17FA0737-2976-4AB7-834F-8499E9FA6216}"/>
              </a:ext>
            </a:extLst>
          </p:cNvPr>
          <p:cNvSpPr>
            <a:spLocks noChangeAspect="1"/>
          </p:cNvSpPr>
          <p:nvPr/>
        </p:nvSpPr>
        <p:spPr bwMode="auto">
          <a:xfrm>
            <a:off x="10995025" y="6173100"/>
            <a:ext cx="182907" cy="182907"/>
          </a:xfrm>
          <a:prstGeom prst="ellipse">
            <a:avLst/>
          </a:prstGeom>
          <a:solidFill>
            <a:srgbClr val="006D83"/>
          </a:solidFill>
          <a:ln w="12700" cap="flat" cmpd="sng" algn="ctr">
            <a:solidFill>
              <a:schemeClr val="accent2"/>
            </a:solidFill>
            <a:prstDash val="solid"/>
            <a:round/>
            <a:headEnd type="none" w="med" len="med"/>
            <a:tailEnd type="none" w="med" len="med"/>
          </a:ln>
          <a:effectLst/>
        </p:spPr>
        <p:txBody>
          <a:bodyPr vert="horz" wrap="square" lIns="72071" tIns="72071" rIns="72071" bIns="72071" numCol="1" rtlCol="0" anchor="t" anchorCtr="0" compatLnSpc="1">
            <a:prstTxWarp prst="textNoShape">
              <a:avLst/>
            </a:prstTxWarp>
          </a:bodyPr>
          <a:lstStyle/>
          <a:p>
            <a:pPr marL="343208" indent="-343208" defTabSz="1043926" fontAlgn="base">
              <a:spcBef>
                <a:spcPts val="600"/>
              </a:spcBef>
              <a:spcAft>
                <a:spcPct val="0"/>
              </a:spcAft>
              <a:buSzPct val="80000"/>
              <a:buFont typeface="Webdings" pitchFamily="18" charset="2"/>
              <a:buChar char="4"/>
            </a:pPr>
            <a:endParaRPr lang="fr-FR" sz="1401">
              <a:solidFill>
                <a:srgbClr val="004B5A"/>
              </a:solidFill>
            </a:endParaRPr>
          </a:p>
        </p:txBody>
      </p:sp>
      <p:sp>
        <p:nvSpPr>
          <p:cNvPr id="131" name="Ellipse 124">
            <a:extLst>
              <a:ext uri="{FF2B5EF4-FFF2-40B4-BE49-F238E27FC236}">
                <a16:creationId xmlns:a16="http://schemas.microsoft.com/office/drawing/2014/main" id="{5A9FCB5F-F22C-424A-8E6E-8D01228CA143}"/>
              </a:ext>
            </a:extLst>
          </p:cNvPr>
          <p:cNvSpPr>
            <a:spLocks noChangeAspect="1"/>
          </p:cNvSpPr>
          <p:nvPr/>
        </p:nvSpPr>
        <p:spPr bwMode="auto">
          <a:xfrm>
            <a:off x="8039823" y="6173100"/>
            <a:ext cx="182907" cy="182907"/>
          </a:xfrm>
          <a:prstGeom prst="ellipse">
            <a:avLst/>
          </a:prstGeom>
          <a:solidFill>
            <a:srgbClr val="006D83"/>
          </a:solidFill>
          <a:ln w="12700" cap="flat" cmpd="sng" algn="ctr">
            <a:solidFill>
              <a:schemeClr val="accent2"/>
            </a:solidFill>
            <a:prstDash val="solid"/>
            <a:round/>
            <a:headEnd type="none" w="med" len="med"/>
            <a:tailEnd type="none" w="med" len="med"/>
          </a:ln>
          <a:effectLst/>
        </p:spPr>
        <p:txBody>
          <a:bodyPr vert="horz" wrap="square" lIns="72071" tIns="72071" rIns="72071" bIns="72071" numCol="1" rtlCol="0" anchor="t" anchorCtr="0" compatLnSpc="1">
            <a:prstTxWarp prst="textNoShape">
              <a:avLst/>
            </a:prstTxWarp>
          </a:bodyPr>
          <a:lstStyle/>
          <a:p>
            <a:pPr marL="343208" indent="-343208" defTabSz="1043926" fontAlgn="base">
              <a:spcBef>
                <a:spcPts val="600"/>
              </a:spcBef>
              <a:spcAft>
                <a:spcPct val="0"/>
              </a:spcAft>
              <a:buSzPct val="80000"/>
              <a:buFont typeface="Webdings" pitchFamily="18" charset="2"/>
              <a:buChar char="4"/>
            </a:pPr>
            <a:endParaRPr lang="fr-FR" sz="1401">
              <a:solidFill>
                <a:srgbClr val="004B5A"/>
              </a:solidFill>
            </a:endParaRPr>
          </a:p>
        </p:txBody>
      </p:sp>
      <p:sp>
        <p:nvSpPr>
          <p:cNvPr id="73" name="Ellipse 124">
            <a:extLst>
              <a:ext uri="{FF2B5EF4-FFF2-40B4-BE49-F238E27FC236}">
                <a16:creationId xmlns:a16="http://schemas.microsoft.com/office/drawing/2014/main" id="{4D205BDF-0319-4DDE-B657-AA288287C2AB}"/>
              </a:ext>
            </a:extLst>
          </p:cNvPr>
          <p:cNvSpPr>
            <a:spLocks noChangeAspect="1"/>
          </p:cNvSpPr>
          <p:nvPr/>
        </p:nvSpPr>
        <p:spPr bwMode="auto">
          <a:xfrm>
            <a:off x="10260735" y="3794954"/>
            <a:ext cx="182907" cy="182907"/>
          </a:xfrm>
          <a:prstGeom prst="ellipse">
            <a:avLst/>
          </a:prstGeom>
          <a:solidFill>
            <a:srgbClr val="006D83"/>
          </a:solidFill>
          <a:ln w="12700" cap="flat" cmpd="sng" algn="ctr">
            <a:solidFill>
              <a:schemeClr val="accent2"/>
            </a:solidFill>
            <a:prstDash val="solid"/>
            <a:round/>
            <a:headEnd type="none" w="med" len="med"/>
            <a:tailEnd type="none" w="med" len="med"/>
          </a:ln>
          <a:effectLst/>
        </p:spPr>
        <p:txBody>
          <a:bodyPr vert="horz" wrap="square" lIns="72071" tIns="72071" rIns="72071" bIns="72071" numCol="1" rtlCol="0" anchor="t" anchorCtr="0" compatLnSpc="1">
            <a:prstTxWarp prst="textNoShape">
              <a:avLst/>
            </a:prstTxWarp>
          </a:bodyPr>
          <a:lstStyle/>
          <a:p>
            <a:pPr marL="343208" indent="-343208" defTabSz="1043926" fontAlgn="base">
              <a:spcBef>
                <a:spcPts val="600"/>
              </a:spcBef>
              <a:spcAft>
                <a:spcPct val="0"/>
              </a:spcAft>
              <a:buSzPct val="80000"/>
              <a:buFont typeface="Webdings" pitchFamily="18" charset="2"/>
              <a:buChar char="4"/>
            </a:pPr>
            <a:endParaRPr lang="fr-FR" sz="1401">
              <a:solidFill>
                <a:srgbClr val="004B5A"/>
              </a:solidFill>
            </a:endParaRPr>
          </a:p>
        </p:txBody>
      </p:sp>
    </p:spTree>
    <p:extLst>
      <p:ext uri="{BB962C8B-B14F-4D97-AF65-F5344CB8AC3E}">
        <p14:creationId xmlns:p14="http://schemas.microsoft.com/office/powerpoint/2010/main" val="17933432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946FBA1F-304C-40FD-82C6-067B860D1843}"/>
              </a:ext>
            </a:extLst>
          </p:cNvPr>
          <p:cNvGraphicFramePr>
            <a:graphicFrameLocks noChangeAspect="1"/>
          </p:cNvGraphicFramePr>
          <p:nvPr>
            <p:custDataLst>
              <p:tags r:id="rId2"/>
            </p:custDataLst>
            <p:extLst>
              <p:ext uri="{D42A27DB-BD31-4B8C-83A1-F6EECF244321}">
                <p14:modId xmlns:p14="http://schemas.microsoft.com/office/powerpoint/2010/main" val="2513675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134" name="Diapositive think-cell" r:id="rId4" imgW="592" imgH="584" progId="TCLayout.ActiveDocument.1">
                  <p:embed/>
                </p:oleObj>
              </mc:Choice>
              <mc:Fallback>
                <p:oleObj name="Diapositive think-cell" r:id="rId4" imgW="592" imgH="584" progId="TCLayout.ActiveDocument.1">
                  <p:embed/>
                  <p:pic>
                    <p:nvPicPr>
                      <p:cNvPr id="4" name="Objet 3" hidden="1">
                        <a:extLst>
                          <a:ext uri="{FF2B5EF4-FFF2-40B4-BE49-F238E27FC236}">
                            <a16:creationId xmlns:a16="http://schemas.microsoft.com/office/drawing/2014/main" id="{946FBA1F-304C-40FD-82C6-067B860D18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bject 18">
            <a:extLst>
              <a:ext uri="{FF2B5EF4-FFF2-40B4-BE49-F238E27FC236}">
                <a16:creationId xmlns:a16="http://schemas.microsoft.com/office/drawing/2014/main" id="{64388284-9340-4084-9DD5-42FC285B7851}"/>
              </a:ext>
            </a:extLst>
          </p:cNvPr>
          <p:cNvSpPr>
            <a:spLocks noChangeAspect="1"/>
          </p:cNvSpPr>
          <p:nvPr/>
        </p:nvSpPr>
        <p:spPr>
          <a:xfrm>
            <a:off x="-4215" y="0"/>
            <a:ext cx="1332000" cy="3528000"/>
          </a:xfrm>
          <a:custGeom>
            <a:avLst/>
            <a:gdLst/>
            <a:ahLst/>
            <a:cxnLst/>
            <a:rect l="l" t="t" r="r" b="b"/>
            <a:pathLst>
              <a:path w="1167130" h="2886075">
                <a:moveTo>
                  <a:pt x="1166888" y="0"/>
                </a:moveTo>
                <a:lnTo>
                  <a:pt x="0" y="0"/>
                </a:lnTo>
                <a:lnTo>
                  <a:pt x="0" y="2885516"/>
                </a:lnTo>
                <a:lnTo>
                  <a:pt x="1066" y="2885516"/>
                </a:lnTo>
                <a:lnTo>
                  <a:pt x="1166888" y="0"/>
                </a:lnTo>
                <a:close/>
              </a:path>
            </a:pathLst>
          </a:custGeom>
          <a:solidFill>
            <a:schemeClr val="bg1"/>
          </a:solidFill>
        </p:spPr>
        <p:txBody>
          <a:bodyPr wrap="square" lIns="0" tIns="0" rIns="0" bIns="0" rtlCol="0"/>
          <a:lstStyle/>
          <a:p>
            <a:endParaRPr lang="fr-FR" spc="100"/>
          </a:p>
        </p:txBody>
      </p:sp>
      <p:sp>
        <p:nvSpPr>
          <p:cNvPr id="3" name="Text Placeholder 10">
            <a:extLst>
              <a:ext uri="{FF2B5EF4-FFF2-40B4-BE49-F238E27FC236}">
                <a16:creationId xmlns:a16="http://schemas.microsoft.com/office/drawing/2014/main" id="{B274545E-046C-4673-9270-7E2B6060E4F9}"/>
              </a:ext>
            </a:extLst>
          </p:cNvPr>
          <p:cNvSpPr txBox="1">
            <a:spLocks/>
          </p:cNvSpPr>
          <p:nvPr/>
        </p:nvSpPr>
        <p:spPr>
          <a:xfrm>
            <a:off x="0" y="5367337"/>
            <a:ext cx="13455649" cy="600164"/>
          </a:xfrm>
          <a:prstGeom prst="rect">
            <a:avLst/>
          </a:prstGeom>
        </p:spPr>
        <p:txBody>
          <a:bodyPr wrap="square" lIns="0" tIns="0" rIns="0" bIns="0">
            <a:spAutoFit/>
          </a:bodyPr>
          <a:lstStyle>
            <a:lvl1pPr marL="0" eaLnBrk="1" hangingPunct="1">
              <a:spcBef>
                <a:spcPts val="600"/>
              </a:spcBef>
              <a:spcAft>
                <a:spcPts val="0"/>
              </a:spcAft>
              <a:defRPr lang="en-US" sz="2500" b="1" i="0" kern="1200" cap="none" spc="0" baseline="0">
                <a:solidFill>
                  <a:srgbClr val="50C0AF"/>
                </a:solidFill>
                <a:latin typeface="Arial"/>
                <a:ea typeface="+mn-ea"/>
                <a:cs typeface="Arial"/>
              </a:defRPr>
            </a:lvl1pPr>
            <a:lvl2pPr marL="246820" indent="-246820" eaLnBrk="1" hangingPunct="1">
              <a:spcBef>
                <a:spcPts val="600"/>
              </a:spcBef>
              <a:spcAft>
                <a:spcPts val="0"/>
              </a:spcAft>
              <a:buFont typeface="Wingdings" pitchFamily="2" charset="2"/>
              <a:buChar char="§"/>
              <a:defRPr sz="1600" b="0" kern="1200" spc="0">
                <a:solidFill>
                  <a:schemeClr val="tx1"/>
                </a:solidFill>
                <a:latin typeface="+mn-lt"/>
                <a:ea typeface="+mn-ea"/>
                <a:cs typeface="Arial" pitchFamily="34" charset="0"/>
              </a:defRPr>
            </a:lvl2pPr>
            <a:lvl3pPr marL="493640" indent="-246820" eaLnBrk="1" hangingPunct="1">
              <a:spcBef>
                <a:spcPts val="600"/>
              </a:spcBef>
              <a:spcAft>
                <a:spcPts val="0"/>
              </a:spcAft>
              <a:buFont typeface="Webdings" pitchFamily="18" charset="2"/>
              <a:buChar char="4"/>
              <a:defRPr sz="1600" b="0" kern="1200" spc="0">
                <a:solidFill>
                  <a:schemeClr val="tx1"/>
                </a:solidFill>
                <a:latin typeface="+mn-lt"/>
                <a:ea typeface="+mn-ea"/>
                <a:cs typeface="Arial" pitchFamily="34" charset="0"/>
              </a:defRPr>
            </a:lvl3pPr>
            <a:lvl4pPr marL="781596" indent="-205683" eaLnBrk="1" hangingPunct="1">
              <a:spcBef>
                <a:spcPts val="600"/>
              </a:spcBef>
              <a:spcAft>
                <a:spcPts val="0"/>
              </a:spcAft>
              <a:buFont typeface="Symbol" pitchFamily="18" charset="2"/>
              <a:buChar char="-"/>
              <a:defRPr sz="1600" b="0" i="0" kern="1200" spc="0" baseline="0">
                <a:solidFill>
                  <a:schemeClr val="tx1"/>
                </a:solidFill>
                <a:latin typeface="+mn-lt"/>
                <a:ea typeface="+mn-ea"/>
                <a:cs typeface="+mn-cs"/>
              </a:defRPr>
            </a:lvl4pPr>
            <a:lvl5pPr marL="1069552" indent="-246820" eaLnBrk="1" hangingPunct="1">
              <a:spcBef>
                <a:spcPts val="600"/>
              </a:spcBef>
              <a:spcAft>
                <a:spcPts val="0"/>
              </a:spcAft>
              <a:buFont typeface="Arial" pitchFamily="34" charset="0"/>
              <a:buChar char="•"/>
              <a:defRPr sz="1600" b="0" i="0" kern="1200" spc="0" baseline="0">
                <a:solidFill>
                  <a:schemeClr val="tx1"/>
                </a:solidFill>
                <a:latin typeface="+mn-lt"/>
                <a:ea typeface="+mn-ea"/>
                <a:cs typeface="+mn-cs"/>
              </a:defRPr>
            </a:lvl5pPr>
            <a:lvl6pPr marL="1357509" indent="-246820" eaLnBrk="1" hangingPunct="1">
              <a:spcBef>
                <a:spcPts val="600"/>
              </a:spcBef>
              <a:spcAft>
                <a:spcPts val="0"/>
              </a:spcAft>
              <a:buSzPct val="65000"/>
              <a:buFont typeface="Wingdings" pitchFamily="2" charset="2"/>
              <a:buChar char="w"/>
              <a:defRPr sz="1600" b="0" i="0" kern="1200" spc="0" baseline="0">
                <a:solidFill>
                  <a:schemeClr val="tx1"/>
                </a:solidFill>
                <a:latin typeface="+mn-lt"/>
                <a:ea typeface="+mn-ea"/>
                <a:cs typeface="+mn-cs"/>
              </a:defRPr>
            </a:lvl6pPr>
            <a:lvl7pPr marL="1973082" eaLnBrk="1" hangingPunct="1">
              <a:defRPr>
                <a:latin typeface="+mn-lt"/>
                <a:ea typeface="+mn-ea"/>
                <a:cs typeface="+mn-cs"/>
              </a:defRPr>
            </a:lvl7pPr>
            <a:lvl8pPr marL="2301932" eaLnBrk="1" hangingPunct="1">
              <a:defRPr>
                <a:latin typeface="+mn-lt"/>
                <a:ea typeface="+mn-ea"/>
                <a:cs typeface="+mn-cs"/>
              </a:defRPr>
            </a:lvl8pPr>
            <a:lvl9pPr marL="2630778" eaLnBrk="1" hangingPunct="1">
              <a:defRPr>
                <a:latin typeface="+mn-lt"/>
                <a:ea typeface="+mn-ea"/>
                <a:cs typeface="+mn-cs"/>
              </a:defRPr>
            </a:lvl9pPr>
          </a:lstStyle>
          <a:p>
            <a:pPr algn="ctr" defTabSz="914400"/>
            <a:r>
              <a:rPr lang="fr-FR" sz="2000" b="0">
                <a:solidFill>
                  <a:schemeClr val="bg1"/>
                </a:solidFill>
                <a:latin typeface="+mn-lt"/>
              </a:rPr>
              <a:t>Projets en Europe, North America, Asia Pacific</a:t>
            </a:r>
          </a:p>
          <a:p>
            <a:pPr algn="ctr" defTabSz="914400"/>
            <a:r>
              <a:rPr lang="fr-FR" sz="1400"/>
              <a:t>www.cylad-consulting.com</a:t>
            </a:r>
            <a:endParaRPr lang="fr-FR" sz="1400">
              <a:solidFill>
                <a:schemeClr val="bg1"/>
              </a:solidFill>
              <a:latin typeface="+mn-lt"/>
            </a:endParaRPr>
          </a:p>
        </p:txBody>
      </p:sp>
      <p:sp>
        <p:nvSpPr>
          <p:cNvPr id="5" name="Text Placeholder 9">
            <a:extLst>
              <a:ext uri="{FF2B5EF4-FFF2-40B4-BE49-F238E27FC236}">
                <a16:creationId xmlns:a16="http://schemas.microsoft.com/office/drawing/2014/main" id="{1F356C61-1D43-433C-88C6-485D9EBEAEFB}"/>
              </a:ext>
            </a:extLst>
          </p:cNvPr>
          <p:cNvSpPr txBox="1">
            <a:spLocks/>
          </p:cNvSpPr>
          <p:nvPr/>
        </p:nvSpPr>
        <p:spPr>
          <a:xfrm>
            <a:off x="-4216" y="1609726"/>
            <a:ext cx="13459865" cy="307777"/>
          </a:xfrm>
          <a:prstGeom prst="rect">
            <a:avLst/>
          </a:prstGeom>
        </p:spPr>
        <p:txBody>
          <a:bodyPr wrap="square" lIns="0" tIns="0" rIns="0" bIns="0">
            <a:spAutoFit/>
          </a:bodyPr>
          <a:lstStyle>
            <a:lvl1pPr marL="0" eaLnBrk="1" hangingPunct="1">
              <a:spcBef>
                <a:spcPts val="600"/>
              </a:spcBef>
              <a:spcAft>
                <a:spcPts val="0"/>
              </a:spcAft>
              <a:defRPr lang="en-US" sz="2500" b="1" i="0" kern="1200" cap="none" spc="0" baseline="0">
                <a:solidFill>
                  <a:srgbClr val="50C0AF"/>
                </a:solidFill>
                <a:latin typeface="Arial"/>
                <a:ea typeface="+mn-ea"/>
                <a:cs typeface="Arial"/>
              </a:defRPr>
            </a:lvl1pPr>
            <a:lvl2pPr marL="246820" indent="-246820" eaLnBrk="1" hangingPunct="1">
              <a:spcBef>
                <a:spcPts val="600"/>
              </a:spcBef>
              <a:spcAft>
                <a:spcPts val="0"/>
              </a:spcAft>
              <a:buFont typeface="Wingdings" pitchFamily="2" charset="2"/>
              <a:buChar char="§"/>
              <a:defRPr sz="1600" b="0" kern="1200" spc="0">
                <a:solidFill>
                  <a:schemeClr val="tx1"/>
                </a:solidFill>
                <a:latin typeface="+mn-lt"/>
                <a:ea typeface="+mn-ea"/>
                <a:cs typeface="Arial" pitchFamily="34" charset="0"/>
              </a:defRPr>
            </a:lvl2pPr>
            <a:lvl3pPr marL="493640" indent="-246820" eaLnBrk="1" hangingPunct="1">
              <a:spcBef>
                <a:spcPts val="600"/>
              </a:spcBef>
              <a:spcAft>
                <a:spcPts val="0"/>
              </a:spcAft>
              <a:buFont typeface="Webdings" pitchFamily="18" charset="2"/>
              <a:buChar char="4"/>
              <a:defRPr sz="1600" b="0" kern="1200" spc="0">
                <a:solidFill>
                  <a:schemeClr val="tx1"/>
                </a:solidFill>
                <a:latin typeface="+mn-lt"/>
                <a:ea typeface="+mn-ea"/>
                <a:cs typeface="Arial" pitchFamily="34" charset="0"/>
              </a:defRPr>
            </a:lvl3pPr>
            <a:lvl4pPr marL="781596" indent="-205683" eaLnBrk="1" hangingPunct="1">
              <a:spcBef>
                <a:spcPts val="600"/>
              </a:spcBef>
              <a:spcAft>
                <a:spcPts val="0"/>
              </a:spcAft>
              <a:buFont typeface="Symbol" pitchFamily="18" charset="2"/>
              <a:buChar char="-"/>
              <a:defRPr sz="1600" b="0" i="0" kern="1200" spc="0" baseline="0">
                <a:solidFill>
                  <a:schemeClr val="tx1"/>
                </a:solidFill>
                <a:latin typeface="+mn-lt"/>
                <a:ea typeface="+mn-ea"/>
                <a:cs typeface="+mn-cs"/>
              </a:defRPr>
            </a:lvl4pPr>
            <a:lvl5pPr marL="1069552" indent="-246820" eaLnBrk="1" hangingPunct="1">
              <a:spcBef>
                <a:spcPts val="600"/>
              </a:spcBef>
              <a:spcAft>
                <a:spcPts val="0"/>
              </a:spcAft>
              <a:buFont typeface="Arial" pitchFamily="34" charset="0"/>
              <a:buChar char="•"/>
              <a:defRPr sz="1600" b="0" i="0" kern="1200" spc="0" baseline="0">
                <a:solidFill>
                  <a:schemeClr val="tx1"/>
                </a:solidFill>
                <a:latin typeface="+mn-lt"/>
                <a:ea typeface="+mn-ea"/>
                <a:cs typeface="+mn-cs"/>
              </a:defRPr>
            </a:lvl5pPr>
            <a:lvl6pPr marL="1357509" indent="-246820" eaLnBrk="1" hangingPunct="1">
              <a:spcBef>
                <a:spcPts val="600"/>
              </a:spcBef>
              <a:spcAft>
                <a:spcPts val="0"/>
              </a:spcAft>
              <a:buSzPct val="65000"/>
              <a:buFont typeface="Wingdings" pitchFamily="2" charset="2"/>
              <a:buChar char="w"/>
              <a:defRPr sz="1600" b="0" i="0" kern="1200" spc="0" baseline="0">
                <a:solidFill>
                  <a:schemeClr val="tx1"/>
                </a:solidFill>
                <a:latin typeface="+mn-lt"/>
                <a:ea typeface="+mn-ea"/>
                <a:cs typeface="+mn-cs"/>
              </a:defRPr>
            </a:lvl6pPr>
            <a:lvl7pPr marL="1973082" eaLnBrk="1" hangingPunct="1">
              <a:defRPr>
                <a:latin typeface="+mn-lt"/>
                <a:ea typeface="+mn-ea"/>
                <a:cs typeface="+mn-cs"/>
              </a:defRPr>
            </a:lvl7pPr>
            <a:lvl8pPr marL="2301932" eaLnBrk="1" hangingPunct="1">
              <a:defRPr>
                <a:latin typeface="+mn-lt"/>
                <a:ea typeface="+mn-ea"/>
                <a:cs typeface="+mn-cs"/>
              </a:defRPr>
            </a:lvl8pPr>
            <a:lvl9pPr marL="2630778" eaLnBrk="1" hangingPunct="1">
              <a:defRPr>
                <a:latin typeface="+mn-lt"/>
                <a:ea typeface="+mn-ea"/>
                <a:cs typeface="+mn-cs"/>
              </a:defRPr>
            </a:lvl9pPr>
          </a:lstStyle>
          <a:p>
            <a:pPr algn="ctr" defTabSz="914400"/>
            <a:r>
              <a:rPr lang="fr-FR" sz="2000" spc="200">
                <a:solidFill>
                  <a:schemeClr val="bg1"/>
                </a:solidFill>
                <a:latin typeface="+mn-lt"/>
              </a:rPr>
              <a:t>NOUS AIDONS LES ACTEURS DE L’INDUSTRIE À : </a:t>
            </a:r>
          </a:p>
        </p:txBody>
      </p:sp>
      <p:sp>
        <p:nvSpPr>
          <p:cNvPr id="6" name="Text Placeholder 8">
            <a:extLst>
              <a:ext uri="{FF2B5EF4-FFF2-40B4-BE49-F238E27FC236}">
                <a16:creationId xmlns:a16="http://schemas.microsoft.com/office/drawing/2014/main" id="{5377DF86-7702-46A5-A7B0-A6D186AEEDBB}"/>
              </a:ext>
            </a:extLst>
          </p:cNvPr>
          <p:cNvSpPr txBox="1">
            <a:spLocks/>
          </p:cNvSpPr>
          <p:nvPr/>
        </p:nvSpPr>
        <p:spPr>
          <a:xfrm>
            <a:off x="-4216" y="2038924"/>
            <a:ext cx="13459865" cy="1440876"/>
          </a:xfrm>
          <a:prstGeom prst="rect">
            <a:avLst/>
          </a:prstGeom>
        </p:spPr>
        <p:txBody>
          <a:bodyPr/>
          <a:lstStyle>
            <a:lvl1pPr marL="0" eaLnBrk="1" hangingPunct="1">
              <a:spcAft>
                <a:spcPts val="1371"/>
              </a:spcAft>
              <a:defRPr lang="en-US" sz="1600" b="0" kern="1200" cap="none" spc="103" baseline="0" dirty="0" smtClean="0">
                <a:solidFill>
                  <a:schemeClr val="accent1"/>
                </a:solidFill>
                <a:latin typeface="+mn-lt"/>
                <a:ea typeface="+mn-ea"/>
                <a:cs typeface="Aktiv Grotesk Ex XBold" pitchFamily="34" charset="0"/>
              </a:defRPr>
            </a:lvl1pPr>
            <a:lvl2pPr marL="246845" indent="-246845" eaLnBrk="1" hangingPunct="1">
              <a:spcBef>
                <a:spcPts val="0"/>
              </a:spcBef>
              <a:spcAft>
                <a:spcPts val="0"/>
              </a:spcAft>
              <a:buFont typeface="Webdings" pitchFamily="18" charset="2"/>
              <a:buChar char="&lt;"/>
              <a:defRPr sz="1600" b="1" kern="1200" cap="none" spc="103" baseline="0">
                <a:solidFill>
                  <a:schemeClr val="tx2"/>
                </a:solidFill>
                <a:latin typeface="+mn-lt"/>
                <a:ea typeface="+mn-ea"/>
                <a:cs typeface="Aktiv Grotesk Ex XBold" pitchFamily="34" charset="0"/>
              </a:defRPr>
            </a:lvl2pPr>
            <a:lvl3pPr marL="493690" indent="-246845" eaLnBrk="1" hangingPunct="1">
              <a:spcBef>
                <a:spcPts val="0"/>
              </a:spcBef>
              <a:spcAft>
                <a:spcPts val="0"/>
              </a:spcAft>
              <a:buFont typeface="Webdings" pitchFamily="18" charset="2"/>
              <a:buChar char="4"/>
              <a:defRPr sz="1400" kern="1200" cap="none" spc="103" baseline="0">
                <a:solidFill>
                  <a:schemeClr val="tx2"/>
                </a:solidFill>
                <a:latin typeface="+mn-lt"/>
                <a:ea typeface="+mn-ea"/>
                <a:cs typeface="Aktiv Grotesk Ex XBold" pitchFamily="34" charset="0"/>
              </a:defRPr>
            </a:lvl3pPr>
            <a:lvl4pPr marL="781675" indent="-205704" eaLnBrk="1" hangingPunct="1">
              <a:spcBef>
                <a:spcPts val="0"/>
              </a:spcBef>
              <a:spcAft>
                <a:spcPts val="0"/>
              </a:spcAft>
              <a:buFont typeface="Symbol" pitchFamily="18" charset="2"/>
              <a:buChar char="-"/>
              <a:defRPr sz="1400" i="0" kern="1200" cap="none" spc="103" baseline="0">
                <a:solidFill>
                  <a:schemeClr val="tx2"/>
                </a:solidFill>
                <a:latin typeface="+mn-lt"/>
                <a:ea typeface="+mn-ea"/>
                <a:cs typeface="Aktiv Grotesk Ex XBold" pitchFamily="34" charset="0"/>
              </a:defRPr>
            </a:lvl4pPr>
            <a:lvl5pPr marL="1069661" indent="-246845" eaLnBrk="1" hangingPunct="1">
              <a:spcAft>
                <a:spcPts val="0"/>
              </a:spcAft>
              <a:buFont typeface="Arial" pitchFamily="34" charset="0"/>
              <a:buChar char="•"/>
              <a:defRPr sz="1400" i="0" kern="1200" cap="none" spc="103" baseline="0">
                <a:solidFill>
                  <a:schemeClr val="tx2"/>
                </a:solidFill>
                <a:latin typeface="+mn-lt"/>
                <a:ea typeface="+mn-ea"/>
                <a:cs typeface="Aktiv Grotesk Ex XBold" pitchFamily="34" charset="0"/>
              </a:defRPr>
            </a:lvl5pPr>
            <a:lvl6pPr marL="1357646" indent="-246845" eaLnBrk="1" hangingPunct="1">
              <a:spcAft>
                <a:spcPts val="0"/>
              </a:spcAft>
              <a:buSzPct val="65000"/>
              <a:buFont typeface="Wingdings" pitchFamily="2" charset="2"/>
              <a:buChar char="w"/>
              <a:defRPr sz="1400" i="0" kern="1200" cap="none" spc="103" baseline="0">
                <a:solidFill>
                  <a:schemeClr val="tx2"/>
                </a:solidFill>
                <a:latin typeface="+mn-lt"/>
                <a:ea typeface="+mn-ea"/>
                <a:cs typeface="Aktiv Grotesk Ex XBold" pitchFamily="34" charset="0"/>
              </a:defRPr>
            </a:lvl6pPr>
            <a:lvl7pPr marL="1973282" eaLnBrk="1" hangingPunct="1">
              <a:defRPr>
                <a:latin typeface="+mn-lt"/>
                <a:ea typeface="+mn-ea"/>
                <a:cs typeface="+mn-cs"/>
              </a:defRPr>
            </a:lvl7pPr>
            <a:lvl8pPr marL="2302164" eaLnBrk="1" hangingPunct="1">
              <a:defRPr>
                <a:latin typeface="+mn-lt"/>
                <a:ea typeface="+mn-ea"/>
                <a:cs typeface="+mn-cs"/>
              </a:defRPr>
            </a:lvl8pPr>
            <a:lvl9pPr marL="2631044" eaLnBrk="1" hangingPunct="1">
              <a:defRPr>
                <a:latin typeface="+mn-lt"/>
                <a:ea typeface="+mn-ea"/>
                <a:cs typeface="+mn-cs"/>
              </a:defRPr>
            </a:lvl9pPr>
          </a:lstStyle>
          <a:p>
            <a:pPr algn="ctr" defTabSz="914400">
              <a:spcAft>
                <a:spcPts val="600"/>
              </a:spcAft>
            </a:pPr>
            <a:r>
              <a:rPr lang="fr-FR" sz="2000">
                <a:solidFill>
                  <a:schemeClr val="accent3"/>
                </a:solidFill>
              </a:rPr>
              <a:t>DÉVELOPPER LEUR ACTIVITÉ</a:t>
            </a:r>
          </a:p>
          <a:p>
            <a:pPr algn="ctr" defTabSz="914400">
              <a:spcAft>
                <a:spcPts val="600"/>
              </a:spcAft>
            </a:pPr>
            <a:r>
              <a:rPr lang="fr-FR" sz="2000">
                <a:solidFill>
                  <a:schemeClr val="accent3"/>
                </a:solidFill>
              </a:rPr>
              <a:t>AMÉLIORER LEUR PERFORMANCE</a:t>
            </a:r>
          </a:p>
          <a:p>
            <a:pPr algn="ctr" defTabSz="914400">
              <a:spcAft>
                <a:spcPts val="600"/>
              </a:spcAft>
            </a:pPr>
            <a:r>
              <a:rPr lang="fr-FR" sz="2000">
                <a:solidFill>
                  <a:schemeClr val="accent3"/>
                </a:solidFill>
              </a:rPr>
              <a:t>AUGMENTER LEUR AGILITE</a:t>
            </a:r>
          </a:p>
          <a:p>
            <a:pPr algn="ctr" defTabSz="914400"/>
            <a:endParaRPr lang="fr-FR" sz="1800"/>
          </a:p>
        </p:txBody>
      </p:sp>
      <p:sp>
        <p:nvSpPr>
          <p:cNvPr id="7" name="Text Placeholder 11">
            <a:extLst>
              <a:ext uri="{FF2B5EF4-FFF2-40B4-BE49-F238E27FC236}">
                <a16:creationId xmlns:a16="http://schemas.microsoft.com/office/drawing/2014/main" id="{3BB9DDF9-22FA-412F-ACAC-C8FC9FBD2231}"/>
              </a:ext>
            </a:extLst>
          </p:cNvPr>
          <p:cNvSpPr txBox="1">
            <a:spLocks/>
          </p:cNvSpPr>
          <p:nvPr/>
        </p:nvSpPr>
        <p:spPr>
          <a:xfrm>
            <a:off x="0" y="6223000"/>
            <a:ext cx="13455649" cy="507831"/>
          </a:xfrm>
          <a:prstGeom prst="rect">
            <a:avLst/>
          </a:prstGeom>
        </p:spPr>
        <p:txBody>
          <a:bodyPr wrap="square" lIns="0" tIns="0" rIns="0" bIns="0">
            <a:spAutoFit/>
          </a:bodyPr>
          <a:lstStyle>
            <a:lvl1pPr marL="0" eaLnBrk="1" hangingPunct="1">
              <a:spcBef>
                <a:spcPts val="600"/>
              </a:spcBef>
              <a:spcAft>
                <a:spcPts val="0"/>
              </a:spcAft>
              <a:defRPr lang="en-US" sz="2500" b="1" i="0" kern="1200" cap="none" spc="0" baseline="0">
                <a:solidFill>
                  <a:srgbClr val="50C0AF"/>
                </a:solidFill>
                <a:latin typeface="Arial"/>
                <a:ea typeface="+mn-ea"/>
                <a:cs typeface="Arial"/>
              </a:defRPr>
            </a:lvl1pPr>
            <a:lvl2pPr marL="246820" indent="-246820" eaLnBrk="1" hangingPunct="1">
              <a:spcBef>
                <a:spcPts val="600"/>
              </a:spcBef>
              <a:spcAft>
                <a:spcPts val="0"/>
              </a:spcAft>
              <a:buFont typeface="Wingdings" pitchFamily="2" charset="2"/>
              <a:buChar char="§"/>
              <a:defRPr sz="1600" b="0" kern="1200" spc="0">
                <a:solidFill>
                  <a:schemeClr val="tx1"/>
                </a:solidFill>
                <a:latin typeface="+mn-lt"/>
                <a:ea typeface="+mn-ea"/>
                <a:cs typeface="Arial" pitchFamily="34" charset="0"/>
              </a:defRPr>
            </a:lvl2pPr>
            <a:lvl3pPr marL="493640" indent="-246820" eaLnBrk="1" hangingPunct="1">
              <a:spcBef>
                <a:spcPts val="600"/>
              </a:spcBef>
              <a:spcAft>
                <a:spcPts val="0"/>
              </a:spcAft>
              <a:buFont typeface="Webdings" pitchFamily="18" charset="2"/>
              <a:buChar char="4"/>
              <a:defRPr sz="1600" b="0" kern="1200" spc="0">
                <a:solidFill>
                  <a:schemeClr val="tx1"/>
                </a:solidFill>
                <a:latin typeface="+mn-lt"/>
                <a:ea typeface="+mn-ea"/>
                <a:cs typeface="Arial" pitchFamily="34" charset="0"/>
              </a:defRPr>
            </a:lvl3pPr>
            <a:lvl4pPr marL="781596" indent="-205683" eaLnBrk="1" hangingPunct="1">
              <a:spcBef>
                <a:spcPts val="600"/>
              </a:spcBef>
              <a:spcAft>
                <a:spcPts val="0"/>
              </a:spcAft>
              <a:buFont typeface="Symbol" pitchFamily="18" charset="2"/>
              <a:buChar char="-"/>
              <a:defRPr sz="1600" b="0" i="0" kern="1200" spc="0" baseline="0">
                <a:solidFill>
                  <a:schemeClr val="tx1"/>
                </a:solidFill>
                <a:latin typeface="+mn-lt"/>
                <a:ea typeface="+mn-ea"/>
                <a:cs typeface="+mn-cs"/>
              </a:defRPr>
            </a:lvl4pPr>
            <a:lvl5pPr marL="1069552" indent="-246820" eaLnBrk="1" hangingPunct="1">
              <a:spcBef>
                <a:spcPts val="600"/>
              </a:spcBef>
              <a:spcAft>
                <a:spcPts val="0"/>
              </a:spcAft>
              <a:buFont typeface="Arial" pitchFamily="34" charset="0"/>
              <a:buChar char="•"/>
              <a:defRPr sz="1600" b="0" i="0" kern="1200" spc="0" baseline="0">
                <a:solidFill>
                  <a:schemeClr val="tx1"/>
                </a:solidFill>
                <a:latin typeface="+mn-lt"/>
                <a:ea typeface="+mn-ea"/>
                <a:cs typeface="+mn-cs"/>
              </a:defRPr>
            </a:lvl5pPr>
            <a:lvl6pPr marL="1357509" indent="-246820" eaLnBrk="1" hangingPunct="1">
              <a:spcBef>
                <a:spcPts val="600"/>
              </a:spcBef>
              <a:spcAft>
                <a:spcPts val="0"/>
              </a:spcAft>
              <a:buSzPct val="65000"/>
              <a:buFont typeface="Wingdings" pitchFamily="2" charset="2"/>
              <a:buChar char="w"/>
              <a:defRPr sz="1600" b="0" i="0" kern="1200" spc="0" baseline="0">
                <a:solidFill>
                  <a:schemeClr val="tx1"/>
                </a:solidFill>
                <a:latin typeface="+mn-lt"/>
                <a:ea typeface="+mn-ea"/>
                <a:cs typeface="+mn-cs"/>
              </a:defRPr>
            </a:lvl6pPr>
            <a:lvl7pPr marL="1973082" eaLnBrk="1" hangingPunct="1">
              <a:defRPr>
                <a:latin typeface="+mn-lt"/>
                <a:ea typeface="+mn-ea"/>
                <a:cs typeface="+mn-cs"/>
              </a:defRPr>
            </a:lvl7pPr>
            <a:lvl8pPr marL="2301932" eaLnBrk="1" hangingPunct="1">
              <a:defRPr>
                <a:latin typeface="+mn-lt"/>
                <a:ea typeface="+mn-ea"/>
                <a:cs typeface="+mn-cs"/>
              </a:defRPr>
            </a:lvl8pPr>
            <a:lvl9pPr marL="2630778" eaLnBrk="1" hangingPunct="1">
              <a:defRPr>
                <a:latin typeface="+mn-lt"/>
                <a:ea typeface="+mn-ea"/>
                <a:cs typeface="+mn-cs"/>
              </a:defRPr>
            </a:lvl9pPr>
          </a:lstStyle>
          <a:p>
            <a:pPr algn="ctr" defTabSz="914400"/>
            <a:r>
              <a:rPr lang="fr-FR" sz="1400" b="0" spc="400" dirty="0">
                <a:solidFill>
                  <a:schemeClr val="bg1"/>
                </a:solidFill>
                <a:latin typeface="+mn-lt"/>
                <a:cs typeface="Arial" panose="020B0604020202020204" pitchFamily="34" charset="0"/>
              </a:rPr>
              <a:t>PARIS</a:t>
            </a:r>
            <a:r>
              <a:rPr lang="fr-FR" sz="1400" dirty="0"/>
              <a:t> </a:t>
            </a:r>
            <a:r>
              <a:rPr lang="fr-FR" sz="1400" dirty="0">
                <a:solidFill>
                  <a:schemeClr val="accent3"/>
                </a:solidFill>
              </a:rPr>
              <a:t>▪</a:t>
            </a:r>
            <a:r>
              <a:rPr lang="fr-FR" sz="1400" dirty="0"/>
              <a:t> </a:t>
            </a:r>
            <a:r>
              <a:rPr lang="fr-FR" sz="1400" b="0" spc="400" dirty="0">
                <a:solidFill>
                  <a:schemeClr val="bg1"/>
                </a:solidFill>
                <a:latin typeface="+mn-lt"/>
                <a:cs typeface="Arial" panose="020B0604020202020204" pitchFamily="34" charset="0"/>
              </a:rPr>
              <a:t>TOULOUSE</a:t>
            </a:r>
            <a:r>
              <a:rPr lang="fr-FR" sz="1400" dirty="0"/>
              <a:t> </a:t>
            </a:r>
            <a:r>
              <a:rPr lang="fr-FR" sz="1400" dirty="0">
                <a:solidFill>
                  <a:schemeClr val="accent3"/>
                </a:solidFill>
              </a:rPr>
              <a:t>▪</a:t>
            </a:r>
            <a:r>
              <a:rPr lang="fr-FR" sz="1400" dirty="0"/>
              <a:t> </a:t>
            </a:r>
            <a:r>
              <a:rPr lang="fr-FR" sz="1400" b="0" spc="400" dirty="0">
                <a:solidFill>
                  <a:schemeClr val="bg1"/>
                </a:solidFill>
                <a:latin typeface="+mn-lt"/>
                <a:cs typeface="Arial" panose="020B0604020202020204" pitchFamily="34" charset="0"/>
              </a:rPr>
              <a:t>HAMBURG</a:t>
            </a:r>
          </a:p>
          <a:p>
            <a:pPr algn="ctr" defTabSz="914400"/>
            <a:r>
              <a:rPr lang="fr-FR" sz="1400" b="0" spc="400" dirty="0">
                <a:solidFill>
                  <a:schemeClr val="bg1"/>
                </a:solidFill>
                <a:latin typeface="+mn-lt"/>
                <a:cs typeface="Arial" panose="020B0604020202020204" pitchFamily="34" charset="0"/>
              </a:rPr>
              <a:t>BAAR/ZUG </a:t>
            </a:r>
            <a:r>
              <a:rPr lang="fr-FR" sz="1400" dirty="0">
                <a:solidFill>
                  <a:schemeClr val="accent3"/>
                </a:solidFill>
              </a:rPr>
              <a:t>▪</a:t>
            </a:r>
            <a:r>
              <a:rPr lang="fr-FR" sz="1400" dirty="0"/>
              <a:t> </a:t>
            </a:r>
            <a:r>
              <a:rPr lang="fr-FR" sz="1400" b="0" spc="400" dirty="0">
                <a:solidFill>
                  <a:schemeClr val="bg1"/>
                </a:solidFill>
                <a:latin typeface="+mn-lt"/>
                <a:cs typeface="Arial" panose="020B0604020202020204" pitchFamily="34" charset="0"/>
              </a:rPr>
              <a:t>MELBOURNE </a:t>
            </a:r>
            <a:r>
              <a:rPr lang="fr-FR" sz="1400" dirty="0">
                <a:solidFill>
                  <a:schemeClr val="accent3"/>
                </a:solidFill>
              </a:rPr>
              <a:t>▪</a:t>
            </a:r>
            <a:r>
              <a:rPr lang="fr-FR" sz="1400" b="0" spc="400" dirty="0">
                <a:solidFill>
                  <a:schemeClr val="bg1"/>
                </a:solidFill>
                <a:latin typeface="+mn-lt"/>
                <a:cs typeface="Arial" panose="020B0604020202020204" pitchFamily="34" charset="0"/>
              </a:rPr>
              <a:t> MONTREAL</a:t>
            </a:r>
          </a:p>
        </p:txBody>
      </p:sp>
    </p:spTree>
    <p:extLst>
      <p:ext uri="{BB962C8B-B14F-4D97-AF65-F5344CB8AC3E}">
        <p14:creationId xmlns:p14="http://schemas.microsoft.com/office/powerpoint/2010/main" val="14112408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68127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 name="Objet 47" hidden="1">
            <a:extLst>
              <a:ext uri="{FF2B5EF4-FFF2-40B4-BE49-F238E27FC236}">
                <a16:creationId xmlns:a16="http://schemas.microsoft.com/office/drawing/2014/main" id="{17C64D04-C379-40E7-84A0-2C8C7C27295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67" name="Diapositive think-cell" r:id="rId5" imgW="473" imgH="470" progId="TCLayout.ActiveDocument.1">
                  <p:embed/>
                </p:oleObj>
              </mc:Choice>
              <mc:Fallback>
                <p:oleObj name="Diapositive think-cell" r:id="rId5" imgW="473" imgH="470" progId="TCLayout.ActiveDocument.1">
                  <p:embed/>
                  <p:pic>
                    <p:nvPicPr>
                      <p:cNvPr id="48" name="Objet 47" hidden="1">
                        <a:extLst>
                          <a:ext uri="{FF2B5EF4-FFF2-40B4-BE49-F238E27FC236}">
                            <a16:creationId xmlns:a16="http://schemas.microsoft.com/office/drawing/2014/main" id="{17C64D04-C379-40E7-84A0-2C8C7C27295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7" name="Rectangle 46" hidden="1">
            <a:extLst>
              <a:ext uri="{FF2B5EF4-FFF2-40B4-BE49-F238E27FC236}">
                <a16:creationId xmlns:a16="http://schemas.microsoft.com/office/drawing/2014/main" id="{8D0D105C-2C02-4B6E-B96F-BDE51378BBAD}"/>
              </a:ext>
            </a:extLst>
          </p:cNvPr>
          <p:cNvSpPr/>
          <p:nvPr>
            <p:custDataLst>
              <p:tags r:id="rId3"/>
            </p:custDataLst>
          </p:nvPr>
        </p:nvSpPr>
        <p:spPr>
          <a:xfrm>
            <a:off x="0" y="0"/>
            <a:ext cx="158750" cy="158750"/>
          </a:xfrm>
          <a:prstGeom prst="rect">
            <a:avLst/>
          </a:prstGeom>
          <a:solidFill>
            <a:schemeClr val="tx2"/>
          </a:solidFill>
        </p:spPr>
        <p:txBody>
          <a:bodyPr wrap="none" lIns="0" tIns="0" rIns="0" bIns="0" numCol="1" spcCol="0" rtlCol="0" anchor="ctr" anchorCtr="0">
            <a:noAutofit/>
          </a:bodyPr>
          <a:lstStyle/>
          <a:p>
            <a:pPr algn="ctr"/>
            <a:endParaRPr lang="fr-FR" sz="2200" b="1" dirty="0" err="1">
              <a:solidFill>
                <a:schemeClr val="bg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2" name="Titre 1">
            <a:extLst>
              <a:ext uri="{FF2B5EF4-FFF2-40B4-BE49-F238E27FC236}">
                <a16:creationId xmlns:a16="http://schemas.microsoft.com/office/drawing/2014/main" id="{90BD4E52-2D39-479E-8770-7213C13EF2E2}"/>
              </a:ext>
            </a:extLst>
          </p:cNvPr>
          <p:cNvSpPr>
            <a:spLocks noGrp="1"/>
          </p:cNvSpPr>
          <p:nvPr>
            <p:ph type="title"/>
          </p:nvPr>
        </p:nvSpPr>
        <p:spPr>
          <a:xfrm>
            <a:off x="609618" y="207108"/>
            <a:ext cx="12218110" cy="677108"/>
          </a:xfrm>
        </p:spPr>
        <p:txBody>
          <a:bodyPr/>
          <a:lstStyle/>
          <a:p>
            <a:r>
              <a:rPr lang="fr-FR" dirty="0"/>
              <a:t>Un accompagnement couvrant 7 dimensions pour adresser à 360° vos enjeux de transformation, de compétitivité et de croissance </a:t>
            </a:r>
            <a:endParaRPr lang="en-US" dirty="0"/>
          </a:p>
        </p:txBody>
      </p:sp>
      <p:sp>
        <p:nvSpPr>
          <p:cNvPr id="15" name="Ellipse 14">
            <a:extLst>
              <a:ext uri="{FF2B5EF4-FFF2-40B4-BE49-F238E27FC236}">
                <a16:creationId xmlns:a16="http://schemas.microsoft.com/office/drawing/2014/main" id="{FC5D8C71-FD56-4661-B9F6-4B079DA66917}"/>
              </a:ext>
            </a:extLst>
          </p:cNvPr>
          <p:cNvSpPr/>
          <p:nvPr/>
        </p:nvSpPr>
        <p:spPr>
          <a:xfrm>
            <a:off x="2996682" y="2808721"/>
            <a:ext cx="3135166" cy="3184944"/>
          </a:xfrm>
          <a:prstGeom prst="ellipse">
            <a:avLst/>
          </a:prstGeom>
          <a:solidFill>
            <a:schemeClr val="tx2"/>
          </a:solidFill>
        </p:spPr>
        <p:txBody>
          <a:bodyPr wrap="square" lIns="0" tIns="0" rIns="0" bIns="0" rtlCol="0" anchor="ctr"/>
          <a:lstStyle/>
          <a:p>
            <a:pPr algn="ctr"/>
            <a:endParaRPr lang="en-US" sz="3600" dirty="0" err="1">
              <a:solidFill>
                <a:schemeClr val="bg1"/>
              </a:solidFill>
            </a:endParaRPr>
          </a:p>
        </p:txBody>
      </p:sp>
      <p:sp>
        <p:nvSpPr>
          <p:cNvPr id="16" name="ListLeanHorizontalTextTopic2">
            <a:extLst>
              <a:ext uri="{FF2B5EF4-FFF2-40B4-BE49-F238E27FC236}">
                <a16:creationId xmlns:a16="http://schemas.microsoft.com/office/drawing/2014/main" id="{D63E7201-9AB5-4A0C-9650-0D99825F9915}"/>
              </a:ext>
            </a:extLst>
          </p:cNvPr>
          <p:cNvSpPr txBox="1">
            <a:spLocks/>
          </p:cNvSpPr>
          <p:nvPr/>
        </p:nvSpPr>
        <p:spPr>
          <a:xfrm>
            <a:off x="6609032" y="4131903"/>
            <a:ext cx="1427816" cy="415498"/>
          </a:xfrm>
          <a:prstGeom prst="rect">
            <a:avLst/>
          </a:prstGeom>
          <a:noFill/>
          <a:ln w="9525">
            <a:noFill/>
          </a:ln>
        </p:spPr>
        <p:txBody>
          <a:bodyPr vert="horz" wrap="square" lIns="0" tIns="0" rIns="0" bIns="0" rtlCol="0" anchor="t">
            <a:spAutoFit/>
          </a:bodyPr>
          <a:lstStyle/>
          <a:p>
            <a:pPr defTabSz="734738">
              <a:lnSpc>
                <a:spcPct val="90000"/>
              </a:lnSpc>
              <a:buClr>
                <a:srgbClr val="000000"/>
              </a:buClr>
              <a:buSzPct val="100000"/>
            </a:pPr>
            <a:r>
              <a:rPr lang="fr-FR" sz="1500" dirty="0">
                <a:solidFill>
                  <a:schemeClr val="tx2"/>
                </a:solidFill>
                <a:cs typeface="Arial" pitchFamily="34" charset="0"/>
              </a:rPr>
              <a:t>Performance industrielle</a:t>
            </a:r>
          </a:p>
        </p:txBody>
      </p:sp>
      <p:sp>
        <p:nvSpPr>
          <p:cNvPr id="17" name="ListLeanHorizontalTextTopic2">
            <a:extLst>
              <a:ext uri="{FF2B5EF4-FFF2-40B4-BE49-F238E27FC236}">
                <a16:creationId xmlns:a16="http://schemas.microsoft.com/office/drawing/2014/main" id="{38299816-606B-48E3-B344-E3C358D142BC}"/>
              </a:ext>
            </a:extLst>
          </p:cNvPr>
          <p:cNvSpPr txBox="1">
            <a:spLocks/>
          </p:cNvSpPr>
          <p:nvPr/>
        </p:nvSpPr>
        <p:spPr>
          <a:xfrm rot="11314">
            <a:off x="6056737" y="2900537"/>
            <a:ext cx="2172380" cy="623248"/>
          </a:xfrm>
          <a:prstGeom prst="rect">
            <a:avLst/>
          </a:prstGeom>
          <a:noFill/>
          <a:ln w="9525">
            <a:noFill/>
          </a:ln>
        </p:spPr>
        <p:txBody>
          <a:bodyPr vert="horz" wrap="square" lIns="0" tIns="0" rIns="0" bIns="0" rtlCol="0" anchor="t">
            <a:spAutoFit/>
          </a:bodyPr>
          <a:lstStyle/>
          <a:p>
            <a:pPr defTabSz="734738">
              <a:lnSpc>
                <a:spcPct val="90000"/>
              </a:lnSpc>
              <a:buClr>
                <a:srgbClr val="000000"/>
              </a:buClr>
              <a:buSzPct val="100000"/>
            </a:pPr>
            <a:r>
              <a:rPr lang="fr-FR" sz="1500" dirty="0">
                <a:solidFill>
                  <a:schemeClr val="tx2"/>
                </a:solidFill>
                <a:cs typeface="Arial" pitchFamily="34" charset="0"/>
              </a:rPr>
              <a:t>Intégration du numérique </a:t>
            </a:r>
          </a:p>
          <a:p>
            <a:pPr defTabSz="734738">
              <a:lnSpc>
                <a:spcPct val="90000"/>
              </a:lnSpc>
              <a:buClr>
                <a:srgbClr val="000000"/>
              </a:buClr>
              <a:buSzPct val="100000"/>
            </a:pPr>
            <a:r>
              <a:rPr lang="fr-FR" sz="1500" dirty="0">
                <a:solidFill>
                  <a:schemeClr val="tx2"/>
                </a:solidFill>
                <a:cs typeface="Arial" pitchFamily="34" charset="0"/>
              </a:rPr>
              <a:t>et des technologies de production avancées</a:t>
            </a:r>
          </a:p>
        </p:txBody>
      </p:sp>
      <p:sp>
        <p:nvSpPr>
          <p:cNvPr id="18" name="ListLeanHorizontalTextTopic2">
            <a:extLst>
              <a:ext uri="{FF2B5EF4-FFF2-40B4-BE49-F238E27FC236}">
                <a16:creationId xmlns:a16="http://schemas.microsoft.com/office/drawing/2014/main" id="{F74D1F52-C936-45B9-91C3-02157C04A470}"/>
              </a:ext>
            </a:extLst>
          </p:cNvPr>
          <p:cNvSpPr txBox="1">
            <a:spLocks/>
          </p:cNvSpPr>
          <p:nvPr/>
        </p:nvSpPr>
        <p:spPr>
          <a:xfrm rot="42761">
            <a:off x="492249" y="3872013"/>
            <a:ext cx="2130346" cy="830997"/>
          </a:xfrm>
          <a:prstGeom prst="rect">
            <a:avLst/>
          </a:prstGeom>
          <a:noFill/>
          <a:ln w="9525">
            <a:noFill/>
          </a:ln>
        </p:spPr>
        <p:txBody>
          <a:bodyPr vert="horz" wrap="square" lIns="0" tIns="0" rIns="0" bIns="0" rtlCol="0" anchor="t">
            <a:spAutoFit/>
          </a:bodyPr>
          <a:lstStyle/>
          <a:p>
            <a:pPr algn="r" defTabSz="734738">
              <a:lnSpc>
                <a:spcPct val="90000"/>
              </a:lnSpc>
              <a:buClr>
                <a:srgbClr val="000000"/>
              </a:buClr>
              <a:buSzPct val="100000"/>
            </a:pPr>
            <a:r>
              <a:rPr lang="fr-FR" sz="1500" dirty="0">
                <a:solidFill>
                  <a:schemeClr val="tx2"/>
                </a:solidFill>
                <a:cs typeface="Arial" pitchFamily="34" charset="0"/>
              </a:rPr>
              <a:t>Accompagnement humain, acceptabilité du changement, valorisation des salariés, etc.</a:t>
            </a:r>
          </a:p>
        </p:txBody>
      </p:sp>
      <p:sp>
        <p:nvSpPr>
          <p:cNvPr id="19" name="ListLeanHorizontalTextTopic2">
            <a:extLst>
              <a:ext uri="{FF2B5EF4-FFF2-40B4-BE49-F238E27FC236}">
                <a16:creationId xmlns:a16="http://schemas.microsoft.com/office/drawing/2014/main" id="{7B520A34-75A1-4155-BBC7-30FED3DB01F8}"/>
              </a:ext>
            </a:extLst>
          </p:cNvPr>
          <p:cNvSpPr txBox="1">
            <a:spLocks/>
          </p:cNvSpPr>
          <p:nvPr/>
        </p:nvSpPr>
        <p:spPr>
          <a:xfrm rot="21568720">
            <a:off x="6135838" y="5392720"/>
            <a:ext cx="2089703" cy="830997"/>
          </a:xfrm>
          <a:prstGeom prst="rect">
            <a:avLst/>
          </a:prstGeom>
          <a:noFill/>
          <a:ln w="9525">
            <a:noFill/>
          </a:ln>
        </p:spPr>
        <p:txBody>
          <a:bodyPr vert="horz" wrap="square" lIns="0" tIns="0" rIns="0" bIns="0" rtlCol="0" anchor="t">
            <a:spAutoFit/>
          </a:bodyPr>
          <a:lstStyle/>
          <a:p>
            <a:pPr defTabSz="734738">
              <a:lnSpc>
                <a:spcPct val="90000"/>
              </a:lnSpc>
              <a:buClr>
                <a:srgbClr val="000000"/>
              </a:buClr>
              <a:buSzPct val="100000"/>
            </a:pPr>
            <a:r>
              <a:rPr lang="fr-FR" sz="1500" dirty="0">
                <a:solidFill>
                  <a:schemeClr val="tx2"/>
                </a:solidFill>
                <a:cs typeface="Arial" pitchFamily="34" charset="0"/>
              </a:rPr>
              <a:t>Performance organisationnelle, qualité, prise en compte de l’entreprise étendue</a:t>
            </a:r>
          </a:p>
        </p:txBody>
      </p:sp>
      <p:sp>
        <p:nvSpPr>
          <p:cNvPr id="20" name="ListLeanHorizontalTextTopic2">
            <a:extLst>
              <a:ext uri="{FF2B5EF4-FFF2-40B4-BE49-F238E27FC236}">
                <a16:creationId xmlns:a16="http://schemas.microsoft.com/office/drawing/2014/main" id="{2A43205C-200C-4DD4-B596-FEB54C998836}"/>
              </a:ext>
            </a:extLst>
          </p:cNvPr>
          <p:cNvSpPr txBox="1">
            <a:spLocks/>
          </p:cNvSpPr>
          <p:nvPr/>
        </p:nvSpPr>
        <p:spPr>
          <a:xfrm rot="32720">
            <a:off x="726073" y="5393985"/>
            <a:ext cx="2262906" cy="623248"/>
          </a:xfrm>
          <a:prstGeom prst="rect">
            <a:avLst/>
          </a:prstGeom>
          <a:noFill/>
          <a:ln w="9525">
            <a:noFill/>
          </a:ln>
        </p:spPr>
        <p:txBody>
          <a:bodyPr vert="horz" wrap="square" lIns="0" tIns="0" rIns="0" bIns="0" rtlCol="0" anchor="t">
            <a:spAutoFit/>
          </a:bodyPr>
          <a:lstStyle/>
          <a:p>
            <a:pPr algn="r" defTabSz="734738">
              <a:lnSpc>
                <a:spcPct val="90000"/>
              </a:lnSpc>
              <a:buClr>
                <a:srgbClr val="000000"/>
              </a:buClr>
              <a:buSzPct val="100000"/>
            </a:pPr>
            <a:r>
              <a:rPr lang="fr-FR" sz="1500" dirty="0">
                <a:solidFill>
                  <a:schemeClr val="tx2"/>
                </a:solidFill>
                <a:cs typeface="Arial" pitchFamily="34" charset="0"/>
              </a:rPr>
              <a:t>Réduction de l’empreinte environnementale et économies d’énergie</a:t>
            </a:r>
          </a:p>
        </p:txBody>
      </p:sp>
      <p:sp>
        <p:nvSpPr>
          <p:cNvPr id="21" name="ListLeanHorizontalTextTopic2">
            <a:extLst>
              <a:ext uri="{FF2B5EF4-FFF2-40B4-BE49-F238E27FC236}">
                <a16:creationId xmlns:a16="http://schemas.microsoft.com/office/drawing/2014/main" id="{61DC2854-EE84-4995-BC76-44F87455E167}"/>
              </a:ext>
            </a:extLst>
          </p:cNvPr>
          <p:cNvSpPr txBox="1">
            <a:spLocks/>
          </p:cNvSpPr>
          <p:nvPr/>
        </p:nvSpPr>
        <p:spPr>
          <a:xfrm rot="42761">
            <a:off x="526190" y="2912201"/>
            <a:ext cx="2452724" cy="415498"/>
          </a:xfrm>
          <a:prstGeom prst="rect">
            <a:avLst/>
          </a:prstGeom>
          <a:noFill/>
          <a:ln w="9525">
            <a:noFill/>
          </a:ln>
        </p:spPr>
        <p:txBody>
          <a:bodyPr vert="horz" wrap="square" lIns="0" tIns="0" rIns="0" bIns="0" rtlCol="0" anchor="t">
            <a:spAutoFit/>
          </a:bodyPr>
          <a:lstStyle/>
          <a:p>
            <a:pPr algn="r" defTabSz="734738">
              <a:lnSpc>
                <a:spcPct val="90000"/>
              </a:lnSpc>
              <a:buClr>
                <a:srgbClr val="000000"/>
              </a:buClr>
              <a:buSzPct val="100000"/>
            </a:pPr>
            <a:r>
              <a:rPr lang="fr-FR" sz="1500" dirty="0">
                <a:solidFill>
                  <a:schemeClr val="tx2"/>
                </a:solidFill>
                <a:cs typeface="Arial" pitchFamily="34" charset="0"/>
              </a:rPr>
              <a:t>Performance économique </a:t>
            </a:r>
          </a:p>
          <a:p>
            <a:pPr algn="r" defTabSz="734738">
              <a:lnSpc>
                <a:spcPct val="90000"/>
              </a:lnSpc>
              <a:buClr>
                <a:srgbClr val="000000"/>
              </a:buClr>
              <a:buSzPct val="100000"/>
            </a:pPr>
            <a:r>
              <a:rPr lang="fr-FR" sz="1500" dirty="0">
                <a:solidFill>
                  <a:schemeClr val="tx2"/>
                </a:solidFill>
                <a:cs typeface="Arial" pitchFamily="34" charset="0"/>
              </a:rPr>
              <a:t>et nouveaux modèles</a:t>
            </a:r>
          </a:p>
        </p:txBody>
      </p:sp>
      <p:sp>
        <p:nvSpPr>
          <p:cNvPr id="22" name="ListLeanHorizontalTextTopic2">
            <a:extLst>
              <a:ext uri="{FF2B5EF4-FFF2-40B4-BE49-F238E27FC236}">
                <a16:creationId xmlns:a16="http://schemas.microsoft.com/office/drawing/2014/main" id="{21587659-40C4-4CEA-B232-AAB07250F135}"/>
              </a:ext>
            </a:extLst>
          </p:cNvPr>
          <p:cNvSpPr txBox="1">
            <a:spLocks/>
          </p:cNvSpPr>
          <p:nvPr/>
        </p:nvSpPr>
        <p:spPr>
          <a:xfrm rot="11314">
            <a:off x="3805692" y="2385323"/>
            <a:ext cx="1553355" cy="207749"/>
          </a:xfrm>
          <a:prstGeom prst="rect">
            <a:avLst/>
          </a:prstGeom>
          <a:noFill/>
          <a:ln w="9525">
            <a:noFill/>
          </a:ln>
        </p:spPr>
        <p:txBody>
          <a:bodyPr vert="horz" wrap="square" lIns="0" tIns="0" rIns="0" bIns="0" rtlCol="0" anchor="t">
            <a:spAutoFit/>
          </a:bodyPr>
          <a:lstStyle/>
          <a:p>
            <a:pPr algn="ctr" defTabSz="734738">
              <a:lnSpc>
                <a:spcPct val="90000"/>
              </a:lnSpc>
              <a:buClr>
                <a:srgbClr val="000000"/>
              </a:buClr>
              <a:buSzPct val="100000"/>
            </a:pPr>
            <a:r>
              <a:rPr lang="fr-FR" sz="1500" dirty="0">
                <a:solidFill>
                  <a:schemeClr val="tx2"/>
                </a:solidFill>
                <a:cs typeface="Arial" pitchFamily="34" charset="0"/>
              </a:rPr>
              <a:t>Vision et stratégie</a:t>
            </a:r>
          </a:p>
        </p:txBody>
      </p:sp>
      <p:pic>
        <p:nvPicPr>
          <p:cNvPr id="23" name="Graphic 64">
            <a:extLst>
              <a:ext uri="{FF2B5EF4-FFF2-40B4-BE49-F238E27FC236}">
                <a16:creationId xmlns:a16="http://schemas.microsoft.com/office/drawing/2014/main" id="{E5CD7081-C92B-4D56-974A-FFA735A0842D}"/>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79448" y="4028337"/>
            <a:ext cx="504000" cy="504000"/>
          </a:xfrm>
          <a:prstGeom prst="rect">
            <a:avLst/>
          </a:prstGeom>
        </p:spPr>
      </p:pic>
      <p:pic>
        <p:nvPicPr>
          <p:cNvPr id="24" name="Graphic 65">
            <a:extLst>
              <a:ext uri="{FF2B5EF4-FFF2-40B4-BE49-F238E27FC236}">
                <a16:creationId xmlns:a16="http://schemas.microsoft.com/office/drawing/2014/main" id="{E33E3B02-858C-46C3-B3DA-49541AE8D764}"/>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656048" y="4028337"/>
            <a:ext cx="504000" cy="504000"/>
          </a:xfrm>
          <a:prstGeom prst="rect">
            <a:avLst/>
          </a:prstGeom>
        </p:spPr>
      </p:pic>
      <p:pic>
        <p:nvPicPr>
          <p:cNvPr id="25" name="Graphic 66">
            <a:extLst>
              <a:ext uri="{FF2B5EF4-FFF2-40B4-BE49-F238E27FC236}">
                <a16:creationId xmlns:a16="http://schemas.microsoft.com/office/drawing/2014/main" id="{C3A80E2C-A2CB-4605-B165-70B73FB1FCD1}"/>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5369848" y="5308600"/>
            <a:ext cx="615494" cy="615494"/>
          </a:xfrm>
          <a:prstGeom prst="rect">
            <a:avLst/>
          </a:prstGeom>
        </p:spPr>
      </p:pic>
      <p:pic>
        <p:nvPicPr>
          <p:cNvPr id="26" name="Graphic 67">
            <a:extLst>
              <a:ext uri="{FF2B5EF4-FFF2-40B4-BE49-F238E27FC236}">
                <a16:creationId xmlns:a16="http://schemas.microsoft.com/office/drawing/2014/main" id="{8FC423C8-A654-4D64-8139-2051FE9994C1}"/>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3045051" y="3031990"/>
            <a:ext cx="504000" cy="504000"/>
          </a:xfrm>
          <a:prstGeom prst="rect">
            <a:avLst/>
          </a:prstGeom>
        </p:spPr>
      </p:pic>
      <p:pic>
        <p:nvPicPr>
          <p:cNvPr id="27" name="Graphic 68">
            <a:extLst>
              <a:ext uri="{FF2B5EF4-FFF2-40B4-BE49-F238E27FC236}">
                <a16:creationId xmlns:a16="http://schemas.microsoft.com/office/drawing/2014/main" id="{C4D1CB0E-12BC-449F-9E6C-03EDEA41B264}"/>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3110596" y="5308600"/>
            <a:ext cx="504000" cy="504000"/>
          </a:xfrm>
          <a:prstGeom prst="rect">
            <a:avLst/>
          </a:prstGeom>
        </p:spPr>
      </p:pic>
      <p:pic>
        <p:nvPicPr>
          <p:cNvPr id="28" name="Graphic 69">
            <a:extLst>
              <a:ext uri="{FF2B5EF4-FFF2-40B4-BE49-F238E27FC236}">
                <a16:creationId xmlns:a16="http://schemas.microsoft.com/office/drawing/2014/main" id="{5CA79196-387A-4E97-8DE1-3C9DEB678858}"/>
              </a:ext>
            </a:extLst>
          </p:cNvPr>
          <p:cNvPicPr>
            <a:picLocks noChangeAspect="1"/>
          </p:cNvPicPr>
          <p:nvPr/>
        </p:nvPicPr>
        <p:blipFill>
          <a:blip r:embed="rId17" cstate="email">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4320209" y="2747915"/>
            <a:ext cx="504000" cy="504000"/>
          </a:xfrm>
          <a:prstGeom prst="rect">
            <a:avLst/>
          </a:prstGeom>
        </p:spPr>
      </p:pic>
      <p:grpSp>
        <p:nvGrpSpPr>
          <p:cNvPr id="29" name="Group 70">
            <a:extLst>
              <a:ext uri="{FF2B5EF4-FFF2-40B4-BE49-F238E27FC236}">
                <a16:creationId xmlns:a16="http://schemas.microsoft.com/office/drawing/2014/main" id="{87950BB2-CA1C-441C-91CB-1A982270B515}"/>
              </a:ext>
            </a:extLst>
          </p:cNvPr>
          <p:cNvGrpSpPr>
            <a:grpSpLocks/>
          </p:cNvGrpSpPr>
          <p:nvPr/>
        </p:nvGrpSpPr>
        <p:grpSpPr>
          <a:xfrm>
            <a:off x="5522248" y="3128200"/>
            <a:ext cx="504000" cy="504000"/>
            <a:chOff x="4304022" y="2093293"/>
            <a:chExt cx="457200" cy="457200"/>
          </a:xfrm>
          <a:solidFill>
            <a:schemeClr val="accent3"/>
          </a:solidFill>
        </p:grpSpPr>
        <p:pic>
          <p:nvPicPr>
            <p:cNvPr id="30" name="Graphic 71">
              <a:extLst>
                <a:ext uri="{FF2B5EF4-FFF2-40B4-BE49-F238E27FC236}">
                  <a16:creationId xmlns:a16="http://schemas.microsoft.com/office/drawing/2014/main" id="{3EF6F985-086D-4B6E-98ED-958B4D79796F}"/>
                </a:ext>
              </a:extLst>
            </p:cNvPr>
            <p:cNvPicPr>
              <a:picLocks noChangeAspect="1"/>
            </p:cNvPicPr>
            <p:nvPr/>
          </p:nvPicPr>
          <p:blipFill>
            <a:blip r:embed="rId19" cstate="email">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rot="1256931">
              <a:off x="4408392" y="2162549"/>
              <a:ext cx="248458" cy="248458"/>
            </a:xfrm>
            <a:prstGeom prst="rect">
              <a:avLst/>
            </a:prstGeom>
          </p:spPr>
        </p:pic>
        <p:pic>
          <p:nvPicPr>
            <p:cNvPr id="31" name="Graphic 72">
              <a:extLst>
                <a:ext uri="{FF2B5EF4-FFF2-40B4-BE49-F238E27FC236}">
                  <a16:creationId xmlns:a16="http://schemas.microsoft.com/office/drawing/2014/main" id="{A349DDCA-7982-4362-96BB-8DAEB9C7B888}"/>
                </a:ext>
              </a:extLst>
            </p:cNvPr>
            <p:cNvPicPr>
              <a:picLocks noChangeAspect="1"/>
            </p:cNvPicPr>
            <p:nvPr/>
          </p:nvPicPr>
          <p:blipFill>
            <a:blip r:embed="rId21" cstate="email">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4304022" y="2093293"/>
              <a:ext cx="457200" cy="457200"/>
            </a:xfrm>
            <a:prstGeom prst="rect">
              <a:avLst/>
            </a:prstGeom>
          </p:spPr>
        </p:pic>
      </p:grpSp>
      <p:sp>
        <p:nvSpPr>
          <p:cNvPr id="32" name="Espace réservé du texte 4">
            <a:extLst>
              <a:ext uri="{FF2B5EF4-FFF2-40B4-BE49-F238E27FC236}">
                <a16:creationId xmlns:a16="http://schemas.microsoft.com/office/drawing/2014/main" id="{9B2F9E1D-C8A6-4632-8F55-1FD34B2EFA00}"/>
              </a:ext>
            </a:extLst>
          </p:cNvPr>
          <p:cNvSpPr txBox="1">
            <a:spLocks/>
          </p:cNvSpPr>
          <p:nvPr/>
        </p:nvSpPr>
        <p:spPr>
          <a:xfrm>
            <a:off x="3127939" y="3706952"/>
            <a:ext cx="2862826" cy="1283867"/>
          </a:xfrm>
          <a:prstGeom prst="rect">
            <a:avLst/>
          </a:prstGeom>
        </p:spPr>
        <p:txBody>
          <a:bodyPr vert="horz" wrap="square" lIns="0" tIns="0" rIns="0" bIns="0" rtlCol="0" anchor="ctr">
            <a:noAutofit/>
          </a:bodyPr>
          <a:lstStyle>
            <a:lvl1pPr marL="76365" indent="0" eaLnBrk="1" hangingPunct="1">
              <a:spcBef>
                <a:spcPts val="424"/>
              </a:spcBef>
              <a:spcAft>
                <a:spcPts val="0"/>
              </a:spcAft>
              <a:buFont typeface="Wingdings" pitchFamily="2" charset="2"/>
              <a:buNone/>
              <a:defRPr lang="en-US" sz="707" b="0" kern="1200" cap="none" spc="0" baseline="0">
                <a:solidFill>
                  <a:schemeClr val="tx1"/>
                </a:solidFill>
                <a:latin typeface="+mn-lt"/>
                <a:ea typeface="+mn-ea"/>
                <a:cs typeface="Arial" pitchFamily="34" charset="0"/>
              </a:defRPr>
            </a:lvl1pPr>
            <a:lvl2pPr marL="280006" indent="-127275" eaLnBrk="1" hangingPunct="1">
              <a:spcBef>
                <a:spcPts val="424"/>
              </a:spcBef>
              <a:spcAft>
                <a:spcPts val="0"/>
              </a:spcAft>
              <a:buFont typeface="Webdings" pitchFamily="18" charset="2"/>
              <a:buChar char="4"/>
              <a:defRPr sz="636" b="0" kern="1200" cap="none" spc="0" baseline="0">
                <a:solidFill>
                  <a:schemeClr val="tx2"/>
                </a:solidFill>
                <a:latin typeface="+mn-lt"/>
                <a:ea typeface="+mn-ea"/>
                <a:cs typeface="Arial" pitchFamily="34" charset="0"/>
              </a:defRPr>
            </a:lvl2pPr>
            <a:lvl3pPr marL="458192" indent="-127275" eaLnBrk="1" hangingPunct="1">
              <a:spcBef>
                <a:spcPts val="424"/>
              </a:spcBef>
              <a:spcAft>
                <a:spcPts val="0"/>
              </a:spcAft>
              <a:buFont typeface="Calibri" pitchFamily="34" charset="0"/>
              <a:buChar char="̶"/>
              <a:defRPr sz="636" b="0" kern="1200" cap="none" spc="0" baseline="0">
                <a:solidFill>
                  <a:schemeClr val="tx2"/>
                </a:solidFill>
                <a:latin typeface="+mn-lt"/>
                <a:ea typeface="+mn-ea"/>
                <a:cs typeface="Arial" pitchFamily="34" charset="0"/>
              </a:defRPr>
            </a:lvl3pPr>
            <a:lvl4pPr marL="585467" indent="-127275" eaLnBrk="1" hangingPunct="1">
              <a:spcBef>
                <a:spcPts val="424"/>
              </a:spcBef>
              <a:spcAft>
                <a:spcPts val="0"/>
              </a:spcAft>
              <a:buSzPct val="80000"/>
              <a:buFont typeface="Calibri" pitchFamily="34" charset="0"/>
              <a:buChar char="•"/>
              <a:defRPr sz="636" b="0" i="0" kern="1200" cap="none" spc="0" baseline="0">
                <a:solidFill>
                  <a:schemeClr val="tx2"/>
                </a:solidFill>
                <a:latin typeface="+mn-lt"/>
                <a:ea typeface="+mn-ea"/>
                <a:cs typeface="+mn-cs"/>
              </a:defRPr>
            </a:lvl4pPr>
            <a:lvl5pPr marL="712743" indent="-127275" eaLnBrk="1" hangingPunct="1">
              <a:spcBef>
                <a:spcPts val="424"/>
              </a:spcBef>
              <a:spcAft>
                <a:spcPts val="0"/>
              </a:spcAft>
              <a:buSzPct val="65000"/>
              <a:buFont typeface="Wingdings" pitchFamily="2" charset="2"/>
              <a:buChar char="w"/>
              <a:defRPr sz="636" b="0" i="0" kern="1200" cap="none" spc="0" baseline="0">
                <a:solidFill>
                  <a:schemeClr val="tx2"/>
                </a:solidFill>
                <a:latin typeface="+mn-lt"/>
                <a:ea typeface="+mn-ea"/>
                <a:cs typeface="+mn-cs"/>
              </a:defRPr>
            </a:lvl5pPr>
            <a:lvl6pPr marL="959877" indent="-174522" eaLnBrk="1" hangingPunct="1">
              <a:spcBef>
                <a:spcPts val="424"/>
              </a:spcBef>
              <a:spcAft>
                <a:spcPts val="0"/>
              </a:spcAft>
              <a:buSzPct val="65000"/>
              <a:buFont typeface="Wingdings" pitchFamily="2" charset="2"/>
              <a:buChar char="w"/>
              <a:defRPr sz="1131" b="0" i="0" kern="1200" spc="0" baseline="0">
                <a:solidFill>
                  <a:schemeClr val="tx1"/>
                </a:solidFill>
                <a:latin typeface="+mn-lt"/>
                <a:ea typeface="+mn-ea"/>
                <a:cs typeface="+mn-cs"/>
              </a:defRPr>
            </a:lvl6pPr>
            <a:lvl7pPr marL="1395139" eaLnBrk="1" hangingPunct="1">
              <a:defRPr>
                <a:latin typeface="+mn-lt"/>
                <a:ea typeface="+mn-ea"/>
                <a:cs typeface="+mn-cs"/>
              </a:defRPr>
            </a:lvl7pPr>
            <a:lvl8pPr marL="1627665" eaLnBrk="1" hangingPunct="1">
              <a:defRPr>
                <a:latin typeface="+mn-lt"/>
                <a:ea typeface="+mn-ea"/>
                <a:cs typeface="+mn-cs"/>
              </a:defRPr>
            </a:lvl8pPr>
            <a:lvl9pPr marL="1860188" eaLnBrk="1" hangingPunct="1">
              <a:defRPr>
                <a:latin typeface="+mn-lt"/>
                <a:ea typeface="+mn-ea"/>
                <a:cs typeface="+mn-cs"/>
              </a:defRPr>
            </a:lvl9pPr>
          </a:lstStyle>
          <a:p>
            <a:pPr marL="43003" algn="ctr" defTabSz="643646">
              <a:spcBef>
                <a:spcPts val="0"/>
              </a:spcBef>
            </a:pPr>
            <a:r>
              <a:rPr lang="fr-FR" sz="2000" b="1" dirty="0">
                <a:solidFill>
                  <a:schemeClr val="bg1"/>
                </a:solidFill>
              </a:rPr>
              <a:t>Une approche 360°, </a:t>
            </a:r>
          </a:p>
          <a:p>
            <a:pPr marL="43003" algn="ctr" defTabSz="643646">
              <a:spcBef>
                <a:spcPts val="0"/>
              </a:spcBef>
            </a:pPr>
            <a:r>
              <a:rPr lang="fr-FR" sz="2000" b="1" dirty="0">
                <a:solidFill>
                  <a:schemeClr val="bg1"/>
                </a:solidFill>
              </a:rPr>
              <a:t>de la stratégie de l’entreprise aux processus opérationnels</a:t>
            </a:r>
          </a:p>
        </p:txBody>
      </p:sp>
      <p:sp>
        <p:nvSpPr>
          <p:cNvPr id="36" name="Rectangle 35">
            <a:extLst>
              <a:ext uri="{FF2B5EF4-FFF2-40B4-BE49-F238E27FC236}">
                <a16:creationId xmlns:a16="http://schemas.microsoft.com/office/drawing/2014/main" id="{09DB6885-4BB7-4E29-8EAE-46F43B9B4B4B}"/>
              </a:ext>
            </a:extLst>
          </p:cNvPr>
          <p:cNvSpPr/>
          <p:nvPr/>
        </p:nvSpPr>
        <p:spPr>
          <a:xfrm>
            <a:off x="8931289" y="3362640"/>
            <a:ext cx="4578336" cy="1754326"/>
          </a:xfrm>
          <a:prstGeom prst="rect">
            <a:avLst/>
          </a:prstGeom>
        </p:spPr>
        <p:txBody>
          <a:bodyPr wrap="square">
            <a:spAutoFit/>
          </a:bodyPr>
          <a:lstStyle/>
          <a:p>
            <a:pPr marL="342900" indent="-342900">
              <a:buSzPct val="70000"/>
              <a:buFont typeface="Wingdings" panose="05000000000000000000" pitchFamily="2" charset="2"/>
              <a:buChar char="ü"/>
            </a:pPr>
            <a:r>
              <a:rPr lang="fr-FR" sz="1800" dirty="0">
                <a:solidFill>
                  <a:schemeClr val="tx2"/>
                </a:solidFill>
              </a:rPr>
              <a:t>Compétitivité et performance</a:t>
            </a:r>
          </a:p>
          <a:p>
            <a:pPr marL="342900" indent="-342900">
              <a:buSzPct val="70000"/>
              <a:buFont typeface="Wingdings" panose="05000000000000000000" pitchFamily="2" charset="2"/>
              <a:buChar char="ü"/>
            </a:pPr>
            <a:r>
              <a:rPr lang="fr-FR" sz="1800" dirty="0">
                <a:solidFill>
                  <a:schemeClr val="tx2"/>
                </a:solidFill>
              </a:rPr>
              <a:t>Virage du numérique, digital &amp; data</a:t>
            </a:r>
          </a:p>
          <a:p>
            <a:pPr marL="342900" indent="-342900">
              <a:buSzPct val="70000"/>
              <a:buFont typeface="Wingdings" panose="05000000000000000000" pitchFamily="2" charset="2"/>
              <a:buChar char="ü"/>
            </a:pPr>
            <a:r>
              <a:rPr lang="fr-FR" sz="1800" dirty="0">
                <a:solidFill>
                  <a:schemeClr val="tx2"/>
                </a:solidFill>
              </a:rPr>
              <a:t>Démarche d’innovation continue</a:t>
            </a:r>
          </a:p>
          <a:p>
            <a:pPr marL="342900" indent="-342900">
              <a:buSzPct val="70000"/>
              <a:buFont typeface="Wingdings" panose="05000000000000000000" pitchFamily="2" charset="2"/>
              <a:buChar char="ü"/>
            </a:pPr>
            <a:r>
              <a:rPr lang="fr-FR" sz="1800" dirty="0">
                <a:solidFill>
                  <a:schemeClr val="tx2"/>
                </a:solidFill>
              </a:rPr>
              <a:t>L’humain au centre de votre entreprise</a:t>
            </a:r>
          </a:p>
          <a:p>
            <a:pPr marL="342900" indent="-342900">
              <a:buSzPct val="70000"/>
              <a:buFont typeface="Wingdings" panose="05000000000000000000" pitchFamily="2" charset="2"/>
              <a:buChar char="ü"/>
            </a:pPr>
            <a:r>
              <a:rPr lang="fr-FR" sz="1800" dirty="0">
                <a:solidFill>
                  <a:schemeClr val="tx2"/>
                </a:solidFill>
              </a:rPr>
              <a:t>Empreinte environnementale</a:t>
            </a:r>
          </a:p>
          <a:p>
            <a:pPr marL="342900" indent="-342900">
              <a:buSzPct val="70000"/>
              <a:buFont typeface="Wingdings" panose="05000000000000000000" pitchFamily="2" charset="2"/>
              <a:buChar char="ü"/>
            </a:pPr>
            <a:r>
              <a:rPr lang="fr-FR" sz="1800" dirty="0">
                <a:solidFill>
                  <a:schemeClr val="tx2"/>
                </a:solidFill>
                <a:cs typeface="Calibri Light" panose="020F0302020204030204" pitchFamily="34" charset="0"/>
              </a:rPr>
              <a:t>Attractivité</a:t>
            </a:r>
            <a:endParaRPr lang="fr-FR" sz="1600" dirty="0">
              <a:solidFill>
                <a:schemeClr val="tx2"/>
              </a:solidFill>
              <a:cs typeface="Calibri Light" panose="020F0302020204030204" pitchFamily="34" charset="0"/>
            </a:endParaRPr>
          </a:p>
        </p:txBody>
      </p:sp>
      <p:sp>
        <p:nvSpPr>
          <p:cNvPr id="4" name="Triangle isocèle 3">
            <a:extLst>
              <a:ext uri="{FF2B5EF4-FFF2-40B4-BE49-F238E27FC236}">
                <a16:creationId xmlns:a16="http://schemas.microsoft.com/office/drawing/2014/main" id="{7A3B690D-BB3E-4E5F-AE88-9CEEB0973654}"/>
              </a:ext>
            </a:extLst>
          </p:cNvPr>
          <p:cNvSpPr/>
          <p:nvPr/>
        </p:nvSpPr>
        <p:spPr>
          <a:xfrm rot="5400000">
            <a:off x="6779243" y="4278956"/>
            <a:ext cx="3704400" cy="338554"/>
          </a:xfrm>
          <a:prstGeom prst="triangle">
            <a:avLst/>
          </a:prstGeom>
          <a:solidFill>
            <a:schemeClr val="accent3"/>
          </a:solidFill>
        </p:spPr>
        <p:txBody>
          <a:bodyPr wrap="square" lIns="0" tIns="0" rIns="0" bIns="0" rtlCol="0" anchor="ctr"/>
          <a:lstStyle/>
          <a:p>
            <a:pPr algn="ctr"/>
            <a:endParaRPr lang="en-US" sz="1600" b="0" dirty="0" err="1">
              <a:solidFill>
                <a:schemeClr val="bg1"/>
              </a:solidFill>
            </a:endParaRPr>
          </a:p>
        </p:txBody>
      </p:sp>
      <p:sp>
        <p:nvSpPr>
          <p:cNvPr id="33" name="ListLeanHorizontalTextTopic2">
            <a:extLst>
              <a:ext uri="{FF2B5EF4-FFF2-40B4-BE49-F238E27FC236}">
                <a16:creationId xmlns:a16="http://schemas.microsoft.com/office/drawing/2014/main" id="{EC0C3BD1-F851-4F7F-B3EF-6A8B3BAEAA7D}"/>
              </a:ext>
            </a:extLst>
          </p:cNvPr>
          <p:cNvSpPr txBox="1">
            <a:spLocks/>
          </p:cNvSpPr>
          <p:nvPr/>
        </p:nvSpPr>
        <p:spPr>
          <a:xfrm rot="11314">
            <a:off x="9166740" y="2724435"/>
            <a:ext cx="3661204" cy="207749"/>
          </a:xfrm>
          <a:prstGeom prst="rect">
            <a:avLst/>
          </a:prstGeom>
          <a:noFill/>
          <a:ln w="9525">
            <a:noFill/>
          </a:ln>
        </p:spPr>
        <p:txBody>
          <a:bodyPr vert="horz" wrap="square" lIns="0" tIns="0" rIns="0" bIns="0" rtlCol="0" anchor="t">
            <a:spAutoFit/>
          </a:bodyPr>
          <a:lstStyle/>
          <a:p>
            <a:pPr algn="ctr" defTabSz="734738">
              <a:lnSpc>
                <a:spcPct val="90000"/>
              </a:lnSpc>
              <a:buClr>
                <a:srgbClr val="000000"/>
              </a:buClr>
              <a:buSzPct val="100000"/>
            </a:pPr>
            <a:r>
              <a:rPr lang="fr-FR" sz="1500" b="1" dirty="0">
                <a:solidFill>
                  <a:schemeClr val="tx2"/>
                </a:solidFill>
                <a:cs typeface="Arial" pitchFamily="34" charset="0"/>
              </a:rPr>
              <a:t>ENJEUX </a:t>
            </a:r>
          </a:p>
        </p:txBody>
      </p:sp>
      <p:cxnSp>
        <p:nvCxnSpPr>
          <p:cNvPr id="5" name="Connecteur droit 4">
            <a:extLst>
              <a:ext uri="{FF2B5EF4-FFF2-40B4-BE49-F238E27FC236}">
                <a16:creationId xmlns:a16="http://schemas.microsoft.com/office/drawing/2014/main" id="{2424AA5F-C021-48E1-B5A0-EE1254255DCD}"/>
              </a:ext>
            </a:extLst>
          </p:cNvPr>
          <p:cNvCxnSpPr/>
          <p:nvPr/>
        </p:nvCxnSpPr>
        <p:spPr>
          <a:xfrm>
            <a:off x="9166225" y="3027292"/>
            <a:ext cx="366150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61611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BDB7D031-76F3-4ECF-A865-EB227EAB0CEB}"/>
              </a:ext>
            </a:extLst>
          </p:cNvPr>
          <p:cNvGraphicFramePr>
            <a:graphicFrameLocks noChangeAspect="1"/>
          </p:cNvGraphicFramePr>
          <p:nvPr>
            <p:custDataLst>
              <p:tags r:id="rId2"/>
            </p:custDataLst>
            <p:extLst>
              <p:ext uri="{D42A27DB-BD31-4B8C-83A1-F6EECF244321}">
                <p14:modId xmlns:p14="http://schemas.microsoft.com/office/powerpoint/2010/main" val="213282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161" name="Diapositive think-cell" r:id="rId5" imgW="473" imgH="470" progId="TCLayout.ActiveDocument.1">
                  <p:embed/>
                </p:oleObj>
              </mc:Choice>
              <mc:Fallback>
                <p:oleObj name="Diapositive think-cell" r:id="rId5" imgW="473" imgH="4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AF06F9F-56A6-4C52-B69E-29763697990D}"/>
              </a:ext>
            </a:extLst>
          </p:cNvPr>
          <p:cNvSpPr/>
          <p:nvPr>
            <p:custDataLst>
              <p:tags r:id="rId3"/>
            </p:custDataLst>
          </p:nvPr>
        </p:nvSpPr>
        <p:spPr>
          <a:xfrm>
            <a:off x="0" y="0"/>
            <a:ext cx="158750" cy="158750"/>
          </a:xfrm>
          <a:prstGeom prst="rect">
            <a:avLst/>
          </a:prstGeom>
          <a:solidFill>
            <a:schemeClr val="tx2"/>
          </a:solidFill>
        </p:spPr>
        <p:txBody>
          <a:bodyPr wrap="none" lIns="0" tIns="0" rIns="0" bIns="0" numCol="1" spcCol="0" rtlCol="0" anchor="ctr" anchorCtr="0">
            <a:noAutofit/>
          </a:bodyPr>
          <a:lstStyle/>
          <a:p>
            <a:pPr algn="ctr"/>
            <a:endParaRPr lang="fr-FR" sz="2200" b="1" dirty="0" err="1">
              <a:solidFill>
                <a:schemeClr val="bg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2" name="Titre 1">
            <a:extLst>
              <a:ext uri="{FF2B5EF4-FFF2-40B4-BE49-F238E27FC236}">
                <a16:creationId xmlns:a16="http://schemas.microsoft.com/office/drawing/2014/main" id="{44FCF39D-A70B-4B60-8ED3-B708F2461BC2}"/>
              </a:ext>
            </a:extLst>
          </p:cNvPr>
          <p:cNvSpPr>
            <a:spLocks noGrp="1"/>
          </p:cNvSpPr>
          <p:nvPr>
            <p:ph type="title"/>
          </p:nvPr>
        </p:nvSpPr>
        <p:spPr>
          <a:xfrm>
            <a:off x="609618" y="207108"/>
            <a:ext cx="12218110" cy="677108"/>
          </a:xfrm>
        </p:spPr>
        <p:txBody>
          <a:bodyPr/>
          <a:lstStyle/>
          <a:p>
            <a:r>
              <a:rPr lang="en-US" dirty="0"/>
              <a:t>Vos contacts : Une </a:t>
            </a:r>
            <a:r>
              <a:rPr lang="fr-FR" dirty="0"/>
              <a:t>équipe CYLAD ayant l’expérience de ce type de projet et l’expertise industrielle</a:t>
            </a:r>
            <a:endParaRPr lang="en-US" dirty="0"/>
          </a:p>
        </p:txBody>
      </p:sp>
      <p:sp>
        <p:nvSpPr>
          <p:cNvPr id="15" name="ZoneTexte 30">
            <a:extLst>
              <a:ext uri="{FF2B5EF4-FFF2-40B4-BE49-F238E27FC236}">
                <a16:creationId xmlns:a16="http://schemas.microsoft.com/office/drawing/2014/main" id="{5E5B5B63-F7D8-4E0D-9020-A2EF15BE99B4}"/>
              </a:ext>
            </a:extLst>
          </p:cNvPr>
          <p:cNvSpPr txBox="1"/>
          <p:nvPr/>
        </p:nvSpPr>
        <p:spPr>
          <a:xfrm>
            <a:off x="327025" y="2003888"/>
            <a:ext cx="3733800" cy="2268000"/>
          </a:xfrm>
          <a:prstGeom prst="rect">
            <a:avLst/>
          </a:prstGeom>
          <a:solidFill>
            <a:schemeClr val="bg1"/>
          </a:solidFill>
          <a:ln w="12700">
            <a:solidFill>
              <a:schemeClr val="tx2"/>
            </a:solidFill>
          </a:ln>
          <a:effectLst>
            <a:outerShdw blurRad="50800" dist="38100" dir="2700000" algn="tl" rotWithShape="0">
              <a:prstClr val="black">
                <a:alpha val="40000"/>
              </a:prstClr>
            </a:outerShdw>
          </a:effectLst>
        </p:spPr>
        <p:txBody>
          <a:bodyPr wrap="square" lIns="91513" tIns="108000" rIns="91513" bIns="45757" rtlCol="0">
            <a:noAutofit/>
          </a:bodyPr>
          <a:lstStyle/>
          <a:p>
            <a:r>
              <a:rPr lang="en-US" sz="1400" b="1" dirty="0">
                <a:solidFill>
                  <a:schemeClr val="tx2"/>
                </a:solidFill>
                <a:latin typeface="Arial" panose="020B0604020202020204" pitchFamily="34" charset="0"/>
                <a:cs typeface="Arial" panose="020B0604020202020204" pitchFamily="34" charset="0"/>
              </a:rPr>
              <a:t>Laurence Massat</a:t>
            </a:r>
            <a:br>
              <a:rPr lang="en-US" sz="1400" b="1" dirty="0">
                <a:solidFill>
                  <a:schemeClr val="tx2"/>
                </a:solidFill>
                <a:latin typeface="Arial" panose="020B0604020202020204" pitchFamily="34" charset="0"/>
                <a:cs typeface="Arial" panose="020B0604020202020204" pitchFamily="34" charset="0"/>
              </a:rPr>
            </a:br>
            <a:r>
              <a:rPr lang="en-US" sz="1050" i="1" dirty="0" err="1">
                <a:solidFill>
                  <a:schemeClr val="tx2"/>
                </a:solidFill>
                <a:latin typeface="Arial" panose="020B0604020202020204" pitchFamily="34" charset="0"/>
                <a:cs typeface="Arial" panose="020B0604020202020204" pitchFamily="34" charset="0"/>
              </a:rPr>
              <a:t>Directrice</a:t>
            </a:r>
            <a:r>
              <a:rPr lang="en-US" sz="1050" i="1" dirty="0">
                <a:solidFill>
                  <a:schemeClr val="tx2"/>
                </a:solidFill>
                <a:latin typeface="Arial" panose="020B0604020202020204" pitchFamily="34" charset="0"/>
                <a:cs typeface="Arial" panose="020B0604020202020204" pitchFamily="34" charset="0"/>
              </a:rPr>
              <a:t> </a:t>
            </a:r>
            <a:r>
              <a:rPr lang="en-US" sz="1050" i="1" dirty="0" err="1">
                <a:solidFill>
                  <a:schemeClr val="tx2"/>
                </a:solidFill>
                <a:latin typeface="Arial" panose="020B0604020202020204" pitchFamily="34" charset="0"/>
                <a:cs typeface="Arial" panose="020B0604020202020204" pitchFamily="34" charset="0"/>
              </a:rPr>
              <a:t>Associée</a:t>
            </a:r>
            <a:r>
              <a:rPr lang="en-US" sz="1050" i="1" dirty="0">
                <a:solidFill>
                  <a:schemeClr val="tx2"/>
                </a:solidFill>
                <a:latin typeface="Arial" panose="020B0604020202020204" pitchFamily="34" charset="0"/>
                <a:cs typeface="Arial" panose="020B0604020202020204" pitchFamily="34" charset="0"/>
              </a:rPr>
              <a:t> - Toulouse</a:t>
            </a:r>
          </a:p>
          <a:p>
            <a:endParaRPr lang="en-US" sz="1000" dirty="0">
              <a:solidFill>
                <a:schemeClr val="tx2"/>
              </a:solidFill>
              <a:latin typeface="Arial" panose="020B0604020202020204" pitchFamily="34" charset="0"/>
              <a:cs typeface="Arial" panose="020B0604020202020204" pitchFamily="34" charset="0"/>
            </a:endParaRPr>
          </a:p>
          <a:p>
            <a:endParaRPr lang="en-US" sz="1000" dirty="0">
              <a:solidFill>
                <a:schemeClr val="tx2"/>
              </a:solidFill>
              <a:latin typeface="Arial" panose="020B0604020202020204" pitchFamily="34" charset="0"/>
              <a:cs typeface="Arial" panose="020B0604020202020204" pitchFamily="34" charset="0"/>
            </a:endParaRPr>
          </a:p>
          <a:p>
            <a:endParaRPr lang="en-US" sz="900" dirty="0">
              <a:solidFill>
                <a:schemeClr val="tx2"/>
              </a:solidFill>
              <a:latin typeface="Arial" panose="020B0604020202020204" pitchFamily="34" charset="0"/>
              <a:cs typeface="Arial" panose="020B0604020202020204" pitchFamily="34" charset="0"/>
            </a:endParaRPr>
          </a:p>
          <a:p>
            <a:pPr>
              <a:tabLst>
                <a:tab pos="1439426" algn="l"/>
              </a:tabLst>
            </a:pPr>
            <a:endParaRPr lang="en-US" sz="900" dirty="0">
              <a:solidFill>
                <a:schemeClr val="tx2"/>
              </a:solidFill>
              <a:latin typeface="Arial" panose="020B0604020202020204" pitchFamily="34" charset="0"/>
              <a:cs typeface="Arial" panose="020B0604020202020204" pitchFamily="34" charset="0"/>
            </a:endParaRPr>
          </a:p>
        </p:txBody>
      </p:sp>
      <p:sp>
        <p:nvSpPr>
          <p:cNvPr id="16" name="Inhaltsplatzhalter 7">
            <a:extLst>
              <a:ext uri="{FF2B5EF4-FFF2-40B4-BE49-F238E27FC236}">
                <a16:creationId xmlns:a16="http://schemas.microsoft.com/office/drawing/2014/main" id="{CE1FDC2D-F42E-4BD9-AF47-FAFADA0343D5}"/>
              </a:ext>
            </a:extLst>
          </p:cNvPr>
          <p:cNvSpPr txBox="1">
            <a:spLocks/>
          </p:cNvSpPr>
          <p:nvPr/>
        </p:nvSpPr>
        <p:spPr>
          <a:xfrm>
            <a:off x="425135" y="2545081"/>
            <a:ext cx="2207506" cy="566996"/>
          </a:xfrm>
          <a:prstGeom prst="rect">
            <a:avLst/>
          </a:prstGeom>
        </p:spPr>
        <p:txBody>
          <a:bodyPr vert="horz" lIns="0" tIns="36000" rIns="0" bIns="36000" rtlCol="0">
            <a:noAutofit/>
          </a:bodyPr>
          <a:lstStyle>
            <a:lvl1pPr marL="216000" indent="-216000" algn="l" defTabSz="390997" rtl="0" eaLnBrk="1" latinLnBrk="0" hangingPunct="1">
              <a:spcBef>
                <a:spcPts val="600"/>
              </a:spcBef>
              <a:buClr>
                <a:schemeClr val="tx1"/>
              </a:buClr>
              <a:buSzPct val="100000"/>
              <a:buFont typeface="Wingdings" panose="05000000000000000000" pitchFamily="2" charset="2"/>
              <a:buChar char=""/>
              <a:defRPr sz="1400" kern="1200" baseline="0">
                <a:solidFill>
                  <a:schemeClr val="tx1"/>
                </a:solidFill>
                <a:latin typeface="+mn-lt"/>
                <a:ea typeface="+mn-ea"/>
                <a:cs typeface="+mn-cs"/>
              </a:defRPr>
            </a:lvl1pPr>
            <a:lvl2pPr marL="432000" indent="-216000" algn="l" defTabSz="390997" rtl="0" eaLnBrk="1" latinLnBrk="0" hangingPunct="1">
              <a:spcBef>
                <a:spcPts val="600"/>
              </a:spcBef>
              <a:buClr>
                <a:schemeClr val="tx1"/>
              </a:buClr>
              <a:buSzPct val="100000"/>
              <a:buFont typeface="Wingdings 2" panose="05020102010507070707" pitchFamily="18" charset="2"/>
              <a:buChar char=""/>
              <a:defRPr sz="1400" kern="1200" baseline="0">
                <a:solidFill>
                  <a:schemeClr val="tx1"/>
                </a:solidFill>
                <a:latin typeface="+mn-lt"/>
                <a:ea typeface="+mn-ea"/>
                <a:cs typeface="+mn-cs"/>
              </a:defRPr>
            </a:lvl2pPr>
            <a:lvl3pPr marL="648000" indent="-216000" algn="l" defTabSz="390997" rtl="0" eaLnBrk="1" latinLnBrk="0" hangingPunct="1">
              <a:spcBef>
                <a:spcPts val="600"/>
              </a:spcBef>
              <a:buSzPct val="100000"/>
              <a:buFont typeface="Symbol" charset="2"/>
              <a:buChar char="-"/>
              <a:defRPr sz="1400" kern="1200">
                <a:solidFill>
                  <a:schemeClr val="tx1"/>
                </a:solidFill>
                <a:latin typeface="+mn-lt"/>
                <a:ea typeface="+mn-ea"/>
                <a:cs typeface="+mn-cs"/>
              </a:defRPr>
            </a:lvl3pPr>
            <a:lvl4pPr marL="864000" indent="-216000" algn="l" defTabSz="390997" rtl="0" eaLnBrk="1" latinLnBrk="0" hangingPunct="1">
              <a:spcBef>
                <a:spcPts val="600"/>
              </a:spcBef>
              <a:buSzPct val="80000"/>
              <a:buFont typeface="Symbol" charset="2"/>
              <a:buChar char="-"/>
              <a:defRPr sz="1400" kern="1200">
                <a:solidFill>
                  <a:schemeClr val="tx1"/>
                </a:solidFill>
                <a:latin typeface="+mn-lt"/>
                <a:ea typeface="+mn-ea"/>
                <a:cs typeface="+mn-cs"/>
              </a:defRPr>
            </a:lvl4pPr>
            <a:lvl5pPr marL="811339" indent="0" algn="l" defTabSz="390997" rtl="0" eaLnBrk="1" latinLnBrk="0" hangingPunct="1">
              <a:spcBef>
                <a:spcPct val="20000"/>
              </a:spcBef>
              <a:buSzPct val="100000"/>
              <a:buFontTx/>
              <a:buNone/>
              <a:defRPr sz="1500" kern="1200" baseline="0">
                <a:solidFill>
                  <a:schemeClr val="tx2"/>
                </a:solidFill>
                <a:latin typeface="+mn-lt"/>
                <a:ea typeface="+mn-ea"/>
                <a:cs typeface="+mn-cs"/>
              </a:defRPr>
            </a:lvl5pPr>
            <a:lvl6pPr marL="1019969" indent="0" algn="l" defTabSz="390997" rtl="0" eaLnBrk="1" latinLnBrk="0" hangingPunct="1">
              <a:spcBef>
                <a:spcPct val="20000"/>
              </a:spcBef>
              <a:buSzPct val="100000"/>
              <a:buFontTx/>
              <a:buNone/>
              <a:defRPr lang="de-DE" sz="1500" kern="1200" dirty="0" smtClean="0">
                <a:solidFill>
                  <a:schemeClr val="tx2"/>
                </a:solidFill>
                <a:latin typeface="+mn-lt"/>
                <a:ea typeface="+mn-ea"/>
                <a:cs typeface="+mn-cs"/>
              </a:defRPr>
            </a:lvl6pPr>
            <a:lvl7pPr marL="2541483" indent="-195499" algn="l" defTabSz="390997" rtl="0" eaLnBrk="1" latinLnBrk="0" hangingPunct="1">
              <a:spcBef>
                <a:spcPct val="20000"/>
              </a:spcBef>
              <a:buFont typeface="Arial"/>
              <a:buChar char="•"/>
              <a:defRPr sz="1710" kern="1200">
                <a:solidFill>
                  <a:schemeClr val="tx1"/>
                </a:solidFill>
                <a:latin typeface="+mn-lt"/>
                <a:ea typeface="+mn-ea"/>
                <a:cs typeface="+mn-cs"/>
              </a:defRPr>
            </a:lvl7pPr>
            <a:lvl8pPr marL="2932481" indent="-195499" algn="l" defTabSz="390997" rtl="0" eaLnBrk="1" latinLnBrk="0" hangingPunct="1">
              <a:spcBef>
                <a:spcPct val="20000"/>
              </a:spcBef>
              <a:buFont typeface="Arial"/>
              <a:buChar char="•"/>
              <a:defRPr sz="1710" kern="1200">
                <a:solidFill>
                  <a:schemeClr val="tx1"/>
                </a:solidFill>
                <a:latin typeface="+mn-lt"/>
                <a:ea typeface="+mn-ea"/>
                <a:cs typeface="+mn-cs"/>
              </a:defRPr>
            </a:lvl8pPr>
            <a:lvl9pPr marL="3323478" indent="-195499" algn="l" defTabSz="390997" rtl="0" eaLnBrk="1" latinLnBrk="0" hangingPunct="1">
              <a:spcBef>
                <a:spcPct val="20000"/>
              </a:spcBef>
              <a:buFont typeface="Arial"/>
              <a:buChar char="•"/>
              <a:defRPr sz="1710" kern="1200">
                <a:solidFill>
                  <a:schemeClr val="tx1"/>
                </a:solidFill>
                <a:latin typeface="+mn-lt"/>
                <a:ea typeface="+mn-ea"/>
                <a:cs typeface="+mn-cs"/>
              </a:defRPr>
            </a:lvl9pPr>
          </a:lstStyle>
          <a:p>
            <a:pPr marL="0" indent="0">
              <a:buNone/>
            </a:pPr>
            <a:r>
              <a:rPr lang="en-US" sz="1050" dirty="0">
                <a:solidFill>
                  <a:schemeClr val="tx2"/>
                </a:solidFill>
              </a:rPr>
              <a:t>Tel: 06 23 80 91 75 </a:t>
            </a:r>
            <a:br>
              <a:rPr lang="en-US" sz="1050" dirty="0">
                <a:solidFill>
                  <a:schemeClr val="tx2"/>
                </a:solidFill>
              </a:rPr>
            </a:br>
            <a:r>
              <a:rPr lang="en-US" sz="1050" dirty="0">
                <a:solidFill>
                  <a:schemeClr val="tx2"/>
                </a:solidFill>
              </a:rPr>
              <a:t>laurence.massat@CYLAD.com</a:t>
            </a:r>
          </a:p>
        </p:txBody>
      </p:sp>
      <p:sp>
        <p:nvSpPr>
          <p:cNvPr id="17" name="Inhaltsplatzhalter 7">
            <a:extLst>
              <a:ext uri="{FF2B5EF4-FFF2-40B4-BE49-F238E27FC236}">
                <a16:creationId xmlns:a16="http://schemas.microsoft.com/office/drawing/2014/main" id="{AEC0BD7C-7C8D-4872-AFB9-2314BEDC1486}"/>
              </a:ext>
            </a:extLst>
          </p:cNvPr>
          <p:cNvSpPr txBox="1">
            <a:spLocks/>
          </p:cNvSpPr>
          <p:nvPr/>
        </p:nvSpPr>
        <p:spPr>
          <a:xfrm>
            <a:off x="425135" y="3020594"/>
            <a:ext cx="2207506" cy="566996"/>
          </a:xfrm>
          <a:prstGeom prst="rect">
            <a:avLst/>
          </a:prstGeom>
        </p:spPr>
        <p:txBody>
          <a:bodyPr vert="horz" lIns="0" tIns="36000" rIns="0" bIns="36000" rtlCol="0">
            <a:noAutofit/>
          </a:bodyPr>
          <a:lstStyle>
            <a:lvl1pPr marL="216000" indent="-216000" algn="l" defTabSz="390997" rtl="0" eaLnBrk="1" latinLnBrk="0" hangingPunct="1">
              <a:spcBef>
                <a:spcPts val="600"/>
              </a:spcBef>
              <a:buClr>
                <a:schemeClr val="tx1"/>
              </a:buClr>
              <a:buSzPct val="100000"/>
              <a:buFont typeface="Wingdings" panose="05000000000000000000" pitchFamily="2" charset="2"/>
              <a:buChar char=""/>
              <a:defRPr sz="1400" kern="1200" baseline="0">
                <a:solidFill>
                  <a:schemeClr val="tx1"/>
                </a:solidFill>
                <a:latin typeface="+mn-lt"/>
                <a:ea typeface="+mn-ea"/>
                <a:cs typeface="+mn-cs"/>
              </a:defRPr>
            </a:lvl1pPr>
            <a:lvl2pPr marL="432000" indent="-216000" algn="l" defTabSz="390997" rtl="0" eaLnBrk="1" latinLnBrk="0" hangingPunct="1">
              <a:spcBef>
                <a:spcPts val="600"/>
              </a:spcBef>
              <a:buClr>
                <a:schemeClr val="tx1"/>
              </a:buClr>
              <a:buSzPct val="100000"/>
              <a:buFont typeface="Wingdings 2" panose="05020102010507070707" pitchFamily="18" charset="2"/>
              <a:buChar char=""/>
              <a:defRPr sz="1400" kern="1200" baseline="0">
                <a:solidFill>
                  <a:schemeClr val="tx1"/>
                </a:solidFill>
                <a:latin typeface="+mn-lt"/>
                <a:ea typeface="+mn-ea"/>
                <a:cs typeface="+mn-cs"/>
              </a:defRPr>
            </a:lvl2pPr>
            <a:lvl3pPr marL="648000" indent="-216000" algn="l" defTabSz="390997" rtl="0" eaLnBrk="1" latinLnBrk="0" hangingPunct="1">
              <a:spcBef>
                <a:spcPts val="600"/>
              </a:spcBef>
              <a:buSzPct val="100000"/>
              <a:buFont typeface="Symbol" charset="2"/>
              <a:buChar char="-"/>
              <a:defRPr sz="1400" kern="1200">
                <a:solidFill>
                  <a:schemeClr val="tx1"/>
                </a:solidFill>
                <a:latin typeface="+mn-lt"/>
                <a:ea typeface="+mn-ea"/>
                <a:cs typeface="+mn-cs"/>
              </a:defRPr>
            </a:lvl3pPr>
            <a:lvl4pPr marL="864000" indent="-216000" algn="l" defTabSz="390997" rtl="0" eaLnBrk="1" latinLnBrk="0" hangingPunct="1">
              <a:spcBef>
                <a:spcPts val="600"/>
              </a:spcBef>
              <a:buSzPct val="80000"/>
              <a:buFont typeface="Symbol" charset="2"/>
              <a:buChar char="-"/>
              <a:defRPr sz="1400" kern="1200">
                <a:solidFill>
                  <a:schemeClr val="tx1"/>
                </a:solidFill>
                <a:latin typeface="+mn-lt"/>
                <a:ea typeface="+mn-ea"/>
                <a:cs typeface="+mn-cs"/>
              </a:defRPr>
            </a:lvl4pPr>
            <a:lvl5pPr marL="811339" indent="0" algn="l" defTabSz="390997" rtl="0" eaLnBrk="1" latinLnBrk="0" hangingPunct="1">
              <a:spcBef>
                <a:spcPct val="20000"/>
              </a:spcBef>
              <a:buSzPct val="100000"/>
              <a:buFontTx/>
              <a:buNone/>
              <a:defRPr sz="1500" kern="1200" baseline="0">
                <a:solidFill>
                  <a:schemeClr val="tx2"/>
                </a:solidFill>
                <a:latin typeface="+mn-lt"/>
                <a:ea typeface="+mn-ea"/>
                <a:cs typeface="+mn-cs"/>
              </a:defRPr>
            </a:lvl5pPr>
            <a:lvl6pPr marL="1019969" indent="0" algn="l" defTabSz="390997" rtl="0" eaLnBrk="1" latinLnBrk="0" hangingPunct="1">
              <a:spcBef>
                <a:spcPct val="20000"/>
              </a:spcBef>
              <a:buSzPct val="100000"/>
              <a:buFontTx/>
              <a:buNone/>
              <a:defRPr lang="de-DE" sz="1500" kern="1200" dirty="0" smtClean="0">
                <a:solidFill>
                  <a:schemeClr val="tx2"/>
                </a:solidFill>
                <a:latin typeface="+mn-lt"/>
                <a:ea typeface="+mn-ea"/>
                <a:cs typeface="+mn-cs"/>
              </a:defRPr>
            </a:lvl6pPr>
            <a:lvl7pPr marL="2541483" indent="-195499" algn="l" defTabSz="390997" rtl="0" eaLnBrk="1" latinLnBrk="0" hangingPunct="1">
              <a:spcBef>
                <a:spcPct val="20000"/>
              </a:spcBef>
              <a:buFont typeface="Arial"/>
              <a:buChar char="•"/>
              <a:defRPr sz="1710" kern="1200">
                <a:solidFill>
                  <a:schemeClr val="tx1"/>
                </a:solidFill>
                <a:latin typeface="+mn-lt"/>
                <a:ea typeface="+mn-ea"/>
                <a:cs typeface="+mn-cs"/>
              </a:defRPr>
            </a:lvl7pPr>
            <a:lvl8pPr marL="2932481" indent="-195499" algn="l" defTabSz="390997" rtl="0" eaLnBrk="1" latinLnBrk="0" hangingPunct="1">
              <a:spcBef>
                <a:spcPct val="20000"/>
              </a:spcBef>
              <a:buFont typeface="Arial"/>
              <a:buChar char="•"/>
              <a:defRPr sz="1710" kern="1200">
                <a:solidFill>
                  <a:schemeClr val="tx1"/>
                </a:solidFill>
                <a:latin typeface="+mn-lt"/>
                <a:ea typeface="+mn-ea"/>
                <a:cs typeface="+mn-cs"/>
              </a:defRPr>
            </a:lvl8pPr>
            <a:lvl9pPr marL="3323478" indent="-195499" algn="l" defTabSz="390997" rtl="0" eaLnBrk="1" latinLnBrk="0" hangingPunct="1">
              <a:spcBef>
                <a:spcPct val="20000"/>
              </a:spcBef>
              <a:buFont typeface="Arial"/>
              <a:buChar char="•"/>
              <a:defRPr sz="1710" kern="1200">
                <a:solidFill>
                  <a:schemeClr val="tx1"/>
                </a:solidFill>
                <a:latin typeface="+mn-lt"/>
                <a:ea typeface="+mn-ea"/>
                <a:cs typeface="+mn-cs"/>
              </a:defRPr>
            </a:lvl9pPr>
          </a:lstStyle>
          <a:p>
            <a:pPr>
              <a:spcBef>
                <a:spcPts val="0"/>
              </a:spcBef>
              <a:buClr>
                <a:schemeClr val="tx2"/>
              </a:buClr>
              <a:buFont typeface="Arial" panose="020B0604020202020204" pitchFamily="34" charset="0"/>
              <a:buChar char="•"/>
            </a:pPr>
            <a:r>
              <a:rPr lang="fr-FR" sz="1050" dirty="0">
                <a:solidFill>
                  <a:schemeClr val="tx2"/>
                </a:solidFill>
              </a:rPr>
              <a:t>Expérience dans les opérations                  et le conseil depuis 1999</a:t>
            </a:r>
          </a:p>
          <a:p>
            <a:pPr>
              <a:spcBef>
                <a:spcPts val="0"/>
              </a:spcBef>
              <a:buClr>
                <a:schemeClr val="tx2"/>
              </a:buClr>
              <a:buFont typeface="Arial" panose="020B0604020202020204" pitchFamily="34" charset="0"/>
              <a:buChar char="•"/>
            </a:pPr>
            <a:r>
              <a:rPr lang="fr-FR" sz="1050" dirty="0">
                <a:solidFill>
                  <a:schemeClr val="tx2"/>
                </a:solidFill>
              </a:rPr>
              <a:t>Experte Transformation, Performance opérationnelle, RSE, Conduite du changement, Agile</a:t>
            </a:r>
          </a:p>
          <a:p>
            <a:pPr>
              <a:spcBef>
                <a:spcPts val="0"/>
              </a:spcBef>
              <a:buClr>
                <a:schemeClr val="tx2"/>
              </a:buClr>
              <a:buFont typeface="Arial" panose="020B0604020202020204" pitchFamily="34" charset="0"/>
              <a:buChar char="•"/>
            </a:pPr>
            <a:r>
              <a:rPr lang="fr-FR" sz="1050" dirty="0">
                <a:solidFill>
                  <a:schemeClr val="tx2"/>
                </a:solidFill>
              </a:rPr>
              <a:t>Secteurs : Santé, électronique, </a:t>
            </a:r>
            <a:r>
              <a:rPr lang="fr-FR" sz="1050" dirty="0" err="1">
                <a:solidFill>
                  <a:schemeClr val="tx2"/>
                </a:solidFill>
              </a:rPr>
              <a:t>Aéro</a:t>
            </a:r>
            <a:br>
              <a:rPr lang="fr-FR" sz="1050" dirty="0">
                <a:solidFill>
                  <a:schemeClr val="tx2"/>
                </a:solidFill>
              </a:rPr>
            </a:br>
            <a:endParaRPr lang="fr-FR" sz="1050" dirty="0">
              <a:solidFill>
                <a:schemeClr val="tx2"/>
              </a:solidFill>
            </a:endParaRPr>
          </a:p>
        </p:txBody>
      </p:sp>
      <p:pic>
        <p:nvPicPr>
          <p:cNvPr id="40" name="Image 39" descr="Une image contenant personne, mur, homme, intérieur&#10;&#10;Description générée automatiquement">
            <a:extLst>
              <a:ext uri="{FF2B5EF4-FFF2-40B4-BE49-F238E27FC236}">
                <a16:creationId xmlns:a16="http://schemas.microsoft.com/office/drawing/2014/main" id="{845D6FC3-15BC-4A01-961F-EA7BF4D9C99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21370" y="2108200"/>
            <a:ext cx="1440000" cy="1440000"/>
          </a:xfrm>
          <a:prstGeom prst="rect">
            <a:avLst/>
          </a:prstGeom>
        </p:spPr>
      </p:pic>
      <p:sp>
        <p:nvSpPr>
          <p:cNvPr id="9" name="ZoneTexte 15">
            <a:extLst>
              <a:ext uri="{FF2B5EF4-FFF2-40B4-BE49-F238E27FC236}">
                <a16:creationId xmlns:a16="http://schemas.microsoft.com/office/drawing/2014/main" id="{D559BB1E-BE10-498D-8423-F8A4821248F0}"/>
              </a:ext>
            </a:extLst>
          </p:cNvPr>
          <p:cNvSpPr txBox="1"/>
          <p:nvPr/>
        </p:nvSpPr>
        <p:spPr>
          <a:xfrm>
            <a:off x="4413634" y="2003888"/>
            <a:ext cx="3733800" cy="2268000"/>
          </a:xfrm>
          <a:prstGeom prst="rect">
            <a:avLst/>
          </a:prstGeom>
          <a:solidFill>
            <a:schemeClr val="bg1"/>
          </a:solidFill>
          <a:ln w="12700">
            <a:solidFill>
              <a:schemeClr val="tx2"/>
            </a:solidFill>
          </a:ln>
          <a:effectLst>
            <a:outerShdw blurRad="50800" dist="38100" dir="2700000" algn="tl" rotWithShape="0">
              <a:prstClr val="black">
                <a:alpha val="40000"/>
              </a:prstClr>
            </a:outerShdw>
          </a:effectLst>
        </p:spPr>
        <p:txBody>
          <a:bodyPr wrap="square" lIns="91513" tIns="108000" rIns="91513" bIns="45757" rtlCol="0">
            <a:noAutofit/>
          </a:bodyPr>
          <a:lstStyle/>
          <a:p>
            <a:r>
              <a:rPr lang="en-US" sz="1400" b="1" dirty="0">
                <a:solidFill>
                  <a:schemeClr val="tx2"/>
                </a:solidFill>
                <a:latin typeface="Arial" panose="020B0604020202020204" pitchFamily="34" charset="0"/>
                <a:cs typeface="Arial" panose="020B0604020202020204" pitchFamily="34" charset="0"/>
              </a:rPr>
              <a:t>Patrick Sage</a:t>
            </a:r>
          </a:p>
          <a:p>
            <a:r>
              <a:rPr lang="en-US" sz="1050" i="1" dirty="0">
                <a:solidFill>
                  <a:schemeClr val="tx2"/>
                </a:solidFill>
                <a:latin typeface="Arial" panose="020B0604020202020204" pitchFamily="34" charset="0"/>
                <a:cs typeface="Arial" panose="020B0604020202020204" pitchFamily="34" charset="0"/>
              </a:rPr>
              <a:t>Directeur </a:t>
            </a:r>
            <a:r>
              <a:rPr lang="en-US" sz="1050" i="1" dirty="0" err="1">
                <a:solidFill>
                  <a:schemeClr val="tx2"/>
                </a:solidFill>
                <a:latin typeface="Arial" panose="020B0604020202020204" pitchFamily="34" charset="0"/>
                <a:cs typeface="Arial" panose="020B0604020202020204" pitchFamily="34" charset="0"/>
              </a:rPr>
              <a:t>Associé</a:t>
            </a:r>
            <a:r>
              <a:rPr lang="en-US" sz="1050" i="1" dirty="0">
                <a:solidFill>
                  <a:schemeClr val="tx2"/>
                </a:solidFill>
                <a:latin typeface="Arial" panose="020B0604020202020204" pitchFamily="34" charset="0"/>
                <a:cs typeface="Arial" panose="020B0604020202020204" pitchFamily="34" charset="0"/>
              </a:rPr>
              <a:t> - Toulouse</a:t>
            </a:r>
          </a:p>
          <a:p>
            <a:endParaRPr lang="en-US" sz="900" dirty="0">
              <a:solidFill>
                <a:schemeClr val="tx2"/>
              </a:solidFill>
              <a:latin typeface="Arial" panose="020B0604020202020204" pitchFamily="34" charset="0"/>
              <a:cs typeface="Arial" panose="020B0604020202020204" pitchFamily="34" charset="0"/>
            </a:endParaRPr>
          </a:p>
          <a:p>
            <a:endParaRPr lang="en-US" sz="900" dirty="0">
              <a:solidFill>
                <a:schemeClr val="tx2"/>
              </a:solidFill>
              <a:latin typeface="Arial" panose="020B0604020202020204" pitchFamily="34" charset="0"/>
              <a:cs typeface="Arial" panose="020B0604020202020204" pitchFamily="34" charset="0"/>
            </a:endParaRPr>
          </a:p>
          <a:p>
            <a:endParaRPr lang="en-US" sz="800" dirty="0">
              <a:solidFill>
                <a:schemeClr val="tx2"/>
              </a:solidFill>
              <a:latin typeface="Arial" panose="020B0604020202020204" pitchFamily="34" charset="0"/>
              <a:cs typeface="Arial" panose="020B0604020202020204" pitchFamily="34" charset="0"/>
            </a:endParaRPr>
          </a:p>
          <a:p>
            <a:endParaRPr lang="en-US" sz="800" dirty="0">
              <a:solidFill>
                <a:schemeClr val="tx2"/>
              </a:solidFill>
              <a:latin typeface="Arial" panose="020B0604020202020204" pitchFamily="34" charset="0"/>
              <a:cs typeface="Arial" panose="020B0604020202020204" pitchFamily="34" charset="0"/>
            </a:endParaRPr>
          </a:p>
          <a:p>
            <a:pPr>
              <a:tabLst>
                <a:tab pos="1439426" algn="l"/>
              </a:tabLst>
            </a:pPr>
            <a:r>
              <a:rPr lang="en-US" sz="800" dirty="0">
                <a:solidFill>
                  <a:schemeClr val="tx2"/>
                </a:solidFill>
                <a:latin typeface="Arial" panose="020B0604020202020204" pitchFamily="34" charset="0"/>
                <a:cs typeface="Arial" panose="020B0604020202020204" pitchFamily="34" charset="0"/>
              </a:rPr>
              <a:t>	</a:t>
            </a:r>
          </a:p>
        </p:txBody>
      </p:sp>
      <p:sp>
        <p:nvSpPr>
          <p:cNvPr id="10" name="Inhaltsplatzhalter 7">
            <a:extLst>
              <a:ext uri="{FF2B5EF4-FFF2-40B4-BE49-F238E27FC236}">
                <a16:creationId xmlns:a16="http://schemas.microsoft.com/office/drawing/2014/main" id="{F4DB6412-37F0-4CCB-BB92-1E38E27D0316}"/>
              </a:ext>
            </a:extLst>
          </p:cNvPr>
          <p:cNvSpPr txBox="1">
            <a:spLocks/>
          </p:cNvSpPr>
          <p:nvPr/>
        </p:nvSpPr>
        <p:spPr>
          <a:xfrm>
            <a:off x="4517112" y="2545080"/>
            <a:ext cx="2207506" cy="566995"/>
          </a:xfrm>
          <a:prstGeom prst="rect">
            <a:avLst/>
          </a:prstGeom>
        </p:spPr>
        <p:txBody>
          <a:bodyPr vert="horz" lIns="0" tIns="36000" rIns="0" bIns="36000" rtlCol="0">
            <a:noAutofit/>
          </a:bodyPr>
          <a:lstStyle>
            <a:lvl1pPr marL="216000" indent="-216000" algn="l" defTabSz="390997" rtl="0" eaLnBrk="1" latinLnBrk="0" hangingPunct="1">
              <a:spcBef>
                <a:spcPts val="600"/>
              </a:spcBef>
              <a:buClr>
                <a:schemeClr val="tx1"/>
              </a:buClr>
              <a:buSzPct val="100000"/>
              <a:buFont typeface="Wingdings" panose="05000000000000000000" pitchFamily="2" charset="2"/>
              <a:buChar char=""/>
              <a:defRPr sz="1400" kern="1200" baseline="0">
                <a:solidFill>
                  <a:schemeClr val="tx1"/>
                </a:solidFill>
                <a:latin typeface="+mn-lt"/>
                <a:ea typeface="+mn-ea"/>
                <a:cs typeface="+mn-cs"/>
              </a:defRPr>
            </a:lvl1pPr>
            <a:lvl2pPr marL="432000" indent="-216000" algn="l" defTabSz="390997" rtl="0" eaLnBrk="1" latinLnBrk="0" hangingPunct="1">
              <a:spcBef>
                <a:spcPts val="600"/>
              </a:spcBef>
              <a:buClr>
                <a:schemeClr val="tx1"/>
              </a:buClr>
              <a:buSzPct val="100000"/>
              <a:buFont typeface="Wingdings 2" panose="05020102010507070707" pitchFamily="18" charset="2"/>
              <a:buChar char=""/>
              <a:defRPr sz="1400" kern="1200" baseline="0">
                <a:solidFill>
                  <a:schemeClr val="tx1"/>
                </a:solidFill>
                <a:latin typeface="+mn-lt"/>
                <a:ea typeface="+mn-ea"/>
                <a:cs typeface="+mn-cs"/>
              </a:defRPr>
            </a:lvl2pPr>
            <a:lvl3pPr marL="648000" indent="-216000" algn="l" defTabSz="390997" rtl="0" eaLnBrk="1" latinLnBrk="0" hangingPunct="1">
              <a:spcBef>
                <a:spcPts val="600"/>
              </a:spcBef>
              <a:buSzPct val="100000"/>
              <a:buFont typeface="Symbol" charset="2"/>
              <a:buChar char="-"/>
              <a:defRPr sz="1400" kern="1200">
                <a:solidFill>
                  <a:schemeClr val="tx1"/>
                </a:solidFill>
                <a:latin typeface="+mn-lt"/>
                <a:ea typeface="+mn-ea"/>
                <a:cs typeface="+mn-cs"/>
              </a:defRPr>
            </a:lvl3pPr>
            <a:lvl4pPr marL="864000" indent="-216000" algn="l" defTabSz="390997" rtl="0" eaLnBrk="1" latinLnBrk="0" hangingPunct="1">
              <a:spcBef>
                <a:spcPts val="600"/>
              </a:spcBef>
              <a:buSzPct val="80000"/>
              <a:buFont typeface="Symbol" charset="2"/>
              <a:buChar char="-"/>
              <a:defRPr sz="1400" kern="1200">
                <a:solidFill>
                  <a:schemeClr val="tx1"/>
                </a:solidFill>
                <a:latin typeface="+mn-lt"/>
                <a:ea typeface="+mn-ea"/>
                <a:cs typeface="+mn-cs"/>
              </a:defRPr>
            </a:lvl4pPr>
            <a:lvl5pPr marL="811339" indent="0" algn="l" defTabSz="390997" rtl="0" eaLnBrk="1" latinLnBrk="0" hangingPunct="1">
              <a:spcBef>
                <a:spcPct val="20000"/>
              </a:spcBef>
              <a:buSzPct val="100000"/>
              <a:buFontTx/>
              <a:buNone/>
              <a:defRPr sz="1500" kern="1200" baseline="0">
                <a:solidFill>
                  <a:schemeClr val="tx2"/>
                </a:solidFill>
                <a:latin typeface="+mn-lt"/>
                <a:ea typeface="+mn-ea"/>
                <a:cs typeface="+mn-cs"/>
              </a:defRPr>
            </a:lvl5pPr>
            <a:lvl6pPr marL="1019969" indent="0" algn="l" defTabSz="390997" rtl="0" eaLnBrk="1" latinLnBrk="0" hangingPunct="1">
              <a:spcBef>
                <a:spcPct val="20000"/>
              </a:spcBef>
              <a:buSzPct val="100000"/>
              <a:buFontTx/>
              <a:buNone/>
              <a:defRPr lang="de-DE" sz="1500" kern="1200" dirty="0" smtClean="0">
                <a:solidFill>
                  <a:schemeClr val="tx2"/>
                </a:solidFill>
                <a:latin typeface="+mn-lt"/>
                <a:ea typeface="+mn-ea"/>
                <a:cs typeface="+mn-cs"/>
              </a:defRPr>
            </a:lvl6pPr>
            <a:lvl7pPr marL="2541483" indent="-195499" algn="l" defTabSz="390997" rtl="0" eaLnBrk="1" latinLnBrk="0" hangingPunct="1">
              <a:spcBef>
                <a:spcPct val="20000"/>
              </a:spcBef>
              <a:buFont typeface="Arial"/>
              <a:buChar char="•"/>
              <a:defRPr sz="1710" kern="1200">
                <a:solidFill>
                  <a:schemeClr val="tx1"/>
                </a:solidFill>
                <a:latin typeface="+mn-lt"/>
                <a:ea typeface="+mn-ea"/>
                <a:cs typeface="+mn-cs"/>
              </a:defRPr>
            </a:lvl7pPr>
            <a:lvl8pPr marL="2932481" indent="-195499" algn="l" defTabSz="390997" rtl="0" eaLnBrk="1" latinLnBrk="0" hangingPunct="1">
              <a:spcBef>
                <a:spcPct val="20000"/>
              </a:spcBef>
              <a:buFont typeface="Arial"/>
              <a:buChar char="•"/>
              <a:defRPr sz="1710" kern="1200">
                <a:solidFill>
                  <a:schemeClr val="tx1"/>
                </a:solidFill>
                <a:latin typeface="+mn-lt"/>
                <a:ea typeface="+mn-ea"/>
                <a:cs typeface="+mn-cs"/>
              </a:defRPr>
            </a:lvl8pPr>
            <a:lvl9pPr marL="3323478" indent="-195499" algn="l" defTabSz="390997" rtl="0" eaLnBrk="1" latinLnBrk="0" hangingPunct="1">
              <a:spcBef>
                <a:spcPct val="20000"/>
              </a:spcBef>
              <a:buFont typeface="Arial"/>
              <a:buChar char="•"/>
              <a:defRPr sz="1710" kern="1200">
                <a:solidFill>
                  <a:schemeClr val="tx1"/>
                </a:solidFill>
                <a:latin typeface="+mn-lt"/>
                <a:ea typeface="+mn-ea"/>
                <a:cs typeface="+mn-cs"/>
              </a:defRPr>
            </a:lvl9pPr>
          </a:lstStyle>
          <a:p>
            <a:pPr marL="0" indent="0">
              <a:buNone/>
            </a:pPr>
            <a:r>
              <a:rPr lang="en-US" sz="1050" dirty="0">
                <a:solidFill>
                  <a:schemeClr val="tx2"/>
                </a:solidFill>
              </a:rPr>
              <a:t>Tel: 06 98 37 30 58</a:t>
            </a:r>
            <a:br>
              <a:rPr lang="en-US" sz="1050" dirty="0">
                <a:solidFill>
                  <a:schemeClr val="tx2"/>
                </a:solidFill>
              </a:rPr>
            </a:br>
            <a:r>
              <a:rPr lang="en-US" sz="1050" dirty="0">
                <a:solidFill>
                  <a:schemeClr val="tx2"/>
                </a:solidFill>
              </a:rPr>
              <a:t>patrick.sage@CYLAD.com</a:t>
            </a:r>
          </a:p>
        </p:txBody>
      </p:sp>
      <p:sp>
        <p:nvSpPr>
          <p:cNvPr id="11" name="Inhaltsplatzhalter 7">
            <a:extLst>
              <a:ext uri="{FF2B5EF4-FFF2-40B4-BE49-F238E27FC236}">
                <a16:creationId xmlns:a16="http://schemas.microsoft.com/office/drawing/2014/main" id="{495FD76B-92F4-4369-94C0-173BAD808ECA}"/>
              </a:ext>
            </a:extLst>
          </p:cNvPr>
          <p:cNvSpPr txBox="1">
            <a:spLocks/>
          </p:cNvSpPr>
          <p:nvPr/>
        </p:nvSpPr>
        <p:spPr>
          <a:xfrm>
            <a:off x="4510159" y="3020594"/>
            <a:ext cx="2253392" cy="1068798"/>
          </a:xfrm>
          <a:prstGeom prst="rect">
            <a:avLst/>
          </a:prstGeom>
        </p:spPr>
        <p:txBody>
          <a:bodyPr vert="horz" lIns="0" tIns="36000" rIns="0" bIns="36000" rtlCol="0">
            <a:noAutofit/>
          </a:bodyPr>
          <a:lstStyle>
            <a:lvl1pPr marL="216000" indent="-216000" algn="l" defTabSz="390997" rtl="0" eaLnBrk="1" latinLnBrk="0" hangingPunct="1">
              <a:spcBef>
                <a:spcPts val="600"/>
              </a:spcBef>
              <a:buClr>
                <a:schemeClr val="tx1"/>
              </a:buClr>
              <a:buSzPct val="100000"/>
              <a:buFont typeface="Wingdings" panose="05000000000000000000" pitchFamily="2" charset="2"/>
              <a:buChar char=""/>
              <a:defRPr sz="1400" kern="1200" baseline="0">
                <a:solidFill>
                  <a:schemeClr val="tx1"/>
                </a:solidFill>
                <a:latin typeface="+mn-lt"/>
                <a:ea typeface="+mn-ea"/>
                <a:cs typeface="+mn-cs"/>
              </a:defRPr>
            </a:lvl1pPr>
            <a:lvl2pPr marL="432000" indent="-216000" algn="l" defTabSz="390997" rtl="0" eaLnBrk="1" latinLnBrk="0" hangingPunct="1">
              <a:spcBef>
                <a:spcPts val="600"/>
              </a:spcBef>
              <a:buClr>
                <a:schemeClr val="tx1"/>
              </a:buClr>
              <a:buSzPct val="100000"/>
              <a:buFont typeface="Wingdings 2" panose="05020102010507070707" pitchFamily="18" charset="2"/>
              <a:buChar char=""/>
              <a:defRPr sz="1400" kern="1200" baseline="0">
                <a:solidFill>
                  <a:schemeClr val="tx1"/>
                </a:solidFill>
                <a:latin typeface="+mn-lt"/>
                <a:ea typeface="+mn-ea"/>
                <a:cs typeface="+mn-cs"/>
              </a:defRPr>
            </a:lvl2pPr>
            <a:lvl3pPr marL="648000" indent="-216000" algn="l" defTabSz="390997" rtl="0" eaLnBrk="1" latinLnBrk="0" hangingPunct="1">
              <a:spcBef>
                <a:spcPts val="600"/>
              </a:spcBef>
              <a:buSzPct val="100000"/>
              <a:buFont typeface="Symbol" charset="2"/>
              <a:buChar char="-"/>
              <a:defRPr sz="1400" kern="1200">
                <a:solidFill>
                  <a:schemeClr val="tx1"/>
                </a:solidFill>
                <a:latin typeface="+mn-lt"/>
                <a:ea typeface="+mn-ea"/>
                <a:cs typeface="+mn-cs"/>
              </a:defRPr>
            </a:lvl3pPr>
            <a:lvl4pPr marL="864000" indent="-216000" algn="l" defTabSz="390997" rtl="0" eaLnBrk="1" latinLnBrk="0" hangingPunct="1">
              <a:spcBef>
                <a:spcPts val="600"/>
              </a:spcBef>
              <a:buSzPct val="80000"/>
              <a:buFont typeface="Symbol" charset="2"/>
              <a:buChar char="-"/>
              <a:defRPr sz="1400" kern="1200">
                <a:solidFill>
                  <a:schemeClr val="tx1"/>
                </a:solidFill>
                <a:latin typeface="+mn-lt"/>
                <a:ea typeface="+mn-ea"/>
                <a:cs typeface="+mn-cs"/>
              </a:defRPr>
            </a:lvl4pPr>
            <a:lvl5pPr marL="811339" indent="0" algn="l" defTabSz="390997" rtl="0" eaLnBrk="1" latinLnBrk="0" hangingPunct="1">
              <a:spcBef>
                <a:spcPct val="20000"/>
              </a:spcBef>
              <a:buSzPct val="100000"/>
              <a:buFontTx/>
              <a:buNone/>
              <a:defRPr sz="1500" kern="1200" baseline="0">
                <a:solidFill>
                  <a:schemeClr val="tx2"/>
                </a:solidFill>
                <a:latin typeface="+mn-lt"/>
                <a:ea typeface="+mn-ea"/>
                <a:cs typeface="+mn-cs"/>
              </a:defRPr>
            </a:lvl5pPr>
            <a:lvl6pPr marL="1019969" indent="0" algn="l" defTabSz="390997" rtl="0" eaLnBrk="1" latinLnBrk="0" hangingPunct="1">
              <a:spcBef>
                <a:spcPct val="20000"/>
              </a:spcBef>
              <a:buSzPct val="100000"/>
              <a:buFontTx/>
              <a:buNone/>
              <a:defRPr lang="de-DE" sz="1500" kern="1200" dirty="0" smtClean="0">
                <a:solidFill>
                  <a:schemeClr val="tx2"/>
                </a:solidFill>
                <a:latin typeface="+mn-lt"/>
                <a:ea typeface="+mn-ea"/>
                <a:cs typeface="+mn-cs"/>
              </a:defRPr>
            </a:lvl6pPr>
            <a:lvl7pPr marL="2541483" indent="-195499" algn="l" defTabSz="390997" rtl="0" eaLnBrk="1" latinLnBrk="0" hangingPunct="1">
              <a:spcBef>
                <a:spcPct val="20000"/>
              </a:spcBef>
              <a:buFont typeface="Arial"/>
              <a:buChar char="•"/>
              <a:defRPr sz="1710" kern="1200">
                <a:solidFill>
                  <a:schemeClr val="tx1"/>
                </a:solidFill>
                <a:latin typeface="+mn-lt"/>
                <a:ea typeface="+mn-ea"/>
                <a:cs typeface="+mn-cs"/>
              </a:defRPr>
            </a:lvl7pPr>
            <a:lvl8pPr marL="2932481" indent="-195499" algn="l" defTabSz="390997" rtl="0" eaLnBrk="1" latinLnBrk="0" hangingPunct="1">
              <a:spcBef>
                <a:spcPct val="20000"/>
              </a:spcBef>
              <a:buFont typeface="Arial"/>
              <a:buChar char="•"/>
              <a:defRPr sz="1710" kern="1200">
                <a:solidFill>
                  <a:schemeClr val="tx1"/>
                </a:solidFill>
                <a:latin typeface="+mn-lt"/>
                <a:ea typeface="+mn-ea"/>
                <a:cs typeface="+mn-cs"/>
              </a:defRPr>
            </a:lvl8pPr>
            <a:lvl9pPr marL="3323478" indent="-195499" algn="l" defTabSz="390997" rtl="0" eaLnBrk="1" latinLnBrk="0" hangingPunct="1">
              <a:spcBef>
                <a:spcPct val="20000"/>
              </a:spcBef>
              <a:buFont typeface="Arial"/>
              <a:buChar char="•"/>
              <a:defRPr sz="1710" kern="1200">
                <a:solidFill>
                  <a:schemeClr val="tx1"/>
                </a:solidFill>
                <a:latin typeface="+mn-lt"/>
                <a:ea typeface="+mn-ea"/>
                <a:cs typeface="+mn-cs"/>
              </a:defRPr>
            </a:lvl9pPr>
          </a:lstStyle>
          <a:p>
            <a:pPr>
              <a:spcBef>
                <a:spcPts val="0"/>
              </a:spcBef>
              <a:buClr>
                <a:schemeClr val="tx2"/>
              </a:buClr>
              <a:buFont typeface="Arial" panose="020B0604020202020204" pitchFamily="34" charset="0"/>
              <a:buChar char="•"/>
            </a:pPr>
            <a:r>
              <a:rPr lang="fr-FR" sz="1050" dirty="0">
                <a:solidFill>
                  <a:schemeClr val="tx2"/>
                </a:solidFill>
              </a:rPr>
              <a:t>Expérience dans les opérations                   et le conseil depuis 1998 </a:t>
            </a:r>
          </a:p>
          <a:p>
            <a:pPr>
              <a:spcBef>
                <a:spcPts val="0"/>
              </a:spcBef>
              <a:buClr>
                <a:schemeClr val="tx2"/>
              </a:buClr>
              <a:buFont typeface="Arial" panose="020B0604020202020204" pitchFamily="34" charset="0"/>
              <a:buChar char="•"/>
            </a:pPr>
            <a:r>
              <a:rPr lang="fr-FR" sz="1050" dirty="0">
                <a:solidFill>
                  <a:schemeClr val="tx2"/>
                </a:solidFill>
              </a:rPr>
              <a:t>12 ans chez </a:t>
            </a:r>
            <a:r>
              <a:rPr lang="fr-FR" sz="1050" dirty="0" err="1">
                <a:solidFill>
                  <a:schemeClr val="tx2"/>
                </a:solidFill>
              </a:rPr>
              <a:t>Mckinsey</a:t>
            </a:r>
            <a:r>
              <a:rPr lang="fr-FR" sz="1050" dirty="0">
                <a:solidFill>
                  <a:schemeClr val="tx2"/>
                </a:solidFill>
              </a:rPr>
              <a:t> &amp; Co</a:t>
            </a:r>
          </a:p>
          <a:p>
            <a:pPr>
              <a:spcBef>
                <a:spcPts val="0"/>
              </a:spcBef>
              <a:buClr>
                <a:schemeClr val="tx2"/>
              </a:buClr>
              <a:buFont typeface="Arial" panose="020B0604020202020204" pitchFamily="34" charset="0"/>
              <a:buChar char="•"/>
            </a:pPr>
            <a:r>
              <a:rPr lang="fr-FR" sz="1050" dirty="0">
                <a:solidFill>
                  <a:schemeClr val="tx2"/>
                </a:solidFill>
              </a:rPr>
              <a:t>Expert </a:t>
            </a:r>
            <a:r>
              <a:rPr lang="fr-FR" sz="1050" dirty="0" err="1">
                <a:solidFill>
                  <a:schemeClr val="tx2"/>
                </a:solidFill>
              </a:rPr>
              <a:t>Supply</a:t>
            </a:r>
            <a:r>
              <a:rPr lang="fr-FR" sz="1050" dirty="0">
                <a:solidFill>
                  <a:schemeClr val="tx2"/>
                </a:solidFill>
              </a:rPr>
              <a:t> Chain, Performance industrielle, ,Transformation</a:t>
            </a:r>
          </a:p>
          <a:p>
            <a:pPr>
              <a:spcBef>
                <a:spcPts val="0"/>
              </a:spcBef>
              <a:buClr>
                <a:schemeClr val="tx2"/>
              </a:buClr>
              <a:buFont typeface="Arial" panose="020B0604020202020204" pitchFamily="34" charset="0"/>
              <a:buChar char="•"/>
            </a:pPr>
            <a:r>
              <a:rPr lang="fr-FR" sz="1050" dirty="0">
                <a:solidFill>
                  <a:schemeClr val="tx2"/>
                </a:solidFill>
              </a:rPr>
              <a:t>Secteurs : Transports, santé, IT,  </a:t>
            </a:r>
            <a:r>
              <a:rPr lang="fr-FR" sz="1050" dirty="0" err="1">
                <a:solidFill>
                  <a:schemeClr val="tx2"/>
                </a:solidFill>
              </a:rPr>
              <a:t>Aéro</a:t>
            </a:r>
            <a:endParaRPr lang="fr-FR" sz="1050" dirty="0">
              <a:solidFill>
                <a:schemeClr val="tx2"/>
              </a:solidFill>
            </a:endParaRPr>
          </a:p>
        </p:txBody>
      </p:sp>
      <p:pic>
        <p:nvPicPr>
          <p:cNvPr id="42" name="Image 41" descr="Une image contenant homme, personne, mur, complet&#10;&#10;Description générée automatiquement">
            <a:extLst>
              <a:ext uri="{FF2B5EF4-FFF2-40B4-BE49-F238E27FC236}">
                <a16:creationId xmlns:a16="http://schemas.microsoft.com/office/drawing/2014/main" id="{B063F9C7-A224-41EC-86F7-4242098DCC5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591542" y="2108200"/>
            <a:ext cx="1440000" cy="1440000"/>
          </a:xfrm>
          <a:prstGeom prst="rect">
            <a:avLst/>
          </a:prstGeom>
        </p:spPr>
      </p:pic>
      <p:sp>
        <p:nvSpPr>
          <p:cNvPr id="48" name="ZoneTexte 30">
            <a:extLst>
              <a:ext uri="{FF2B5EF4-FFF2-40B4-BE49-F238E27FC236}">
                <a16:creationId xmlns:a16="http://schemas.microsoft.com/office/drawing/2014/main" id="{915F05DC-DEAB-4A19-80F1-FFEAC093CE8E}"/>
              </a:ext>
            </a:extLst>
          </p:cNvPr>
          <p:cNvSpPr txBox="1"/>
          <p:nvPr/>
        </p:nvSpPr>
        <p:spPr>
          <a:xfrm>
            <a:off x="327025" y="4394199"/>
            <a:ext cx="3733800" cy="2267999"/>
          </a:xfrm>
          <a:prstGeom prst="rect">
            <a:avLst/>
          </a:prstGeom>
          <a:solidFill>
            <a:schemeClr val="bg1"/>
          </a:solidFill>
          <a:ln w="12700">
            <a:solidFill>
              <a:schemeClr val="tx2"/>
            </a:solidFill>
          </a:ln>
          <a:effectLst>
            <a:outerShdw blurRad="50800" dist="38100" dir="2700000" algn="tl" rotWithShape="0">
              <a:prstClr val="black">
                <a:alpha val="40000"/>
              </a:prstClr>
            </a:outerShdw>
          </a:effectLst>
        </p:spPr>
        <p:txBody>
          <a:bodyPr wrap="square" lIns="91513" tIns="108000" rIns="91513" bIns="45757" rtlCol="0">
            <a:noAutofit/>
          </a:bodyPr>
          <a:lstStyle/>
          <a:p>
            <a:r>
              <a:rPr lang="en-US" sz="1400" b="1" dirty="0">
                <a:solidFill>
                  <a:schemeClr val="tx2"/>
                </a:solidFill>
                <a:latin typeface="Arial" panose="020B0604020202020204" pitchFamily="34" charset="0"/>
                <a:cs typeface="Arial" panose="020B0604020202020204" pitchFamily="34" charset="0"/>
              </a:rPr>
              <a:t>Laetitia BOUZENARD</a:t>
            </a:r>
          </a:p>
          <a:p>
            <a:r>
              <a:rPr lang="en-US" sz="1050" i="1" dirty="0">
                <a:solidFill>
                  <a:schemeClr val="tx2"/>
                </a:solidFill>
                <a:latin typeface="Arial" panose="020B0604020202020204" pitchFamily="34" charset="0"/>
                <a:cs typeface="Arial" panose="020B0604020202020204" pitchFamily="34" charset="0"/>
              </a:rPr>
              <a:t>Manager </a:t>
            </a:r>
          </a:p>
          <a:p>
            <a:endParaRPr lang="en-US" sz="1000" dirty="0">
              <a:solidFill>
                <a:schemeClr val="tx2"/>
              </a:solidFill>
              <a:latin typeface="Arial" panose="020B0604020202020204" pitchFamily="34" charset="0"/>
              <a:cs typeface="Arial" panose="020B0604020202020204" pitchFamily="34" charset="0"/>
            </a:endParaRPr>
          </a:p>
          <a:p>
            <a:endParaRPr lang="en-US" sz="1000" dirty="0">
              <a:solidFill>
                <a:schemeClr val="tx2"/>
              </a:solidFill>
              <a:latin typeface="Arial" panose="020B0604020202020204" pitchFamily="34" charset="0"/>
              <a:cs typeface="Arial" panose="020B0604020202020204" pitchFamily="34" charset="0"/>
            </a:endParaRPr>
          </a:p>
          <a:p>
            <a:endParaRPr lang="en-US" sz="900" dirty="0">
              <a:solidFill>
                <a:schemeClr val="tx2"/>
              </a:solidFill>
              <a:latin typeface="Arial" panose="020B0604020202020204" pitchFamily="34" charset="0"/>
              <a:cs typeface="Arial" panose="020B0604020202020204" pitchFamily="34" charset="0"/>
            </a:endParaRPr>
          </a:p>
          <a:p>
            <a:pPr>
              <a:tabLst>
                <a:tab pos="1439426" algn="l"/>
              </a:tabLst>
            </a:pPr>
            <a:endParaRPr lang="en-US" sz="900" dirty="0">
              <a:solidFill>
                <a:schemeClr val="tx2"/>
              </a:solidFill>
              <a:latin typeface="Arial" panose="020B0604020202020204" pitchFamily="34" charset="0"/>
              <a:cs typeface="Arial" panose="020B0604020202020204" pitchFamily="34" charset="0"/>
            </a:endParaRPr>
          </a:p>
        </p:txBody>
      </p:sp>
      <p:sp>
        <p:nvSpPr>
          <p:cNvPr id="49" name="Inhaltsplatzhalter 7">
            <a:extLst>
              <a:ext uri="{FF2B5EF4-FFF2-40B4-BE49-F238E27FC236}">
                <a16:creationId xmlns:a16="http://schemas.microsoft.com/office/drawing/2014/main" id="{845B18AB-9EA6-4C9D-A076-2803B2EC67FF}"/>
              </a:ext>
            </a:extLst>
          </p:cNvPr>
          <p:cNvSpPr txBox="1">
            <a:spLocks/>
          </p:cNvSpPr>
          <p:nvPr/>
        </p:nvSpPr>
        <p:spPr>
          <a:xfrm>
            <a:off x="393084" y="4929278"/>
            <a:ext cx="2207506" cy="566995"/>
          </a:xfrm>
          <a:prstGeom prst="rect">
            <a:avLst/>
          </a:prstGeom>
        </p:spPr>
        <p:txBody>
          <a:bodyPr vert="horz" lIns="0" tIns="36000" rIns="0" bIns="36000" rtlCol="0">
            <a:noAutofit/>
          </a:bodyPr>
          <a:lstStyle>
            <a:lvl1pPr marL="216000" indent="-216000" algn="l" defTabSz="390997" rtl="0" eaLnBrk="1" latinLnBrk="0" hangingPunct="1">
              <a:spcBef>
                <a:spcPts val="600"/>
              </a:spcBef>
              <a:buClr>
                <a:schemeClr val="tx1"/>
              </a:buClr>
              <a:buSzPct val="100000"/>
              <a:buFont typeface="Wingdings" panose="05000000000000000000" pitchFamily="2" charset="2"/>
              <a:buChar char=""/>
              <a:defRPr sz="1400" kern="1200" baseline="0">
                <a:solidFill>
                  <a:schemeClr val="tx1"/>
                </a:solidFill>
                <a:latin typeface="+mn-lt"/>
                <a:ea typeface="+mn-ea"/>
                <a:cs typeface="+mn-cs"/>
              </a:defRPr>
            </a:lvl1pPr>
            <a:lvl2pPr marL="432000" indent="-216000" algn="l" defTabSz="390997" rtl="0" eaLnBrk="1" latinLnBrk="0" hangingPunct="1">
              <a:spcBef>
                <a:spcPts val="600"/>
              </a:spcBef>
              <a:buClr>
                <a:schemeClr val="tx1"/>
              </a:buClr>
              <a:buSzPct val="100000"/>
              <a:buFont typeface="Wingdings 2" panose="05020102010507070707" pitchFamily="18" charset="2"/>
              <a:buChar char=""/>
              <a:defRPr sz="1400" kern="1200" baseline="0">
                <a:solidFill>
                  <a:schemeClr val="tx1"/>
                </a:solidFill>
                <a:latin typeface="+mn-lt"/>
                <a:ea typeface="+mn-ea"/>
                <a:cs typeface="+mn-cs"/>
              </a:defRPr>
            </a:lvl2pPr>
            <a:lvl3pPr marL="648000" indent="-216000" algn="l" defTabSz="390997" rtl="0" eaLnBrk="1" latinLnBrk="0" hangingPunct="1">
              <a:spcBef>
                <a:spcPts val="600"/>
              </a:spcBef>
              <a:buSzPct val="100000"/>
              <a:buFont typeface="Symbol" charset="2"/>
              <a:buChar char="-"/>
              <a:defRPr sz="1400" kern="1200">
                <a:solidFill>
                  <a:schemeClr val="tx1"/>
                </a:solidFill>
                <a:latin typeface="+mn-lt"/>
                <a:ea typeface="+mn-ea"/>
                <a:cs typeface="+mn-cs"/>
              </a:defRPr>
            </a:lvl3pPr>
            <a:lvl4pPr marL="864000" indent="-216000" algn="l" defTabSz="390997" rtl="0" eaLnBrk="1" latinLnBrk="0" hangingPunct="1">
              <a:spcBef>
                <a:spcPts val="600"/>
              </a:spcBef>
              <a:buSzPct val="80000"/>
              <a:buFont typeface="Symbol" charset="2"/>
              <a:buChar char="-"/>
              <a:defRPr sz="1400" kern="1200">
                <a:solidFill>
                  <a:schemeClr val="tx1"/>
                </a:solidFill>
                <a:latin typeface="+mn-lt"/>
                <a:ea typeface="+mn-ea"/>
                <a:cs typeface="+mn-cs"/>
              </a:defRPr>
            </a:lvl4pPr>
            <a:lvl5pPr marL="811339" indent="0" algn="l" defTabSz="390997" rtl="0" eaLnBrk="1" latinLnBrk="0" hangingPunct="1">
              <a:spcBef>
                <a:spcPct val="20000"/>
              </a:spcBef>
              <a:buSzPct val="100000"/>
              <a:buFontTx/>
              <a:buNone/>
              <a:defRPr sz="1500" kern="1200" baseline="0">
                <a:solidFill>
                  <a:schemeClr val="tx2"/>
                </a:solidFill>
                <a:latin typeface="+mn-lt"/>
                <a:ea typeface="+mn-ea"/>
                <a:cs typeface="+mn-cs"/>
              </a:defRPr>
            </a:lvl5pPr>
            <a:lvl6pPr marL="1019969" indent="0" algn="l" defTabSz="390997" rtl="0" eaLnBrk="1" latinLnBrk="0" hangingPunct="1">
              <a:spcBef>
                <a:spcPct val="20000"/>
              </a:spcBef>
              <a:buSzPct val="100000"/>
              <a:buFontTx/>
              <a:buNone/>
              <a:defRPr lang="de-DE" sz="1500" kern="1200" dirty="0" smtClean="0">
                <a:solidFill>
                  <a:schemeClr val="tx2"/>
                </a:solidFill>
                <a:latin typeface="+mn-lt"/>
                <a:ea typeface="+mn-ea"/>
                <a:cs typeface="+mn-cs"/>
              </a:defRPr>
            </a:lvl6pPr>
            <a:lvl7pPr marL="2541483" indent="-195499" algn="l" defTabSz="390997" rtl="0" eaLnBrk="1" latinLnBrk="0" hangingPunct="1">
              <a:spcBef>
                <a:spcPct val="20000"/>
              </a:spcBef>
              <a:buFont typeface="Arial"/>
              <a:buChar char="•"/>
              <a:defRPr sz="1710" kern="1200">
                <a:solidFill>
                  <a:schemeClr val="tx1"/>
                </a:solidFill>
                <a:latin typeface="+mn-lt"/>
                <a:ea typeface="+mn-ea"/>
                <a:cs typeface="+mn-cs"/>
              </a:defRPr>
            </a:lvl7pPr>
            <a:lvl8pPr marL="2932481" indent="-195499" algn="l" defTabSz="390997" rtl="0" eaLnBrk="1" latinLnBrk="0" hangingPunct="1">
              <a:spcBef>
                <a:spcPct val="20000"/>
              </a:spcBef>
              <a:buFont typeface="Arial"/>
              <a:buChar char="•"/>
              <a:defRPr sz="1710" kern="1200">
                <a:solidFill>
                  <a:schemeClr val="tx1"/>
                </a:solidFill>
                <a:latin typeface="+mn-lt"/>
                <a:ea typeface="+mn-ea"/>
                <a:cs typeface="+mn-cs"/>
              </a:defRPr>
            </a:lvl8pPr>
            <a:lvl9pPr marL="3323478" indent="-195499" algn="l" defTabSz="390997" rtl="0" eaLnBrk="1" latinLnBrk="0" hangingPunct="1">
              <a:spcBef>
                <a:spcPct val="20000"/>
              </a:spcBef>
              <a:buFont typeface="Arial"/>
              <a:buChar char="•"/>
              <a:defRPr sz="1710" kern="1200">
                <a:solidFill>
                  <a:schemeClr val="tx1"/>
                </a:solidFill>
                <a:latin typeface="+mn-lt"/>
                <a:ea typeface="+mn-ea"/>
                <a:cs typeface="+mn-cs"/>
              </a:defRPr>
            </a:lvl9pPr>
          </a:lstStyle>
          <a:p>
            <a:pPr marL="0" indent="0">
              <a:buNone/>
            </a:pPr>
            <a:r>
              <a:rPr lang="en-US" sz="1050" dirty="0">
                <a:solidFill>
                  <a:schemeClr val="tx2"/>
                </a:solidFill>
              </a:rPr>
              <a:t>Tel: 06 85 57 59 78</a:t>
            </a:r>
            <a:br>
              <a:rPr lang="en-US" sz="1050" dirty="0">
                <a:solidFill>
                  <a:schemeClr val="tx2"/>
                </a:solidFill>
              </a:rPr>
            </a:br>
            <a:r>
              <a:rPr lang="en-US" sz="1050" dirty="0">
                <a:solidFill>
                  <a:schemeClr val="tx2"/>
                </a:solidFill>
              </a:rPr>
              <a:t>laetitia.bouzenard@cylad.com</a:t>
            </a:r>
          </a:p>
        </p:txBody>
      </p:sp>
      <p:sp>
        <p:nvSpPr>
          <p:cNvPr id="50" name="Inhaltsplatzhalter 7">
            <a:extLst>
              <a:ext uri="{FF2B5EF4-FFF2-40B4-BE49-F238E27FC236}">
                <a16:creationId xmlns:a16="http://schemas.microsoft.com/office/drawing/2014/main" id="{F65F78EE-2EE5-42C3-AC7F-8E51A2684CC9}"/>
              </a:ext>
            </a:extLst>
          </p:cNvPr>
          <p:cNvSpPr txBox="1">
            <a:spLocks/>
          </p:cNvSpPr>
          <p:nvPr/>
        </p:nvSpPr>
        <p:spPr>
          <a:xfrm>
            <a:off x="393084" y="5398756"/>
            <a:ext cx="2207506" cy="566995"/>
          </a:xfrm>
          <a:prstGeom prst="rect">
            <a:avLst/>
          </a:prstGeom>
        </p:spPr>
        <p:txBody>
          <a:bodyPr vert="horz" lIns="0" tIns="36000" rIns="0" bIns="36000" rtlCol="0">
            <a:noAutofit/>
          </a:bodyPr>
          <a:lstStyle>
            <a:lvl1pPr marL="216000" indent="-216000" algn="l" defTabSz="390997" rtl="0" eaLnBrk="1" latinLnBrk="0" hangingPunct="1">
              <a:spcBef>
                <a:spcPts val="600"/>
              </a:spcBef>
              <a:buClr>
                <a:schemeClr val="tx1"/>
              </a:buClr>
              <a:buSzPct val="100000"/>
              <a:buFont typeface="Wingdings" panose="05000000000000000000" pitchFamily="2" charset="2"/>
              <a:buChar char=""/>
              <a:defRPr sz="1400" kern="1200" baseline="0">
                <a:solidFill>
                  <a:schemeClr val="tx1"/>
                </a:solidFill>
                <a:latin typeface="+mn-lt"/>
                <a:ea typeface="+mn-ea"/>
                <a:cs typeface="+mn-cs"/>
              </a:defRPr>
            </a:lvl1pPr>
            <a:lvl2pPr marL="432000" indent="-216000" algn="l" defTabSz="390997" rtl="0" eaLnBrk="1" latinLnBrk="0" hangingPunct="1">
              <a:spcBef>
                <a:spcPts val="600"/>
              </a:spcBef>
              <a:buClr>
                <a:schemeClr val="tx1"/>
              </a:buClr>
              <a:buSzPct val="100000"/>
              <a:buFont typeface="Wingdings 2" panose="05020102010507070707" pitchFamily="18" charset="2"/>
              <a:buChar char=""/>
              <a:defRPr sz="1400" kern="1200" baseline="0">
                <a:solidFill>
                  <a:schemeClr val="tx1"/>
                </a:solidFill>
                <a:latin typeface="+mn-lt"/>
                <a:ea typeface="+mn-ea"/>
                <a:cs typeface="+mn-cs"/>
              </a:defRPr>
            </a:lvl2pPr>
            <a:lvl3pPr marL="648000" indent="-216000" algn="l" defTabSz="390997" rtl="0" eaLnBrk="1" latinLnBrk="0" hangingPunct="1">
              <a:spcBef>
                <a:spcPts val="600"/>
              </a:spcBef>
              <a:buSzPct val="100000"/>
              <a:buFont typeface="Symbol" charset="2"/>
              <a:buChar char="-"/>
              <a:defRPr sz="1400" kern="1200">
                <a:solidFill>
                  <a:schemeClr val="tx1"/>
                </a:solidFill>
                <a:latin typeface="+mn-lt"/>
                <a:ea typeface="+mn-ea"/>
                <a:cs typeface="+mn-cs"/>
              </a:defRPr>
            </a:lvl3pPr>
            <a:lvl4pPr marL="864000" indent="-216000" algn="l" defTabSz="390997" rtl="0" eaLnBrk="1" latinLnBrk="0" hangingPunct="1">
              <a:spcBef>
                <a:spcPts val="600"/>
              </a:spcBef>
              <a:buSzPct val="80000"/>
              <a:buFont typeface="Symbol" charset="2"/>
              <a:buChar char="-"/>
              <a:defRPr sz="1400" kern="1200">
                <a:solidFill>
                  <a:schemeClr val="tx1"/>
                </a:solidFill>
                <a:latin typeface="+mn-lt"/>
                <a:ea typeface="+mn-ea"/>
                <a:cs typeface="+mn-cs"/>
              </a:defRPr>
            </a:lvl4pPr>
            <a:lvl5pPr marL="811339" indent="0" algn="l" defTabSz="390997" rtl="0" eaLnBrk="1" latinLnBrk="0" hangingPunct="1">
              <a:spcBef>
                <a:spcPct val="20000"/>
              </a:spcBef>
              <a:buSzPct val="100000"/>
              <a:buFontTx/>
              <a:buNone/>
              <a:defRPr sz="1500" kern="1200" baseline="0">
                <a:solidFill>
                  <a:schemeClr val="tx2"/>
                </a:solidFill>
                <a:latin typeface="+mn-lt"/>
                <a:ea typeface="+mn-ea"/>
                <a:cs typeface="+mn-cs"/>
              </a:defRPr>
            </a:lvl5pPr>
            <a:lvl6pPr marL="1019969" indent="0" algn="l" defTabSz="390997" rtl="0" eaLnBrk="1" latinLnBrk="0" hangingPunct="1">
              <a:spcBef>
                <a:spcPct val="20000"/>
              </a:spcBef>
              <a:buSzPct val="100000"/>
              <a:buFontTx/>
              <a:buNone/>
              <a:defRPr lang="de-DE" sz="1500" kern="1200" dirty="0" smtClean="0">
                <a:solidFill>
                  <a:schemeClr val="tx2"/>
                </a:solidFill>
                <a:latin typeface="+mn-lt"/>
                <a:ea typeface="+mn-ea"/>
                <a:cs typeface="+mn-cs"/>
              </a:defRPr>
            </a:lvl6pPr>
            <a:lvl7pPr marL="2541483" indent="-195499" algn="l" defTabSz="390997" rtl="0" eaLnBrk="1" latinLnBrk="0" hangingPunct="1">
              <a:spcBef>
                <a:spcPct val="20000"/>
              </a:spcBef>
              <a:buFont typeface="Arial"/>
              <a:buChar char="•"/>
              <a:defRPr sz="1710" kern="1200">
                <a:solidFill>
                  <a:schemeClr val="tx1"/>
                </a:solidFill>
                <a:latin typeface="+mn-lt"/>
                <a:ea typeface="+mn-ea"/>
                <a:cs typeface="+mn-cs"/>
              </a:defRPr>
            </a:lvl7pPr>
            <a:lvl8pPr marL="2932481" indent="-195499" algn="l" defTabSz="390997" rtl="0" eaLnBrk="1" latinLnBrk="0" hangingPunct="1">
              <a:spcBef>
                <a:spcPct val="20000"/>
              </a:spcBef>
              <a:buFont typeface="Arial"/>
              <a:buChar char="•"/>
              <a:defRPr sz="1710" kern="1200">
                <a:solidFill>
                  <a:schemeClr val="tx1"/>
                </a:solidFill>
                <a:latin typeface="+mn-lt"/>
                <a:ea typeface="+mn-ea"/>
                <a:cs typeface="+mn-cs"/>
              </a:defRPr>
            </a:lvl8pPr>
            <a:lvl9pPr marL="3323478" indent="-195499" algn="l" defTabSz="390997" rtl="0" eaLnBrk="1" latinLnBrk="0" hangingPunct="1">
              <a:spcBef>
                <a:spcPct val="20000"/>
              </a:spcBef>
              <a:buFont typeface="Arial"/>
              <a:buChar char="•"/>
              <a:defRPr sz="1710" kern="1200">
                <a:solidFill>
                  <a:schemeClr val="tx1"/>
                </a:solidFill>
                <a:latin typeface="+mn-lt"/>
                <a:ea typeface="+mn-ea"/>
                <a:cs typeface="+mn-cs"/>
              </a:defRPr>
            </a:lvl9pPr>
          </a:lstStyle>
          <a:p>
            <a:pPr>
              <a:spcBef>
                <a:spcPts val="0"/>
              </a:spcBef>
              <a:buClr>
                <a:schemeClr val="tx2"/>
              </a:buClr>
              <a:buFont typeface="Arial" panose="020B0604020202020204" pitchFamily="34" charset="0"/>
              <a:buChar char="•"/>
            </a:pPr>
            <a:r>
              <a:rPr lang="fr-FR" sz="1050" dirty="0">
                <a:solidFill>
                  <a:schemeClr val="tx2"/>
                </a:solidFill>
              </a:rPr>
              <a:t>Expérience dans les opérations                  et le conseil depuis 2001</a:t>
            </a:r>
          </a:p>
          <a:p>
            <a:pPr>
              <a:spcBef>
                <a:spcPts val="0"/>
              </a:spcBef>
              <a:buClr>
                <a:schemeClr val="tx2"/>
              </a:buClr>
              <a:buFont typeface="Arial" panose="020B0604020202020204" pitchFamily="34" charset="0"/>
              <a:buChar char="•"/>
            </a:pPr>
            <a:r>
              <a:rPr lang="fr-FR" sz="1050" dirty="0">
                <a:solidFill>
                  <a:schemeClr val="tx2"/>
                </a:solidFill>
              </a:rPr>
              <a:t>Experte Lean, Business Transformation, </a:t>
            </a:r>
            <a:r>
              <a:rPr lang="fr-FR" sz="1050" dirty="0" err="1">
                <a:solidFill>
                  <a:schemeClr val="tx2"/>
                </a:solidFill>
              </a:rPr>
              <a:t>supply</a:t>
            </a:r>
            <a:r>
              <a:rPr lang="fr-FR" sz="1050" dirty="0">
                <a:solidFill>
                  <a:schemeClr val="tx2"/>
                </a:solidFill>
              </a:rPr>
              <a:t> </a:t>
            </a:r>
            <a:r>
              <a:rPr lang="fr-FR" sz="1050" dirty="0" err="1">
                <a:solidFill>
                  <a:schemeClr val="tx2"/>
                </a:solidFill>
              </a:rPr>
              <a:t>chain</a:t>
            </a:r>
            <a:r>
              <a:rPr lang="fr-FR" sz="1050" dirty="0">
                <a:solidFill>
                  <a:schemeClr val="tx2"/>
                </a:solidFill>
              </a:rPr>
              <a:t>, Achats</a:t>
            </a:r>
          </a:p>
          <a:p>
            <a:pPr>
              <a:spcBef>
                <a:spcPts val="0"/>
              </a:spcBef>
              <a:buClr>
                <a:schemeClr val="tx2"/>
              </a:buClr>
              <a:buFont typeface="Arial" panose="020B0604020202020204" pitchFamily="34" charset="0"/>
              <a:buChar char="•"/>
            </a:pPr>
            <a:r>
              <a:rPr lang="fr-FR" sz="1050" dirty="0">
                <a:solidFill>
                  <a:schemeClr val="tx2"/>
                </a:solidFill>
              </a:rPr>
              <a:t>Secteurs :  Automobile, </a:t>
            </a:r>
            <a:r>
              <a:rPr lang="fr-FR" sz="1050" dirty="0" err="1">
                <a:solidFill>
                  <a:schemeClr val="tx2"/>
                </a:solidFill>
              </a:rPr>
              <a:t>Aéro</a:t>
            </a:r>
            <a:r>
              <a:rPr lang="fr-FR" sz="1050" dirty="0">
                <a:solidFill>
                  <a:schemeClr val="tx2"/>
                </a:solidFill>
              </a:rPr>
              <a:t>, Grande Distribution</a:t>
            </a:r>
            <a:br>
              <a:rPr lang="fr-FR" sz="1050" dirty="0">
                <a:solidFill>
                  <a:schemeClr val="tx2"/>
                </a:solidFill>
              </a:rPr>
            </a:br>
            <a:endParaRPr lang="fr-FR" sz="1050" dirty="0">
              <a:solidFill>
                <a:schemeClr val="tx2"/>
              </a:solidFill>
            </a:endParaRPr>
          </a:p>
        </p:txBody>
      </p:sp>
      <p:pic>
        <p:nvPicPr>
          <p:cNvPr id="58" name="Picture 7" descr="https://media-exp2.licdn.com/dms/image/C4E03AQHvC-4TA1iElg/profile-displayphoto-shrink_200_200/0?e=1584576000&amp;v=beta&amp;t=daE_uDox7HFHip_C98Irx6Wy6ITxvuJKzDdNKcc_KOc">
            <a:extLst>
              <a:ext uri="{FF2B5EF4-FFF2-40B4-BE49-F238E27FC236}">
                <a16:creationId xmlns:a16="http://schemas.microsoft.com/office/drawing/2014/main" id="{FD246670-C6D3-4C6E-97A0-13EFE17E53F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521370" y="4498510"/>
            <a:ext cx="1440000" cy="1440000"/>
          </a:xfrm>
          <a:prstGeom prst="rect">
            <a:avLst/>
          </a:prstGeom>
          <a:noFill/>
          <a:extLst>
            <a:ext uri="{909E8E84-426E-40DD-AFC4-6F175D3DCCD1}">
              <a14:hiddenFill xmlns:a14="http://schemas.microsoft.com/office/drawing/2010/main">
                <a:solidFill>
                  <a:srgbClr val="FFFFFF"/>
                </a:solidFill>
              </a14:hiddenFill>
            </a:ext>
          </a:extLst>
        </p:spPr>
      </p:pic>
      <p:sp>
        <p:nvSpPr>
          <p:cNvPr id="54" name="ZoneTexte 15">
            <a:extLst>
              <a:ext uri="{FF2B5EF4-FFF2-40B4-BE49-F238E27FC236}">
                <a16:creationId xmlns:a16="http://schemas.microsoft.com/office/drawing/2014/main" id="{7182E31D-0C24-40E6-80DD-BE1D78DA7B73}"/>
              </a:ext>
            </a:extLst>
          </p:cNvPr>
          <p:cNvSpPr txBox="1"/>
          <p:nvPr/>
        </p:nvSpPr>
        <p:spPr>
          <a:xfrm>
            <a:off x="4413634" y="4394199"/>
            <a:ext cx="3733800" cy="2268000"/>
          </a:xfrm>
          <a:prstGeom prst="rect">
            <a:avLst/>
          </a:prstGeom>
          <a:solidFill>
            <a:schemeClr val="bg1"/>
          </a:solidFill>
          <a:ln w="12700">
            <a:solidFill>
              <a:schemeClr val="tx2"/>
            </a:solidFill>
          </a:ln>
          <a:effectLst>
            <a:outerShdw blurRad="50800" dist="38100" dir="2700000" algn="tl" rotWithShape="0">
              <a:prstClr val="black">
                <a:alpha val="40000"/>
              </a:prstClr>
            </a:outerShdw>
          </a:effectLst>
        </p:spPr>
        <p:txBody>
          <a:bodyPr wrap="square" lIns="91513" tIns="108000" rIns="91513" bIns="45757" rtlCol="0">
            <a:noAutofit/>
          </a:bodyPr>
          <a:lstStyle/>
          <a:p>
            <a:r>
              <a:rPr lang="en-US" sz="1400" b="1" dirty="0">
                <a:solidFill>
                  <a:schemeClr val="tx2"/>
                </a:solidFill>
                <a:latin typeface="Arial" panose="020B0604020202020204" pitchFamily="34" charset="0"/>
                <a:cs typeface="Arial" panose="020B0604020202020204" pitchFamily="34" charset="0"/>
              </a:rPr>
              <a:t>Nicolas Comte</a:t>
            </a:r>
          </a:p>
          <a:p>
            <a:r>
              <a:rPr lang="en-US" sz="1050" i="1" dirty="0">
                <a:solidFill>
                  <a:schemeClr val="tx2"/>
                </a:solidFill>
                <a:latin typeface="Arial" panose="020B0604020202020204" pitchFamily="34" charset="0"/>
                <a:cs typeface="Arial" panose="020B0604020202020204" pitchFamily="34" charset="0"/>
              </a:rPr>
              <a:t>Principal</a:t>
            </a:r>
          </a:p>
          <a:p>
            <a:endParaRPr lang="en-US" sz="900" dirty="0">
              <a:solidFill>
                <a:schemeClr val="tx2"/>
              </a:solidFill>
              <a:latin typeface="Arial" panose="020B0604020202020204" pitchFamily="34" charset="0"/>
              <a:cs typeface="Arial" panose="020B0604020202020204" pitchFamily="34" charset="0"/>
            </a:endParaRPr>
          </a:p>
          <a:p>
            <a:endParaRPr lang="en-US" sz="900" dirty="0">
              <a:solidFill>
                <a:schemeClr val="tx2"/>
              </a:solidFill>
              <a:latin typeface="Arial" panose="020B0604020202020204" pitchFamily="34" charset="0"/>
              <a:cs typeface="Arial" panose="020B0604020202020204" pitchFamily="34" charset="0"/>
            </a:endParaRPr>
          </a:p>
          <a:p>
            <a:endParaRPr lang="en-US" sz="800" dirty="0">
              <a:solidFill>
                <a:schemeClr val="tx2"/>
              </a:solidFill>
              <a:latin typeface="Arial" panose="020B0604020202020204" pitchFamily="34" charset="0"/>
              <a:cs typeface="Arial" panose="020B0604020202020204" pitchFamily="34" charset="0"/>
            </a:endParaRPr>
          </a:p>
          <a:p>
            <a:endParaRPr lang="en-US" sz="800" dirty="0">
              <a:solidFill>
                <a:schemeClr val="tx2"/>
              </a:solidFill>
              <a:latin typeface="Arial" panose="020B0604020202020204" pitchFamily="34" charset="0"/>
              <a:cs typeface="Arial" panose="020B0604020202020204" pitchFamily="34" charset="0"/>
            </a:endParaRPr>
          </a:p>
          <a:p>
            <a:pPr>
              <a:tabLst>
                <a:tab pos="1439426" algn="l"/>
              </a:tabLst>
            </a:pPr>
            <a:r>
              <a:rPr lang="en-US" sz="800" dirty="0">
                <a:solidFill>
                  <a:schemeClr val="tx2"/>
                </a:solidFill>
                <a:latin typeface="Arial" panose="020B0604020202020204" pitchFamily="34" charset="0"/>
                <a:cs typeface="Arial" panose="020B0604020202020204" pitchFamily="34" charset="0"/>
              </a:rPr>
              <a:t>	</a:t>
            </a:r>
          </a:p>
        </p:txBody>
      </p:sp>
      <p:sp>
        <p:nvSpPr>
          <p:cNvPr id="55" name="Inhaltsplatzhalter 7">
            <a:extLst>
              <a:ext uri="{FF2B5EF4-FFF2-40B4-BE49-F238E27FC236}">
                <a16:creationId xmlns:a16="http://schemas.microsoft.com/office/drawing/2014/main" id="{5166D5BC-C757-41DD-A7EB-D2F92CF0E9E3}"/>
              </a:ext>
            </a:extLst>
          </p:cNvPr>
          <p:cNvSpPr txBox="1">
            <a:spLocks/>
          </p:cNvSpPr>
          <p:nvPr/>
        </p:nvSpPr>
        <p:spPr>
          <a:xfrm>
            <a:off x="4556045" y="4929278"/>
            <a:ext cx="2207506" cy="566995"/>
          </a:xfrm>
          <a:prstGeom prst="rect">
            <a:avLst/>
          </a:prstGeom>
        </p:spPr>
        <p:txBody>
          <a:bodyPr vert="horz" lIns="0" tIns="36000" rIns="0" bIns="36000" rtlCol="0">
            <a:noAutofit/>
          </a:bodyPr>
          <a:lstStyle>
            <a:lvl1pPr marL="216000" indent="-216000" algn="l" defTabSz="390997" rtl="0" eaLnBrk="1" latinLnBrk="0" hangingPunct="1">
              <a:spcBef>
                <a:spcPts val="600"/>
              </a:spcBef>
              <a:buClr>
                <a:schemeClr val="tx1"/>
              </a:buClr>
              <a:buSzPct val="100000"/>
              <a:buFont typeface="Wingdings" panose="05000000000000000000" pitchFamily="2" charset="2"/>
              <a:buChar char=""/>
              <a:defRPr sz="1400" kern="1200" baseline="0">
                <a:solidFill>
                  <a:schemeClr val="tx1"/>
                </a:solidFill>
                <a:latin typeface="+mn-lt"/>
                <a:ea typeface="+mn-ea"/>
                <a:cs typeface="+mn-cs"/>
              </a:defRPr>
            </a:lvl1pPr>
            <a:lvl2pPr marL="432000" indent="-216000" algn="l" defTabSz="390997" rtl="0" eaLnBrk="1" latinLnBrk="0" hangingPunct="1">
              <a:spcBef>
                <a:spcPts val="600"/>
              </a:spcBef>
              <a:buClr>
                <a:schemeClr val="tx1"/>
              </a:buClr>
              <a:buSzPct val="100000"/>
              <a:buFont typeface="Wingdings 2" panose="05020102010507070707" pitchFamily="18" charset="2"/>
              <a:buChar char=""/>
              <a:defRPr sz="1400" kern="1200" baseline="0">
                <a:solidFill>
                  <a:schemeClr val="tx1"/>
                </a:solidFill>
                <a:latin typeface="+mn-lt"/>
                <a:ea typeface="+mn-ea"/>
                <a:cs typeface="+mn-cs"/>
              </a:defRPr>
            </a:lvl2pPr>
            <a:lvl3pPr marL="648000" indent="-216000" algn="l" defTabSz="390997" rtl="0" eaLnBrk="1" latinLnBrk="0" hangingPunct="1">
              <a:spcBef>
                <a:spcPts val="600"/>
              </a:spcBef>
              <a:buSzPct val="100000"/>
              <a:buFont typeface="Symbol" charset="2"/>
              <a:buChar char="-"/>
              <a:defRPr sz="1400" kern="1200">
                <a:solidFill>
                  <a:schemeClr val="tx1"/>
                </a:solidFill>
                <a:latin typeface="+mn-lt"/>
                <a:ea typeface="+mn-ea"/>
                <a:cs typeface="+mn-cs"/>
              </a:defRPr>
            </a:lvl3pPr>
            <a:lvl4pPr marL="864000" indent="-216000" algn="l" defTabSz="390997" rtl="0" eaLnBrk="1" latinLnBrk="0" hangingPunct="1">
              <a:spcBef>
                <a:spcPts val="600"/>
              </a:spcBef>
              <a:buSzPct val="80000"/>
              <a:buFont typeface="Symbol" charset="2"/>
              <a:buChar char="-"/>
              <a:defRPr sz="1400" kern="1200">
                <a:solidFill>
                  <a:schemeClr val="tx1"/>
                </a:solidFill>
                <a:latin typeface="+mn-lt"/>
                <a:ea typeface="+mn-ea"/>
                <a:cs typeface="+mn-cs"/>
              </a:defRPr>
            </a:lvl4pPr>
            <a:lvl5pPr marL="811339" indent="0" algn="l" defTabSz="390997" rtl="0" eaLnBrk="1" latinLnBrk="0" hangingPunct="1">
              <a:spcBef>
                <a:spcPct val="20000"/>
              </a:spcBef>
              <a:buSzPct val="100000"/>
              <a:buFontTx/>
              <a:buNone/>
              <a:defRPr sz="1500" kern="1200" baseline="0">
                <a:solidFill>
                  <a:schemeClr val="tx2"/>
                </a:solidFill>
                <a:latin typeface="+mn-lt"/>
                <a:ea typeface="+mn-ea"/>
                <a:cs typeface="+mn-cs"/>
              </a:defRPr>
            </a:lvl5pPr>
            <a:lvl6pPr marL="1019969" indent="0" algn="l" defTabSz="390997" rtl="0" eaLnBrk="1" latinLnBrk="0" hangingPunct="1">
              <a:spcBef>
                <a:spcPct val="20000"/>
              </a:spcBef>
              <a:buSzPct val="100000"/>
              <a:buFontTx/>
              <a:buNone/>
              <a:defRPr lang="de-DE" sz="1500" kern="1200" dirty="0" smtClean="0">
                <a:solidFill>
                  <a:schemeClr val="tx2"/>
                </a:solidFill>
                <a:latin typeface="+mn-lt"/>
                <a:ea typeface="+mn-ea"/>
                <a:cs typeface="+mn-cs"/>
              </a:defRPr>
            </a:lvl6pPr>
            <a:lvl7pPr marL="2541483" indent="-195499" algn="l" defTabSz="390997" rtl="0" eaLnBrk="1" latinLnBrk="0" hangingPunct="1">
              <a:spcBef>
                <a:spcPct val="20000"/>
              </a:spcBef>
              <a:buFont typeface="Arial"/>
              <a:buChar char="•"/>
              <a:defRPr sz="1710" kern="1200">
                <a:solidFill>
                  <a:schemeClr val="tx1"/>
                </a:solidFill>
                <a:latin typeface="+mn-lt"/>
                <a:ea typeface="+mn-ea"/>
                <a:cs typeface="+mn-cs"/>
              </a:defRPr>
            </a:lvl7pPr>
            <a:lvl8pPr marL="2932481" indent="-195499" algn="l" defTabSz="390997" rtl="0" eaLnBrk="1" latinLnBrk="0" hangingPunct="1">
              <a:spcBef>
                <a:spcPct val="20000"/>
              </a:spcBef>
              <a:buFont typeface="Arial"/>
              <a:buChar char="•"/>
              <a:defRPr sz="1710" kern="1200">
                <a:solidFill>
                  <a:schemeClr val="tx1"/>
                </a:solidFill>
                <a:latin typeface="+mn-lt"/>
                <a:ea typeface="+mn-ea"/>
                <a:cs typeface="+mn-cs"/>
              </a:defRPr>
            </a:lvl8pPr>
            <a:lvl9pPr marL="3323478" indent="-195499" algn="l" defTabSz="390997" rtl="0" eaLnBrk="1" latinLnBrk="0" hangingPunct="1">
              <a:spcBef>
                <a:spcPct val="20000"/>
              </a:spcBef>
              <a:buFont typeface="Arial"/>
              <a:buChar char="•"/>
              <a:defRPr sz="1710" kern="1200">
                <a:solidFill>
                  <a:schemeClr val="tx1"/>
                </a:solidFill>
                <a:latin typeface="+mn-lt"/>
                <a:ea typeface="+mn-ea"/>
                <a:cs typeface="+mn-cs"/>
              </a:defRPr>
            </a:lvl9pPr>
          </a:lstStyle>
          <a:p>
            <a:pPr marL="0" indent="0">
              <a:buNone/>
            </a:pPr>
            <a:r>
              <a:rPr lang="en-US" sz="1050" dirty="0">
                <a:solidFill>
                  <a:schemeClr val="tx2"/>
                </a:solidFill>
              </a:rPr>
              <a:t>Tel: 07 62 76 66 95 </a:t>
            </a:r>
            <a:br>
              <a:rPr lang="en-US" sz="1050" dirty="0">
                <a:solidFill>
                  <a:schemeClr val="tx2"/>
                </a:solidFill>
              </a:rPr>
            </a:br>
            <a:r>
              <a:rPr lang="en-US" sz="1050" dirty="0">
                <a:solidFill>
                  <a:schemeClr val="tx2"/>
                </a:solidFill>
              </a:rPr>
              <a:t>nicolas.comte@CYLAD.com</a:t>
            </a:r>
          </a:p>
        </p:txBody>
      </p:sp>
      <p:sp>
        <p:nvSpPr>
          <p:cNvPr id="56" name="Inhaltsplatzhalter 7">
            <a:extLst>
              <a:ext uri="{FF2B5EF4-FFF2-40B4-BE49-F238E27FC236}">
                <a16:creationId xmlns:a16="http://schemas.microsoft.com/office/drawing/2014/main" id="{AEA9F838-ADFE-4A46-928E-1EE486B89AB9}"/>
              </a:ext>
            </a:extLst>
          </p:cNvPr>
          <p:cNvSpPr txBox="1">
            <a:spLocks/>
          </p:cNvSpPr>
          <p:nvPr/>
        </p:nvSpPr>
        <p:spPr>
          <a:xfrm>
            <a:off x="4520319" y="5398756"/>
            <a:ext cx="2207506" cy="566995"/>
          </a:xfrm>
          <a:prstGeom prst="rect">
            <a:avLst/>
          </a:prstGeom>
        </p:spPr>
        <p:txBody>
          <a:bodyPr vert="horz" lIns="0" tIns="36000" rIns="0" bIns="36000" rtlCol="0">
            <a:noAutofit/>
          </a:bodyPr>
          <a:lstStyle>
            <a:lvl1pPr marL="216000" indent="-216000" algn="l" defTabSz="390997" rtl="0" eaLnBrk="1" latinLnBrk="0" hangingPunct="1">
              <a:spcBef>
                <a:spcPts val="600"/>
              </a:spcBef>
              <a:buClr>
                <a:schemeClr val="tx1"/>
              </a:buClr>
              <a:buSzPct val="100000"/>
              <a:buFont typeface="Wingdings" panose="05000000000000000000" pitchFamily="2" charset="2"/>
              <a:buChar char=""/>
              <a:defRPr sz="1400" kern="1200" baseline="0">
                <a:solidFill>
                  <a:schemeClr val="tx1"/>
                </a:solidFill>
                <a:latin typeface="+mn-lt"/>
                <a:ea typeface="+mn-ea"/>
                <a:cs typeface="+mn-cs"/>
              </a:defRPr>
            </a:lvl1pPr>
            <a:lvl2pPr marL="432000" indent="-216000" algn="l" defTabSz="390997" rtl="0" eaLnBrk="1" latinLnBrk="0" hangingPunct="1">
              <a:spcBef>
                <a:spcPts val="600"/>
              </a:spcBef>
              <a:buClr>
                <a:schemeClr val="tx1"/>
              </a:buClr>
              <a:buSzPct val="100000"/>
              <a:buFont typeface="Wingdings 2" panose="05020102010507070707" pitchFamily="18" charset="2"/>
              <a:buChar char=""/>
              <a:defRPr sz="1400" kern="1200" baseline="0">
                <a:solidFill>
                  <a:schemeClr val="tx1"/>
                </a:solidFill>
                <a:latin typeface="+mn-lt"/>
                <a:ea typeface="+mn-ea"/>
                <a:cs typeface="+mn-cs"/>
              </a:defRPr>
            </a:lvl2pPr>
            <a:lvl3pPr marL="648000" indent="-216000" algn="l" defTabSz="390997" rtl="0" eaLnBrk="1" latinLnBrk="0" hangingPunct="1">
              <a:spcBef>
                <a:spcPts val="600"/>
              </a:spcBef>
              <a:buSzPct val="100000"/>
              <a:buFont typeface="Symbol" charset="2"/>
              <a:buChar char="-"/>
              <a:defRPr sz="1400" kern="1200">
                <a:solidFill>
                  <a:schemeClr val="tx1"/>
                </a:solidFill>
                <a:latin typeface="+mn-lt"/>
                <a:ea typeface="+mn-ea"/>
                <a:cs typeface="+mn-cs"/>
              </a:defRPr>
            </a:lvl3pPr>
            <a:lvl4pPr marL="864000" indent="-216000" algn="l" defTabSz="390997" rtl="0" eaLnBrk="1" latinLnBrk="0" hangingPunct="1">
              <a:spcBef>
                <a:spcPts val="600"/>
              </a:spcBef>
              <a:buSzPct val="80000"/>
              <a:buFont typeface="Symbol" charset="2"/>
              <a:buChar char="-"/>
              <a:defRPr sz="1400" kern="1200">
                <a:solidFill>
                  <a:schemeClr val="tx1"/>
                </a:solidFill>
                <a:latin typeface="+mn-lt"/>
                <a:ea typeface="+mn-ea"/>
                <a:cs typeface="+mn-cs"/>
              </a:defRPr>
            </a:lvl4pPr>
            <a:lvl5pPr marL="811339" indent="0" algn="l" defTabSz="390997" rtl="0" eaLnBrk="1" latinLnBrk="0" hangingPunct="1">
              <a:spcBef>
                <a:spcPct val="20000"/>
              </a:spcBef>
              <a:buSzPct val="100000"/>
              <a:buFontTx/>
              <a:buNone/>
              <a:defRPr sz="1500" kern="1200" baseline="0">
                <a:solidFill>
                  <a:schemeClr val="tx2"/>
                </a:solidFill>
                <a:latin typeface="+mn-lt"/>
                <a:ea typeface="+mn-ea"/>
                <a:cs typeface="+mn-cs"/>
              </a:defRPr>
            </a:lvl5pPr>
            <a:lvl6pPr marL="1019969" indent="0" algn="l" defTabSz="390997" rtl="0" eaLnBrk="1" latinLnBrk="0" hangingPunct="1">
              <a:spcBef>
                <a:spcPct val="20000"/>
              </a:spcBef>
              <a:buSzPct val="100000"/>
              <a:buFontTx/>
              <a:buNone/>
              <a:defRPr lang="de-DE" sz="1500" kern="1200" dirty="0" smtClean="0">
                <a:solidFill>
                  <a:schemeClr val="tx2"/>
                </a:solidFill>
                <a:latin typeface="+mn-lt"/>
                <a:ea typeface="+mn-ea"/>
                <a:cs typeface="+mn-cs"/>
              </a:defRPr>
            </a:lvl6pPr>
            <a:lvl7pPr marL="2541483" indent="-195499" algn="l" defTabSz="390997" rtl="0" eaLnBrk="1" latinLnBrk="0" hangingPunct="1">
              <a:spcBef>
                <a:spcPct val="20000"/>
              </a:spcBef>
              <a:buFont typeface="Arial"/>
              <a:buChar char="•"/>
              <a:defRPr sz="1710" kern="1200">
                <a:solidFill>
                  <a:schemeClr val="tx1"/>
                </a:solidFill>
                <a:latin typeface="+mn-lt"/>
                <a:ea typeface="+mn-ea"/>
                <a:cs typeface="+mn-cs"/>
              </a:defRPr>
            </a:lvl7pPr>
            <a:lvl8pPr marL="2932481" indent="-195499" algn="l" defTabSz="390997" rtl="0" eaLnBrk="1" latinLnBrk="0" hangingPunct="1">
              <a:spcBef>
                <a:spcPct val="20000"/>
              </a:spcBef>
              <a:buFont typeface="Arial"/>
              <a:buChar char="•"/>
              <a:defRPr sz="1710" kern="1200">
                <a:solidFill>
                  <a:schemeClr val="tx1"/>
                </a:solidFill>
                <a:latin typeface="+mn-lt"/>
                <a:ea typeface="+mn-ea"/>
                <a:cs typeface="+mn-cs"/>
              </a:defRPr>
            </a:lvl8pPr>
            <a:lvl9pPr marL="3323478" indent="-195499" algn="l" defTabSz="390997" rtl="0" eaLnBrk="1" latinLnBrk="0" hangingPunct="1">
              <a:spcBef>
                <a:spcPct val="20000"/>
              </a:spcBef>
              <a:buFont typeface="Arial"/>
              <a:buChar char="•"/>
              <a:defRPr sz="1710" kern="1200">
                <a:solidFill>
                  <a:schemeClr val="tx1"/>
                </a:solidFill>
                <a:latin typeface="+mn-lt"/>
                <a:ea typeface="+mn-ea"/>
                <a:cs typeface="+mn-cs"/>
              </a:defRPr>
            </a:lvl9pPr>
          </a:lstStyle>
          <a:p>
            <a:pPr>
              <a:spcBef>
                <a:spcPts val="0"/>
              </a:spcBef>
              <a:buClr>
                <a:schemeClr val="tx2"/>
              </a:buClr>
              <a:buFont typeface="Arial" panose="020B0604020202020204" pitchFamily="34" charset="0"/>
              <a:buChar char="•"/>
            </a:pPr>
            <a:r>
              <a:rPr lang="fr-FR" sz="1050" dirty="0">
                <a:solidFill>
                  <a:schemeClr val="tx2"/>
                </a:solidFill>
              </a:rPr>
              <a:t>Expérience dans les opérations                   et le conseil depuis 2003 </a:t>
            </a:r>
          </a:p>
          <a:p>
            <a:pPr>
              <a:spcBef>
                <a:spcPts val="0"/>
              </a:spcBef>
              <a:buClr>
                <a:schemeClr val="tx2"/>
              </a:buClr>
              <a:buFont typeface="Arial" panose="020B0604020202020204" pitchFamily="34" charset="0"/>
              <a:buChar char="•"/>
            </a:pPr>
            <a:r>
              <a:rPr lang="fr-FR" sz="1050" dirty="0">
                <a:solidFill>
                  <a:schemeClr val="tx2"/>
                </a:solidFill>
              </a:rPr>
              <a:t>Expert Gestion de programme, Développement fournisseurs, Performance industrielle</a:t>
            </a:r>
          </a:p>
          <a:p>
            <a:pPr>
              <a:spcBef>
                <a:spcPts val="0"/>
              </a:spcBef>
              <a:buClr>
                <a:schemeClr val="tx2"/>
              </a:buClr>
              <a:buFont typeface="Arial" panose="020B0604020202020204" pitchFamily="34" charset="0"/>
              <a:buChar char="•"/>
            </a:pPr>
            <a:r>
              <a:rPr lang="fr-FR" sz="1050" dirty="0">
                <a:solidFill>
                  <a:schemeClr val="tx2"/>
                </a:solidFill>
              </a:rPr>
              <a:t>Secteurs : Transports, industrie électrique, </a:t>
            </a:r>
            <a:r>
              <a:rPr lang="fr-FR" sz="1050" dirty="0" err="1">
                <a:solidFill>
                  <a:schemeClr val="tx2"/>
                </a:solidFill>
              </a:rPr>
              <a:t>Aéro</a:t>
            </a:r>
            <a:r>
              <a:rPr lang="fr-FR" sz="1050" dirty="0">
                <a:solidFill>
                  <a:schemeClr val="tx2"/>
                </a:solidFill>
              </a:rPr>
              <a:t>, Energie</a:t>
            </a:r>
          </a:p>
          <a:p>
            <a:pPr marL="0" indent="0">
              <a:buNone/>
            </a:pPr>
            <a:endParaRPr lang="en-US" sz="1050" dirty="0">
              <a:solidFill>
                <a:schemeClr val="tx2"/>
              </a:solidFill>
            </a:endParaRPr>
          </a:p>
        </p:txBody>
      </p:sp>
      <p:pic>
        <p:nvPicPr>
          <p:cNvPr id="60" name="Picture 9" descr="https://media-exp2.licdn.com/dms/image/C5103AQHoIA9n5L-A5A/profile-displayphoto-shrink_200_200/0?e=1584576000&amp;v=beta&amp;t=MWFlnns9B90K2AYakNHQ7aijrASYjSd94IPcaXzbWeI">
            <a:extLst>
              <a:ext uri="{FF2B5EF4-FFF2-40B4-BE49-F238E27FC236}">
                <a16:creationId xmlns:a16="http://schemas.microsoft.com/office/drawing/2014/main" id="{A3C560BC-D406-4259-9D00-55BE0C79EEE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605112" y="4498510"/>
            <a:ext cx="1440000" cy="1440000"/>
          </a:xfrm>
          <a:prstGeom prst="rect">
            <a:avLst/>
          </a:prstGeom>
          <a:noFill/>
          <a:extLst>
            <a:ext uri="{909E8E84-426E-40DD-AFC4-6F175D3DCCD1}">
              <a14:hiddenFill xmlns:a14="http://schemas.microsoft.com/office/drawing/2010/main">
                <a:solidFill>
                  <a:srgbClr val="FFFFFF"/>
                </a:solidFill>
              </a14:hiddenFill>
            </a:ext>
          </a:extLst>
        </p:spPr>
      </p:pic>
      <p:sp>
        <p:nvSpPr>
          <p:cNvPr id="32" name="Rectangle 31">
            <a:extLst>
              <a:ext uri="{FF2B5EF4-FFF2-40B4-BE49-F238E27FC236}">
                <a16:creationId xmlns:a16="http://schemas.microsoft.com/office/drawing/2014/main" id="{3FD1391B-3496-487F-8735-FE64A099209E}"/>
              </a:ext>
            </a:extLst>
          </p:cNvPr>
          <p:cNvSpPr/>
          <p:nvPr/>
        </p:nvSpPr>
        <p:spPr>
          <a:xfrm>
            <a:off x="8632825" y="2714780"/>
            <a:ext cx="4473969" cy="2781493"/>
          </a:xfrm>
          <a:prstGeom prst="rect">
            <a:avLst/>
          </a:prstGeom>
          <a:solidFill>
            <a:schemeClr val="accent4">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54" tIns="108016" rIns="91454" bIns="252037" numCol="1" spcCol="0" rtlCol="0" fromWordArt="0" anchor="t" anchorCtr="0" forceAA="0" compatLnSpc="1">
            <a:prstTxWarp prst="textNoShape">
              <a:avLst/>
            </a:prstTxWarp>
            <a:noAutofit/>
          </a:bodyPr>
          <a:lstStyle/>
          <a:p>
            <a:pPr algn="ctr"/>
            <a:r>
              <a:rPr lang="fr-FR" sz="1800" b="1" dirty="0">
                <a:solidFill>
                  <a:srgbClr val="004B5A"/>
                </a:solidFill>
              </a:rPr>
              <a:t>+</a:t>
            </a:r>
            <a:r>
              <a:rPr lang="fr-FR" sz="1400" dirty="0">
                <a:solidFill>
                  <a:srgbClr val="004B5A"/>
                </a:solidFill>
              </a:rPr>
              <a:t> </a:t>
            </a:r>
            <a:r>
              <a:rPr lang="fr-FR" sz="1400" b="1" dirty="0">
                <a:solidFill>
                  <a:srgbClr val="004B5A"/>
                </a:solidFill>
              </a:rPr>
              <a:t>Forte expertise industrielle interne chez CYLAD</a:t>
            </a:r>
          </a:p>
        </p:txBody>
      </p:sp>
      <p:sp>
        <p:nvSpPr>
          <p:cNvPr id="34" name="ZoneTexte 33">
            <a:extLst>
              <a:ext uri="{FF2B5EF4-FFF2-40B4-BE49-F238E27FC236}">
                <a16:creationId xmlns:a16="http://schemas.microsoft.com/office/drawing/2014/main" id="{D92039BE-82C5-40D8-AD6C-80186894799D}"/>
              </a:ext>
            </a:extLst>
          </p:cNvPr>
          <p:cNvSpPr txBox="1"/>
          <p:nvPr/>
        </p:nvSpPr>
        <p:spPr>
          <a:xfrm>
            <a:off x="8919474" y="3927902"/>
            <a:ext cx="1804152" cy="326619"/>
          </a:xfrm>
          <a:prstGeom prst="rect">
            <a:avLst/>
          </a:prstGeom>
        </p:spPr>
        <p:txBody>
          <a:bodyPr vert="horz" wrap="square" lIns="19443" tIns="45727" rIns="91454" bIns="45727" rtlCol="0">
            <a:noAutofit/>
          </a:bodyPr>
          <a:lstStyle/>
          <a:p>
            <a:pPr algn="ctr">
              <a:spcBef>
                <a:spcPts val="600"/>
              </a:spcBef>
              <a:buClr>
                <a:srgbClr val="1B4276">
                  <a:lumMod val="100000"/>
                </a:srgbClr>
              </a:buClr>
              <a:buSzPct val="90000"/>
            </a:pPr>
            <a:r>
              <a:rPr lang="fr-FR" sz="1200" b="1" dirty="0">
                <a:solidFill>
                  <a:srgbClr val="004B5A"/>
                </a:solidFill>
              </a:rPr>
              <a:t>Experts sectoriels</a:t>
            </a:r>
          </a:p>
        </p:txBody>
      </p:sp>
      <p:sp>
        <p:nvSpPr>
          <p:cNvPr id="36" name="ZoneTexte 35">
            <a:extLst>
              <a:ext uri="{FF2B5EF4-FFF2-40B4-BE49-F238E27FC236}">
                <a16:creationId xmlns:a16="http://schemas.microsoft.com/office/drawing/2014/main" id="{99B12731-9E84-44EE-ACD7-0C8804130527}"/>
              </a:ext>
            </a:extLst>
          </p:cNvPr>
          <p:cNvSpPr txBox="1"/>
          <p:nvPr/>
        </p:nvSpPr>
        <p:spPr>
          <a:xfrm>
            <a:off x="10887989" y="3920960"/>
            <a:ext cx="1804152" cy="326619"/>
          </a:xfrm>
          <a:prstGeom prst="rect">
            <a:avLst/>
          </a:prstGeom>
        </p:spPr>
        <p:txBody>
          <a:bodyPr vert="horz" wrap="square" lIns="19443" tIns="45727" rIns="91454" bIns="45727" rtlCol="0">
            <a:noAutofit/>
          </a:bodyPr>
          <a:lstStyle/>
          <a:p>
            <a:pPr algn="ctr">
              <a:spcBef>
                <a:spcPts val="600"/>
              </a:spcBef>
              <a:buClr>
                <a:srgbClr val="1B4276">
                  <a:lumMod val="100000"/>
                </a:srgbClr>
              </a:buClr>
              <a:buSzPct val="90000"/>
            </a:pPr>
            <a:r>
              <a:rPr lang="fr-FR" sz="1200" b="1" dirty="0">
                <a:solidFill>
                  <a:srgbClr val="004B5A"/>
                </a:solidFill>
              </a:rPr>
              <a:t>Experts fonctionnels</a:t>
            </a:r>
          </a:p>
        </p:txBody>
      </p:sp>
      <p:sp>
        <p:nvSpPr>
          <p:cNvPr id="37" name="ZoneTexte 36">
            <a:extLst>
              <a:ext uri="{FF2B5EF4-FFF2-40B4-BE49-F238E27FC236}">
                <a16:creationId xmlns:a16="http://schemas.microsoft.com/office/drawing/2014/main" id="{9F309BA3-C81B-4A9F-A428-86E27F1A1345}"/>
              </a:ext>
            </a:extLst>
          </p:cNvPr>
          <p:cNvSpPr txBox="1"/>
          <p:nvPr/>
        </p:nvSpPr>
        <p:spPr>
          <a:xfrm>
            <a:off x="8825301" y="4210638"/>
            <a:ext cx="1969313" cy="1018602"/>
          </a:xfrm>
          <a:prstGeom prst="rect">
            <a:avLst/>
          </a:prstGeom>
        </p:spPr>
        <p:txBody>
          <a:bodyPr vert="horz" wrap="square" lIns="19443" tIns="45727" rIns="91454" bIns="45727" rtlCol="0">
            <a:noAutofit/>
          </a:bodyPr>
          <a:lstStyle/>
          <a:p>
            <a:pPr marL="171467" indent="-171467">
              <a:spcBef>
                <a:spcPts val="300"/>
              </a:spcBef>
              <a:buClr>
                <a:srgbClr val="1B4276">
                  <a:lumMod val="100000"/>
                </a:srgbClr>
              </a:buClr>
              <a:buSzPct val="90000"/>
              <a:buFont typeface="Wingdings" panose="05000000000000000000" pitchFamily="2" charset="2"/>
              <a:buChar char="§"/>
            </a:pPr>
            <a:r>
              <a:rPr lang="fr-FR" sz="1200" dirty="0">
                <a:solidFill>
                  <a:srgbClr val="004B5A"/>
                </a:solidFill>
              </a:rPr>
              <a:t>Automobile &amp; transports</a:t>
            </a:r>
          </a:p>
          <a:p>
            <a:pPr marL="171467" indent="-171467">
              <a:spcBef>
                <a:spcPts val="300"/>
              </a:spcBef>
              <a:buClr>
                <a:srgbClr val="1B4276">
                  <a:lumMod val="100000"/>
                </a:srgbClr>
              </a:buClr>
              <a:buSzPct val="90000"/>
              <a:buFont typeface="Wingdings" panose="05000000000000000000" pitchFamily="2" charset="2"/>
              <a:buChar char="§"/>
            </a:pPr>
            <a:r>
              <a:rPr lang="fr-FR" sz="1200" dirty="0">
                <a:solidFill>
                  <a:srgbClr val="004B5A"/>
                </a:solidFill>
              </a:rPr>
              <a:t>Energie</a:t>
            </a:r>
          </a:p>
          <a:p>
            <a:pPr marL="171467" indent="-171467">
              <a:spcBef>
                <a:spcPts val="300"/>
              </a:spcBef>
              <a:buClr>
                <a:srgbClr val="1B4276">
                  <a:lumMod val="100000"/>
                </a:srgbClr>
              </a:buClr>
              <a:buSzPct val="90000"/>
              <a:buFont typeface="Wingdings" panose="05000000000000000000" pitchFamily="2" charset="2"/>
              <a:buChar char="§"/>
            </a:pPr>
            <a:r>
              <a:rPr lang="fr-FR" sz="1200" dirty="0">
                <a:solidFill>
                  <a:srgbClr val="004B5A"/>
                </a:solidFill>
              </a:rPr>
              <a:t>Aéronautique et défense</a:t>
            </a:r>
          </a:p>
          <a:p>
            <a:pPr marL="171467" indent="-171467">
              <a:spcBef>
                <a:spcPts val="300"/>
              </a:spcBef>
              <a:buClr>
                <a:srgbClr val="1B4276">
                  <a:lumMod val="100000"/>
                </a:srgbClr>
              </a:buClr>
              <a:buSzPct val="90000"/>
              <a:buFont typeface="Wingdings" panose="05000000000000000000" pitchFamily="2" charset="2"/>
              <a:buChar char="§"/>
            </a:pPr>
            <a:r>
              <a:rPr lang="fr-FR" sz="1200" dirty="0">
                <a:solidFill>
                  <a:srgbClr val="004B5A"/>
                </a:solidFill>
              </a:rPr>
              <a:t>Pharmacie &amp; Santé</a:t>
            </a:r>
          </a:p>
          <a:p>
            <a:pPr marL="171467" indent="-171467">
              <a:spcBef>
                <a:spcPts val="300"/>
              </a:spcBef>
              <a:buClr>
                <a:srgbClr val="1B4276">
                  <a:lumMod val="100000"/>
                </a:srgbClr>
              </a:buClr>
              <a:buSzPct val="90000"/>
              <a:buFont typeface="Wingdings" panose="05000000000000000000" pitchFamily="2" charset="2"/>
              <a:buChar char="§"/>
            </a:pPr>
            <a:r>
              <a:rPr lang="fr-FR" sz="1200" dirty="0">
                <a:solidFill>
                  <a:srgbClr val="004B5A"/>
                </a:solidFill>
              </a:rPr>
              <a:t>Electronique …</a:t>
            </a:r>
          </a:p>
        </p:txBody>
      </p:sp>
      <p:sp>
        <p:nvSpPr>
          <p:cNvPr id="38" name="ZoneTexte 37">
            <a:extLst>
              <a:ext uri="{FF2B5EF4-FFF2-40B4-BE49-F238E27FC236}">
                <a16:creationId xmlns:a16="http://schemas.microsoft.com/office/drawing/2014/main" id="{C5B73093-0509-4514-B471-9FFF48ED348D}"/>
              </a:ext>
            </a:extLst>
          </p:cNvPr>
          <p:cNvSpPr txBox="1"/>
          <p:nvPr/>
        </p:nvSpPr>
        <p:spPr>
          <a:xfrm>
            <a:off x="10700995" y="4210638"/>
            <a:ext cx="2438049" cy="1048011"/>
          </a:xfrm>
          <a:prstGeom prst="rect">
            <a:avLst/>
          </a:prstGeom>
        </p:spPr>
        <p:txBody>
          <a:bodyPr vert="horz" wrap="square" lIns="19443" tIns="45727" rIns="91454" bIns="45727" rtlCol="0">
            <a:noAutofit/>
          </a:bodyPr>
          <a:lstStyle/>
          <a:p>
            <a:pPr marL="171467" indent="-171467">
              <a:spcBef>
                <a:spcPts val="300"/>
              </a:spcBef>
              <a:buClr>
                <a:srgbClr val="1B4276">
                  <a:lumMod val="100000"/>
                </a:srgbClr>
              </a:buClr>
              <a:buSzPct val="90000"/>
              <a:buFont typeface="Wingdings" panose="05000000000000000000" pitchFamily="2" charset="2"/>
              <a:buChar char="§"/>
            </a:pPr>
            <a:r>
              <a:rPr lang="fr-FR" sz="1200" dirty="0" err="1">
                <a:solidFill>
                  <a:srgbClr val="004B5A"/>
                </a:solidFill>
              </a:rPr>
              <a:t>Supply</a:t>
            </a:r>
            <a:r>
              <a:rPr lang="fr-FR" sz="1200" dirty="0">
                <a:solidFill>
                  <a:srgbClr val="004B5A"/>
                </a:solidFill>
              </a:rPr>
              <a:t> Chain &amp; production</a:t>
            </a:r>
          </a:p>
          <a:p>
            <a:pPr marL="171467" indent="-171467">
              <a:spcBef>
                <a:spcPts val="300"/>
              </a:spcBef>
              <a:buClr>
                <a:srgbClr val="1B4276">
                  <a:lumMod val="100000"/>
                </a:srgbClr>
              </a:buClr>
              <a:buSzPct val="90000"/>
              <a:buFont typeface="Wingdings" panose="05000000000000000000" pitchFamily="2" charset="2"/>
              <a:buChar char="§"/>
            </a:pPr>
            <a:r>
              <a:rPr lang="fr-FR" sz="1200" dirty="0">
                <a:solidFill>
                  <a:srgbClr val="004B5A"/>
                </a:solidFill>
              </a:rPr>
              <a:t>Transformation digitale</a:t>
            </a:r>
          </a:p>
          <a:p>
            <a:pPr marL="171467" indent="-171467">
              <a:spcBef>
                <a:spcPts val="300"/>
              </a:spcBef>
              <a:buClr>
                <a:srgbClr val="1B4276">
                  <a:lumMod val="100000"/>
                </a:srgbClr>
              </a:buClr>
              <a:buSzPct val="90000"/>
              <a:buFont typeface="Wingdings" panose="05000000000000000000" pitchFamily="2" charset="2"/>
              <a:buChar char="§"/>
            </a:pPr>
            <a:r>
              <a:rPr lang="fr-FR" sz="1200" dirty="0">
                <a:solidFill>
                  <a:srgbClr val="004B5A"/>
                </a:solidFill>
              </a:rPr>
              <a:t>Développement produit</a:t>
            </a:r>
          </a:p>
          <a:p>
            <a:pPr marL="171467" indent="-171467">
              <a:spcBef>
                <a:spcPts val="300"/>
              </a:spcBef>
              <a:buClr>
                <a:srgbClr val="1B4276">
                  <a:lumMod val="100000"/>
                </a:srgbClr>
              </a:buClr>
              <a:buSzPct val="90000"/>
              <a:buFont typeface="Wingdings" panose="05000000000000000000" pitchFamily="2" charset="2"/>
              <a:buChar char="§"/>
            </a:pPr>
            <a:r>
              <a:rPr lang="fr-FR" sz="1200" dirty="0">
                <a:solidFill>
                  <a:srgbClr val="004B5A"/>
                </a:solidFill>
              </a:rPr>
              <a:t>Achats</a:t>
            </a:r>
          </a:p>
          <a:p>
            <a:pPr marL="171467" indent="-171467">
              <a:spcBef>
                <a:spcPts val="300"/>
              </a:spcBef>
              <a:buClr>
                <a:srgbClr val="1B4276">
                  <a:lumMod val="100000"/>
                </a:srgbClr>
              </a:buClr>
              <a:buSzPct val="90000"/>
              <a:buFont typeface="Wingdings" panose="05000000000000000000" pitchFamily="2" charset="2"/>
              <a:buChar char="§"/>
            </a:pPr>
            <a:r>
              <a:rPr lang="fr-FR" sz="1200" dirty="0">
                <a:solidFill>
                  <a:srgbClr val="004B5A"/>
                </a:solidFill>
              </a:rPr>
              <a:t>conduite du changement</a:t>
            </a:r>
          </a:p>
          <a:p>
            <a:pPr marL="171467" indent="-171467">
              <a:spcBef>
                <a:spcPts val="300"/>
              </a:spcBef>
              <a:buClr>
                <a:srgbClr val="1B4276">
                  <a:lumMod val="100000"/>
                </a:srgbClr>
              </a:buClr>
              <a:buSzPct val="90000"/>
              <a:buFont typeface="Wingdings" panose="05000000000000000000" pitchFamily="2" charset="2"/>
              <a:buChar char="§"/>
            </a:pPr>
            <a:endParaRPr lang="fr-FR" sz="1200" dirty="0">
              <a:solidFill>
                <a:srgbClr val="004B5A"/>
              </a:solidFill>
            </a:endParaRPr>
          </a:p>
        </p:txBody>
      </p:sp>
      <p:grpSp>
        <p:nvGrpSpPr>
          <p:cNvPr id="14" name="Groupe 13">
            <a:extLst>
              <a:ext uri="{FF2B5EF4-FFF2-40B4-BE49-F238E27FC236}">
                <a16:creationId xmlns:a16="http://schemas.microsoft.com/office/drawing/2014/main" id="{4072A8C6-4373-4638-8A8F-1315D34A09C2}"/>
              </a:ext>
            </a:extLst>
          </p:cNvPr>
          <p:cNvGrpSpPr/>
          <p:nvPr/>
        </p:nvGrpSpPr>
        <p:grpSpPr>
          <a:xfrm>
            <a:off x="8831531" y="3205270"/>
            <a:ext cx="4076556" cy="577793"/>
            <a:chOff x="8747269" y="3205270"/>
            <a:chExt cx="4076556" cy="577793"/>
          </a:xfrm>
        </p:grpSpPr>
        <p:pic>
          <p:nvPicPr>
            <p:cNvPr id="5" name="Image 4" descr="Une image contenant personne, mur, intérieur, homme&#10;&#10;Description générée automatiquement">
              <a:extLst>
                <a:ext uri="{FF2B5EF4-FFF2-40B4-BE49-F238E27FC236}">
                  <a16:creationId xmlns:a16="http://schemas.microsoft.com/office/drawing/2014/main" id="{A21AE610-FDAA-4E9B-8E5D-1758C9E64419}"/>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447380" y="3207063"/>
              <a:ext cx="576000" cy="576000"/>
            </a:xfrm>
            <a:prstGeom prst="rect">
              <a:avLst/>
            </a:prstGeom>
          </p:spPr>
        </p:pic>
        <p:pic>
          <p:nvPicPr>
            <p:cNvPr id="13" name="Image 12" descr="Une image contenant personne, mur, intérieur, femme&#10;&#10;Description générée automatiquement">
              <a:extLst>
                <a:ext uri="{FF2B5EF4-FFF2-40B4-BE49-F238E27FC236}">
                  <a16:creationId xmlns:a16="http://schemas.microsoft.com/office/drawing/2014/main" id="{C4FC8A52-143E-49F0-9DE9-D4191C530972}"/>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847602" y="3207063"/>
              <a:ext cx="576000" cy="576000"/>
            </a:xfrm>
            <a:prstGeom prst="rect">
              <a:avLst/>
            </a:prstGeom>
          </p:spPr>
        </p:pic>
        <p:pic>
          <p:nvPicPr>
            <p:cNvPr id="19" name="Image 18" descr="Une image contenant personne, homme, cravate, complet&#10;&#10;Description générée automatiquement">
              <a:extLst>
                <a:ext uri="{FF2B5EF4-FFF2-40B4-BE49-F238E27FC236}">
                  <a16:creationId xmlns:a16="http://schemas.microsoft.com/office/drawing/2014/main" id="{0F96D2E6-2BD8-456A-B6EC-5879BE57610A}"/>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2247825" y="3207063"/>
              <a:ext cx="576000" cy="576000"/>
            </a:xfrm>
            <a:prstGeom prst="rect">
              <a:avLst/>
            </a:prstGeom>
          </p:spPr>
        </p:pic>
        <p:pic>
          <p:nvPicPr>
            <p:cNvPr id="21" name="Image 20" descr="Une image contenant personne, homme, complet, mur&#10;&#10;Description générée automatiquement">
              <a:extLst>
                <a:ext uri="{FF2B5EF4-FFF2-40B4-BE49-F238E27FC236}">
                  <a16:creationId xmlns:a16="http://schemas.microsoft.com/office/drawing/2014/main" id="{F0A02B1E-377B-49F0-8E6F-AD1FF7F8950A}"/>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1547713" y="3207063"/>
              <a:ext cx="576000" cy="576000"/>
            </a:xfrm>
            <a:prstGeom prst="rect">
              <a:avLst/>
            </a:prstGeom>
          </p:spPr>
        </p:pic>
        <p:pic>
          <p:nvPicPr>
            <p:cNvPr id="4" name="Image 3" descr="Une image contenant personne, mur, homme, complet&#10;&#10;Description générée automatiquement">
              <a:extLst>
                <a:ext uri="{FF2B5EF4-FFF2-40B4-BE49-F238E27FC236}">
                  <a16:creationId xmlns:a16="http://schemas.microsoft.com/office/drawing/2014/main" id="{3A664568-37D7-4729-B86A-B720DC284157}"/>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747269" y="3205270"/>
              <a:ext cx="576000" cy="576000"/>
            </a:xfrm>
            <a:prstGeom prst="rect">
              <a:avLst/>
            </a:prstGeom>
          </p:spPr>
        </p:pic>
        <p:pic>
          <p:nvPicPr>
            <p:cNvPr id="12" name="Image 11" descr="Une image contenant mur, personne, intérieur, habits&#10;&#10;Description générée automatiquement">
              <a:extLst>
                <a:ext uri="{FF2B5EF4-FFF2-40B4-BE49-F238E27FC236}">
                  <a16:creationId xmlns:a16="http://schemas.microsoft.com/office/drawing/2014/main" id="{3C8459E9-B9AA-40D8-A2C2-C8D13A2C46BA}"/>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0147491" y="3205270"/>
              <a:ext cx="576000" cy="576000"/>
            </a:xfrm>
            <a:prstGeom prst="rect">
              <a:avLst/>
            </a:prstGeom>
          </p:spPr>
        </p:pic>
      </p:grpSp>
    </p:spTree>
    <p:extLst>
      <p:ext uri="{BB962C8B-B14F-4D97-AF65-F5344CB8AC3E}">
        <p14:creationId xmlns:p14="http://schemas.microsoft.com/office/powerpoint/2010/main" val="35043866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A58D52A3-2D0C-4F24-BA8F-C7F0FA5B8FE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91" name="Diapositive think-cell" r:id="rId5" imgW="473" imgH="470" progId="TCLayout.ActiveDocument.1">
                  <p:embed/>
                </p:oleObj>
              </mc:Choice>
              <mc:Fallback>
                <p:oleObj name="Diapositive think-cell" r:id="rId5" imgW="473" imgH="470" progId="TCLayout.ActiveDocument.1">
                  <p:embed/>
                  <p:pic>
                    <p:nvPicPr>
                      <p:cNvPr id="7" name="Objet 6" hidden="1">
                        <a:extLst>
                          <a:ext uri="{FF2B5EF4-FFF2-40B4-BE49-F238E27FC236}">
                            <a16:creationId xmlns:a16="http://schemas.microsoft.com/office/drawing/2014/main" id="{A58D52A3-2D0C-4F24-BA8F-C7F0FA5B8FE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2E98E7E-637C-4F38-89FD-B080A8090A43}"/>
              </a:ext>
            </a:extLst>
          </p:cNvPr>
          <p:cNvSpPr/>
          <p:nvPr>
            <p:custDataLst>
              <p:tags r:id="rId3"/>
            </p:custDataLst>
          </p:nvPr>
        </p:nvSpPr>
        <p:spPr>
          <a:xfrm>
            <a:off x="0" y="0"/>
            <a:ext cx="158750" cy="158750"/>
          </a:xfrm>
          <a:prstGeom prst="rect">
            <a:avLst/>
          </a:prstGeom>
          <a:solidFill>
            <a:schemeClr val="tx2"/>
          </a:solidFill>
        </p:spPr>
        <p:txBody>
          <a:bodyPr wrap="none" lIns="0" tIns="0" rIns="0" bIns="0" numCol="1" spcCol="0" rtlCol="0" anchor="ctr" anchorCtr="0">
            <a:noAutofit/>
          </a:bodyPr>
          <a:lstStyle/>
          <a:p>
            <a:pPr algn="ctr"/>
            <a:endParaRPr lang="fr-FR" sz="2200" b="1" dirty="0" err="1">
              <a:solidFill>
                <a:schemeClr val="bg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2" name="Titre 1">
            <a:extLst>
              <a:ext uri="{FF2B5EF4-FFF2-40B4-BE49-F238E27FC236}">
                <a16:creationId xmlns:a16="http://schemas.microsoft.com/office/drawing/2014/main" id="{96B99EC4-560E-4641-A169-13130ED3C032}"/>
              </a:ext>
            </a:extLst>
          </p:cNvPr>
          <p:cNvSpPr>
            <a:spLocks noGrp="1"/>
          </p:cNvSpPr>
          <p:nvPr>
            <p:ph type="title"/>
          </p:nvPr>
        </p:nvSpPr>
        <p:spPr>
          <a:xfrm>
            <a:off x="609618" y="545662"/>
            <a:ext cx="12218110" cy="338554"/>
          </a:xfrm>
        </p:spPr>
        <p:txBody>
          <a:bodyPr/>
          <a:lstStyle/>
          <a:p>
            <a:r>
              <a:rPr lang="fr-FR" dirty="0"/>
              <a:t>Pourquoi CYLAD Consulting? </a:t>
            </a:r>
          </a:p>
        </p:txBody>
      </p:sp>
      <p:grpSp>
        <p:nvGrpSpPr>
          <p:cNvPr id="5" name="Groupe 4">
            <a:extLst>
              <a:ext uri="{FF2B5EF4-FFF2-40B4-BE49-F238E27FC236}">
                <a16:creationId xmlns:a16="http://schemas.microsoft.com/office/drawing/2014/main" id="{C0AE0216-7E01-4F29-BF3C-C8F6038FFF8E}"/>
              </a:ext>
            </a:extLst>
          </p:cNvPr>
          <p:cNvGrpSpPr/>
          <p:nvPr/>
        </p:nvGrpSpPr>
        <p:grpSpPr>
          <a:xfrm>
            <a:off x="299126" y="1418724"/>
            <a:ext cx="12857399" cy="5362404"/>
            <a:chOff x="11426" y="1418724"/>
            <a:chExt cx="12857399" cy="5362404"/>
          </a:xfrm>
        </p:grpSpPr>
        <p:grpSp>
          <p:nvGrpSpPr>
            <p:cNvPr id="8" name="Groupe 7">
              <a:extLst>
                <a:ext uri="{FF2B5EF4-FFF2-40B4-BE49-F238E27FC236}">
                  <a16:creationId xmlns:a16="http://schemas.microsoft.com/office/drawing/2014/main" id="{FC58921B-AAFF-4105-AB4E-65894A485749}"/>
                </a:ext>
              </a:extLst>
            </p:cNvPr>
            <p:cNvGrpSpPr/>
            <p:nvPr/>
          </p:nvGrpSpPr>
          <p:grpSpPr>
            <a:xfrm>
              <a:off x="479425" y="1418725"/>
              <a:ext cx="5760000" cy="1574190"/>
              <a:chOff x="375732" y="1555422"/>
              <a:chExt cx="5760000" cy="1574190"/>
            </a:xfrm>
          </p:grpSpPr>
          <p:sp>
            <p:nvSpPr>
              <p:cNvPr id="3" name="Rectangle 2">
                <a:extLst>
                  <a:ext uri="{FF2B5EF4-FFF2-40B4-BE49-F238E27FC236}">
                    <a16:creationId xmlns:a16="http://schemas.microsoft.com/office/drawing/2014/main" id="{9A96410C-050B-44F7-9736-490BA98E016E}"/>
                  </a:ext>
                </a:extLst>
              </p:cNvPr>
              <p:cNvSpPr/>
              <p:nvPr/>
            </p:nvSpPr>
            <p:spPr>
              <a:xfrm>
                <a:off x="375732" y="2059422"/>
                <a:ext cx="5760000" cy="1070190"/>
              </a:xfrm>
              <a:prstGeom prst="rect">
                <a:avLst/>
              </a:prstGeom>
              <a:solidFill>
                <a:schemeClr val="bg1"/>
              </a:solidFill>
            </p:spPr>
            <p:txBody>
              <a:bodyPr wrap="square" lIns="0" tIns="0" rIns="0" bIns="0" rtlCol="0" anchor="t"/>
              <a:lstStyle/>
              <a:p>
                <a:pPr algn="just" defTabSz="643710">
                  <a:defRPr/>
                </a:pPr>
                <a:r>
                  <a:rPr lang="fr-FR" sz="1600" kern="0" dirty="0">
                    <a:solidFill>
                      <a:schemeClr val="tx2"/>
                    </a:solidFill>
                  </a:rPr>
                  <a:t>Plus de 90% de nos clients sont des </a:t>
                </a:r>
                <a:r>
                  <a:rPr lang="fr-FR" sz="1600" b="1" kern="0" dirty="0">
                    <a:solidFill>
                      <a:schemeClr val="tx2"/>
                    </a:solidFill>
                  </a:rPr>
                  <a:t>industriels de toutes tailles </a:t>
                </a:r>
                <a:r>
                  <a:rPr lang="fr-FR" sz="1600" kern="0" dirty="0">
                    <a:solidFill>
                      <a:schemeClr val="tx2"/>
                    </a:solidFill>
                  </a:rPr>
                  <a:t>que nous accompagnons dans </a:t>
                </a:r>
                <a:r>
                  <a:rPr lang="fr-FR" sz="1600" b="1" kern="0" dirty="0">
                    <a:solidFill>
                      <a:schemeClr val="tx2"/>
                    </a:solidFill>
                  </a:rPr>
                  <a:t>l’amélioration de leur performance</a:t>
                </a:r>
                <a:r>
                  <a:rPr lang="fr-FR" sz="1600" kern="0" dirty="0">
                    <a:solidFill>
                      <a:schemeClr val="tx2"/>
                    </a:solidFill>
                  </a:rPr>
                  <a:t>, en particulier sur des </a:t>
                </a:r>
                <a:r>
                  <a:rPr lang="fr-FR" sz="1600" b="1" kern="0" dirty="0">
                    <a:solidFill>
                      <a:schemeClr val="tx2"/>
                    </a:solidFill>
                  </a:rPr>
                  <a:t>problématiques transverses , de </a:t>
                </a:r>
                <a:r>
                  <a:rPr lang="fr-FR" sz="1600" b="1" kern="0" dirty="0" err="1">
                    <a:solidFill>
                      <a:schemeClr val="tx2"/>
                    </a:solidFill>
                  </a:rPr>
                  <a:t>supply</a:t>
                </a:r>
                <a:r>
                  <a:rPr lang="fr-FR" sz="1600" b="1" kern="0" dirty="0">
                    <a:solidFill>
                      <a:schemeClr val="tx2"/>
                    </a:solidFill>
                  </a:rPr>
                  <a:t> </a:t>
                </a:r>
                <a:r>
                  <a:rPr lang="fr-FR" sz="1600" b="1" kern="0" dirty="0" err="1">
                    <a:solidFill>
                      <a:schemeClr val="tx2"/>
                    </a:solidFill>
                  </a:rPr>
                  <a:t>chain</a:t>
                </a:r>
                <a:r>
                  <a:rPr lang="fr-FR" sz="1600" b="1" kern="0" dirty="0">
                    <a:solidFill>
                      <a:schemeClr val="tx2"/>
                    </a:solidFill>
                  </a:rPr>
                  <a:t>, d’entreprise étendue</a:t>
                </a:r>
                <a:endParaRPr lang="fr-FR" sz="1600" kern="0" dirty="0">
                  <a:solidFill>
                    <a:schemeClr val="tx2"/>
                  </a:solidFill>
                </a:endParaRPr>
              </a:p>
            </p:txBody>
          </p:sp>
          <p:sp>
            <p:nvSpPr>
              <p:cNvPr id="4" name="Rectangle 3">
                <a:extLst>
                  <a:ext uri="{FF2B5EF4-FFF2-40B4-BE49-F238E27FC236}">
                    <a16:creationId xmlns:a16="http://schemas.microsoft.com/office/drawing/2014/main" id="{3E2E7C1B-7304-4AD7-8626-A5E01AA4BFEC}"/>
                  </a:ext>
                </a:extLst>
              </p:cNvPr>
              <p:cNvSpPr>
                <a:spLocks/>
              </p:cNvSpPr>
              <p:nvPr/>
            </p:nvSpPr>
            <p:spPr>
              <a:xfrm>
                <a:off x="375732" y="1555422"/>
                <a:ext cx="5760000" cy="396000"/>
              </a:xfrm>
              <a:prstGeom prst="rect">
                <a:avLst/>
              </a:prstGeom>
              <a:solidFill>
                <a:schemeClr val="tx2"/>
              </a:solidFill>
            </p:spPr>
            <p:txBody>
              <a:bodyPr wrap="square" anchor="ctr">
                <a:noAutofit/>
              </a:bodyPr>
              <a:lstStyle/>
              <a:p>
                <a:pPr defTabSz="1006233" eaLnBrk="0" hangingPunct="0">
                  <a:spcBef>
                    <a:spcPts val="577"/>
                  </a:spcBef>
                  <a:buClr>
                    <a:srgbClr val="000000"/>
                  </a:buClr>
                  <a:buSzPct val="80000"/>
                </a:pPr>
                <a:r>
                  <a:rPr lang="fr-FR" sz="1600" b="1" kern="0" dirty="0">
                    <a:solidFill>
                      <a:schemeClr val="bg1"/>
                    </a:solidFill>
                    <a:cs typeface="Arial" pitchFamily="34" charset="0"/>
                  </a:rPr>
                  <a:t>Spécialiste de la performance industrielle</a:t>
                </a:r>
              </a:p>
            </p:txBody>
          </p:sp>
        </p:grpSp>
        <p:grpSp>
          <p:nvGrpSpPr>
            <p:cNvPr id="11" name="Groupe 10">
              <a:extLst>
                <a:ext uri="{FF2B5EF4-FFF2-40B4-BE49-F238E27FC236}">
                  <a16:creationId xmlns:a16="http://schemas.microsoft.com/office/drawing/2014/main" id="{6FC74A72-8398-4469-B8E6-80ABE0905DB5}"/>
                </a:ext>
              </a:extLst>
            </p:cNvPr>
            <p:cNvGrpSpPr/>
            <p:nvPr/>
          </p:nvGrpSpPr>
          <p:grpSpPr>
            <a:xfrm>
              <a:off x="3298825" y="3552155"/>
              <a:ext cx="6858000" cy="1114122"/>
              <a:chOff x="784225" y="3492212"/>
              <a:chExt cx="6858000" cy="1114122"/>
            </a:xfrm>
          </p:grpSpPr>
          <p:sp>
            <p:nvSpPr>
              <p:cNvPr id="39" name="Rectangle 38">
                <a:extLst>
                  <a:ext uri="{FF2B5EF4-FFF2-40B4-BE49-F238E27FC236}">
                    <a16:creationId xmlns:a16="http://schemas.microsoft.com/office/drawing/2014/main" id="{B78274C0-693F-4E66-B4BF-A5AE8039370B}"/>
                  </a:ext>
                </a:extLst>
              </p:cNvPr>
              <p:cNvSpPr/>
              <p:nvPr/>
            </p:nvSpPr>
            <p:spPr>
              <a:xfrm>
                <a:off x="784225" y="3492212"/>
                <a:ext cx="6858000" cy="338554"/>
              </a:xfrm>
              <a:prstGeom prst="rect">
                <a:avLst/>
              </a:prstGeom>
              <a:solidFill>
                <a:schemeClr val="accent4">
                  <a:lumMod val="75000"/>
                </a:schemeClr>
              </a:solidFill>
            </p:spPr>
            <p:txBody>
              <a:bodyPr wrap="square">
                <a:spAutoFit/>
              </a:bodyPr>
              <a:lstStyle/>
              <a:p>
                <a:pPr defTabSz="1006233" eaLnBrk="0" hangingPunct="0">
                  <a:spcBef>
                    <a:spcPts val="577"/>
                  </a:spcBef>
                  <a:buClr>
                    <a:srgbClr val="000000"/>
                  </a:buClr>
                  <a:buSzPct val="80000"/>
                </a:pPr>
                <a:r>
                  <a:rPr lang="fr-FR" sz="1600" b="1" kern="0" dirty="0">
                    <a:solidFill>
                      <a:srgbClr val="FFFFFF"/>
                    </a:solidFill>
                    <a:cs typeface="Arial" pitchFamily="34" charset="0"/>
                  </a:rPr>
                  <a:t>Maîtrise des leviers de l’Industrie du Futur et capacité à mobiliser des experts</a:t>
                </a:r>
              </a:p>
            </p:txBody>
          </p:sp>
          <p:sp>
            <p:nvSpPr>
              <p:cNvPr id="40" name="Rectangle 39">
                <a:extLst>
                  <a:ext uri="{FF2B5EF4-FFF2-40B4-BE49-F238E27FC236}">
                    <a16:creationId xmlns:a16="http://schemas.microsoft.com/office/drawing/2014/main" id="{C741E0FF-A7D5-4BFC-8354-79E103C12508}"/>
                  </a:ext>
                </a:extLst>
              </p:cNvPr>
              <p:cNvSpPr/>
              <p:nvPr/>
            </p:nvSpPr>
            <p:spPr>
              <a:xfrm>
                <a:off x="819149" y="3938766"/>
                <a:ext cx="6823075" cy="667568"/>
              </a:xfrm>
              <a:prstGeom prst="rect">
                <a:avLst/>
              </a:prstGeom>
              <a:solidFill>
                <a:schemeClr val="bg1"/>
              </a:solidFill>
            </p:spPr>
            <p:txBody>
              <a:bodyPr wrap="square" lIns="0" tIns="0" rIns="0" bIns="0" rtlCol="0" anchor="t"/>
              <a:lstStyle/>
              <a:p>
                <a:pPr algn="just" defTabSz="643710">
                  <a:defRPr/>
                </a:pPr>
                <a:r>
                  <a:rPr lang="fr-FR" sz="1600" kern="0" dirty="0">
                    <a:solidFill>
                      <a:schemeClr val="tx2"/>
                    </a:solidFill>
                  </a:rPr>
                  <a:t>Nos équipes ont accompagné des acteurs industriels pour la sélection et la mise en œuvre de nouvelles technologies ou de nouvelles méthodes </a:t>
                </a:r>
                <a:r>
                  <a:rPr lang="fr-FR" sz="1600" b="1" kern="0" dirty="0">
                    <a:solidFill>
                      <a:schemeClr val="tx2"/>
                    </a:solidFill>
                  </a:rPr>
                  <a:t>impactant concrètement la compétitivité</a:t>
                </a:r>
              </a:p>
            </p:txBody>
          </p:sp>
        </p:grpSp>
        <p:grpSp>
          <p:nvGrpSpPr>
            <p:cNvPr id="9" name="Groupe 8">
              <a:extLst>
                <a:ext uri="{FF2B5EF4-FFF2-40B4-BE49-F238E27FC236}">
                  <a16:creationId xmlns:a16="http://schemas.microsoft.com/office/drawing/2014/main" id="{1F02D6DF-B6ED-4A97-842F-3106CE89DD01}"/>
                </a:ext>
              </a:extLst>
            </p:cNvPr>
            <p:cNvGrpSpPr/>
            <p:nvPr/>
          </p:nvGrpSpPr>
          <p:grpSpPr>
            <a:xfrm>
              <a:off x="7108825" y="1418724"/>
              <a:ext cx="5760000" cy="1804085"/>
              <a:chOff x="7319918" y="1862081"/>
              <a:chExt cx="5760000" cy="1847898"/>
            </a:xfrm>
          </p:grpSpPr>
          <p:sp>
            <p:nvSpPr>
              <p:cNvPr id="41" name="Rectangle 40">
                <a:extLst>
                  <a:ext uri="{FF2B5EF4-FFF2-40B4-BE49-F238E27FC236}">
                    <a16:creationId xmlns:a16="http://schemas.microsoft.com/office/drawing/2014/main" id="{9A610443-47F9-4540-8ACD-61AC24257F32}"/>
                  </a:ext>
                </a:extLst>
              </p:cNvPr>
              <p:cNvSpPr/>
              <p:nvPr/>
            </p:nvSpPr>
            <p:spPr>
              <a:xfrm>
                <a:off x="7319918" y="1862081"/>
                <a:ext cx="5760000" cy="396000"/>
              </a:xfrm>
              <a:prstGeom prst="rect">
                <a:avLst/>
              </a:prstGeom>
              <a:solidFill>
                <a:schemeClr val="accent1"/>
              </a:solidFill>
            </p:spPr>
            <p:txBody>
              <a:bodyPr wrap="square">
                <a:spAutoFit/>
              </a:bodyPr>
              <a:lstStyle/>
              <a:p>
                <a:pPr defTabSz="1006233" eaLnBrk="0" hangingPunct="0">
                  <a:spcBef>
                    <a:spcPts val="577"/>
                  </a:spcBef>
                  <a:buClr>
                    <a:srgbClr val="000000"/>
                  </a:buClr>
                  <a:buSzPct val="80000"/>
                </a:pPr>
                <a:r>
                  <a:rPr lang="fr-FR" sz="1600" b="1" kern="0" dirty="0">
                    <a:solidFill>
                      <a:srgbClr val="FFFFFF"/>
                    </a:solidFill>
                    <a:cs typeface="Arial" pitchFamily="34" charset="0"/>
                  </a:rPr>
                  <a:t>Une compétence reconnue en Transformation Business &amp; Digitale</a:t>
                </a:r>
              </a:p>
            </p:txBody>
          </p:sp>
          <p:sp>
            <p:nvSpPr>
              <p:cNvPr id="42" name="Rectangle 41">
                <a:extLst>
                  <a:ext uri="{FF2B5EF4-FFF2-40B4-BE49-F238E27FC236}">
                    <a16:creationId xmlns:a16="http://schemas.microsoft.com/office/drawing/2014/main" id="{A2C2E914-EC63-4497-A30E-8117354F122A}"/>
                  </a:ext>
                </a:extLst>
              </p:cNvPr>
              <p:cNvSpPr/>
              <p:nvPr/>
            </p:nvSpPr>
            <p:spPr>
              <a:xfrm>
                <a:off x="7319918" y="2378321"/>
                <a:ext cx="5760000" cy="1331658"/>
              </a:xfrm>
              <a:prstGeom prst="rect">
                <a:avLst/>
              </a:prstGeom>
              <a:solidFill>
                <a:schemeClr val="bg1"/>
              </a:solidFill>
            </p:spPr>
            <p:txBody>
              <a:bodyPr wrap="square" lIns="0" tIns="0" rIns="0" bIns="0" rtlCol="0" anchor="t"/>
              <a:lstStyle/>
              <a:p>
                <a:pPr algn="just" defTabSz="643710">
                  <a:defRPr/>
                </a:pPr>
                <a:r>
                  <a:rPr lang="fr-FR" sz="1600" kern="0" dirty="0">
                    <a:solidFill>
                      <a:schemeClr val="tx2"/>
                    </a:solidFill>
                  </a:rPr>
                  <a:t>Près de </a:t>
                </a:r>
                <a:r>
                  <a:rPr lang="fr-FR" sz="1600" b="1" kern="0" dirty="0">
                    <a:solidFill>
                      <a:schemeClr val="tx2"/>
                    </a:solidFill>
                  </a:rPr>
                  <a:t>25% de l’activité de CYLAD </a:t>
                </a:r>
                <a:r>
                  <a:rPr lang="fr-FR" sz="1600" kern="0" dirty="0">
                    <a:solidFill>
                      <a:schemeClr val="tx2"/>
                    </a:solidFill>
                  </a:rPr>
                  <a:t>en 2019, soit une quarantaine de projets, et intègre les aspects </a:t>
                </a:r>
                <a:r>
                  <a:rPr lang="fr-FR" sz="1600" b="1" kern="0" dirty="0">
                    <a:solidFill>
                      <a:schemeClr val="tx2"/>
                    </a:solidFill>
                  </a:rPr>
                  <a:t>organisationnels</a:t>
                </a:r>
                <a:r>
                  <a:rPr lang="fr-FR" sz="1600" kern="0" dirty="0">
                    <a:solidFill>
                      <a:schemeClr val="tx2"/>
                    </a:solidFill>
                  </a:rPr>
                  <a:t>, de </a:t>
                </a:r>
                <a:r>
                  <a:rPr lang="fr-FR" sz="1600" b="1" kern="0" dirty="0">
                    <a:solidFill>
                      <a:schemeClr val="tx2"/>
                    </a:solidFill>
                  </a:rPr>
                  <a:t>modèles économiques, de digitalisation ou de transformation environnementale</a:t>
                </a:r>
                <a:endParaRPr lang="fr-FR" sz="1600" kern="0" dirty="0">
                  <a:solidFill>
                    <a:schemeClr val="tx2"/>
                  </a:solidFill>
                </a:endParaRPr>
              </a:p>
            </p:txBody>
          </p:sp>
        </p:grpSp>
        <p:grpSp>
          <p:nvGrpSpPr>
            <p:cNvPr id="12" name="Groupe 11">
              <a:extLst>
                <a:ext uri="{FF2B5EF4-FFF2-40B4-BE49-F238E27FC236}">
                  <a16:creationId xmlns:a16="http://schemas.microsoft.com/office/drawing/2014/main" id="{CF9EDD27-2471-4549-A255-E7C08DDF7DFA}"/>
                </a:ext>
              </a:extLst>
            </p:cNvPr>
            <p:cNvGrpSpPr/>
            <p:nvPr/>
          </p:nvGrpSpPr>
          <p:grpSpPr>
            <a:xfrm>
              <a:off x="479425" y="5220923"/>
              <a:ext cx="5773782" cy="1560205"/>
              <a:chOff x="205825" y="6013778"/>
              <a:chExt cx="5773782" cy="1560205"/>
            </a:xfrm>
          </p:grpSpPr>
          <p:sp>
            <p:nvSpPr>
              <p:cNvPr id="43" name="Rectangle 42">
                <a:extLst>
                  <a:ext uri="{FF2B5EF4-FFF2-40B4-BE49-F238E27FC236}">
                    <a16:creationId xmlns:a16="http://schemas.microsoft.com/office/drawing/2014/main" id="{D83E5E14-6695-437D-BCF0-9C0C0FD3825E}"/>
                  </a:ext>
                </a:extLst>
              </p:cNvPr>
              <p:cNvSpPr/>
              <p:nvPr/>
            </p:nvSpPr>
            <p:spPr>
              <a:xfrm>
                <a:off x="205826" y="6481778"/>
                <a:ext cx="5760000" cy="1092205"/>
              </a:xfrm>
              <a:prstGeom prst="rect">
                <a:avLst/>
              </a:prstGeom>
              <a:solidFill>
                <a:schemeClr val="bg1"/>
              </a:solidFill>
            </p:spPr>
            <p:txBody>
              <a:bodyPr wrap="square" lIns="0" tIns="0" rIns="0" bIns="0" rtlCol="0" anchor="t"/>
              <a:lstStyle/>
              <a:p>
                <a:pPr algn="just" defTabSz="643710">
                  <a:defRPr/>
                </a:pPr>
                <a:r>
                  <a:rPr lang="fr-FR" sz="1600" kern="0" dirty="0">
                    <a:solidFill>
                      <a:schemeClr val="tx2"/>
                    </a:solidFill>
                  </a:rPr>
                  <a:t>CYLAD est reconnu pour la qualité et l’engagement de son accompagnement de bout-en-bout, du cadrage jusqu’à la mise en œuvre. </a:t>
                </a:r>
                <a:r>
                  <a:rPr lang="fr-FR" sz="1600" kern="0" dirty="0" err="1">
                    <a:solidFill>
                      <a:schemeClr val="tx2"/>
                    </a:solidFill>
                  </a:rPr>
                  <a:t>LeLa</a:t>
                </a:r>
                <a:r>
                  <a:rPr lang="fr-FR" sz="1600" kern="0" dirty="0">
                    <a:solidFill>
                      <a:schemeClr val="tx2"/>
                    </a:solidFill>
                  </a:rPr>
                  <a:t> co-construction avec le client permet </a:t>
                </a:r>
                <a:r>
                  <a:rPr lang="fr-FR" sz="1600" b="1" kern="0" dirty="0">
                    <a:solidFill>
                      <a:schemeClr val="tx2"/>
                    </a:solidFill>
                  </a:rPr>
                  <a:t>un impact rapide, pertinent et pérenne</a:t>
                </a:r>
                <a:endParaRPr lang="fr-FR" sz="1600" b="1" kern="0" dirty="0">
                  <a:solidFill>
                    <a:schemeClr val="tx2"/>
                  </a:solidFill>
                  <a:highlight>
                    <a:srgbClr val="FFFF00"/>
                  </a:highlight>
                </a:endParaRPr>
              </a:p>
            </p:txBody>
          </p:sp>
          <p:sp>
            <p:nvSpPr>
              <p:cNvPr id="44" name="Rectangle 43">
                <a:extLst>
                  <a:ext uri="{FF2B5EF4-FFF2-40B4-BE49-F238E27FC236}">
                    <a16:creationId xmlns:a16="http://schemas.microsoft.com/office/drawing/2014/main" id="{5EC501CB-1CEE-436C-85F4-72742D6A44C8}"/>
                  </a:ext>
                </a:extLst>
              </p:cNvPr>
              <p:cNvSpPr/>
              <p:nvPr/>
            </p:nvSpPr>
            <p:spPr>
              <a:xfrm>
                <a:off x="205825" y="6013778"/>
                <a:ext cx="5773782" cy="360000"/>
              </a:xfrm>
              <a:prstGeom prst="rect">
                <a:avLst/>
              </a:prstGeom>
              <a:solidFill>
                <a:schemeClr val="accent2"/>
              </a:solidFill>
            </p:spPr>
            <p:txBody>
              <a:bodyPr wrap="square">
                <a:spAutoFit/>
              </a:bodyPr>
              <a:lstStyle/>
              <a:p>
                <a:pPr defTabSz="1006233" eaLnBrk="0" hangingPunct="0">
                  <a:spcBef>
                    <a:spcPts val="577"/>
                  </a:spcBef>
                  <a:buClr>
                    <a:srgbClr val="000000"/>
                  </a:buClr>
                  <a:buSzPct val="80000"/>
                </a:pPr>
                <a:r>
                  <a:rPr lang="fr-FR" sz="1600" b="1" kern="0" dirty="0">
                    <a:solidFill>
                      <a:srgbClr val="FFFFFF"/>
                    </a:solidFill>
                    <a:cs typeface="Arial" pitchFamily="34" charset="0"/>
                  </a:rPr>
                  <a:t>Approche collaborative et pragmatique pour maximiser l’impact</a:t>
                </a:r>
              </a:p>
            </p:txBody>
          </p:sp>
        </p:grpSp>
        <p:grpSp>
          <p:nvGrpSpPr>
            <p:cNvPr id="10" name="Groupe 9">
              <a:extLst>
                <a:ext uri="{FF2B5EF4-FFF2-40B4-BE49-F238E27FC236}">
                  <a16:creationId xmlns:a16="http://schemas.microsoft.com/office/drawing/2014/main" id="{7EDBDAD3-5BE8-42AD-BB77-6CF82BAC1ADA}"/>
                </a:ext>
              </a:extLst>
            </p:cNvPr>
            <p:cNvGrpSpPr/>
            <p:nvPr/>
          </p:nvGrpSpPr>
          <p:grpSpPr>
            <a:xfrm>
              <a:off x="7108825" y="5220923"/>
              <a:ext cx="5760000" cy="1560204"/>
              <a:chOff x="7489825" y="4777426"/>
              <a:chExt cx="5760000" cy="1560204"/>
            </a:xfrm>
          </p:grpSpPr>
          <p:sp>
            <p:nvSpPr>
              <p:cNvPr id="45" name="Rectangle 44">
                <a:extLst>
                  <a:ext uri="{FF2B5EF4-FFF2-40B4-BE49-F238E27FC236}">
                    <a16:creationId xmlns:a16="http://schemas.microsoft.com/office/drawing/2014/main" id="{EE9D9CDC-ACFC-4175-8674-286E08BCE9BC}"/>
                  </a:ext>
                </a:extLst>
              </p:cNvPr>
              <p:cNvSpPr/>
              <p:nvPr/>
            </p:nvSpPr>
            <p:spPr>
              <a:xfrm>
                <a:off x="7489825" y="4777426"/>
                <a:ext cx="5760000" cy="360000"/>
              </a:xfrm>
              <a:prstGeom prst="rect">
                <a:avLst/>
              </a:prstGeom>
              <a:solidFill>
                <a:schemeClr val="accent4"/>
              </a:solidFill>
            </p:spPr>
            <p:txBody>
              <a:bodyPr wrap="square" anchor="ctr">
                <a:noAutofit/>
              </a:bodyPr>
              <a:lstStyle/>
              <a:p>
                <a:pPr defTabSz="1006233" eaLnBrk="0" hangingPunct="0">
                  <a:spcBef>
                    <a:spcPts val="577"/>
                  </a:spcBef>
                  <a:buClr>
                    <a:srgbClr val="000000"/>
                  </a:buClr>
                  <a:buSzPct val="80000"/>
                </a:pPr>
                <a:r>
                  <a:rPr lang="fr-FR" sz="1600" b="1" kern="0" dirty="0">
                    <a:solidFill>
                      <a:srgbClr val="FFFFFF"/>
                    </a:solidFill>
                    <a:cs typeface="Arial" pitchFamily="34" charset="0"/>
                  </a:rPr>
                  <a:t>Un ancrage local fort</a:t>
                </a:r>
              </a:p>
            </p:txBody>
          </p:sp>
          <p:sp>
            <p:nvSpPr>
              <p:cNvPr id="46" name="Rectangle 45">
                <a:extLst>
                  <a:ext uri="{FF2B5EF4-FFF2-40B4-BE49-F238E27FC236}">
                    <a16:creationId xmlns:a16="http://schemas.microsoft.com/office/drawing/2014/main" id="{2B346DAD-6683-4A5F-B373-3D6E04C9A2B7}"/>
                  </a:ext>
                </a:extLst>
              </p:cNvPr>
              <p:cNvSpPr/>
              <p:nvPr/>
            </p:nvSpPr>
            <p:spPr>
              <a:xfrm>
                <a:off x="7489825" y="5245425"/>
                <a:ext cx="5760000" cy="1092205"/>
              </a:xfrm>
              <a:prstGeom prst="rect">
                <a:avLst/>
              </a:prstGeom>
              <a:solidFill>
                <a:schemeClr val="bg1"/>
              </a:solidFill>
            </p:spPr>
            <p:txBody>
              <a:bodyPr wrap="square" lIns="0" tIns="0" rIns="0" bIns="0" rtlCol="0" anchor="t"/>
              <a:lstStyle/>
              <a:p>
                <a:pPr algn="just" defTabSz="643710">
                  <a:defRPr/>
                </a:pPr>
                <a:r>
                  <a:rPr lang="fr-FR" sz="1600" kern="0" dirty="0">
                    <a:solidFill>
                      <a:schemeClr val="tx2"/>
                    </a:solidFill>
                  </a:rPr>
                  <a:t>CYLAD accompagne depuis ses débuts des </a:t>
                </a:r>
                <a:r>
                  <a:rPr lang="fr-FR" sz="1600" b="1" kern="0" dirty="0">
                    <a:solidFill>
                      <a:schemeClr val="tx2"/>
                    </a:solidFill>
                  </a:rPr>
                  <a:t>industriels locaux</a:t>
                </a:r>
                <a:r>
                  <a:rPr lang="fr-FR" sz="1600" kern="0" dirty="0">
                    <a:solidFill>
                      <a:schemeClr val="tx2"/>
                    </a:solidFill>
                  </a:rPr>
                  <a:t> avec plus de </a:t>
                </a:r>
                <a:r>
                  <a:rPr lang="fr-FR" sz="1600" b="1" kern="0" dirty="0">
                    <a:solidFill>
                      <a:schemeClr val="tx2"/>
                    </a:solidFill>
                  </a:rPr>
                  <a:t>20 consultants à Toulouse</a:t>
                </a:r>
                <a:r>
                  <a:rPr lang="fr-FR" sz="1600" kern="0" dirty="0">
                    <a:solidFill>
                      <a:schemeClr val="tx2"/>
                    </a:solidFill>
                  </a:rPr>
                  <a:t>. CYLAD est investi localement via sa </a:t>
                </a:r>
                <a:r>
                  <a:rPr lang="fr-FR" sz="1600" b="1" kern="0" dirty="0">
                    <a:solidFill>
                      <a:schemeClr val="tx2"/>
                    </a:solidFill>
                  </a:rPr>
                  <a:t>Fondation</a:t>
                </a:r>
                <a:r>
                  <a:rPr lang="fr-FR" sz="1600" kern="0" dirty="0">
                    <a:solidFill>
                      <a:schemeClr val="tx2"/>
                    </a:solidFill>
                  </a:rPr>
                  <a:t> et ses actions auprès de Réseau Entreprendre Occitanie et de l’ADIE Occitanie</a:t>
                </a:r>
              </a:p>
            </p:txBody>
          </p:sp>
        </p:grpSp>
        <p:pic>
          <p:nvPicPr>
            <p:cNvPr id="56" name="Graphique 55">
              <a:extLst>
                <a:ext uri="{FF2B5EF4-FFF2-40B4-BE49-F238E27FC236}">
                  <a16:creationId xmlns:a16="http://schemas.microsoft.com/office/drawing/2014/main" id="{6BDE3E70-DE06-4085-882C-857F95C65C3F}"/>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666004" y="5184923"/>
              <a:ext cx="432000" cy="432000"/>
            </a:xfrm>
            <a:prstGeom prst="rect">
              <a:avLst/>
            </a:prstGeom>
          </p:spPr>
        </p:pic>
        <p:pic>
          <p:nvPicPr>
            <p:cNvPr id="57" name="Graphique 56">
              <a:extLst>
                <a:ext uri="{FF2B5EF4-FFF2-40B4-BE49-F238E27FC236}">
                  <a16:creationId xmlns:a16="http://schemas.microsoft.com/office/drawing/2014/main" id="{395A6D90-E379-49C4-AE83-11185521DE85}"/>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1426" y="5156200"/>
              <a:ext cx="468000" cy="468000"/>
            </a:xfrm>
            <a:prstGeom prst="rect">
              <a:avLst/>
            </a:prstGeom>
          </p:spPr>
        </p:pic>
        <p:pic>
          <p:nvPicPr>
            <p:cNvPr id="58" name="Graphique 57">
              <a:extLst>
                <a:ext uri="{FF2B5EF4-FFF2-40B4-BE49-F238E27FC236}">
                  <a16:creationId xmlns:a16="http://schemas.microsoft.com/office/drawing/2014/main" id="{B80632A0-62FB-4BFF-88FD-EA644466F551}"/>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2850950" y="3520596"/>
              <a:ext cx="432000" cy="432000"/>
            </a:xfrm>
            <a:prstGeom prst="rect">
              <a:avLst/>
            </a:prstGeom>
          </p:spPr>
        </p:pic>
        <p:pic>
          <p:nvPicPr>
            <p:cNvPr id="59" name="Graphique 58">
              <a:extLst>
                <a:ext uri="{FF2B5EF4-FFF2-40B4-BE49-F238E27FC236}">
                  <a16:creationId xmlns:a16="http://schemas.microsoft.com/office/drawing/2014/main" id="{F3EB8541-AE89-4469-A293-ED61F6367CF1}"/>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6704577" y="1454725"/>
              <a:ext cx="360000" cy="360000"/>
            </a:xfrm>
            <a:prstGeom prst="rect">
              <a:avLst/>
            </a:prstGeom>
          </p:spPr>
        </p:pic>
        <p:pic>
          <p:nvPicPr>
            <p:cNvPr id="73" name="Graphique 72">
              <a:extLst>
                <a:ext uri="{FF2B5EF4-FFF2-40B4-BE49-F238E27FC236}">
                  <a16:creationId xmlns:a16="http://schemas.microsoft.com/office/drawing/2014/main" id="{BF4FFEDF-5764-4CF1-B56E-AD90A4672EA6}"/>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45085" y="1430945"/>
              <a:ext cx="396000" cy="396000"/>
            </a:xfrm>
            <a:prstGeom prst="rect">
              <a:avLst/>
            </a:prstGeom>
          </p:spPr>
        </p:pic>
      </p:grpSp>
    </p:spTree>
    <p:extLst>
      <p:ext uri="{BB962C8B-B14F-4D97-AF65-F5344CB8AC3E}">
        <p14:creationId xmlns:p14="http://schemas.microsoft.com/office/powerpoint/2010/main" val="27078518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B9441C60-5C4D-4047-88D1-5A38EF7CC617}"/>
              </a:ext>
            </a:extLst>
          </p:cNvPr>
          <p:cNvGraphicFramePr>
            <a:graphicFrameLocks noChangeAspect="1"/>
          </p:cNvGraphicFramePr>
          <p:nvPr>
            <p:custDataLst>
              <p:tags r:id="rId2"/>
            </p:custDataLst>
            <p:extLst>
              <p:ext uri="{D42A27DB-BD31-4B8C-83A1-F6EECF244321}">
                <p14:modId xmlns:p14="http://schemas.microsoft.com/office/powerpoint/2010/main" val="1590427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349" name="Diapositive think-cell" r:id="rId8" imgW="473" imgH="470" progId="TCLayout.ActiveDocument.1">
                  <p:embed/>
                </p:oleObj>
              </mc:Choice>
              <mc:Fallback>
                <p:oleObj name="Diapositive think-cell" r:id="rId8" imgW="473" imgH="470" progId="TCLayout.ActiveDocument.1">
                  <p:embed/>
                  <p:pic>
                    <p:nvPicPr>
                      <p:cNvPr id="6" name="Objet 5" hidden="1">
                        <a:extLst>
                          <a:ext uri="{FF2B5EF4-FFF2-40B4-BE49-F238E27FC236}">
                            <a16:creationId xmlns:a16="http://schemas.microsoft.com/office/drawing/2014/main" id="{B9441C60-5C4D-4047-88D1-5A38EF7CC61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B6D676D-3C57-4EA2-AD22-6FFC826249C3}"/>
              </a:ext>
            </a:extLst>
          </p:cNvPr>
          <p:cNvSpPr/>
          <p:nvPr>
            <p:custDataLst>
              <p:tags r:id="rId3"/>
            </p:custDataLst>
          </p:nvPr>
        </p:nvSpPr>
        <p:spPr>
          <a:xfrm>
            <a:off x="0" y="0"/>
            <a:ext cx="158750" cy="158750"/>
          </a:xfrm>
          <a:prstGeom prst="rect">
            <a:avLst/>
          </a:prstGeom>
          <a:solidFill>
            <a:schemeClr val="tx2"/>
          </a:solidFill>
        </p:spPr>
        <p:txBody>
          <a:bodyPr wrap="none" lIns="0" tIns="0" rIns="0" bIns="0" numCol="1" spcCol="0" rtlCol="0" anchor="ctr" anchorCtr="0">
            <a:noAutofit/>
          </a:bodyPr>
          <a:lstStyle/>
          <a:p>
            <a:pPr algn="ctr"/>
            <a:endParaRPr lang="fr-FR" sz="1600" dirty="0" err="1">
              <a:solidFill>
                <a:schemeClr val="bg1"/>
              </a:solidFill>
              <a:latin typeface="Calibri" panose="020F0502020204030204" pitchFamily="34" charset="0"/>
              <a:cs typeface="Arial" panose="020B0604020202020204" pitchFamily="34" charset="0"/>
              <a:sym typeface="Calibri" panose="020F0502020204030204" pitchFamily="34" charset="0"/>
            </a:endParaRPr>
          </a:p>
        </p:txBody>
      </p:sp>
      <p:sp>
        <p:nvSpPr>
          <p:cNvPr id="7" name="Text Placeholder 6">
            <a:extLst>
              <a:ext uri="{FF2B5EF4-FFF2-40B4-BE49-F238E27FC236}">
                <a16:creationId xmlns:a16="http://schemas.microsoft.com/office/drawing/2014/main" id="{8416D7EA-B61B-4583-9088-A96535632603}"/>
              </a:ext>
            </a:extLst>
          </p:cNvPr>
          <p:cNvSpPr>
            <a:spLocks noGrp="1"/>
          </p:cNvSpPr>
          <p:nvPr>
            <p:custDataLst>
              <p:tags r:id="rId4"/>
            </p:custDataLst>
          </p:nvPr>
        </p:nvSpPr>
        <p:spPr bwMode="gray">
          <a:xfrm>
            <a:off x="5908675" y="2489200"/>
            <a:ext cx="3201988" cy="406400"/>
          </a:xfrm>
          <a:prstGeom prst="rect">
            <a:avLst/>
          </a:prstGeom>
          <a:solidFill>
            <a:schemeClr val="accent1"/>
          </a:solidFill>
          <a:ln w="38100" algn="ctr">
            <a:solidFill>
              <a:schemeClr val="bg1"/>
            </a:solidFill>
          </a:ln>
        </p:spPr>
        <p:txBody>
          <a:bodyPr vert="horz" wrap="none" lIns="80963" tIns="80963" rIns="0" bIns="80963" numCol="1" spcCol="0" rtlCol="0" anchor="ctr" anchorCtr="0">
            <a:noAutofit/>
          </a:bodyPr>
          <a:lstStyle>
            <a:lvl1pPr marL="362016" indent="-226260" eaLnBrk="1" hangingPunct="1">
              <a:spcBef>
                <a:spcPts val="754"/>
              </a:spcBef>
              <a:spcAft>
                <a:spcPts val="0"/>
              </a:spcAft>
              <a:buFont typeface="Wingdings" pitchFamily="2" charset="2"/>
              <a:buChar char="§"/>
              <a:defRPr lang="en-US" sz="1600" b="0" kern="1200" cap="none" spc="0" baseline="0" dirty="0" smtClean="0">
                <a:solidFill>
                  <a:schemeClr val="tx1"/>
                </a:solidFill>
                <a:latin typeface="+mn-lt"/>
                <a:ea typeface="+mn-ea"/>
                <a:cs typeface="Arial" pitchFamily="34" charset="0"/>
              </a:defRPr>
            </a:lvl1pPr>
            <a:lvl2pPr marL="497772" indent="-226260" eaLnBrk="1" hangingPunct="1">
              <a:spcBef>
                <a:spcPts val="754"/>
              </a:spcBef>
              <a:spcAft>
                <a:spcPts val="0"/>
              </a:spcAft>
              <a:buFont typeface="Webdings" pitchFamily="18" charset="2"/>
              <a:buChar char="4"/>
              <a:defRPr sz="1600" b="0" kern="1200" spc="0" baseline="0">
                <a:solidFill>
                  <a:schemeClr val="tx1"/>
                </a:solidFill>
                <a:latin typeface="+mn-lt"/>
                <a:ea typeface="+mn-ea"/>
                <a:cs typeface="Arial" pitchFamily="34" charset="0"/>
              </a:defRPr>
            </a:lvl2pPr>
            <a:lvl3pPr marL="814536" indent="-226260" eaLnBrk="1" hangingPunct="1">
              <a:spcBef>
                <a:spcPts val="754"/>
              </a:spcBef>
              <a:spcAft>
                <a:spcPts val="0"/>
              </a:spcAft>
              <a:buFont typeface="Calibri" pitchFamily="34" charset="0"/>
              <a:buChar char="̶"/>
              <a:defRPr sz="1600" b="0" kern="1200" spc="0">
                <a:solidFill>
                  <a:schemeClr val="tx1"/>
                </a:solidFill>
                <a:latin typeface="+mn-lt"/>
                <a:ea typeface="+mn-ea"/>
                <a:cs typeface="Arial" pitchFamily="34" charset="0"/>
              </a:defRPr>
            </a:lvl3pPr>
            <a:lvl4pPr marL="1040796" indent="-226260" eaLnBrk="1" hangingPunct="1">
              <a:spcBef>
                <a:spcPts val="754"/>
              </a:spcBef>
              <a:spcAft>
                <a:spcPts val="0"/>
              </a:spcAft>
              <a:buSzPct val="80000"/>
              <a:buFont typeface="Calibri" pitchFamily="34" charset="0"/>
              <a:buChar char="•"/>
              <a:defRPr sz="1600" b="0" i="0" kern="1200" spc="0" baseline="0">
                <a:solidFill>
                  <a:schemeClr val="tx1"/>
                </a:solidFill>
                <a:latin typeface="+mn-lt"/>
                <a:ea typeface="+mn-ea"/>
                <a:cs typeface="+mn-cs"/>
              </a:defRPr>
            </a:lvl4pPr>
            <a:lvl5pPr marL="1267056" indent="-226260" eaLnBrk="1" hangingPunct="1">
              <a:spcBef>
                <a:spcPts val="754"/>
              </a:spcBef>
              <a:spcAft>
                <a:spcPts val="0"/>
              </a:spcAft>
              <a:buSzPct val="65000"/>
              <a:buFont typeface="Wingdings" pitchFamily="2" charset="2"/>
              <a:buChar char="w"/>
              <a:defRPr sz="1600" b="0" i="0" kern="1200" spc="0" baseline="0">
                <a:solidFill>
                  <a:schemeClr val="tx1"/>
                </a:solidFill>
                <a:latin typeface="+mn-lt"/>
                <a:ea typeface="+mn-ea"/>
                <a:cs typeface="+mn-cs"/>
              </a:defRPr>
            </a:lvl5pPr>
            <a:lvl6pPr marL="1706389" indent="-310253" eaLnBrk="1" hangingPunct="1">
              <a:spcBef>
                <a:spcPts val="754"/>
              </a:spcBef>
              <a:spcAft>
                <a:spcPts val="0"/>
              </a:spcAft>
              <a:buSzPct val="65000"/>
              <a:buFont typeface="Wingdings" pitchFamily="2" charset="2"/>
              <a:buChar char="w"/>
              <a:defRPr sz="1600" b="0" i="0" kern="1200" spc="0" baseline="0">
                <a:solidFill>
                  <a:schemeClr val="tx1"/>
                </a:solidFill>
                <a:latin typeface="+mn-lt"/>
                <a:ea typeface="+mn-ea"/>
                <a:cs typeface="+mn-cs"/>
              </a:defRPr>
            </a:lvl6pPr>
            <a:lvl7pPr marL="2480164" eaLnBrk="1" hangingPunct="1">
              <a:defRPr sz="1600">
                <a:latin typeface="+mn-lt"/>
                <a:ea typeface="+mn-ea"/>
                <a:cs typeface="+mn-cs"/>
              </a:defRPr>
            </a:lvl7pPr>
            <a:lvl8pPr marL="2893529" eaLnBrk="1" hangingPunct="1">
              <a:defRPr>
                <a:latin typeface="+mn-lt"/>
                <a:ea typeface="+mn-ea"/>
                <a:cs typeface="+mn-cs"/>
              </a:defRPr>
            </a:lvl8pPr>
            <a:lvl9pPr marL="3306888" eaLnBrk="1" hangingPunct="1">
              <a:defRPr>
                <a:latin typeface="+mn-lt"/>
                <a:ea typeface="+mn-ea"/>
                <a:cs typeface="+mn-cs"/>
              </a:defRPr>
            </a:lvl9pPr>
          </a:lstStyle>
          <a:p>
            <a:pPr marL="227013">
              <a:spcBef>
                <a:spcPct val="0"/>
              </a:spcBef>
              <a:spcAft>
                <a:spcPct val="0"/>
              </a:spcAft>
            </a:pPr>
            <a:r>
              <a:rPr lang="fr-FR" altLang="en-US" b="1" dirty="0"/>
              <a:t>Présentation du dispositif</a:t>
            </a:r>
            <a:endParaRPr lang="fr-FR" b="1" noProof="0" dirty="0"/>
          </a:p>
        </p:txBody>
      </p:sp>
      <p:sp>
        <p:nvSpPr>
          <p:cNvPr id="8" name="Text Placeholder 6">
            <a:hlinkClick r:id="rId10" action="ppaction://hlinksldjump"/>
            <a:extLst>
              <a:ext uri="{FF2B5EF4-FFF2-40B4-BE49-F238E27FC236}">
                <a16:creationId xmlns:a16="http://schemas.microsoft.com/office/drawing/2014/main" id="{4CBB6CDE-257C-4631-9F71-0F37EA2D0B25}"/>
              </a:ext>
            </a:extLst>
          </p:cNvPr>
          <p:cNvSpPr>
            <a:spLocks noGrp="1"/>
          </p:cNvSpPr>
          <p:nvPr>
            <p:custDataLst>
              <p:tags r:id="rId5"/>
            </p:custDataLst>
          </p:nvPr>
        </p:nvSpPr>
        <p:spPr bwMode="gray">
          <a:xfrm>
            <a:off x="5908675" y="2895600"/>
            <a:ext cx="3201988" cy="407988"/>
          </a:xfrm>
          <a:prstGeom prst="rect">
            <a:avLst/>
          </a:prstGeom>
          <a:solidFill>
            <a:schemeClr val="bg2"/>
          </a:solidFill>
          <a:ln w="38100" algn="ctr">
            <a:solidFill>
              <a:schemeClr val="bg1"/>
            </a:solidFill>
          </a:ln>
        </p:spPr>
        <p:txBody>
          <a:bodyPr vert="horz" wrap="none" lIns="80963" tIns="82550" rIns="0" bIns="80963" numCol="1" spcCol="0" rtlCol="0" anchor="ctr" anchorCtr="0">
            <a:noAutofit/>
          </a:bodyPr>
          <a:lstStyle>
            <a:lvl1pPr marL="362016" indent="-226260" eaLnBrk="1" hangingPunct="1">
              <a:spcBef>
                <a:spcPts val="754"/>
              </a:spcBef>
              <a:spcAft>
                <a:spcPts val="0"/>
              </a:spcAft>
              <a:buFont typeface="Wingdings" pitchFamily="2" charset="2"/>
              <a:buChar char="§"/>
              <a:defRPr lang="en-US" sz="1600" b="0" kern="1200" cap="none" spc="0" baseline="0" dirty="0" smtClean="0">
                <a:solidFill>
                  <a:schemeClr val="tx1"/>
                </a:solidFill>
                <a:latin typeface="+mn-lt"/>
                <a:ea typeface="+mn-ea"/>
                <a:cs typeface="Arial" pitchFamily="34" charset="0"/>
              </a:defRPr>
            </a:lvl1pPr>
            <a:lvl2pPr marL="497772" indent="-226260" eaLnBrk="1" hangingPunct="1">
              <a:spcBef>
                <a:spcPts val="754"/>
              </a:spcBef>
              <a:spcAft>
                <a:spcPts val="0"/>
              </a:spcAft>
              <a:buFont typeface="Webdings" pitchFamily="18" charset="2"/>
              <a:buChar char="4"/>
              <a:defRPr sz="1600" b="0" kern="1200" spc="0" baseline="0">
                <a:solidFill>
                  <a:schemeClr val="tx1"/>
                </a:solidFill>
                <a:latin typeface="+mn-lt"/>
                <a:ea typeface="+mn-ea"/>
                <a:cs typeface="Arial" pitchFamily="34" charset="0"/>
              </a:defRPr>
            </a:lvl2pPr>
            <a:lvl3pPr marL="814536" indent="-226260" eaLnBrk="1" hangingPunct="1">
              <a:spcBef>
                <a:spcPts val="754"/>
              </a:spcBef>
              <a:spcAft>
                <a:spcPts val="0"/>
              </a:spcAft>
              <a:buFont typeface="Calibri" pitchFamily="34" charset="0"/>
              <a:buChar char="̶"/>
              <a:defRPr sz="1600" b="0" kern="1200" spc="0">
                <a:solidFill>
                  <a:schemeClr val="tx1"/>
                </a:solidFill>
                <a:latin typeface="+mn-lt"/>
                <a:ea typeface="+mn-ea"/>
                <a:cs typeface="Arial" pitchFamily="34" charset="0"/>
              </a:defRPr>
            </a:lvl3pPr>
            <a:lvl4pPr marL="1040796" indent="-226260" eaLnBrk="1" hangingPunct="1">
              <a:spcBef>
                <a:spcPts val="754"/>
              </a:spcBef>
              <a:spcAft>
                <a:spcPts val="0"/>
              </a:spcAft>
              <a:buSzPct val="80000"/>
              <a:buFont typeface="Calibri" pitchFamily="34" charset="0"/>
              <a:buChar char="•"/>
              <a:defRPr sz="1600" b="0" i="0" kern="1200" spc="0" baseline="0">
                <a:solidFill>
                  <a:schemeClr val="tx1"/>
                </a:solidFill>
                <a:latin typeface="+mn-lt"/>
                <a:ea typeface="+mn-ea"/>
                <a:cs typeface="+mn-cs"/>
              </a:defRPr>
            </a:lvl4pPr>
            <a:lvl5pPr marL="1267056" indent="-226260" eaLnBrk="1" hangingPunct="1">
              <a:spcBef>
                <a:spcPts val="754"/>
              </a:spcBef>
              <a:spcAft>
                <a:spcPts val="0"/>
              </a:spcAft>
              <a:buSzPct val="65000"/>
              <a:buFont typeface="Wingdings" pitchFamily="2" charset="2"/>
              <a:buChar char="w"/>
              <a:defRPr sz="1600" b="0" i="0" kern="1200" spc="0" baseline="0">
                <a:solidFill>
                  <a:schemeClr val="tx1"/>
                </a:solidFill>
                <a:latin typeface="+mn-lt"/>
                <a:ea typeface="+mn-ea"/>
                <a:cs typeface="+mn-cs"/>
              </a:defRPr>
            </a:lvl5pPr>
            <a:lvl6pPr marL="1706389" indent="-310253" eaLnBrk="1" hangingPunct="1">
              <a:spcBef>
                <a:spcPts val="754"/>
              </a:spcBef>
              <a:spcAft>
                <a:spcPts val="0"/>
              </a:spcAft>
              <a:buSzPct val="65000"/>
              <a:buFont typeface="Wingdings" pitchFamily="2" charset="2"/>
              <a:buChar char="w"/>
              <a:defRPr sz="1600" b="0" i="0" kern="1200" spc="0" baseline="0">
                <a:solidFill>
                  <a:schemeClr val="tx1"/>
                </a:solidFill>
                <a:latin typeface="+mn-lt"/>
                <a:ea typeface="+mn-ea"/>
                <a:cs typeface="+mn-cs"/>
              </a:defRPr>
            </a:lvl6pPr>
            <a:lvl7pPr marL="2480164" eaLnBrk="1" hangingPunct="1">
              <a:defRPr sz="1600">
                <a:latin typeface="+mn-lt"/>
                <a:ea typeface="+mn-ea"/>
                <a:cs typeface="+mn-cs"/>
              </a:defRPr>
            </a:lvl7pPr>
            <a:lvl8pPr marL="2893529" eaLnBrk="1" hangingPunct="1">
              <a:defRPr>
                <a:latin typeface="+mn-lt"/>
                <a:ea typeface="+mn-ea"/>
                <a:cs typeface="+mn-cs"/>
              </a:defRPr>
            </a:lvl8pPr>
            <a:lvl9pPr marL="3306888" eaLnBrk="1" hangingPunct="1">
              <a:defRPr>
                <a:latin typeface="+mn-lt"/>
                <a:ea typeface="+mn-ea"/>
                <a:cs typeface="+mn-cs"/>
              </a:defRPr>
            </a:lvl9pPr>
          </a:lstStyle>
          <a:p>
            <a:pPr marL="227013">
              <a:spcBef>
                <a:spcPct val="0"/>
              </a:spcBef>
              <a:spcAft>
                <a:spcPct val="0"/>
              </a:spcAft>
            </a:pPr>
            <a:r>
              <a:rPr lang="fr-FR" altLang="en-US" dirty="0"/>
              <a:t>Notre approche</a:t>
            </a:r>
            <a:endParaRPr lang="fr-FR" noProof="0" dirty="0"/>
          </a:p>
        </p:txBody>
      </p:sp>
      <p:sp>
        <p:nvSpPr>
          <p:cNvPr id="11" name="Text Placeholder 6">
            <a:hlinkClick r:id="rId11" action="ppaction://hlinksldjump"/>
            <a:extLst>
              <a:ext uri="{FF2B5EF4-FFF2-40B4-BE49-F238E27FC236}">
                <a16:creationId xmlns:a16="http://schemas.microsoft.com/office/drawing/2014/main" id="{F0743545-C182-4D91-B419-60577B06C4FC}"/>
              </a:ext>
            </a:extLst>
          </p:cNvPr>
          <p:cNvSpPr>
            <a:spLocks noGrp="1"/>
          </p:cNvSpPr>
          <p:nvPr>
            <p:custDataLst>
              <p:tags r:id="rId6"/>
            </p:custDataLst>
          </p:nvPr>
        </p:nvSpPr>
        <p:spPr bwMode="gray">
          <a:xfrm>
            <a:off x="5908675" y="3303588"/>
            <a:ext cx="3201988" cy="406400"/>
          </a:xfrm>
          <a:prstGeom prst="rect">
            <a:avLst/>
          </a:prstGeom>
          <a:solidFill>
            <a:schemeClr val="bg2"/>
          </a:solidFill>
          <a:ln w="38100" algn="ctr">
            <a:solidFill>
              <a:schemeClr val="bg1"/>
            </a:solidFill>
          </a:ln>
        </p:spPr>
        <p:txBody>
          <a:bodyPr vert="horz" wrap="none" lIns="80963" tIns="80963" rIns="0" bIns="80963" numCol="1" spcCol="0" rtlCol="0" anchor="ctr" anchorCtr="0">
            <a:noAutofit/>
          </a:bodyPr>
          <a:lstStyle>
            <a:lvl1pPr marL="362016" indent="-226260" eaLnBrk="1" hangingPunct="1">
              <a:spcBef>
                <a:spcPts val="754"/>
              </a:spcBef>
              <a:spcAft>
                <a:spcPts val="0"/>
              </a:spcAft>
              <a:buFont typeface="Wingdings" pitchFamily="2" charset="2"/>
              <a:buChar char="§"/>
              <a:defRPr lang="en-US" sz="1600" b="0" kern="1200" cap="none" spc="0" baseline="0" dirty="0" smtClean="0">
                <a:solidFill>
                  <a:schemeClr val="tx1"/>
                </a:solidFill>
                <a:latin typeface="+mn-lt"/>
                <a:ea typeface="+mn-ea"/>
                <a:cs typeface="Arial" pitchFamily="34" charset="0"/>
              </a:defRPr>
            </a:lvl1pPr>
            <a:lvl2pPr marL="497772" indent="-226260" eaLnBrk="1" hangingPunct="1">
              <a:spcBef>
                <a:spcPts val="754"/>
              </a:spcBef>
              <a:spcAft>
                <a:spcPts val="0"/>
              </a:spcAft>
              <a:buFont typeface="Webdings" pitchFamily="18" charset="2"/>
              <a:buChar char="4"/>
              <a:defRPr sz="1600" b="0" kern="1200" spc="0" baseline="0">
                <a:solidFill>
                  <a:schemeClr val="tx1"/>
                </a:solidFill>
                <a:latin typeface="+mn-lt"/>
                <a:ea typeface="+mn-ea"/>
                <a:cs typeface="Arial" pitchFamily="34" charset="0"/>
              </a:defRPr>
            </a:lvl2pPr>
            <a:lvl3pPr marL="814536" indent="-226260" eaLnBrk="1" hangingPunct="1">
              <a:spcBef>
                <a:spcPts val="754"/>
              </a:spcBef>
              <a:spcAft>
                <a:spcPts val="0"/>
              </a:spcAft>
              <a:buFont typeface="Calibri" pitchFamily="34" charset="0"/>
              <a:buChar char="̶"/>
              <a:defRPr sz="1600" b="0" kern="1200" spc="0">
                <a:solidFill>
                  <a:schemeClr val="tx1"/>
                </a:solidFill>
                <a:latin typeface="+mn-lt"/>
                <a:ea typeface="+mn-ea"/>
                <a:cs typeface="Arial" pitchFamily="34" charset="0"/>
              </a:defRPr>
            </a:lvl3pPr>
            <a:lvl4pPr marL="1040796" indent="-226260" eaLnBrk="1" hangingPunct="1">
              <a:spcBef>
                <a:spcPts val="754"/>
              </a:spcBef>
              <a:spcAft>
                <a:spcPts val="0"/>
              </a:spcAft>
              <a:buSzPct val="80000"/>
              <a:buFont typeface="Calibri" pitchFamily="34" charset="0"/>
              <a:buChar char="•"/>
              <a:defRPr sz="1600" b="0" i="0" kern="1200" spc="0" baseline="0">
                <a:solidFill>
                  <a:schemeClr val="tx1"/>
                </a:solidFill>
                <a:latin typeface="+mn-lt"/>
                <a:ea typeface="+mn-ea"/>
                <a:cs typeface="+mn-cs"/>
              </a:defRPr>
            </a:lvl4pPr>
            <a:lvl5pPr marL="1267056" indent="-226260" eaLnBrk="1" hangingPunct="1">
              <a:spcBef>
                <a:spcPts val="754"/>
              </a:spcBef>
              <a:spcAft>
                <a:spcPts val="0"/>
              </a:spcAft>
              <a:buSzPct val="65000"/>
              <a:buFont typeface="Wingdings" pitchFamily="2" charset="2"/>
              <a:buChar char="w"/>
              <a:defRPr sz="1600" b="0" i="0" kern="1200" spc="0" baseline="0">
                <a:solidFill>
                  <a:schemeClr val="tx1"/>
                </a:solidFill>
                <a:latin typeface="+mn-lt"/>
                <a:ea typeface="+mn-ea"/>
                <a:cs typeface="+mn-cs"/>
              </a:defRPr>
            </a:lvl5pPr>
            <a:lvl6pPr marL="1706389" indent="-310253" eaLnBrk="1" hangingPunct="1">
              <a:spcBef>
                <a:spcPts val="754"/>
              </a:spcBef>
              <a:spcAft>
                <a:spcPts val="0"/>
              </a:spcAft>
              <a:buSzPct val="65000"/>
              <a:buFont typeface="Wingdings" pitchFamily="2" charset="2"/>
              <a:buChar char="w"/>
              <a:defRPr sz="1600" b="0" i="0" kern="1200" spc="0" baseline="0">
                <a:solidFill>
                  <a:schemeClr val="tx1"/>
                </a:solidFill>
                <a:latin typeface="+mn-lt"/>
                <a:ea typeface="+mn-ea"/>
                <a:cs typeface="+mn-cs"/>
              </a:defRPr>
            </a:lvl6pPr>
            <a:lvl7pPr marL="2480164" eaLnBrk="1" hangingPunct="1">
              <a:defRPr sz="1600">
                <a:latin typeface="+mn-lt"/>
                <a:ea typeface="+mn-ea"/>
                <a:cs typeface="+mn-cs"/>
              </a:defRPr>
            </a:lvl7pPr>
            <a:lvl8pPr marL="2893529" eaLnBrk="1" hangingPunct="1">
              <a:defRPr>
                <a:latin typeface="+mn-lt"/>
                <a:ea typeface="+mn-ea"/>
                <a:cs typeface="+mn-cs"/>
              </a:defRPr>
            </a:lvl8pPr>
            <a:lvl9pPr marL="3306888" eaLnBrk="1" hangingPunct="1">
              <a:defRPr>
                <a:latin typeface="+mn-lt"/>
                <a:ea typeface="+mn-ea"/>
                <a:cs typeface="+mn-cs"/>
              </a:defRPr>
            </a:lvl9pPr>
          </a:lstStyle>
          <a:p>
            <a:pPr marL="227013">
              <a:spcBef>
                <a:spcPct val="0"/>
              </a:spcBef>
              <a:spcAft>
                <a:spcPct val="0"/>
              </a:spcAft>
            </a:pPr>
            <a:r>
              <a:rPr lang="fr-FR" altLang="en-US"/>
              <a:t>Présentation de CYLAD Consulting</a:t>
            </a:r>
            <a:endParaRPr lang="fr-FR" noProof="0" dirty="0"/>
          </a:p>
        </p:txBody>
      </p:sp>
    </p:spTree>
    <p:extLst>
      <p:ext uri="{BB962C8B-B14F-4D97-AF65-F5344CB8AC3E}">
        <p14:creationId xmlns:p14="http://schemas.microsoft.com/office/powerpoint/2010/main" val="10580889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BDB7D031-76F3-4ECF-A865-EB227EAB0CEB}"/>
              </a:ext>
            </a:extLst>
          </p:cNvPr>
          <p:cNvGraphicFramePr>
            <a:graphicFrameLocks noChangeAspect="1"/>
          </p:cNvGraphicFramePr>
          <p:nvPr>
            <p:custDataLst>
              <p:tags r:id="rId2"/>
            </p:custDataLst>
            <p:extLst>
              <p:ext uri="{D42A27DB-BD31-4B8C-83A1-F6EECF244321}">
                <p14:modId xmlns:p14="http://schemas.microsoft.com/office/powerpoint/2010/main" val="17406408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40" name="Diapositive think-cell" r:id="rId5" imgW="473" imgH="470" progId="TCLayout.ActiveDocument.1">
                  <p:embed/>
                </p:oleObj>
              </mc:Choice>
              <mc:Fallback>
                <p:oleObj name="Diapositive think-cell" r:id="rId5" imgW="473" imgH="470" progId="TCLayout.ActiveDocument.1">
                  <p:embed/>
                  <p:pic>
                    <p:nvPicPr>
                      <p:cNvPr id="7" name="Objet 6" hidden="1">
                        <a:extLst>
                          <a:ext uri="{FF2B5EF4-FFF2-40B4-BE49-F238E27FC236}">
                            <a16:creationId xmlns:a16="http://schemas.microsoft.com/office/drawing/2014/main" id="{BDB7D031-76F3-4ECF-A865-EB227EAB0CE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AF06F9F-56A6-4C52-B69E-29763697990D}"/>
              </a:ext>
            </a:extLst>
          </p:cNvPr>
          <p:cNvSpPr/>
          <p:nvPr>
            <p:custDataLst>
              <p:tags r:id="rId3"/>
            </p:custDataLst>
          </p:nvPr>
        </p:nvSpPr>
        <p:spPr>
          <a:xfrm>
            <a:off x="0" y="0"/>
            <a:ext cx="158750" cy="158750"/>
          </a:xfrm>
          <a:prstGeom prst="rect">
            <a:avLst/>
          </a:prstGeom>
          <a:solidFill>
            <a:schemeClr val="tx2"/>
          </a:solidFill>
        </p:spPr>
        <p:txBody>
          <a:bodyPr wrap="none" lIns="0" tIns="0" rIns="0" bIns="0" numCol="1" spcCol="0" rtlCol="0" anchor="ctr" anchorCtr="0">
            <a:noAutofit/>
          </a:bodyPr>
          <a:lstStyle/>
          <a:p>
            <a:pPr algn="ctr"/>
            <a:endParaRPr kumimoji="0" lang="fr-FR" sz="2200" b="1" u="none" strike="noStrike" kern="1200" cap="none" spc="0" normalizeH="0" noProof="0" dirty="0" err="1">
              <a:ln>
                <a:noFill/>
              </a:ln>
              <a:solidFill>
                <a:srgbClr val="FFFFFF"/>
              </a:solidFill>
              <a:effectLst/>
              <a:uLnTx/>
              <a:uFillTx/>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36" name="Content Placeholder 4">
            <a:extLst>
              <a:ext uri="{FF2B5EF4-FFF2-40B4-BE49-F238E27FC236}">
                <a16:creationId xmlns:a16="http://schemas.microsoft.com/office/drawing/2014/main" id="{D2C6FABF-D46E-4102-A971-8F7675D17F8C}"/>
              </a:ext>
            </a:extLst>
          </p:cNvPr>
          <p:cNvSpPr txBox="1">
            <a:spLocks/>
          </p:cNvSpPr>
          <p:nvPr/>
        </p:nvSpPr>
        <p:spPr>
          <a:xfrm>
            <a:off x="484976" y="2349648"/>
            <a:ext cx="8528849" cy="3733800"/>
          </a:xfrm>
          <a:prstGeom prst="rect">
            <a:avLst/>
          </a:prstGeom>
          <a:noFill/>
        </p:spPr>
        <p:txBody>
          <a:bodyPr vert="horz" lIns="0" tIns="36000" rIns="0" bIns="36000" rtlCol="0">
            <a:noAutofit/>
          </a:bodyPr>
          <a:lstStyle>
            <a:lvl1pPr marL="216000" indent="-216000" algn="l" defTabSz="390997" rtl="0" eaLnBrk="1" latinLnBrk="0" hangingPunct="1">
              <a:spcBef>
                <a:spcPts val="600"/>
              </a:spcBef>
              <a:buClr>
                <a:schemeClr val="tx1"/>
              </a:buClr>
              <a:buSzPct val="100000"/>
              <a:buFont typeface="Wingdings" panose="05000000000000000000" pitchFamily="2" charset="2"/>
              <a:buChar char=""/>
              <a:defRPr sz="1400" kern="1200" baseline="0">
                <a:solidFill>
                  <a:schemeClr val="tx1"/>
                </a:solidFill>
                <a:latin typeface="+mn-lt"/>
                <a:ea typeface="+mn-ea"/>
                <a:cs typeface="+mn-cs"/>
              </a:defRPr>
            </a:lvl1pPr>
            <a:lvl2pPr marL="432000" indent="-216000" algn="l" defTabSz="390997" rtl="0" eaLnBrk="1" latinLnBrk="0" hangingPunct="1">
              <a:spcBef>
                <a:spcPts val="600"/>
              </a:spcBef>
              <a:buClr>
                <a:schemeClr val="tx1"/>
              </a:buClr>
              <a:buSzPct val="100000"/>
              <a:buFont typeface="Wingdings 2" panose="05020102010507070707" pitchFamily="18" charset="2"/>
              <a:buChar char=""/>
              <a:defRPr sz="1400" kern="1200" baseline="0">
                <a:solidFill>
                  <a:schemeClr val="tx1"/>
                </a:solidFill>
                <a:latin typeface="+mn-lt"/>
                <a:ea typeface="+mn-ea"/>
                <a:cs typeface="+mn-cs"/>
              </a:defRPr>
            </a:lvl2pPr>
            <a:lvl3pPr marL="648000" indent="-216000" algn="l" defTabSz="390997" rtl="0" eaLnBrk="1" latinLnBrk="0" hangingPunct="1">
              <a:spcBef>
                <a:spcPts val="600"/>
              </a:spcBef>
              <a:buSzPct val="100000"/>
              <a:buFont typeface="Symbol" charset="2"/>
              <a:buChar char="-"/>
              <a:defRPr sz="1400" kern="1200">
                <a:solidFill>
                  <a:schemeClr val="tx1"/>
                </a:solidFill>
                <a:latin typeface="+mn-lt"/>
                <a:ea typeface="+mn-ea"/>
                <a:cs typeface="+mn-cs"/>
              </a:defRPr>
            </a:lvl3pPr>
            <a:lvl4pPr marL="864000" indent="-216000" algn="l" defTabSz="390997" rtl="0" eaLnBrk="1" latinLnBrk="0" hangingPunct="1">
              <a:spcBef>
                <a:spcPts val="600"/>
              </a:spcBef>
              <a:buSzPct val="80000"/>
              <a:buFont typeface="Symbol" charset="2"/>
              <a:buChar char="-"/>
              <a:defRPr sz="1400" kern="1200">
                <a:solidFill>
                  <a:schemeClr val="tx1"/>
                </a:solidFill>
                <a:latin typeface="+mn-lt"/>
                <a:ea typeface="+mn-ea"/>
                <a:cs typeface="+mn-cs"/>
              </a:defRPr>
            </a:lvl4pPr>
            <a:lvl5pPr marL="811339" indent="0" algn="l" defTabSz="390997" rtl="0" eaLnBrk="1" latinLnBrk="0" hangingPunct="1">
              <a:spcBef>
                <a:spcPct val="20000"/>
              </a:spcBef>
              <a:buSzPct val="100000"/>
              <a:buFontTx/>
              <a:buNone/>
              <a:defRPr sz="1500" kern="1200" baseline="0">
                <a:solidFill>
                  <a:schemeClr val="tx2"/>
                </a:solidFill>
                <a:latin typeface="+mn-lt"/>
                <a:ea typeface="+mn-ea"/>
                <a:cs typeface="+mn-cs"/>
              </a:defRPr>
            </a:lvl5pPr>
            <a:lvl6pPr marL="1019969" indent="0" algn="l" defTabSz="390997" rtl="0" eaLnBrk="1" latinLnBrk="0" hangingPunct="1">
              <a:spcBef>
                <a:spcPct val="20000"/>
              </a:spcBef>
              <a:buSzPct val="100000"/>
              <a:buFontTx/>
              <a:buNone/>
              <a:defRPr lang="de-DE" sz="1500" kern="1200" dirty="0" smtClean="0">
                <a:solidFill>
                  <a:schemeClr val="tx2"/>
                </a:solidFill>
                <a:latin typeface="+mn-lt"/>
                <a:ea typeface="+mn-ea"/>
                <a:cs typeface="+mn-cs"/>
              </a:defRPr>
            </a:lvl6pPr>
            <a:lvl7pPr marL="2541483" indent="-195499" algn="l" defTabSz="390997" rtl="0" eaLnBrk="1" latinLnBrk="0" hangingPunct="1">
              <a:spcBef>
                <a:spcPct val="20000"/>
              </a:spcBef>
              <a:buFont typeface="Arial"/>
              <a:buChar char="•"/>
              <a:defRPr sz="1710" kern="1200">
                <a:solidFill>
                  <a:schemeClr val="tx1"/>
                </a:solidFill>
                <a:latin typeface="+mn-lt"/>
                <a:ea typeface="+mn-ea"/>
                <a:cs typeface="+mn-cs"/>
              </a:defRPr>
            </a:lvl7pPr>
            <a:lvl8pPr marL="2932481" indent="-195499" algn="l" defTabSz="390997" rtl="0" eaLnBrk="1" latinLnBrk="0" hangingPunct="1">
              <a:spcBef>
                <a:spcPct val="20000"/>
              </a:spcBef>
              <a:buFont typeface="Arial"/>
              <a:buChar char="•"/>
              <a:defRPr sz="1710" kern="1200">
                <a:solidFill>
                  <a:schemeClr val="tx1"/>
                </a:solidFill>
                <a:latin typeface="+mn-lt"/>
                <a:ea typeface="+mn-ea"/>
                <a:cs typeface="+mn-cs"/>
              </a:defRPr>
            </a:lvl8pPr>
            <a:lvl9pPr marL="3323478" indent="-195499" algn="l" defTabSz="390997" rtl="0" eaLnBrk="1" latinLnBrk="0" hangingPunct="1">
              <a:spcBef>
                <a:spcPct val="20000"/>
              </a:spcBef>
              <a:buFont typeface="Arial"/>
              <a:buChar char="•"/>
              <a:defRPr sz="1710" kern="1200">
                <a:solidFill>
                  <a:schemeClr val="tx1"/>
                </a:solidFill>
                <a:latin typeface="+mn-lt"/>
                <a:ea typeface="+mn-ea"/>
                <a:cs typeface="+mn-cs"/>
              </a:defRPr>
            </a:lvl9pPr>
          </a:lstStyle>
          <a:p>
            <a:pPr marL="182563" lvl="0" indent="-182563">
              <a:spcBef>
                <a:spcPts val="300"/>
              </a:spcBef>
              <a:spcAft>
                <a:spcPts val="300"/>
              </a:spcAft>
              <a:buClr>
                <a:srgbClr val="00CDB2"/>
              </a:buClr>
              <a:buFont typeface="Wingdings" panose="05000000000000000000" pitchFamily="2" charset="2"/>
              <a:buChar char="§"/>
            </a:pPr>
            <a:r>
              <a:rPr lang="fr-FR" sz="2000" dirty="0">
                <a:solidFill>
                  <a:srgbClr val="004A59"/>
                </a:solidFill>
                <a:cs typeface="Arial"/>
              </a:rPr>
              <a:t>Tout secteur d’activité</a:t>
            </a:r>
          </a:p>
          <a:p>
            <a:pPr marL="182563" lvl="0" indent="-182563">
              <a:spcBef>
                <a:spcPts val="300"/>
              </a:spcBef>
              <a:spcAft>
                <a:spcPts val="300"/>
              </a:spcAft>
              <a:buClr>
                <a:srgbClr val="00CDB2"/>
              </a:buClr>
              <a:buFont typeface="Wingdings" panose="05000000000000000000" pitchFamily="2" charset="2"/>
              <a:buChar char="§"/>
            </a:pPr>
            <a:endParaRPr lang="fr-FR" sz="2000" dirty="0">
              <a:solidFill>
                <a:srgbClr val="004A59"/>
              </a:solidFill>
              <a:cs typeface="Arial"/>
            </a:endParaRPr>
          </a:p>
          <a:p>
            <a:pPr marL="182563" lvl="0" indent="-182563">
              <a:spcBef>
                <a:spcPts val="300"/>
              </a:spcBef>
              <a:spcAft>
                <a:spcPts val="300"/>
              </a:spcAft>
              <a:buClr>
                <a:srgbClr val="00CDB2"/>
              </a:buClr>
              <a:buFont typeface="Wingdings" panose="05000000000000000000" pitchFamily="2" charset="2"/>
              <a:buChar char="§"/>
            </a:pPr>
            <a:r>
              <a:rPr lang="fr-FR" sz="2000" dirty="0">
                <a:solidFill>
                  <a:srgbClr val="004A59"/>
                </a:solidFill>
                <a:cs typeface="Arial"/>
              </a:rPr>
              <a:t>Entreprise ayant un site de production en Occitanie</a:t>
            </a:r>
          </a:p>
          <a:p>
            <a:pPr marL="182563" lvl="0" indent="-182563">
              <a:spcBef>
                <a:spcPts val="300"/>
              </a:spcBef>
              <a:spcAft>
                <a:spcPts val="300"/>
              </a:spcAft>
              <a:buClr>
                <a:srgbClr val="00CDB2"/>
              </a:buClr>
              <a:buFont typeface="Wingdings" panose="05000000000000000000" pitchFamily="2" charset="2"/>
              <a:buChar char="§"/>
            </a:pPr>
            <a:endParaRPr lang="fr-FR" sz="2000" dirty="0">
              <a:solidFill>
                <a:srgbClr val="004A59"/>
              </a:solidFill>
              <a:cs typeface="Arial"/>
            </a:endParaRPr>
          </a:p>
          <a:p>
            <a:pPr marL="182563" lvl="0" indent="-182563">
              <a:spcBef>
                <a:spcPts val="300"/>
              </a:spcBef>
              <a:spcAft>
                <a:spcPts val="300"/>
              </a:spcAft>
              <a:buClr>
                <a:srgbClr val="00CDB2"/>
              </a:buClr>
              <a:buFont typeface="Wingdings" panose="05000000000000000000" pitchFamily="2" charset="2"/>
              <a:buChar char="§"/>
            </a:pPr>
            <a:r>
              <a:rPr lang="fr-FR" sz="2000" dirty="0">
                <a:solidFill>
                  <a:srgbClr val="004A59"/>
                </a:solidFill>
                <a:cs typeface="Arial"/>
              </a:rPr>
              <a:t>Entreprise de taille &lt; à 5000 employés </a:t>
            </a:r>
          </a:p>
          <a:p>
            <a:pPr marL="398563" lvl="1" indent="-182563" algn="just">
              <a:spcBef>
                <a:spcPts val="300"/>
              </a:spcBef>
              <a:spcAft>
                <a:spcPts val="300"/>
              </a:spcAft>
              <a:buClr>
                <a:srgbClr val="00CDB2"/>
              </a:buClr>
              <a:buFont typeface="Wingdings" panose="05000000000000000000" pitchFamily="2" charset="2"/>
              <a:buChar char="§"/>
            </a:pPr>
            <a:r>
              <a:rPr lang="fr-FR" sz="1800" dirty="0">
                <a:solidFill>
                  <a:srgbClr val="004A59"/>
                </a:solidFill>
                <a:cs typeface="Arial"/>
              </a:rPr>
              <a:t>NB : Si l’entreprise appartient à un Groupe ou à un fond : </a:t>
            </a:r>
          </a:p>
          <a:p>
            <a:pPr lvl="2" algn="just">
              <a:spcBef>
                <a:spcPts val="300"/>
              </a:spcBef>
              <a:spcAft>
                <a:spcPts val="300"/>
              </a:spcAft>
              <a:buClr>
                <a:srgbClr val="00CDB2"/>
              </a:buClr>
              <a:buFont typeface="Arial" panose="020B0604020202020204" pitchFamily="34" charset="0"/>
              <a:buChar char="•"/>
            </a:pPr>
            <a:r>
              <a:rPr lang="fr-FR" sz="1800" dirty="0">
                <a:solidFill>
                  <a:srgbClr val="004A59"/>
                </a:solidFill>
                <a:cs typeface="Arial"/>
              </a:rPr>
              <a:t>A plus de 50% =&gt; Prise en compte de la totalité des actifs du Groupe ou du fond pour calculer la taille de l’entreprise</a:t>
            </a:r>
          </a:p>
          <a:p>
            <a:pPr lvl="2" algn="just">
              <a:spcBef>
                <a:spcPts val="300"/>
              </a:spcBef>
              <a:spcAft>
                <a:spcPts val="300"/>
              </a:spcAft>
              <a:buClr>
                <a:srgbClr val="00CDB2"/>
              </a:buClr>
              <a:buFont typeface="Arial" panose="020B0604020202020204" pitchFamily="34" charset="0"/>
              <a:buChar char="•"/>
            </a:pPr>
            <a:r>
              <a:rPr lang="fr-FR" sz="1800" dirty="0">
                <a:solidFill>
                  <a:srgbClr val="004A59"/>
                </a:solidFill>
                <a:cs typeface="Arial"/>
              </a:rPr>
              <a:t>Entre 25 et 50% =&gt; Calcul au prorata</a:t>
            </a:r>
          </a:p>
          <a:p>
            <a:pPr lvl="2" algn="just">
              <a:spcBef>
                <a:spcPts val="300"/>
              </a:spcBef>
              <a:spcAft>
                <a:spcPts val="300"/>
              </a:spcAft>
              <a:buClr>
                <a:srgbClr val="00CDB2"/>
              </a:buClr>
              <a:buFont typeface="Arial" panose="020B0604020202020204" pitchFamily="34" charset="0"/>
              <a:buChar char="•"/>
            </a:pPr>
            <a:r>
              <a:rPr lang="fr-FR" sz="1800" dirty="0">
                <a:solidFill>
                  <a:srgbClr val="004A59"/>
                </a:solidFill>
                <a:cs typeface="Arial"/>
              </a:rPr>
              <a:t>&lt;25% =&gt; Pas de prise en compte</a:t>
            </a:r>
          </a:p>
          <a:p>
            <a:pPr marL="182563" marR="0" lvl="0" indent="-182563" algn="l" defTabSz="390997" rtl="0" eaLnBrk="1" fontAlgn="auto" latinLnBrk="0" hangingPunct="1">
              <a:lnSpc>
                <a:spcPct val="100000"/>
              </a:lnSpc>
              <a:spcBef>
                <a:spcPts val="300"/>
              </a:spcBef>
              <a:spcAft>
                <a:spcPts val="300"/>
              </a:spcAft>
              <a:buClr>
                <a:srgbClr val="00CDB2"/>
              </a:buClr>
              <a:buSzPct val="100000"/>
              <a:buFont typeface="Wingdings" panose="05000000000000000000" pitchFamily="2" charset="2"/>
              <a:buChar char="§"/>
              <a:tabLst/>
              <a:defRPr/>
            </a:pPr>
            <a:endParaRPr kumimoji="0" lang="fr-FR" sz="2000" b="0" i="0" u="none" strike="noStrike" kern="1200" cap="none" spc="0" normalizeH="0" baseline="0" noProof="0" dirty="0">
              <a:ln>
                <a:noFill/>
              </a:ln>
              <a:solidFill>
                <a:srgbClr val="004A59"/>
              </a:solidFill>
              <a:effectLst/>
              <a:uLnTx/>
              <a:uFillTx/>
              <a:latin typeface="Calibri"/>
              <a:ea typeface="+mn-ea"/>
              <a:cs typeface="Arial"/>
            </a:endParaRPr>
          </a:p>
        </p:txBody>
      </p:sp>
      <p:sp>
        <p:nvSpPr>
          <p:cNvPr id="76" name="object 23">
            <a:extLst>
              <a:ext uri="{FF2B5EF4-FFF2-40B4-BE49-F238E27FC236}">
                <a16:creationId xmlns:a16="http://schemas.microsoft.com/office/drawing/2014/main" id="{C814FC66-0FEA-433D-B741-D7BB7BCE3D4D}"/>
              </a:ext>
            </a:extLst>
          </p:cNvPr>
          <p:cNvSpPr>
            <a:spLocks noChangeAspect="1"/>
          </p:cNvSpPr>
          <p:nvPr/>
        </p:nvSpPr>
        <p:spPr>
          <a:xfrm>
            <a:off x="1" y="-30480"/>
            <a:ext cx="484975" cy="1237344"/>
          </a:xfrm>
          <a:custGeom>
            <a:avLst/>
            <a:gdLst/>
            <a:ahLst/>
            <a:cxnLst/>
            <a:rect l="l" t="t" r="r" b="b"/>
            <a:pathLst>
              <a:path w="799465" h="1977389">
                <a:moveTo>
                  <a:pt x="798918" y="0"/>
                </a:moveTo>
                <a:lnTo>
                  <a:pt x="0" y="0"/>
                </a:lnTo>
                <a:lnTo>
                  <a:pt x="0" y="1977389"/>
                </a:lnTo>
                <a:lnTo>
                  <a:pt x="798918" y="0"/>
                </a:lnTo>
                <a:close/>
              </a:path>
            </a:pathLst>
          </a:custGeom>
          <a:solidFill>
            <a:schemeClr val="accent3"/>
          </a:solidFill>
        </p:spPr>
        <p:txBody>
          <a:bodyPr wrap="square" lIns="0" tIns="0" rIns="0" bIns="0" rtlCol="0"/>
          <a:lstStyle/>
          <a:p>
            <a:pPr marL="0" marR="0" lvl="0" indent="0" algn="l" defTabSz="1044789" rtl="0" eaLnBrk="1" fontAlgn="auto" latinLnBrk="0" hangingPunct="1">
              <a:lnSpc>
                <a:spcPct val="100000"/>
              </a:lnSpc>
              <a:spcBef>
                <a:spcPts val="0"/>
              </a:spcBef>
              <a:spcAft>
                <a:spcPts val="0"/>
              </a:spcAft>
              <a:buClrTx/>
              <a:buSzTx/>
              <a:buFontTx/>
              <a:buNone/>
              <a:tabLst/>
              <a:defRPr/>
            </a:pPr>
            <a:endParaRPr kumimoji="0" sz="2100" b="0" i="0" u="none" strike="noStrike" kern="1200" cap="none" spc="100" normalizeH="0" baseline="0" noProof="0">
              <a:ln>
                <a:noFill/>
              </a:ln>
              <a:solidFill>
                <a:srgbClr val="000000"/>
              </a:solidFill>
              <a:effectLst/>
              <a:uLnTx/>
              <a:uFillTx/>
              <a:latin typeface="Calibri"/>
              <a:ea typeface="+mn-ea"/>
              <a:cs typeface="+mn-cs"/>
            </a:endParaRPr>
          </a:p>
        </p:txBody>
      </p:sp>
      <p:pic>
        <p:nvPicPr>
          <p:cNvPr id="8" name="Image 29">
            <a:extLst>
              <a:ext uri="{FF2B5EF4-FFF2-40B4-BE49-F238E27FC236}">
                <a16:creationId xmlns:a16="http://schemas.microsoft.com/office/drawing/2014/main" id="{BB52EC9A-A3C6-44F3-B176-C4ADCD88CAD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10800000">
            <a:off x="8331992" y="-10816"/>
            <a:ext cx="5123657" cy="7580015"/>
          </a:xfrm>
          <a:prstGeom prst="rect">
            <a:avLst/>
          </a:prstGeom>
        </p:spPr>
      </p:pic>
      <p:sp>
        <p:nvSpPr>
          <p:cNvPr id="5" name="Rectangle 4">
            <a:extLst>
              <a:ext uri="{FF2B5EF4-FFF2-40B4-BE49-F238E27FC236}">
                <a16:creationId xmlns:a16="http://schemas.microsoft.com/office/drawing/2014/main" id="{A14DC5C9-4F3A-4ABA-ACF8-BE85190527AB}"/>
              </a:ext>
            </a:extLst>
          </p:cNvPr>
          <p:cNvSpPr/>
          <p:nvPr/>
        </p:nvSpPr>
        <p:spPr>
          <a:xfrm>
            <a:off x="10233025" y="3251200"/>
            <a:ext cx="3048000" cy="1938992"/>
          </a:xfrm>
          <a:prstGeom prst="rect">
            <a:avLst/>
          </a:prstGeom>
        </p:spPr>
        <p:txBody>
          <a:bodyPr wrap="square">
            <a:spAutoFit/>
          </a:bodyPr>
          <a:lstStyle/>
          <a:p>
            <a:pPr marL="0" marR="0" lvl="0" indent="0" algn="l" defTabSz="1044789" rtl="0" eaLnBrk="1" fontAlgn="auto" latinLnBrk="0" hangingPunct="1">
              <a:lnSpc>
                <a:spcPct val="100000"/>
              </a:lnSpc>
              <a:spcBef>
                <a:spcPts val="300"/>
              </a:spcBef>
              <a:spcAft>
                <a:spcPts val="300"/>
              </a:spcAft>
              <a:buClr>
                <a:srgbClr val="00CDB2"/>
              </a:buClr>
              <a:buSzTx/>
              <a:buFontTx/>
              <a:buNone/>
              <a:tabLst/>
              <a:defRPr/>
            </a:pPr>
            <a:r>
              <a:rPr lang="fr-FR" sz="2400" dirty="0">
                <a:solidFill>
                  <a:srgbClr val="FFFFFF"/>
                </a:solidFill>
                <a:latin typeface="Calibri"/>
                <a:cs typeface="Arial"/>
              </a:rPr>
              <a:t>P</a:t>
            </a:r>
            <a:r>
              <a:rPr kumimoji="0" lang="fr-FR" sz="2400" b="0" i="0" u="none" strike="noStrike" kern="1200" cap="none" spc="0" normalizeH="0" baseline="0" noProof="0" dirty="0" err="1">
                <a:ln>
                  <a:noFill/>
                </a:ln>
                <a:solidFill>
                  <a:srgbClr val="FFFFFF"/>
                </a:solidFill>
                <a:effectLst/>
                <a:uLnTx/>
                <a:uFillTx/>
                <a:latin typeface="Calibri"/>
                <a:ea typeface="+mn-ea"/>
                <a:cs typeface="Arial"/>
              </a:rPr>
              <a:t>résentatio</a:t>
            </a:r>
            <a:r>
              <a:rPr lang="fr-FR" sz="2400" dirty="0">
                <a:solidFill>
                  <a:srgbClr val="FFFFFF"/>
                </a:solidFill>
                <a:latin typeface="Calibri"/>
                <a:cs typeface="Arial"/>
              </a:rPr>
              <a:t>n du dossier auprès de la Région qui valide les </a:t>
            </a:r>
            <a:r>
              <a:rPr lang="fr-FR" sz="2400" dirty="0">
                <a:solidFill>
                  <a:schemeClr val="accent3"/>
                </a:solidFill>
                <a:latin typeface="Calibri"/>
                <a:cs typeface="Arial"/>
              </a:rPr>
              <a:t>critères</a:t>
            </a:r>
            <a:r>
              <a:rPr lang="fr-FR" sz="2400" dirty="0">
                <a:solidFill>
                  <a:srgbClr val="FFFFFF"/>
                </a:solidFill>
                <a:latin typeface="Calibri"/>
                <a:cs typeface="Arial"/>
              </a:rPr>
              <a:t> et </a:t>
            </a:r>
            <a:r>
              <a:rPr lang="fr-FR" sz="2400" dirty="0">
                <a:solidFill>
                  <a:schemeClr val="accent3"/>
                </a:solidFill>
                <a:latin typeface="Calibri"/>
                <a:cs typeface="Arial"/>
              </a:rPr>
              <a:t>donne son accord. </a:t>
            </a:r>
          </a:p>
        </p:txBody>
      </p:sp>
      <p:sp>
        <p:nvSpPr>
          <p:cNvPr id="3" name="Titre 2">
            <a:extLst>
              <a:ext uri="{FF2B5EF4-FFF2-40B4-BE49-F238E27FC236}">
                <a16:creationId xmlns:a16="http://schemas.microsoft.com/office/drawing/2014/main" id="{A1393563-34A0-4E7A-BAC1-E38DBD713861}"/>
              </a:ext>
            </a:extLst>
          </p:cNvPr>
          <p:cNvSpPr>
            <a:spLocks noGrp="1"/>
          </p:cNvSpPr>
          <p:nvPr>
            <p:ph type="title"/>
          </p:nvPr>
        </p:nvSpPr>
        <p:spPr/>
        <p:txBody>
          <a:bodyPr/>
          <a:lstStyle/>
          <a:p>
            <a:r>
              <a:rPr lang="fr-FR" dirty="0"/>
              <a:t>Les critères d'éligibilité pour l’accompagnement</a:t>
            </a:r>
          </a:p>
        </p:txBody>
      </p:sp>
    </p:spTree>
    <p:extLst>
      <p:ext uri="{BB962C8B-B14F-4D97-AF65-F5344CB8AC3E}">
        <p14:creationId xmlns:p14="http://schemas.microsoft.com/office/powerpoint/2010/main" val="23699407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A58D52A3-2D0C-4F24-BA8F-C7F0FA5B8FEA}"/>
              </a:ext>
            </a:extLst>
          </p:cNvPr>
          <p:cNvGraphicFramePr>
            <a:graphicFrameLocks noChangeAspect="1"/>
          </p:cNvGraphicFramePr>
          <p:nvPr>
            <p:custDataLst>
              <p:tags r:id="rId2"/>
            </p:custDataLst>
            <p:extLst>
              <p:ext uri="{D42A27DB-BD31-4B8C-83A1-F6EECF244321}">
                <p14:modId xmlns:p14="http://schemas.microsoft.com/office/powerpoint/2010/main" val="371957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98" name="Diapositive think-cell" r:id="rId6" imgW="473" imgH="470" progId="TCLayout.ActiveDocument.1">
                  <p:embed/>
                </p:oleObj>
              </mc:Choice>
              <mc:Fallback>
                <p:oleObj name="Diapositive think-cell" r:id="rId6" imgW="473" imgH="470" progId="TCLayout.ActiveDocument.1">
                  <p:embed/>
                  <p:pic>
                    <p:nvPicPr>
                      <p:cNvPr id="7" name="Objet 6" hidden="1">
                        <a:extLst>
                          <a:ext uri="{FF2B5EF4-FFF2-40B4-BE49-F238E27FC236}">
                            <a16:creationId xmlns:a16="http://schemas.microsoft.com/office/drawing/2014/main" id="{A58D52A3-2D0C-4F24-BA8F-C7F0FA5B8FE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2E98E7E-637C-4F38-89FD-B080A8090A43}"/>
              </a:ext>
            </a:extLst>
          </p:cNvPr>
          <p:cNvSpPr/>
          <p:nvPr>
            <p:custDataLst>
              <p:tags r:id="rId3"/>
            </p:custDataLst>
          </p:nvPr>
        </p:nvSpPr>
        <p:spPr>
          <a:xfrm>
            <a:off x="0" y="0"/>
            <a:ext cx="158750" cy="158750"/>
          </a:xfrm>
          <a:prstGeom prst="rect">
            <a:avLst/>
          </a:prstGeom>
          <a:solidFill>
            <a:schemeClr val="tx2"/>
          </a:solidFill>
        </p:spPr>
        <p:txBody>
          <a:bodyPr wrap="none" lIns="0" tIns="0" rIns="0" bIns="0" numCol="1" spcCol="0" rtlCol="0" anchor="ctr" anchorCtr="0">
            <a:noAutofit/>
          </a:bodyPr>
          <a:lstStyle/>
          <a:p>
            <a:pPr algn="ctr"/>
            <a:endParaRPr lang="fr-FR" sz="2200" b="1" dirty="0" err="1">
              <a:solidFill>
                <a:schemeClr val="bg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39" name="Rectangle 38">
            <a:extLst>
              <a:ext uri="{FF2B5EF4-FFF2-40B4-BE49-F238E27FC236}">
                <a16:creationId xmlns:a16="http://schemas.microsoft.com/office/drawing/2014/main" id="{68F25033-E103-4367-9F6A-63BE564F0B2F}"/>
              </a:ext>
            </a:extLst>
          </p:cNvPr>
          <p:cNvSpPr/>
          <p:nvPr/>
        </p:nvSpPr>
        <p:spPr>
          <a:xfrm>
            <a:off x="220414" y="6143294"/>
            <a:ext cx="12984411" cy="925790"/>
          </a:xfrm>
          <a:prstGeom prst="rect">
            <a:avLst/>
          </a:prstGeom>
          <a:solidFill>
            <a:schemeClr val="accent1"/>
          </a:solidFill>
        </p:spPr>
        <p:txBody>
          <a:bodyPr wrap="square" lIns="0" tIns="0" rIns="0" bIns="0" rtlCol="0" anchor="ctr"/>
          <a:lstStyle/>
          <a:p>
            <a:pPr algn="ctr"/>
            <a:endParaRPr lang="en-US" sz="1600" b="0" dirty="0" err="1">
              <a:solidFill>
                <a:schemeClr val="bg1"/>
              </a:solidFill>
            </a:endParaRPr>
          </a:p>
        </p:txBody>
      </p:sp>
      <p:cxnSp>
        <p:nvCxnSpPr>
          <p:cNvPr id="41" name="Horizontal Line">
            <a:extLst>
              <a:ext uri="{FF2B5EF4-FFF2-40B4-BE49-F238E27FC236}">
                <a16:creationId xmlns:a16="http://schemas.microsoft.com/office/drawing/2014/main" id="{C638CFCE-9729-48E5-A63F-C833D1B810DF}"/>
              </a:ext>
            </a:extLst>
          </p:cNvPr>
          <p:cNvCxnSpPr>
            <a:cxnSpLocks/>
          </p:cNvCxnSpPr>
          <p:nvPr/>
        </p:nvCxnSpPr>
        <p:spPr>
          <a:xfrm flipV="1">
            <a:off x="6527541" y="4282968"/>
            <a:ext cx="6019800" cy="0"/>
          </a:xfrm>
          <a:prstGeom prst="line">
            <a:avLst/>
          </a:prstGeom>
          <a:ln w="12700" cmpd="sng">
            <a:solidFill>
              <a:schemeClr val="tx2"/>
            </a:solidFill>
            <a:headEnd type="triangle" w="med" len="med"/>
            <a:tailEnd type="triangle" w="med" len="med"/>
          </a:ln>
          <a:effectLst/>
        </p:spPr>
        <p:style>
          <a:lnRef idx="1">
            <a:schemeClr val="accent1"/>
          </a:lnRef>
          <a:fillRef idx="0">
            <a:schemeClr val="accent1"/>
          </a:fillRef>
          <a:effectRef idx="0">
            <a:schemeClr val="accent1"/>
          </a:effectRef>
          <a:fontRef idx="minor">
            <a:schemeClr val="tx1"/>
          </a:fontRef>
        </p:style>
      </p:cxnSp>
      <p:sp>
        <p:nvSpPr>
          <p:cNvPr id="2" name="Titre 1">
            <a:extLst>
              <a:ext uri="{FF2B5EF4-FFF2-40B4-BE49-F238E27FC236}">
                <a16:creationId xmlns:a16="http://schemas.microsoft.com/office/drawing/2014/main" id="{96B99EC4-560E-4641-A169-13130ED3C032}"/>
              </a:ext>
            </a:extLst>
          </p:cNvPr>
          <p:cNvSpPr>
            <a:spLocks noGrp="1"/>
          </p:cNvSpPr>
          <p:nvPr>
            <p:ph type="title"/>
          </p:nvPr>
        </p:nvSpPr>
        <p:spPr/>
        <p:txBody>
          <a:bodyPr/>
          <a:lstStyle/>
          <a:p>
            <a:r>
              <a:rPr lang="fr-FR" dirty="0"/>
              <a:t>Présentation du dispositif</a:t>
            </a:r>
          </a:p>
        </p:txBody>
      </p:sp>
      <p:sp>
        <p:nvSpPr>
          <p:cNvPr id="3" name="Espace réservé du texte 2">
            <a:extLst>
              <a:ext uri="{FF2B5EF4-FFF2-40B4-BE49-F238E27FC236}">
                <a16:creationId xmlns:a16="http://schemas.microsoft.com/office/drawing/2014/main" id="{70B0F58F-40C7-4F18-96D6-CB723B43FBF5}"/>
              </a:ext>
            </a:extLst>
          </p:cNvPr>
          <p:cNvSpPr>
            <a:spLocks noGrp="1"/>
          </p:cNvSpPr>
          <p:nvPr>
            <p:ph type="body" sz="quarter" idx="15"/>
          </p:nvPr>
        </p:nvSpPr>
        <p:spPr/>
        <p:txBody>
          <a:bodyPr/>
          <a:lstStyle/>
          <a:p>
            <a:r>
              <a:rPr lang="fr-FR" dirty="0"/>
              <a:t>30 jours d’accompagnement, pour un coût inférieur à 15 k€</a:t>
            </a:r>
          </a:p>
        </p:txBody>
      </p:sp>
      <p:sp>
        <p:nvSpPr>
          <p:cNvPr id="8" name="Arrow: Pentagon 10">
            <a:extLst>
              <a:ext uri="{FF2B5EF4-FFF2-40B4-BE49-F238E27FC236}">
                <a16:creationId xmlns:a16="http://schemas.microsoft.com/office/drawing/2014/main" id="{5E803C08-0296-4F77-9D92-D6AF02DD346D}"/>
              </a:ext>
            </a:extLst>
          </p:cNvPr>
          <p:cNvSpPr/>
          <p:nvPr/>
        </p:nvSpPr>
        <p:spPr>
          <a:xfrm>
            <a:off x="1769371" y="1803400"/>
            <a:ext cx="3836264" cy="459106"/>
          </a:xfrm>
          <a:prstGeom prst="homePlate">
            <a:avLst/>
          </a:prstGeom>
          <a:solidFill>
            <a:schemeClr val="tx2"/>
          </a:solidFill>
          <a:ln>
            <a:solidFill>
              <a:schemeClr val="bg1"/>
            </a:solidFill>
          </a:ln>
        </p:spPr>
        <p:txBody>
          <a:bodyPr wrap="square" lIns="0" tIns="0" rIns="0" bIns="0" rtlCol="0" anchor="ctr"/>
          <a:lstStyle/>
          <a:p>
            <a:pPr algn="ctr"/>
            <a:r>
              <a:rPr lang="fr-FR" sz="1600" b="1" dirty="0">
                <a:solidFill>
                  <a:schemeClr val="bg1"/>
                </a:solidFill>
              </a:rPr>
              <a:t>Diagnostic flash</a:t>
            </a:r>
          </a:p>
        </p:txBody>
      </p:sp>
      <p:sp>
        <p:nvSpPr>
          <p:cNvPr id="9" name="Arrow: Chevron 11">
            <a:extLst>
              <a:ext uri="{FF2B5EF4-FFF2-40B4-BE49-F238E27FC236}">
                <a16:creationId xmlns:a16="http://schemas.microsoft.com/office/drawing/2014/main" id="{6A9E3A23-1EFC-451F-903D-A821B7378BEB}"/>
              </a:ext>
            </a:extLst>
          </p:cNvPr>
          <p:cNvSpPr/>
          <p:nvPr/>
        </p:nvSpPr>
        <p:spPr>
          <a:xfrm>
            <a:off x="5542844" y="1815404"/>
            <a:ext cx="3836264" cy="459106"/>
          </a:xfrm>
          <a:prstGeom prst="chevron">
            <a:avLst/>
          </a:prstGeom>
          <a:solidFill>
            <a:schemeClr val="tx2"/>
          </a:solidFill>
        </p:spPr>
        <p:txBody>
          <a:bodyPr wrap="square" lIns="0" tIns="0" rIns="0" bIns="0" rtlCol="0" anchor="ctr"/>
          <a:lstStyle/>
          <a:p>
            <a:pPr algn="ctr"/>
            <a:r>
              <a:rPr lang="fr-FR" sz="1600" b="1" dirty="0">
                <a:solidFill>
                  <a:schemeClr val="bg1"/>
                </a:solidFill>
              </a:rPr>
              <a:t>Lancement de la feuille de route </a:t>
            </a:r>
          </a:p>
          <a:p>
            <a:pPr algn="ctr"/>
            <a:r>
              <a:rPr lang="fr-FR" sz="1600" b="1" dirty="0">
                <a:solidFill>
                  <a:schemeClr val="bg1"/>
                </a:solidFill>
              </a:rPr>
              <a:t>de transformation</a:t>
            </a:r>
          </a:p>
        </p:txBody>
      </p:sp>
      <p:sp>
        <p:nvSpPr>
          <p:cNvPr id="10" name="Arrow: Chevron 12">
            <a:extLst>
              <a:ext uri="{FF2B5EF4-FFF2-40B4-BE49-F238E27FC236}">
                <a16:creationId xmlns:a16="http://schemas.microsoft.com/office/drawing/2014/main" id="{F761ACB9-A6B1-4CCB-9976-4AB3E3C2F6D0}"/>
              </a:ext>
            </a:extLst>
          </p:cNvPr>
          <p:cNvSpPr/>
          <p:nvPr/>
        </p:nvSpPr>
        <p:spPr>
          <a:xfrm>
            <a:off x="9316318" y="1827408"/>
            <a:ext cx="3888507" cy="459106"/>
          </a:xfrm>
          <a:prstGeom prst="chevron">
            <a:avLst/>
          </a:prstGeom>
          <a:solidFill>
            <a:schemeClr val="tx2"/>
          </a:solidFill>
        </p:spPr>
        <p:txBody>
          <a:bodyPr wrap="square" lIns="0" tIns="0" rIns="0" bIns="0" rtlCol="0" anchor="ctr"/>
          <a:lstStyle/>
          <a:p>
            <a:pPr algn="ctr"/>
            <a:r>
              <a:rPr lang="fr-FR" sz="1600" b="1" dirty="0">
                <a:solidFill>
                  <a:schemeClr val="bg1"/>
                </a:solidFill>
              </a:rPr>
              <a:t>Elaboration et mise en œuvre </a:t>
            </a:r>
          </a:p>
          <a:p>
            <a:pPr algn="ctr"/>
            <a:r>
              <a:rPr lang="fr-FR" sz="1600" b="1" dirty="0">
                <a:solidFill>
                  <a:schemeClr val="bg1"/>
                </a:solidFill>
              </a:rPr>
              <a:t>des plans d’actions</a:t>
            </a:r>
          </a:p>
        </p:txBody>
      </p:sp>
      <p:sp>
        <p:nvSpPr>
          <p:cNvPr id="11" name="Rectangle 10">
            <a:extLst>
              <a:ext uri="{FF2B5EF4-FFF2-40B4-BE49-F238E27FC236}">
                <a16:creationId xmlns:a16="http://schemas.microsoft.com/office/drawing/2014/main" id="{3F0AA9D6-A89E-4950-9822-DCCEC95AFDEE}"/>
              </a:ext>
            </a:extLst>
          </p:cNvPr>
          <p:cNvSpPr/>
          <p:nvPr/>
        </p:nvSpPr>
        <p:spPr>
          <a:xfrm>
            <a:off x="1769371" y="2411193"/>
            <a:ext cx="3631751" cy="468000"/>
          </a:xfrm>
          <a:prstGeom prst="rect">
            <a:avLst/>
          </a:prstGeom>
          <a:noFill/>
          <a:ln>
            <a:noFill/>
          </a:ln>
        </p:spPr>
        <p:txBody>
          <a:bodyPr wrap="square" lIns="0" tIns="0" rIns="0" bIns="0" rtlCol="0" anchor="ctr"/>
          <a:lstStyle/>
          <a:p>
            <a:pPr algn="ctr"/>
            <a:r>
              <a:rPr lang="fr-FR" sz="1600" b="0" dirty="0">
                <a:solidFill>
                  <a:schemeClr val="tx2"/>
                </a:solidFill>
              </a:rPr>
              <a:t>5 jours</a:t>
            </a:r>
          </a:p>
        </p:txBody>
      </p:sp>
      <p:sp>
        <p:nvSpPr>
          <p:cNvPr id="12" name="Rectangle 11">
            <a:extLst>
              <a:ext uri="{FF2B5EF4-FFF2-40B4-BE49-F238E27FC236}">
                <a16:creationId xmlns:a16="http://schemas.microsoft.com/office/drawing/2014/main" id="{BF2B03FA-3F1B-4A9B-A5E7-5260B21F698A}"/>
              </a:ext>
            </a:extLst>
          </p:cNvPr>
          <p:cNvSpPr/>
          <p:nvPr/>
        </p:nvSpPr>
        <p:spPr>
          <a:xfrm>
            <a:off x="5605635" y="2411192"/>
            <a:ext cx="3836264" cy="468000"/>
          </a:xfrm>
          <a:prstGeom prst="rect">
            <a:avLst/>
          </a:prstGeom>
          <a:noFill/>
          <a:ln>
            <a:noFill/>
          </a:ln>
        </p:spPr>
        <p:txBody>
          <a:bodyPr wrap="square" lIns="0" tIns="0" rIns="0" bIns="0" rtlCol="0" anchor="ctr"/>
          <a:lstStyle/>
          <a:p>
            <a:pPr algn="ctr"/>
            <a:r>
              <a:rPr lang="fr-FR" sz="1600" dirty="0">
                <a:solidFill>
                  <a:schemeClr val="tx2"/>
                </a:solidFill>
              </a:rPr>
              <a:t>1 à 2</a:t>
            </a:r>
            <a:r>
              <a:rPr lang="fr-FR" sz="1600" b="0" dirty="0">
                <a:solidFill>
                  <a:schemeClr val="tx2"/>
                </a:solidFill>
              </a:rPr>
              <a:t> jours</a:t>
            </a:r>
          </a:p>
        </p:txBody>
      </p:sp>
      <p:sp>
        <p:nvSpPr>
          <p:cNvPr id="13" name="Rectangle 12">
            <a:extLst>
              <a:ext uri="{FF2B5EF4-FFF2-40B4-BE49-F238E27FC236}">
                <a16:creationId xmlns:a16="http://schemas.microsoft.com/office/drawing/2014/main" id="{D72FA1B9-8910-4253-AB57-2A7361180314}"/>
              </a:ext>
            </a:extLst>
          </p:cNvPr>
          <p:cNvSpPr/>
          <p:nvPr/>
        </p:nvSpPr>
        <p:spPr>
          <a:xfrm>
            <a:off x="9316318" y="2418452"/>
            <a:ext cx="3672252" cy="468000"/>
          </a:xfrm>
          <a:prstGeom prst="rect">
            <a:avLst/>
          </a:prstGeom>
          <a:noFill/>
          <a:ln>
            <a:noFill/>
          </a:ln>
        </p:spPr>
        <p:txBody>
          <a:bodyPr wrap="square" lIns="0" tIns="0" rIns="0" bIns="0" rtlCol="0" anchor="ctr"/>
          <a:lstStyle/>
          <a:p>
            <a:pPr algn="ctr"/>
            <a:r>
              <a:rPr lang="fr-FR" sz="1600" dirty="0">
                <a:solidFill>
                  <a:schemeClr val="tx2"/>
                </a:solidFill>
              </a:rPr>
              <a:t>23 à 24</a:t>
            </a:r>
            <a:r>
              <a:rPr lang="fr-FR" sz="1600" b="0" dirty="0">
                <a:solidFill>
                  <a:schemeClr val="tx2"/>
                </a:solidFill>
              </a:rPr>
              <a:t> jours</a:t>
            </a:r>
          </a:p>
        </p:txBody>
      </p:sp>
      <p:sp>
        <p:nvSpPr>
          <p:cNvPr id="15" name="Espace réservé du texte 2">
            <a:extLst>
              <a:ext uri="{FF2B5EF4-FFF2-40B4-BE49-F238E27FC236}">
                <a16:creationId xmlns:a16="http://schemas.microsoft.com/office/drawing/2014/main" id="{93237C30-BE2B-48EF-8349-BB10313E242E}"/>
              </a:ext>
            </a:extLst>
          </p:cNvPr>
          <p:cNvSpPr txBox="1">
            <a:spLocks/>
          </p:cNvSpPr>
          <p:nvPr/>
        </p:nvSpPr>
        <p:spPr bwMode="auto">
          <a:xfrm>
            <a:off x="609618" y="2411192"/>
            <a:ext cx="1048720" cy="321086"/>
          </a:xfrm>
          <a:prstGeom prst="rect">
            <a:avLst/>
          </a:prstGeom>
          <a:noFill/>
          <a:ln>
            <a:noFill/>
          </a:ln>
        </p:spPr>
        <p:txBody>
          <a:bodyPr vert="horz" wrap="square" lIns="63120" tIns="63120" rIns="63120" bIns="63120" numCol="1" anchor="t" anchorCtr="0" compatLnSpc="1">
            <a:prstTxWarp prst="textNoShape">
              <a:avLst/>
            </a:prstTxWarp>
            <a:noAutofit/>
          </a:bodyPr>
          <a:lstStyle>
            <a:lvl1pPr marL="229122" indent="-229122" algn="l" defTabSz="893763" rtl="0" eaLnBrk="0" fontAlgn="base" hangingPunct="0">
              <a:spcBef>
                <a:spcPts val="513"/>
              </a:spcBef>
              <a:spcAft>
                <a:spcPct val="0"/>
              </a:spcAft>
              <a:buClr>
                <a:schemeClr val="tx1"/>
              </a:buClr>
              <a:buSzPct val="80000"/>
              <a:buFont typeface="Webdings" pitchFamily="18" charset="2"/>
              <a:buChar char="4"/>
              <a:defRPr sz="1400">
                <a:solidFill>
                  <a:schemeClr val="tx1"/>
                </a:solidFill>
                <a:latin typeface="Arial" pitchFamily="34" charset="0"/>
                <a:ea typeface="+mn-ea"/>
                <a:cs typeface="Arial" pitchFamily="34" charset="0"/>
              </a:defRPr>
            </a:lvl1pPr>
            <a:lvl2pPr marL="460972" indent="-231850" algn="l" defTabSz="893763" rtl="0" eaLnBrk="0" fontAlgn="base" hangingPunct="0">
              <a:spcBef>
                <a:spcPts val="513"/>
              </a:spcBef>
              <a:spcAft>
                <a:spcPct val="0"/>
              </a:spcAft>
              <a:buClr>
                <a:schemeClr val="tx1"/>
              </a:buClr>
              <a:buSzPct val="80000"/>
              <a:buFont typeface="Wingdings" pitchFamily="2" charset="2"/>
              <a:buChar char="§"/>
              <a:defRPr sz="1200">
                <a:solidFill>
                  <a:schemeClr val="tx1"/>
                </a:solidFill>
                <a:latin typeface="Arial" pitchFamily="34" charset="0"/>
                <a:cs typeface="Arial" pitchFamily="34" charset="0"/>
              </a:defRPr>
            </a:lvl2pPr>
            <a:lvl3pPr marL="621902" indent="-152748" algn="l" defTabSz="893763" rtl="0" eaLnBrk="0" fontAlgn="base" hangingPunct="0">
              <a:spcBef>
                <a:spcPts val="513"/>
              </a:spcBef>
              <a:spcAft>
                <a:spcPct val="0"/>
              </a:spcAft>
              <a:buSzPct val="80000"/>
              <a:buFont typeface="Arial" charset="0"/>
              <a:buChar char="-"/>
              <a:defRPr sz="1000">
                <a:solidFill>
                  <a:schemeClr val="tx1"/>
                </a:solidFill>
                <a:latin typeface="Arial" pitchFamily="34" charset="0"/>
                <a:cs typeface="Arial" pitchFamily="34" charset="0"/>
              </a:defRPr>
            </a:lvl3pPr>
            <a:lvl4pPr marL="776015" indent="-165023" algn="l" defTabSz="893763" rtl="0" eaLnBrk="0" fontAlgn="base" hangingPunct="0">
              <a:spcBef>
                <a:spcPts val="513"/>
              </a:spcBef>
              <a:spcAft>
                <a:spcPct val="0"/>
              </a:spcAft>
              <a:buChar char="–"/>
              <a:defRPr sz="900">
                <a:solidFill>
                  <a:schemeClr val="tx1"/>
                </a:solidFill>
                <a:latin typeface="+mn-lt"/>
                <a:cs typeface="Arial" charset="0"/>
              </a:defRPr>
            </a:lvl4pPr>
            <a:lvl5pPr marL="849661" indent="-75011" algn="l" defTabSz="893763" rtl="0" eaLnBrk="0" fontAlgn="base" hangingPunct="0">
              <a:spcBef>
                <a:spcPts val="513"/>
              </a:spcBef>
              <a:spcAft>
                <a:spcPct val="0"/>
              </a:spcAft>
              <a:buSzPct val="80000"/>
              <a:buFont typeface="Arial" charset="0"/>
              <a:buChar char="-"/>
              <a:defRPr sz="900">
                <a:solidFill>
                  <a:schemeClr val="tx1"/>
                </a:solidFill>
                <a:latin typeface="+mn-lt"/>
                <a:cs typeface="Arial" charset="0"/>
              </a:defRPr>
            </a:lvl5pPr>
            <a:lvl6pPr marL="2408356" indent="-223652" algn="l" defTabSz="895974" rtl="0" eaLnBrk="1" fontAlgn="base" hangingPunct="1">
              <a:spcBef>
                <a:spcPct val="20000"/>
              </a:spcBef>
              <a:spcAft>
                <a:spcPct val="0"/>
              </a:spcAft>
              <a:buChar char="»"/>
              <a:defRPr>
                <a:solidFill>
                  <a:schemeClr val="tx1"/>
                </a:solidFill>
                <a:latin typeface="+mn-lt"/>
              </a:defRPr>
            </a:lvl6pPr>
            <a:lvl7pPr marL="2801112" indent="-223652" algn="l" defTabSz="895974" rtl="0" eaLnBrk="1" fontAlgn="base" hangingPunct="1">
              <a:spcBef>
                <a:spcPct val="20000"/>
              </a:spcBef>
              <a:spcAft>
                <a:spcPct val="0"/>
              </a:spcAft>
              <a:buChar char="»"/>
              <a:defRPr>
                <a:solidFill>
                  <a:schemeClr val="tx1"/>
                </a:solidFill>
                <a:latin typeface="+mn-lt"/>
              </a:defRPr>
            </a:lvl7pPr>
            <a:lvl8pPr marL="3193868" indent="-223652" algn="l" defTabSz="895974" rtl="0" eaLnBrk="1" fontAlgn="base" hangingPunct="1">
              <a:spcBef>
                <a:spcPct val="20000"/>
              </a:spcBef>
              <a:spcAft>
                <a:spcPct val="0"/>
              </a:spcAft>
              <a:buChar char="»"/>
              <a:defRPr>
                <a:solidFill>
                  <a:schemeClr val="tx1"/>
                </a:solidFill>
                <a:latin typeface="+mn-lt"/>
              </a:defRPr>
            </a:lvl8pPr>
            <a:lvl9pPr marL="3586623" indent="-223652" algn="l" defTabSz="895974" rtl="0" eaLnBrk="1" fontAlgn="base" hangingPunct="1">
              <a:spcBef>
                <a:spcPct val="20000"/>
              </a:spcBef>
              <a:spcAft>
                <a:spcPct val="0"/>
              </a:spcAft>
              <a:buChar char="»"/>
              <a:defRPr>
                <a:solidFill>
                  <a:schemeClr val="tx1"/>
                </a:solidFill>
                <a:latin typeface="+mn-lt"/>
              </a:defRPr>
            </a:lvl9pPr>
          </a:lstStyle>
          <a:p>
            <a:pPr marL="0" indent="0" defTabSz="893852">
              <a:spcBef>
                <a:spcPts val="0"/>
              </a:spcBef>
              <a:spcAft>
                <a:spcPts val="0"/>
              </a:spcAft>
              <a:buClr>
                <a:srgbClr val="1B4276"/>
              </a:buClr>
              <a:buNone/>
              <a:defRPr/>
            </a:pPr>
            <a:r>
              <a:rPr lang="fr-FR" sz="1600" b="1" kern="0" dirty="0">
                <a:solidFill>
                  <a:schemeClr val="tx2"/>
                </a:solidFill>
                <a:latin typeface="+mn-lt"/>
              </a:rPr>
              <a:t>Charge</a:t>
            </a:r>
            <a:endParaRPr lang="fr-FR" sz="1600" kern="0" dirty="0">
              <a:solidFill>
                <a:schemeClr val="tx2"/>
              </a:solidFill>
              <a:latin typeface="+mn-lt"/>
            </a:endParaRPr>
          </a:p>
        </p:txBody>
      </p:sp>
      <p:sp>
        <p:nvSpPr>
          <p:cNvPr id="16" name="Rectangle 15">
            <a:extLst>
              <a:ext uri="{FF2B5EF4-FFF2-40B4-BE49-F238E27FC236}">
                <a16:creationId xmlns:a16="http://schemas.microsoft.com/office/drawing/2014/main" id="{515BCA03-2B31-4297-A10A-637E216FE01A}"/>
              </a:ext>
            </a:extLst>
          </p:cNvPr>
          <p:cNvSpPr/>
          <p:nvPr/>
        </p:nvSpPr>
        <p:spPr>
          <a:xfrm>
            <a:off x="1769371" y="3113982"/>
            <a:ext cx="3631751" cy="468000"/>
          </a:xfrm>
          <a:prstGeom prst="rect">
            <a:avLst/>
          </a:prstGeom>
          <a:noFill/>
          <a:ln>
            <a:noFill/>
          </a:ln>
        </p:spPr>
        <p:txBody>
          <a:bodyPr wrap="square" lIns="0" tIns="0" rIns="0" bIns="0" rtlCol="0" anchor="ctr"/>
          <a:lstStyle/>
          <a:p>
            <a:pPr algn="ctr"/>
            <a:r>
              <a:rPr lang="fr-FR" sz="1600" dirty="0">
                <a:solidFill>
                  <a:schemeClr val="tx2"/>
                </a:solidFill>
              </a:rPr>
              <a:t>2 à 4 semaines (*)</a:t>
            </a:r>
          </a:p>
        </p:txBody>
      </p:sp>
      <p:sp>
        <p:nvSpPr>
          <p:cNvPr id="17" name="Rectangle 16">
            <a:extLst>
              <a:ext uri="{FF2B5EF4-FFF2-40B4-BE49-F238E27FC236}">
                <a16:creationId xmlns:a16="http://schemas.microsoft.com/office/drawing/2014/main" id="{6613AB46-E3A8-456C-8B2E-5C274A0A3B2C}"/>
              </a:ext>
            </a:extLst>
          </p:cNvPr>
          <p:cNvSpPr/>
          <p:nvPr/>
        </p:nvSpPr>
        <p:spPr>
          <a:xfrm>
            <a:off x="5605635" y="3113982"/>
            <a:ext cx="3836264" cy="468000"/>
          </a:xfrm>
          <a:prstGeom prst="rect">
            <a:avLst/>
          </a:prstGeom>
          <a:noFill/>
          <a:ln>
            <a:noFill/>
          </a:ln>
        </p:spPr>
        <p:txBody>
          <a:bodyPr wrap="square" lIns="0" tIns="0" rIns="0" bIns="0" rtlCol="0" anchor="ctr"/>
          <a:lstStyle/>
          <a:p>
            <a:pPr algn="ctr"/>
            <a:r>
              <a:rPr lang="fr-FR" sz="1600" dirty="0">
                <a:solidFill>
                  <a:schemeClr val="tx2"/>
                </a:solidFill>
              </a:rPr>
              <a:t>1 semaine</a:t>
            </a:r>
          </a:p>
        </p:txBody>
      </p:sp>
      <p:sp>
        <p:nvSpPr>
          <p:cNvPr id="18" name="Rectangle 17">
            <a:extLst>
              <a:ext uri="{FF2B5EF4-FFF2-40B4-BE49-F238E27FC236}">
                <a16:creationId xmlns:a16="http://schemas.microsoft.com/office/drawing/2014/main" id="{3042166E-79DE-4672-BE66-6A37A16CB539}"/>
              </a:ext>
            </a:extLst>
          </p:cNvPr>
          <p:cNvSpPr/>
          <p:nvPr/>
        </p:nvSpPr>
        <p:spPr>
          <a:xfrm>
            <a:off x="9316318" y="3121241"/>
            <a:ext cx="3672252" cy="468000"/>
          </a:xfrm>
          <a:prstGeom prst="rect">
            <a:avLst/>
          </a:prstGeom>
          <a:noFill/>
          <a:ln>
            <a:noFill/>
          </a:ln>
        </p:spPr>
        <p:txBody>
          <a:bodyPr wrap="square" lIns="0" tIns="0" rIns="0" bIns="0" rtlCol="0" anchor="ctr"/>
          <a:lstStyle/>
          <a:p>
            <a:pPr algn="ctr"/>
            <a:r>
              <a:rPr lang="fr-FR" sz="1600" b="0" dirty="0">
                <a:solidFill>
                  <a:schemeClr val="tx2"/>
                </a:solidFill>
              </a:rPr>
              <a:t>9 à 18 mois (*)</a:t>
            </a:r>
          </a:p>
        </p:txBody>
      </p:sp>
      <p:sp>
        <p:nvSpPr>
          <p:cNvPr id="20" name="Espace réservé du texte 2">
            <a:extLst>
              <a:ext uri="{FF2B5EF4-FFF2-40B4-BE49-F238E27FC236}">
                <a16:creationId xmlns:a16="http://schemas.microsoft.com/office/drawing/2014/main" id="{0A206CCD-2E8A-4935-8530-264F67CDE0D5}"/>
              </a:ext>
            </a:extLst>
          </p:cNvPr>
          <p:cNvSpPr txBox="1">
            <a:spLocks/>
          </p:cNvSpPr>
          <p:nvPr/>
        </p:nvSpPr>
        <p:spPr bwMode="auto">
          <a:xfrm>
            <a:off x="609618" y="3113981"/>
            <a:ext cx="1048720" cy="321087"/>
          </a:xfrm>
          <a:prstGeom prst="rect">
            <a:avLst/>
          </a:prstGeom>
          <a:noFill/>
          <a:ln>
            <a:noFill/>
          </a:ln>
        </p:spPr>
        <p:txBody>
          <a:bodyPr vert="horz" wrap="square" lIns="63120" tIns="63120" rIns="63120" bIns="63120" numCol="1" anchor="t" anchorCtr="0" compatLnSpc="1">
            <a:prstTxWarp prst="textNoShape">
              <a:avLst/>
            </a:prstTxWarp>
            <a:noAutofit/>
          </a:bodyPr>
          <a:lstStyle>
            <a:lvl1pPr marL="229122" indent="-229122" algn="l" defTabSz="893763" rtl="0" eaLnBrk="0" fontAlgn="base" hangingPunct="0">
              <a:spcBef>
                <a:spcPts val="513"/>
              </a:spcBef>
              <a:spcAft>
                <a:spcPct val="0"/>
              </a:spcAft>
              <a:buClr>
                <a:schemeClr val="tx1"/>
              </a:buClr>
              <a:buSzPct val="80000"/>
              <a:buFont typeface="Webdings" pitchFamily="18" charset="2"/>
              <a:buChar char="4"/>
              <a:defRPr sz="1400">
                <a:solidFill>
                  <a:schemeClr val="tx1"/>
                </a:solidFill>
                <a:latin typeface="Arial" pitchFamily="34" charset="0"/>
                <a:ea typeface="+mn-ea"/>
                <a:cs typeface="Arial" pitchFamily="34" charset="0"/>
              </a:defRPr>
            </a:lvl1pPr>
            <a:lvl2pPr marL="460972" indent="-231850" algn="l" defTabSz="893763" rtl="0" eaLnBrk="0" fontAlgn="base" hangingPunct="0">
              <a:spcBef>
                <a:spcPts val="513"/>
              </a:spcBef>
              <a:spcAft>
                <a:spcPct val="0"/>
              </a:spcAft>
              <a:buClr>
                <a:schemeClr val="tx1"/>
              </a:buClr>
              <a:buSzPct val="80000"/>
              <a:buFont typeface="Wingdings" pitchFamily="2" charset="2"/>
              <a:buChar char="§"/>
              <a:defRPr sz="1200">
                <a:solidFill>
                  <a:schemeClr val="tx1"/>
                </a:solidFill>
                <a:latin typeface="Arial" pitchFamily="34" charset="0"/>
                <a:cs typeface="Arial" pitchFamily="34" charset="0"/>
              </a:defRPr>
            </a:lvl2pPr>
            <a:lvl3pPr marL="621902" indent="-152748" algn="l" defTabSz="893763" rtl="0" eaLnBrk="0" fontAlgn="base" hangingPunct="0">
              <a:spcBef>
                <a:spcPts val="513"/>
              </a:spcBef>
              <a:spcAft>
                <a:spcPct val="0"/>
              </a:spcAft>
              <a:buSzPct val="80000"/>
              <a:buFont typeface="Arial" charset="0"/>
              <a:buChar char="-"/>
              <a:defRPr sz="1000">
                <a:solidFill>
                  <a:schemeClr val="tx1"/>
                </a:solidFill>
                <a:latin typeface="Arial" pitchFamily="34" charset="0"/>
                <a:cs typeface="Arial" pitchFamily="34" charset="0"/>
              </a:defRPr>
            </a:lvl3pPr>
            <a:lvl4pPr marL="776015" indent="-165023" algn="l" defTabSz="893763" rtl="0" eaLnBrk="0" fontAlgn="base" hangingPunct="0">
              <a:spcBef>
                <a:spcPts val="513"/>
              </a:spcBef>
              <a:spcAft>
                <a:spcPct val="0"/>
              </a:spcAft>
              <a:buChar char="–"/>
              <a:defRPr sz="900">
                <a:solidFill>
                  <a:schemeClr val="tx1"/>
                </a:solidFill>
                <a:latin typeface="+mn-lt"/>
                <a:cs typeface="Arial" charset="0"/>
              </a:defRPr>
            </a:lvl4pPr>
            <a:lvl5pPr marL="849661" indent="-75011" algn="l" defTabSz="893763" rtl="0" eaLnBrk="0" fontAlgn="base" hangingPunct="0">
              <a:spcBef>
                <a:spcPts val="513"/>
              </a:spcBef>
              <a:spcAft>
                <a:spcPct val="0"/>
              </a:spcAft>
              <a:buSzPct val="80000"/>
              <a:buFont typeface="Arial" charset="0"/>
              <a:buChar char="-"/>
              <a:defRPr sz="900">
                <a:solidFill>
                  <a:schemeClr val="tx1"/>
                </a:solidFill>
                <a:latin typeface="+mn-lt"/>
                <a:cs typeface="Arial" charset="0"/>
              </a:defRPr>
            </a:lvl5pPr>
            <a:lvl6pPr marL="2408356" indent="-223652" algn="l" defTabSz="895974" rtl="0" eaLnBrk="1" fontAlgn="base" hangingPunct="1">
              <a:spcBef>
                <a:spcPct val="20000"/>
              </a:spcBef>
              <a:spcAft>
                <a:spcPct val="0"/>
              </a:spcAft>
              <a:buChar char="»"/>
              <a:defRPr>
                <a:solidFill>
                  <a:schemeClr val="tx1"/>
                </a:solidFill>
                <a:latin typeface="+mn-lt"/>
              </a:defRPr>
            </a:lvl6pPr>
            <a:lvl7pPr marL="2801112" indent="-223652" algn="l" defTabSz="895974" rtl="0" eaLnBrk="1" fontAlgn="base" hangingPunct="1">
              <a:spcBef>
                <a:spcPct val="20000"/>
              </a:spcBef>
              <a:spcAft>
                <a:spcPct val="0"/>
              </a:spcAft>
              <a:buChar char="»"/>
              <a:defRPr>
                <a:solidFill>
                  <a:schemeClr val="tx1"/>
                </a:solidFill>
                <a:latin typeface="+mn-lt"/>
              </a:defRPr>
            </a:lvl7pPr>
            <a:lvl8pPr marL="3193868" indent="-223652" algn="l" defTabSz="895974" rtl="0" eaLnBrk="1" fontAlgn="base" hangingPunct="1">
              <a:spcBef>
                <a:spcPct val="20000"/>
              </a:spcBef>
              <a:spcAft>
                <a:spcPct val="0"/>
              </a:spcAft>
              <a:buChar char="»"/>
              <a:defRPr>
                <a:solidFill>
                  <a:schemeClr val="tx1"/>
                </a:solidFill>
                <a:latin typeface="+mn-lt"/>
              </a:defRPr>
            </a:lvl8pPr>
            <a:lvl9pPr marL="3586623" indent="-223652" algn="l" defTabSz="895974" rtl="0" eaLnBrk="1" fontAlgn="base" hangingPunct="1">
              <a:spcBef>
                <a:spcPct val="20000"/>
              </a:spcBef>
              <a:spcAft>
                <a:spcPct val="0"/>
              </a:spcAft>
              <a:buChar char="»"/>
              <a:defRPr>
                <a:solidFill>
                  <a:schemeClr val="tx1"/>
                </a:solidFill>
                <a:latin typeface="+mn-lt"/>
              </a:defRPr>
            </a:lvl9pPr>
          </a:lstStyle>
          <a:p>
            <a:pPr marL="0" indent="0" defTabSz="893852">
              <a:spcBef>
                <a:spcPts val="0"/>
              </a:spcBef>
              <a:spcAft>
                <a:spcPts val="0"/>
              </a:spcAft>
              <a:buClr>
                <a:srgbClr val="1B4276"/>
              </a:buClr>
              <a:buNone/>
              <a:defRPr/>
            </a:pPr>
            <a:r>
              <a:rPr lang="fr-FR" sz="1600" b="1" kern="0" dirty="0">
                <a:solidFill>
                  <a:schemeClr val="tx2"/>
                </a:solidFill>
                <a:latin typeface="+mn-lt"/>
              </a:rPr>
              <a:t>Durée</a:t>
            </a:r>
            <a:endParaRPr lang="fr-FR" sz="1600" kern="0" dirty="0">
              <a:solidFill>
                <a:schemeClr val="tx2"/>
              </a:solidFill>
              <a:latin typeface="+mn-lt"/>
            </a:endParaRPr>
          </a:p>
        </p:txBody>
      </p:sp>
      <p:sp>
        <p:nvSpPr>
          <p:cNvPr id="21" name="Rectangle 20">
            <a:extLst>
              <a:ext uri="{FF2B5EF4-FFF2-40B4-BE49-F238E27FC236}">
                <a16:creationId xmlns:a16="http://schemas.microsoft.com/office/drawing/2014/main" id="{2EC64137-0C7A-491F-9655-55C159F859B9}"/>
              </a:ext>
            </a:extLst>
          </p:cNvPr>
          <p:cNvSpPr/>
          <p:nvPr/>
        </p:nvSpPr>
        <p:spPr>
          <a:xfrm>
            <a:off x="1774550" y="1927139"/>
            <a:ext cx="252000" cy="252000"/>
          </a:xfrm>
          <a:prstGeom prst="rect">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1050" b="1" dirty="0">
                <a:solidFill>
                  <a:schemeClr val="tx1"/>
                </a:solidFill>
              </a:rPr>
              <a:t>1</a:t>
            </a:r>
          </a:p>
        </p:txBody>
      </p:sp>
      <p:sp>
        <p:nvSpPr>
          <p:cNvPr id="22" name="Rectangle 21">
            <a:extLst>
              <a:ext uri="{FF2B5EF4-FFF2-40B4-BE49-F238E27FC236}">
                <a16:creationId xmlns:a16="http://schemas.microsoft.com/office/drawing/2014/main" id="{04FA8BFA-DAAE-4230-AA08-A1847787538E}"/>
              </a:ext>
            </a:extLst>
          </p:cNvPr>
          <p:cNvSpPr/>
          <p:nvPr/>
        </p:nvSpPr>
        <p:spPr>
          <a:xfrm>
            <a:off x="5742447" y="1891344"/>
            <a:ext cx="252000" cy="252000"/>
          </a:xfrm>
          <a:prstGeom prst="rect">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1050" b="1" dirty="0">
                <a:solidFill>
                  <a:schemeClr val="tx1"/>
                </a:solidFill>
              </a:rPr>
              <a:t>2a</a:t>
            </a:r>
          </a:p>
        </p:txBody>
      </p:sp>
      <p:sp>
        <p:nvSpPr>
          <p:cNvPr id="23" name="Rectangle 22">
            <a:extLst>
              <a:ext uri="{FF2B5EF4-FFF2-40B4-BE49-F238E27FC236}">
                <a16:creationId xmlns:a16="http://schemas.microsoft.com/office/drawing/2014/main" id="{61464B8A-C588-4702-B8FD-2ECD8A0E05D3}"/>
              </a:ext>
            </a:extLst>
          </p:cNvPr>
          <p:cNvSpPr/>
          <p:nvPr/>
        </p:nvSpPr>
        <p:spPr>
          <a:xfrm>
            <a:off x="9515654" y="1928087"/>
            <a:ext cx="252000" cy="252000"/>
          </a:xfrm>
          <a:prstGeom prst="rect">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1050" b="1" dirty="0">
                <a:solidFill>
                  <a:schemeClr val="tx1"/>
                </a:solidFill>
              </a:rPr>
              <a:t>2b</a:t>
            </a:r>
          </a:p>
        </p:txBody>
      </p:sp>
      <p:sp>
        <p:nvSpPr>
          <p:cNvPr id="24" name="Rectangle 23">
            <a:extLst>
              <a:ext uri="{FF2B5EF4-FFF2-40B4-BE49-F238E27FC236}">
                <a16:creationId xmlns:a16="http://schemas.microsoft.com/office/drawing/2014/main" id="{B0EADAD4-758E-46EA-BB19-60BE31433C13}"/>
              </a:ext>
            </a:extLst>
          </p:cNvPr>
          <p:cNvSpPr/>
          <p:nvPr/>
        </p:nvSpPr>
        <p:spPr>
          <a:xfrm>
            <a:off x="1830093" y="1346200"/>
            <a:ext cx="2664296" cy="321087"/>
          </a:xfrm>
          <a:prstGeom prst="rect">
            <a:avLst/>
          </a:prstGeom>
          <a:noFill/>
          <a:ln>
            <a:noFill/>
          </a:ln>
        </p:spPr>
        <p:txBody>
          <a:bodyPr wrap="square" lIns="0" tIns="0" rIns="0" bIns="0" rtlCol="0" anchor="ctr"/>
          <a:lstStyle/>
          <a:p>
            <a:r>
              <a:rPr lang="fr-FR" sz="1600" b="1" dirty="0">
                <a:solidFill>
                  <a:schemeClr val="tx2"/>
                </a:solidFill>
              </a:rPr>
              <a:t>Phase 1</a:t>
            </a:r>
          </a:p>
        </p:txBody>
      </p:sp>
      <p:cxnSp>
        <p:nvCxnSpPr>
          <p:cNvPr id="25" name="Horizontal Line">
            <a:extLst>
              <a:ext uri="{FF2B5EF4-FFF2-40B4-BE49-F238E27FC236}">
                <a16:creationId xmlns:a16="http://schemas.microsoft.com/office/drawing/2014/main" id="{85FCAC83-4A18-4F5F-B819-578BA1300330}"/>
              </a:ext>
            </a:extLst>
          </p:cNvPr>
          <p:cNvCxnSpPr>
            <a:cxnSpLocks/>
          </p:cNvCxnSpPr>
          <p:nvPr/>
        </p:nvCxnSpPr>
        <p:spPr>
          <a:xfrm flipH="1">
            <a:off x="1769371" y="1712106"/>
            <a:ext cx="3564000" cy="0"/>
          </a:xfrm>
          <a:prstGeom prst="line">
            <a:avLst/>
          </a:prstGeom>
          <a:ln w="12700" cmpd="sng">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256AA773-72A9-402B-8DEA-E0CC8312B8AC}"/>
              </a:ext>
            </a:extLst>
          </p:cNvPr>
          <p:cNvSpPr/>
          <p:nvPr/>
        </p:nvSpPr>
        <p:spPr>
          <a:xfrm>
            <a:off x="5605635" y="1346200"/>
            <a:ext cx="5544608" cy="321087"/>
          </a:xfrm>
          <a:prstGeom prst="rect">
            <a:avLst/>
          </a:prstGeom>
          <a:noFill/>
          <a:ln>
            <a:noFill/>
          </a:ln>
        </p:spPr>
        <p:txBody>
          <a:bodyPr wrap="square" lIns="0" tIns="0" rIns="0" bIns="0" rtlCol="0" anchor="ctr"/>
          <a:lstStyle/>
          <a:p>
            <a:r>
              <a:rPr lang="fr-FR" sz="1600" b="1" dirty="0">
                <a:solidFill>
                  <a:schemeClr val="tx2"/>
                </a:solidFill>
              </a:rPr>
              <a:t>Phase 2</a:t>
            </a:r>
          </a:p>
        </p:txBody>
      </p:sp>
      <p:cxnSp>
        <p:nvCxnSpPr>
          <p:cNvPr id="27" name="Horizontal Line">
            <a:extLst>
              <a:ext uri="{FF2B5EF4-FFF2-40B4-BE49-F238E27FC236}">
                <a16:creationId xmlns:a16="http://schemas.microsoft.com/office/drawing/2014/main" id="{4EE5D11D-4136-444D-8ACF-4704C8D4B1DF}"/>
              </a:ext>
            </a:extLst>
          </p:cNvPr>
          <p:cNvCxnSpPr>
            <a:cxnSpLocks/>
          </p:cNvCxnSpPr>
          <p:nvPr/>
        </p:nvCxnSpPr>
        <p:spPr>
          <a:xfrm flipH="1">
            <a:off x="5605635" y="1712106"/>
            <a:ext cx="7308000" cy="0"/>
          </a:xfrm>
          <a:prstGeom prst="line">
            <a:avLst/>
          </a:prstGeom>
          <a:ln w="12700" cmpd="sng">
            <a:solidFill>
              <a:schemeClr val="accent3"/>
            </a:solidFill>
          </a:ln>
          <a:effectLst/>
        </p:spPr>
        <p:style>
          <a:lnRef idx="1">
            <a:schemeClr val="accent1"/>
          </a:lnRef>
          <a:fillRef idx="0">
            <a:schemeClr val="accent1"/>
          </a:fillRef>
          <a:effectRef idx="0">
            <a:schemeClr val="accent1"/>
          </a:effectRef>
          <a:fontRef idx="minor">
            <a:schemeClr val="tx1"/>
          </a:fontRef>
        </p:style>
      </p:cxnSp>
      <p:grpSp>
        <p:nvGrpSpPr>
          <p:cNvPr id="28" name="Graphic 117">
            <a:extLst>
              <a:ext uri="{FF2B5EF4-FFF2-40B4-BE49-F238E27FC236}">
                <a16:creationId xmlns:a16="http://schemas.microsoft.com/office/drawing/2014/main" id="{41E65E36-42CB-41C5-B2C3-D5EC16C75032}"/>
              </a:ext>
            </a:extLst>
          </p:cNvPr>
          <p:cNvGrpSpPr/>
          <p:nvPr/>
        </p:nvGrpSpPr>
        <p:grpSpPr>
          <a:xfrm>
            <a:off x="270629" y="2411193"/>
            <a:ext cx="338554" cy="321086"/>
            <a:chOff x="304172" y="2344440"/>
            <a:chExt cx="338554" cy="338554"/>
          </a:xfrm>
        </p:grpSpPr>
        <p:sp>
          <p:nvSpPr>
            <p:cNvPr id="29" name="Forme libre : forme 28">
              <a:extLst>
                <a:ext uri="{FF2B5EF4-FFF2-40B4-BE49-F238E27FC236}">
                  <a16:creationId xmlns:a16="http://schemas.microsoft.com/office/drawing/2014/main" id="{D16B62FB-BA0F-4523-893F-3895DDCF27FC}"/>
                </a:ext>
              </a:extLst>
            </p:cNvPr>
            <p:cNvSpPr/>
            <p:nvPr/>
          </p:nvSpPr>
          <p:spPr>
            <a:xfrm>
              <a:off x="455463" y="2413914"/>
              <a:ext cx="29623" cy="29623"/>
            </a:xfrm>
            <a:custGeom>
              <a:avLst/>
              <a:gdLst>
                <a:gd name="connsiteX0" fmla="*/ 14812 w 29623"/>
                <a:gd name="connsiteY0" fmla="*/ 0 h 29623"/>
                <a:gd name="connsiteX1" fmla="*/ 0 w 29623"/>
                <a:gd name="connsiteY1" fmla="*/ 14812 h 29623"/>
                <a:gd name="connsiteX2" fmla="*/ 14812 w 29623"/>
                <a:gd name="connsiteY2" fmla="*/ 29623 h 29623"/>
                <a:gd name="connsiteX3" fmla="*/ 29623 w 29623"/>
                <a:gd name="connsiteY3" fmla="*/ 14812 h 29623"/>
                <a:gd name="connsiteX4" fmla="*/ 14812 w 29623"/>
                <a:gd name="connsiteY4" fmla="*/ 0 h 29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23" h="29623">
                  <a:moveTo>
                    <a:pt x="14812" y="0"/>
                  </a:moveTo>
                  <a:cubicBezTo>
                    <a:pt x="6701" y="0"/>
                    <a:pt x="0" y="6701"/>
                    <a:pt x="0" y="14812"/>
                  </a:cubicBezTo>
                  <a:cubicBezTo>
                    <a:pt x="0" y="22923"/>
                    <a:pt x="6701" y="29623"/>
                    <a:pt x="14812" y="29623"/>
                  </a:cubicBezTo>
                  <a:cubicBezTo>
                    <a:pt x="22923" y="29623"/>
                    <a:pt x="29623" y="22923"/>
                    <a:pt x="29623" y="14812"/>
                  </a:cubicBezTo>
                  <a:cubicBezTo>
                    <a:pt x="29623" y="6701"/>
                    <a:pt x="22923" y="0"/>
                    <a:pt x="14812" y="0"/>
                  </a:cubicBezTo>
                  <a:close/>
                </a:path>
              </a:pathLst>
            </a:custGeom>
            <a:solidFill>
              <a:schemeClr val="tx2"/>
            </a:solidFill>
            <a:ln w="3473" cap="flat">
              <a:noFill/>
              <a:prstDash val="solid"/>
              <a:miter/>
            </a:ln>
          </p:spPr>
          <p:txBody>
            <a:bodyPr rtlCol="0" anchor="ctr"/>
            <a:lstStyle/>
            <a:p>
              <a:endParaRPr lang="en-US"/>
            </a:p>
          </p:txBody>
        </p:sp>
        <p:sp>
          <p:nvSpPr>
            <p:cNvPr id="30" name="Forme libre : forme 29">
              <a:extLst>
                <a:ext uri="{FF2B5EF4-FFF2-40B4-BE49-F238E27FC236}">
                  <a16:creationId xmlns:a16="http://schemas.microsoft.com/office/drawing/2014/main" id="{8ACAFCC5-D593-4D7E-9140-959C7E6B0BB9}"/>
                </a:ext>
              </a:extLst>
            </p:cNvPr>
            <p:cNvSpPr/>
            <p:nvPr/>
          </p:nvSpPr>
          <p:spPr>
            <a:xfrm>
              <a:off x="411028" y="2485504"/>
              <a:ext cx="29623" cy="29623"/>
            </a:xfrm>
            <a:custGeom>
              <a:avLst/>
              <a:gdLst>
                <a:gd name="connsiteX0" fmla="*/ 29623 w 29623"/>
                <a:gd name="connsiteY0" fmla="*/ 14812 h 29623"/>
                <a:gd name="connsiteX1" fmla="*/ 14812 w 29623"/>
                <a:gd name="connsiteY1" fmla="*/ 29623 h 29623"/>
                <a:gd name="connsiteX2" fmla="*/ 0 w 29623"/>
                <a:gd name="connsiteY2" fmla="*/ 14812 h 29623"/>
                <a:gd name="connsiteX3" fmla="*/ 14812 w 29623"/>
                <a:gd name="connsiteY3" fmla="*/ 0 h 29623"/>
                <a:gd name="connsiteX4" fmla="*/ 29623 w 29623"/>
                <a:gd name="connsiteY4" fmla="*/ 14812 h 29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23" h="29623">
                  <a:moveTo>
                    <a:pt x="29623" y="14812"/>
                  </a:moveTo>
                  <a:cubicBezTo>
                    <a:pt x="29623" y="22992"/>
                    <a:pt x="22992" y="29623"/>
                    <a:pt x="14812" y="29623"/>
                  </a:cubicBezTo>
                  <a:cubicBezTo>
                    <a:pt x="6631" y="29623"/>
                    <a:pt x="0" y="22992"/>
                    <a:pt x="0" y="14812"/>
                  </a:cubicBezTo>
                  <a:cubicBezTo>
                    <a:pt x="0" y="6631"/>
                    <a:pt x="6631" y="0"/>
                    <a:pt x="14812" y="0"/>
                  </a:cubicBezTo>
                  <a:cubicBezTo>
                    <a:pt x="22992" y="0"/>
                    <a:pt x="29623" y="6631"/>
                    <a:pt x="29623" y="14812"/>
                  </a:cubicBezTo>
                  <a:close/>
                </a:path>
              </a:pathLst>
            </a:custGeom>
            <a:solidFill>
              <a:schemeClr val="tx2"/>
            </a:solidFill>
            <a:ln w="3473" cap="flat">
              <a:noFill/>
              <a:prstDash val="solid"/>
              <a:miter/>
            </a:ln>
          </p:spPr>
          <p:txBody>
            <a:bodyPr rtlCol="0" anchor="ctr"/>
            <a:lstStyle/>
            <a:p>
              <a:endParaRPr lang="en-US"/>
            </a:p>
          </p:txBody>
        </p:sp>
        <p:sp>
          <p:nvSpPr>
            <p:cNvPr id="31" name="Forme libre : forme 30">
              <a:extLst>
                <a:ext uri="{FF2B5EF4-FFF2-40B4-BE49-F238E27FC236}">
                  <a16:creationId xmlns:a16="http://schemas.microsoft.com/office/drawing/2014/main" id="{E4063595-5C7A-48F5-BD0A-499E2773F728}"/>
                </a:ext>
              </a:extLst>
            </p:cNvPr>
            <p:cNvSpPr/>
            <p:nvPr/>
          </p:nvSpPr>
          <p:spPr>
            <a:xfrm>
              <a:off x="353473" y="2364188"/>
              <a:ext cx="239914" cy="284596"/>
            </a:xfrm>
            <a:custGeom>
              <a:avLst/>
              <a:gdLst>
                <a:gd name="connsiteX0" fmla="*/ 158768 w 239914"/>
                <a:gd name="connsiteY0" fmla="*/ 69474 h 284596"/>
                <a:gd name="connsiteX1" fmla="*/ 149951 w 239914"/>
                <a:gd name="connsiteY1" fmla="*/ 73706 h 284596"/>
                <a:gd name="connsiteX2" fmla="*/ 146425 w 239914"/>
                <a:gd name="connsiteY2" fmla="*/ 81465 h 284596"/>
                <a:gd name="connsiteX3" fmla="*/ 149599 w 239914"/>
                <a:gd name="connsiteY3" fmla="*/ 90634 h 284596"/>
                <a:gd name="connsiteX4" fmla="*/ 142546 w 239914"/>
                <a:gd name="connsiteY4" fmla="*/ 97687 h 284596"/>
                <a:gd name="connsiteX5" fmla="*/ 133376 w 239914"/>
                <a:gd name="connsiteY5" fmla="*/ 94513 h 284596"/>
                <a:gd name="connsiteX6" fmla="*/ 125618 w 239914"/>
                <a:gd name="connsiteY6" fmla="*/ 97687 h 284596"/>
                <a:gd name="connsiteX7" fmla="*/ 121386 w 239914"/>
                <a:gd name="connsiteY7" fmla="*/ 106151 h 284596"/>
                <a:gd name="connsiteX8" fmla="*/ 111511 w 239914"/>
                <a:gd name="connsiteY8" fmla="*/ 106151 h 284596"/>
                <a:gd name="connsiteX9" fmla="*/ 107280 w 239914"/>
                <a:gd name="connsiteY9" fmla="*/ 97334 h 284596"/>
                <a:gd name="connsiteX10" fmla="*/ 99521 w 239914"/>
                <a:gd name="connsiteY10" fmla="*/ 94160 h 284596"/>
                <a:gd name="connsiteX11" fmla="*/ 90352 w 239914"/>
                <a:gd name="connsiteY11" fmla="*/ 97334 h 284596"/>
                <a:gd name="connsiteX12" fmla="*/ 83299 w 239914"/>
                <a:gd name="connsiteY12" fmla="*/ 90281 h 284596"/>
                <a:gd name="connsiteX13" fmla="*/ 86473 w 239914"/>
                <a:gd name="connsiteY13" fmla="*/ 81112 h 284596"/>
                <a:gd name="connsiteX14" fmla="*/ 83299 w 239914"/>
                <a:gd name="connsiteY14" fmla="*/ 73353 h 284596"/>
                <a:gd name="connsiteX15" fmla="*/ 74482 w 239914"/>
                <a:gd name="connsiteY15" fmla="*/ 69121 h 284596"/>
                <a:gd name="connsiteX16" fmla="*/ 74482 w 239914"/>
                <a:gd name="connsiteY16" fmla="*/ 59247 h 284596"/>
                <a:gd name="connsiteX17" fmla="*/ 83299 w 239914"/>
                <a:gd name="connsiteY17" fmla="*/ 55015 h 284596"/>
                <a:gd name="connsiteX18" fmla="*/ 86473 w 239914"/>
                <a:gd name="connsiteY18" fmla="*/ 47256 h 284596"/>
                <a:gd name="connsiteX19" fmla="*/ 83651 w 239914"/>
                <a:gd name="connsiteY19" fmla="*/ 38087 h 284596"/>
                <a:gd name="connsiteX20" fmla="*/ 90705 w 239914"/>
                <a:gd name="connsiteY20" fmla="*/ 31034 h 284596"/>
                <a:gd name="connsiteX21" fmla="*/ 99874 w 239914"/>
                <a:gd name="connsiteY21" fmla="*/ 34208 h 284596"/>
                <a:gd name="connsiteX22" fmla="*/ 107632 w 239914"/>
                <a:gd name="connsiteY22" fmla="*/ 31034 h 284596"/>
                <a:gd name="connsiteX23" fmla="*/ 111864 w 239914"/>
                <a:gd name="connsiteY23" fmla="*/ 22218 h 284596"/>
                <a:gd name="connsiteX24" fmla="*/ 121739 w 239914"/>
                <a:gd name="connsiteY24" fmla="*/ 22218 h 284596"/>
                <a:gd name="connsiteX25" fmla="*/ 125971 w 239914"/>
                <a:gd name="connsiteY25" fmla="*/ 30681 h 284596"/>
                <a:gd name="connsiteX26" fmla="*/ 133729 w 239914"/>
                <a:gd name="connsiteY26" fmla="*/ 33855 h 284596"/>
                <a:gd name="connsiteX27" fmla="*/ 142898 w 239914"/>
                <a:gd name="connsiteY27" fmla="*/ 30681 h 284596"/>
                <a:gd name="connsiteX28" fmla="*/ 149951 w 239914"/>
                <a:gd name="connsiteY28" fmla="*/ 37735 h 284596"/>
                <a:gd name="connsiteX29" fmla="*/ 146778 w 239914"/>
                <a:gd name="connsiteY29" fmla="*/ 46904 h 284596"/>
                <a:gd name="connsiteX30" fmla="*/ 149951 w 239914"/>
                <a:gd name="connsiteY30" fmla="*/ 54662 h 284596"/>
                <a:gd name="connsiteX31" fmla="*/ 158768 w 239914"/>
                <a:gd name="connsiteY31" fmla="*/ 58894 h 284596"/>
                <a:gd name="connsiteX32" fmla="*/ 158768 w 239914"/>
                <a:gd name="connsiteY32" fmla="*/ 69474 h 284596"/>
                <a:gd name="connsiteX33" fmla="*/ 114333 w 239914"/>
                <a:gd name="connsiteY33" fmla="*/ 141064 h 284596"/>
                <a:gd name="connsiteX34" fmla="*/ 105516 w 239914"/>
                <a:gd name="connsiteY34" fmla="*/ 145296 h 284596"/>
                <a:gd name="connsiteX35" fmla="*/ 102342 w 239914"/>
                <a:gd name="connsiteY35" fmla="*/ 153055 h 284596"/>
                <a:gd name="connsiteX36" fmla="*/ 105164 w 239914"/>
                <a:gd name="connsiteY36" fmla="*/ 162224 h 284596"/>
                <a:gd name="connsiteX37" fmla="*/ 98110 w 239914"/>
                <a:gd name="connsiteY37" fmla="*/ 169277 h 284596"/>
                <a:gd name="connsiteX38" fmla="*/ 88941 w 239914"/>
                <a:gd name="connsiteY38" fmla="*/ 166103 h 284596"/>
                <a:gd name="connsiteX39" fmla="*/ 81183 w 239914"/>
                <a:gd name="connsiteY39" fmla="*/ 169277 h 284596"/>
                <a:gd name="connsiteX40" fmla="*/ 77303 w 239914"/>
                <a:gd name="connsiteY40" fmla="*/ 177741 h 284596"/>
                <a:gd name="connsiteX41" fmla="*/ 67429 w 239914"/>
                <a:gd name="connsiteY41" fmla="*/ 177741 h 284596"/>
                <a:gd name="connsiteX42" fmla="*/ 63197 w 239914"/>
                <a:gd name="connsiteY42" fmla="*/ 168924 h 284596"/>
                <a:gd name="connsiteX43" fmla="*/ 55438 w 239914"/>
                <a:gd name="connsiteY43" fmla="*/ 165750 h 284596"/>
                <a:gd name="connsiteX44" fmla="*/ 46269 w 239914"/>
                <a:gd name="connsiteY44" fmla="*/ 168572 h 284596"/>
                <a:gd name="connsiteX45" fmla="*/ 39216 w 239914"/>
                <a:gd name="connsiteY45" fmla="*/ 161518 h 284596"/>
                <a:gd name="connsiteX46" fmla="*/ 42390 w 239914"/>
                <a:gd name="connsiteY46" fmla="*/ 152349 h 284596"/>
                <a:gd name="connsiteX47" fmla="*/ 39216 w 239914"/>
                <a:gd name="connsiteY47" fmla="*/ 144591 h 284596"/>
                <a:gd name="connsiteX48" fmla="*/ 30400 w 239914"/>
                <a:gd name="connsiteY48" fmla="*/ 140359 h 284596"/>
                <a:gd name="connsiteX49" fmla="*/ 30400 w 239914"/>
                <a:gd name="connsiteY49" fmla="*/ 130484 h 284596"/>
                <a:gd name="connsiteX50" fmla="*/ 39216 w 239914"/>
                <a:gd name="connsiteY50" fmla="*/ 126252 h 284596"/>
                <a:gd name="connsiteX51" fmla="*/ 42390 w 239914"/>
                <a:gd name="connsiteY51" fmla="*/ 118494 h 284596"/>
                <a:gd name="connsiteX52" fmla="*/ 39216 w 239914"/>
                <a:gd name="connsiteY52" fmla="*/ 109325 h 284596"/>
                <a:gd name="connsiteX53" fmla="*/ 46269 w 239914"/>
                <a:gd name="connsiteY53" fmla="*/ 102272 h 284596"/>
                <a:gd name="connsiteX54" fmla="*/ 55438 w 239914"/>
                <a:gd name="connsiteY54" fmla="*/ 105445 h 284596"/>
                <a:gd name="connsiteX55" fmla="*/ 63197 w 239914"/>
                <a:gd name="connsiteY55" fmla="*/ 102272 h 284596"/>
                <a:gd name="connsiteX56" fmla="*/ 67429 w 239914"/>
                <a:gd name="connsiteY56" fmla="*/ 93455 h 284596"/>
                <a:gd name="connsiteX57" fmla="*/ 77656 w 239914"/>
                <a:gd name="connsiteY57" fmla="*/ 93455 h 284596"/>
                <a:gd name="connsiteX58" fmla="*/ 81888 w 239914"/>
                <a:gd name="connsiteY58" fmla="*/ 102272 h 284596"/>
                <a:gd name="connsiteX59" fmla="*/ 89647 w 239914"/>
                <a:gd name="connsiteY59" fmla="*/ 105445 h 284596"/>
                <a:gd name="connsiteX60" fmla="*/ 98816 w 239914"/>
                <a:gd name="connsiteY60" fmla="*/ 102272 h 284596"/>
                <a:gd name="connsiteX61" fmla="*/ 105869 w 239914"/>
                <a:gd name="connsiteY61" fmla="*/ 109325 h 284596"/>
                <a:gd name="connsiteX62" fmla="*/ 102695 w 239914"/>
                <a:gd name="connsiteY62" fmla="*/ 118494 h 284596"/>
                <a:gd name="connsiteX63" fmla="*/ 105869 w 239914"/>
                <a:gd name="connsiteY63" fmla="*/ 126252 h 284596"/>
                <a:gd name="connsiteX64" fmla="*/ 114685 w 239914"/>
                <a:gd name="connsiteY64" fmla="*/ 130484 h 284596"/>
                <a:gd name="connsiteX65" fmla="*/ 114333 w 239914"/>
                <a:gd name="connsiteY65" fmla="*/ 141064 h 284596"/>
                <a:gd name="connsiteX66" fmla="*/ 114333 w 239914"/>
                <a:gd name="connsiteY66" fmla="*/ 141064 h 284596"/>
                <a:gd name="connsiteX67" fmla="*/ 236353 w 239914"/>
                <a:gd name="connsiteY67" fmla="*/ 154113 h 284596"/>
                <a:gd name="connsiteX68" fmla="*/ 212020 w 239914"/>
                <a:gd name="connsiteY68" fmla="*/ 111793 h 284596"/>
                <a:gd name="connsiteX69" fmla="*/ 212020 w 239914"/>
                <a:gd name="connsiteY69" fmla="*/ 110030 h 284596"/>
                <a:gd name="connsiteX70" fmla="*/ 160179 w 239914"/>
                <a:gd name="connsiteY70" fmla="*/ 14812 h 284596"/>
                <a:gd name="connsiteX71" fmla="*/ 51912 w 239914"/>
                <a:gd name="connsiteY71" fmla="*/ 14812 h 284596"/>
                <a:gd name="connsiteX72" fmla="*/ 71 w 239914"/>
                <a:gd name="connsiteY72" fmla="*/ 110030 h 284596"/>
                <a:gd name="connsiteX73" fmla="*/ 41685 w 239914"/>
                <a:gd name="connsiteY73" fmla="*/ 195374 h 284596"/>
                <a:gd name="connsiteX74" fmla="*/ 41685 w 239914"/>
                <a:gd name="connsiteY74" fmla="*/ 284597 h 284596"/>
                <a:gd name="connsiteX75" fmla="*/ 153125 w 239914"/>
                <a:gd name="connsiteY75" fmla="*/ 284597 h 284596"/>
                <a:gd name="connsiteX76" fmla="*/ 153125 w 239914"/>
                <a:gd name="connsiteY76" fmla="*/ 242278 h 284596"/>
                <a:gd name="connsiteX77" fmla="*/ 170406 w 239914"/>
                <a:gd name="connsiteY77" fmla="*/ 242278 h 284596"/>
                <a:gd name="connsiteX78" fmla="*/ 200029 w 239914"/>
                <a:gd name="connsiteY78" fmla="*/ 229935 h 284596"/>
                <a:gd name="connsiteX79" fmla="*/ 212020 w 239914"/>
                <a:gd name="connsiteY79" fmla="*/ 199958 h 284596"/>
                <a:gd name="connsiteX80" fmla="*/ 212020 w 239914"/>
                <a:gd name="connsiteY80" fmla="*/ 178799 h 284596"/>
                <a:gd name="connsiteX81" fmla="*/ 227537 w 239914"/>
                <a:gd name="connsiteY81" fmla="*/ 178799 h 284596"/>
                <a:gd name="connsiteX82" fmla="*/ 236353 w 239914"/>
                <a:gd name="connsiteY82" fmla="*/ 154113 h 284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239914" h="284596">
                  <a:moveTo>
                    <a:pt x="158768" y="69474"/>
                  </a:moveTo>
                  <a:lnTo>
                    <a:pt x="149951" y="73706"/>
                  </a:lnTo>
                  <a:cubicBezTo>
                    <a:pt x="149246" y="76527"/>
                    <a:pt x="147836" y="78996"/>
                    <a:pt x="146425" y="81465"/>
                  </a:cubicBezTo>
                  <a:lnTo>
                    <a:pt x="149599" y="90634"/>
                  </a:lnTo>
                  <a:lnTo>
                    <a:pt x="142546" y="97687"/>
                  </a:lnTo>
                  <a:lnTo>
                    <a:pt x="133376" y="94513"/>
                  </a:lnTo>
                  <a:cubicBezTo>
                    <a:pt x="130908" y="95924"/>
                    <a:pt x="128439" y="96982"/>
                    <a:pt x="125618" y="97687"/>
                  </a:cubicBezTo>
                  <a:lnTo>
                    <a:pt x="121386" y="106151"/>
                  </a:lnTo>
                  <a:lnTo>
                    <a:pt x="111511" y="106151"/>
                  </a:lnTo>
                  <a:lnTo>
                    <a:pt x="107280" y="97334"/>
                  </a:lnTo>
                  <a:cubicBezTo>
                    <a:pt x="104458" y="96629"/>
                    <a:pt x="101990" y="95571"/>
                    <a:pt x="99521" y="94160"/>
                  </a:cubicBezTo>
                  <a:lnTo>
                    <a:pt x="90352" y="97334"/>
                  </a:lnTo>
                  <a:lnTo>
                    <a:pt x="83299" y="90281"/>
                  </a:lnTo>
                  <a:lnTo>
                    <a:pt x="86473" y="81112"/>
                  </a:lnTo>
                  <a:cubicBezTo>
                    <a:pt x="85062" y="78643"/>
                    <a:pt x="84004" y="76175"/>
                    <a:pt x="83299" y="73353"/>
                  </a:cubicBezTo>
                  <a:lnTo>
                    <a:pt x="74482" y="69121"/>
                  </a:lnTo>
                  <a:lnTo>
                    <a:pt x="74482" y="59247"/>
                  </a:lnTo>
                  <a:lnTo>
                    <a:pt x="83299" y="55015"/>
                  </a:lnTo>
                  <a:cubicBezTo>
                    <a:pt x="84004" y="52194"/>
                    <a:pt x="85062" y="49725"/>
                    <a:pt x="86473" y="47256"/>
                  </a:cubicBezTo>
                  <a:lnTo>
                    <a:pt x="83651" y="38087"/>
                  </a:lnTo>
                  <a:lnTo>
                    <a:pt x="90705" y="31034"/>
                  </a:lnTo>
                  <a:lnTo>
                    <a:pt x="99874" y="34208"/>
                  </a:lnTo>
                  <a:cubicBezTo>
                    <a:pt x="102342" y="32797"/>
                    <a:pt x="104811" y="31739"/>
                    <a:pt x="107632" y="31034"/>
                  </a:cubicBezTo>
                  <a:lnTo>
                    <a:pt x="111864" y="22218"/>
                  </a:lnTo>
                  <a:lnTo>
                    <a:pt x="121739" y="22218"/>
                  </a:lnTo>
                  <a:lnTo>
                    <a:pt x="125971" y="30681"/>
                  </a:lnTo>
                  <a:cubicBezTo>
                    <a:pt x="128792" y="31387"/>
                    <a:pt x="131260" y="32445"/>
                    <a:pt x="133729" y="33855"/>
                  </a:cubicBezTo>
                  <a:lnTo>
                    <a:pt x="142898" y="30681"/>
                  </a:lnTo>
                  <a:lnTo>
                    <a:pt x="149951" y="37735"/>
                  </a:lnTo>
                  <a:lnTo>
                    <a:pt x="146778" y="46904"/>
                  </a:lnTo>
                  <a:cubicBezTo>
                    <a:pt x="148188" y="49372"/>
                    <a:pt x="149246" y="51841"/>
                    <a:pt x="149951" y="54662"/>
                  </a:cubicBezTo>
                  <a:lnTo>
                    <a:pt x="158768" y="58894"/>
                  </a:lnTo>
                  <a:lnTo>
                    <a:pt x="158768" y="69474"/>
                  </a:lnTo>
                  <a:close/>
                  <a:moveTo>
                    <a:pt x="114333" y="141064"/>
                  </a:moveTo>
                  <a:lnTo>
                    <a:pt x="105516" y="145296"/>
                  </a:lnTo>
                  <a:cubicBezTo>
                    <a:pt x="104811" y="148117"/>
                    <a:pt x="103753" y="150586"/>
                    <a:pt x="102342" y="153055"/>
                  </a:cubicBezTo>
                  <a:lnTo>
                    <a:pt x="105164" y="162224"/>
                  </a:lnTo>
                  <a:lnTo>
                    <a:pt x="98110" y="169277"/>
                  </a:lnTo>
                  <a:lnTo>
                    <a:pt x="88941" y="166103"/>
                  </a:lnTo>
                  <a:cubicBezTo>
                    <a:pt x="86473" y="167514"/>
                    <a:pt x="84004" y="168572"/>
                    <a:pt x="81183" y="169277"/>
                  </a:cubicBezTo>
                  <a:lnTo>
                    <a:pt x="77303" y="177741"/>
                  </a:lnTo>
                  <a:lnTo>
                    <a:pt x="67429" y="177741"/>
                  </a:lnTo>
                  <a:lnTo>
                    <a:pt x="63197" y="168924"/>
                  </a:lnTo>
                  <a:cubicBezTo>
                    <a:pt x="60376" y="168219"/>
                    <a:pt x="57907" y="167161"/>
                    <a:pt x="55438" y="165750"/>
                  </a:cubicBezTo>
                  <a:lnTo>
                    <a:pt x="46269" y="168572"/>
                  </a:lnTo>
                  <a:lnTo>
                    <a:pt x="39216" y="161518"/>
                  </a:lnTo>
                  <a:lnTo>
                    <a:pt x="42390" y="152349"/>
                  </a:lnTo>
                  <a:cubicBezTo>
                    <a:pt x="40979" y="149881"/>
                    <a:pt x="39921" y="147412"/>
                    <a:pt x="39216" y="144591"/>
                  </a:cubicBezTo>
                  <a:lnTo>
                    <a:pt x="30400" y="140359"/>
                  </a:lnTo>
                  <a:lnTo>
                    <a:pt x="30400" y="130484"/>
                  </a:lnTo>
                  <a:lnTo>
                    <a:pt x="39216" y="126252"/>
                  </a:lnTo>
                  <a:cubicBezTo>
                    <a:pt x="39921" y="123431"/>
                    <a:pt x="40979" y="120963"/>
                    <a:pt x="42390" y="118494"/>
                  </a:cubicBezTo>
                  <a:lnTo>
                    <a:pt x="39216" y="109325"/>
                  </a:lnTo>
                  <a:lnTo>
                    <a:pt x="46269" y="102272"/>
                  </a:lnTo>
                  <a:lnTo>
                    <a:pt x="55438" y="105445"/>
                  </a:lnTo>
                  <a:cubicBezTo>
                    <a:pt x="57907" y="104035"/>
                    <a:pt x="60376" y="102977"/>
                    <a:pt x="63197" y="102272"/>
                  </a:cubicBezTo>
                  <a:lnTo>
                    <a:pt x="67429" y="93455"/>
                  </a:lnTo>
                  <a:lnTo>
                    <a:pt x="77656" y="93455"/>
                  </a:lnTo>
                  <a:lnTo>
                    <a:pt x="81888" y="102272"/>
                  </a:lnTo>
                  <a:cubicBezTo>
                    <a:pt x="84709" y="102977"/>
                    <a:pt x="87178" y="104035"/>
                    <a:pt x="89647" y="105445"/>
                  </a:cubicBezTo>
                  <a:lnTo>
                    <a:pt x="98816" y="102272"/>
                  </a:lnTo>
                  <a:lnTo>
                    <a:pt x="105869" y="109325"/>
                  </a:lnTo>
                  <a:lnTo>
                    <a:pt x="102695" y="118494"/>
                  </a:lnTo>
                  <a:cubicBezTo>
                    <a:pt x="104106" y="120963"/>
                    <a:pt x="105164" y="123431"/>
                    <a:pt x="105869" y="126252"/>
                  </a:cubicBezTo>
                  <a:lnTo>
                    <a:pt x="114685" y="130484"/>
                  </a:lnTo>
                  <a:lnTo>
                    <a:pt x="114333" y="141064"/>
                  </a:lnTo>
                  <a:lnTo>
                    <a:pt x="114333" y="141064"/>
                  </a:lnTo>
                  <a:close/>
                  <a:moveTo>
                    <a:pt x="236353" y="154113"/>
                  </a:moveTo>
                  <a:lnTo>
                    <a:pt x="212020" y="111793"/>
                  </a:lnTo>
                  <a:lnTo>
                    <a:pt x="212020" y="110030"/>
                  </a:lnTo>
                  <a:cubicBezTo>
                    <a:pt x="213430" y="71237"/>
                    <a:pt x="193681" y="34913"/>
                    <a:pt x="160179" y="14812"/>
                  </a:cubicBezTo>
                  <a:cubicBezTo>
                    <a:pt x="126676" y="-4937"/>
                    <a:pt x="85415" y="-4937"/>
                    <a:pt x="51912" y="14812"/>
                  </a:cubicBezTo>
                  <a:cubicBezTo>
                    <a:pt x="18409" y="34561"/>
                    <a:pt x="-1340" y="71237"/>
                    <a:pt x="71" y="110030"/>
                  </a:cubicBezTo>
                  <a:cubicBezTo>
                    <a:pt x="71" y="143533"/>
                    <a:pt x="15235" y="174920"/>
                    <a:pt x="41685" y="195374"/>
                  </a:cubicBezTo>
                  <a:lnTo>
                    <a:pt x="41685" y="284597"/>
                  </a:lnTo>
                  <a:lnTo>
                    <a:pt x="153125" y="284597"/>
                  </a:lnTo>
                  <a:lnTo>
                    <a:pt x="153125" y="242278"/>
                  </a:lnTo>
                  <a:lnTo>
                    <a:pt x="170406" y="242278"/>
                  </a:lnTo>
                  <a:cubicBezTo>
                    <a:pt x="181691" y="242278"/>
                    <a:pt x="192271" y="237693"/>
                    <a:pt x="200029" y="229935"/>
                  </a:cubicBezTo>
                  <a:cubicBezTo>
                    <a:pt x="207788" y="221823"/>
                    <a:pt x="212020" y="211244"/>
                    <a:pt x="212020" y="199958"/>
                  </a:cubicBezTo>
                  <a:lnTo>
                    <a:pt x="212020" y="178799"/>
                  </a:lnTo>
                  <a:lnTo>
                    <a:pt x="227537" y="178799"/>
                  </a:lnTo>
                  <a:cubicBezTo>
                    <a:pt x="236706" y="177741"/>
                    <a:pt x="244817" y="167161"/>
                    <a:pt x="236353" y="154113"/>
                  </a:cubicBezTo>
                  <a:close/>
                </a:path>
              </a:pathLst>
            </a:custGeom>
            <a:solidFill>
              <a:schemeClr val="tx2"/>
            </a:solidFill>
            <a:ln w="3473" cap="flat">
              <a:noFill/>
              <a:prstDash val="solid"/>
              <a:miter/>
            </a:ln>
          </p:spPr>
          <p:txBody>
            <a:bodyPr rtlCol="0" anchor="ctr"/>
            <a:lstStyle/>
            <a:p>
              <a:endParaRPr lang="en-US"/>
            </a:p>
          </p:txBody>
        </p:sp>
      </p:grpSp>
      <p:grpSp>
        <p:nvGrpSpPr>
          <p:cNvPr id="32" name="Graphic 111">
            <a:extLst>
              <a:ext uri="{FF2B5EF4-FFF2-40B4-BE49-F238E27FC236}">
                <a16:creationId xmlns:a16="http://schemas.microsoft.com/office/drawing/2014/main" id="{AFBA88FA-99EA-40E7-B4E3-69242E962650}"/>
              </a:ext>
            </a:extLst>
          </p:cNvPr>
          <p:cNvGrpSpPr/>
          <p:nvPr/>
        </p:nvGrpSpPr>
        <p:grpSpPr>
          <a:xfrm>
            <a:off x="285200" y="3160806"/>
            <a:ext cx="239809" cy="227435"/>
            <a:chOff x="353544" y="2903376"/>
            <a:chExt cx="239809" cy="239809"/>
          </a:xfrm>
          <a:solidFill>
            <a:srgbClr val="004A59"/>
          </a:solidFill>
        </p:grpSpPr>
        <p:sp>
          <p:nvSpPr>
            <p:cNvPr id="33" name="Forme libre : forme 32">
              <a:extLst>
                <a:ext uri="{FF2B5EF4-FFF2-40B4-BE49-F238E27FC236}">
                  <a16:creationId xmlns:a16="http://schemas.microsoft.com/office/drawing/2014/main" id="{601C8F6D-6321-4C8C-9233-66E2E6C733C7}"/>
                </a:ext>
              </a:extLst>
            </p:cNvPr>
            <p:cNvSpPr/>
            <p:nvPr/>
          </p:nvSpPr>
          <p:spPr>
            <a:xfrm>
              <a:off x="395863" y="2903376"/>
              <a:ext cx="21159" cy="42319"/>
            </a:xfrm>
            <a:custGeom>
              <a:avLst/>
              <a:gdLst>
                <a:gd name="connsiteX0" fmla="*/ 10580 w 21159"/>
                <a:gd name="connsiteY0" fmla="*/ 42319 h 42319"/>
                <a:gd name="connsiteX1" fmla="*/ 21160 w 21159"/>
                <a:gd name="connsiteY1" fmla="*/ 31739 h 42319"/>
                <a:gd name="connsiteX2" fmla="*/ 21160 w 21159"/>
                <a:gd name="connsiteY2" fmla="*/ 10580 h 42319"/>
                <a:gd name="connsiteX3" fmla="*/ 10580 w 21159"/>
                <a:gd name="connsiteY3" fmla="*/ 0 h 42319"/>
                <a:gd name="connsiteX4" fmla="*/ 0 w 21159"/>
                <a:gd name="connsiteY4" fmla="*/ 10580 h 42319"/>
                <a:gd name="connsiteX5" fmla="*/ 0 w 21159"/>
                <a:gd name="connsiteY5" fmla="*/ 31739 h 42319"/>
                <a:gd name="connsiteX6" fmla="*/ 10580 w 21159"/>
                <a:gd name="connsiteY6" fmla="*/ 42319 h 42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159" h="42319">
                  <a:moveTo>
                    <a:pt x="10580" y="42319"/>
                  </a:moveTo>
                  <a:cubicBezTo>
                    <a:pt x="16575" y="42319"/>
                    <a:pt x="21160" y="37735"/>
                    <a:pt x="21160" y="31739"/>
                  </a:cubicBezTo>
                  <a:lnTo>
                    <a:pt x="21160" y="10580"/>
                  </a:lnTo>
                  <a:cubicBezTo>
                    <a:pt x="21160" y="4585"/>
                    <a:pt x="16575" y="0"/>
                    <a:pt x="10580" y="0"/>
                  </a:cubicBezTo>
                  <a:cubicBezTo>
                    <a:pt x="4585" y="0"/>
                    <a:pt x="0" y="4585"/>
                    <a:pt x="0" y="10580"/>
                  </a:cubicBezTo>
                  <a:lnTo>
                    <a:pt x="0" y="31739"/>
                  </a:lnTo>
                  <a:cubicBezTo>
                    <a:pt x="0" y="37735"/>
                    <a:pt x="4585" y="42319"/>
                    <a:pt x="10580" y="42319"/>
                  </a:cubicBezTo>
                  <a:close/>
                </a:path>
              </a:pathLst>
            </a:custGeom>
            <a:solidFill>
              <a:schemeClr val="tx2"/>
            </a:solidFill>
            <a:ln w="3473" cap="flat">
              <a:noFill/>
              <a:prstDash val="solid"/>
              <a:miter/>
            </a:ln>
          </p:spPr>
          <p:txBody>
            <a:bodyPr rtlCol="0" anchor="ctr"/>
            <a:lstStyle/>
            <a:p>
              <a:endParaRPr lang="en-US"/>
            </a:p>
          </p:txBody>
        </p:sp>
        <p:sp>
          <p:nvSpPr>
            <p:cNvPr id="34" name="Forme libre : forme 33">
              <a:extLst>
                <a:ext uri="{FF2B5EF4-FFF2-40B4-BE49-F238E27FC236}">
                  <a16:creationId xmlns:a16="http://schemas.microsoft.com/office/drawing/2014/main" id="{7C8CE3BD-0A10-4299-8E03-4C8B2BA31B9A}"/>
                </a:ext>
              </a:extLst>
            </p:cNvPr>
            <p:cNvSpPr/>
            <p:nvPr/>
          </p:nvSpPr>
          <p:spPr>
            <a:xfrm>
              <a:off x="353544" y="2988014"/>
              <a:ext cx="239809" cy="155170"/>
            </a:xfrm>
            <a:custGeom>
              <a:avLst/>
              <a:gdLst>
                <a:gd name="connsiteX0" fmla="*/ 21160 w 239809"/>
                <a:gd name="connsiteY0" fmla="*/ 105798 h 155170"/>
                <a:gd name="connsiteX1" fmla="*/ 77585 w 239809"/>
                <a:gd name="connsiteY1" fmla="*/ 105798 h 155170"/>
                <a:gd name="connsiteX2" fmla="*/ 77585 w 239809"/>
                <a:gd name="connsiteY2" fmla="*/ 134011 h 155170"/>
                <a:gd name="connsiteX3" fmla="*/ 21160 w 239809"/>
                <a:gd name="connsiteY3" fmla="*/ 134011 h 155170"/>
                <a:gd name="connsiteX4" fmla="*/ 21160 w 239809"/>
                <a:gd name="connsiteY4" fmla="*/ 105798 h 155170"/>
                <a:gd name="connsiteX5" fmla="*/ 21160 w 239809"/>
                <a:gd name="connsiteY5" fmla="*/ 63479 h 155170"/>
                <a:gd name="connsiteX6" fmla="*/ 77585 w 239809"/>
                <a:gd name="connsiteY6" fmla="*/ 63479 h 155170"/>
                <a:gd name="connsiteX7" fmla="*/ 77585 w 239809"/>
                <a:gd name="connsiteY7" fmla="*/ 91692 h 155170"/>
                <a:gd name="connsiteX8" fmla="*/ 21160 w 239809"/>
                <a:gd name="connsiteY8" fmla="*/ 91692 h 155170"/>
                <a:gd name="connsiteX9" fmla="*/ 21160 w 239809"/>
                <a:gd name="connsiteY9" fmla="*/ 63479 h 155170"/>
                <a:gd name="connsiteX10" fmla="*/ 21160 w 239809"/>
                <a:gd name="connsiteY10" fmla="*/ 21160 h 155170"/>
                <a:gd name="connsiteX11" fmla="*/ 77585 w 239809"/>
                <a:gd name="connsiteY11" fmla="*/ 21160 h 155170"/>
                <a:gd name="connsiteX12" fmla="*/ 77585 w 239809"/>
                <a:gd name="connsiteY12" fmla="*/ 49372 h 155170"/>
                <a:gd name="connsiteX13" fmla="*/ 21160 w 239809"/>
                <a:gd name="connsiteY13" fmla="*/ 49372 h 155170"/>
                <a:gd name="connsiteX14" fmla="*/ 21160 w 239809"/>
                <a:gd name="connsiteY14" fmla="*/ 21160 h 155170"/>
                <a:gd name="connsiteX15" fmla="*/ 148117 w 239809"/>
                <a:gd name="connsiteY15" fmla="*/ 21160 h 155170"/>
                <a:gd name="connsiteX16" fmla="*/ 148117 w 239809"/>
                <a:gd name="connsiteY16" fmla="*/ 49372 h 155170"/>
                <a:gd name="connsiteX17" fmla="*/ 91692 w 239809"/>
                <a:gd name="connsiteY17" fmla="*/ 49372 h 155170"/>
                <a:gd name="connsiteX18" fmla="*/ 91692 w 239809"/>
                <a:gd name="connsiteY18" fmla="*/ 21160 h 155170"/>
                <a:gd name="connsiteX19" fmla="*/ 148117 w 239809"/>
                <a:gd name="connsiteY19" fmla="*/ 21160 h 155170"/>
                <a:gd name="connsiteX20" fmla="*/ 218649 w 239809"/>
                <a:gd name="connsiteY20" fmla="*/ 21160 h 155170"/>
                <a:gd name="connsiteX21" fmla="*/ 218649 w 239809"/>
                <a:gd name="connsiteY21" fmla="*/ 49372 h 155170"/>
                <a:gd name="connsiteX22" fmla="*/ 162224 w 239809"/>
                <a:gd name="connsiteY22" fmla="*/ 49372 h 155170"/>
                <a:gd name="connsiteX23" fmla="*/ 162224 w 239809"/>
                <a:gd name="connsiteY23" fmla="*/ 21160 h 155170"/>
                <a:gd name="connsiteX24" fmla="*/ 218649 w 239809"/>
                <a:gd name="connsiteY24" fmla="*/ 21160 h 155170"/>
                <a:gd name="connsiteX25" fmla="*/ 218649 w 239809"/>
                <a:gd name="connsiteY25" fmla="*/ 91692 h 155170"/>
                <a:gd name="connsiteX26" fmla="*/ 162224 w 239809"/>
                <a:gd name="connsiteY26" fmla="*/ 91692 h 155170"/>
                <a:gd name="connsiteX27" fmla="*/ 162224 w 239809"/>
                <a:gd name="connsiteY27" fmla="*/ 63479 h 155170"/>
                <a:gd name="connsiteX28" fmla="*/ 218649 w 239809"/>
                <a:gd name="connsiteY28" fmla="*/ 63479 h 155170"/>
                <a:gd name="connsiteX29" fmla="*/ 218649 w 239809"/>
                <a:gd name="connsiteY29" fmla="*/ 91692 h 155170"/>
                <a:gd name="connsiteX30" fmla="*/ 218649 w 239809"/>
                <a:gd name="connsiteY30" fmla="*/ 134011 h 155170"/>
                <a:gd name="connsiteX31" fmla="*/ 162224 w 239809"/>
                <a:gd name="connsiteY31" fmla="*/ 134011 h 155170"/>
                <a:gd name="connsiteX32" fmla="*/ 162224 w 239809"/>
                <a:gd name="connsiteY32" fmla="*/ 105798 h 155170"/>
                <a:gd name="connsiteX33" fmla="*/ 218649 w 239809"/>
                <a:gd name="connsiteY33" fmla="*/ 105798 h 155170"/>
                <a:gd name="connsiteX34" fmla="*/ 218649 w 239809"/>
                <a:gd name="connsiteY34" fmla="*/ 134011 h 155170"/>
                <a:gd name="connsiteX35" fmla="*/ 91692 w 239809"/>
                <a:gd name="connsiteY35" fmla="*/ 91692 h 155170"/>
                <a:gd name="connsiteX36" fmla="*/ 91692 w 239809"/>
                <a:gd name="connsiteY36" fmla="*/ 63479 h 155170"/>
                <a:gd name="connsiteX37" fmla="*/ 148117 w 239809"/>
                <a:gd name="connsiteY37" fmla="*/ 63479 h 155170"/>
                <a:gd name="connsiteX38" fmla="*/ 148117 w 239809"/>
                <a:gd name="connsiteY38" fmla="*/ 91692 h 155170"/>
                <a:gd name="connsiteX39" fmla="*/ 91692 w 239809"/>
                <a:gd name="connsiteY39" fmla="*/ 91692 h 155170"/>
                <a:gd name="connsiteX40" fmla="*/ 91692 w 239809"/>
                <a:gd name="connsiteY40" fmla="*/ 134011 h 155170"/>
                <a:gd name="connsiteX41" fmla="*/ 91692 w 239809"/>
                <a:gd name="connsiteY41" fmla="*/ 105798 h 155170"/>
                <a:gd name="connsiteX42" fmla="*/ 148117 w 239809"/>
                <a:gd name="connsiteY42" fmla="*/ 105798 h 155170"/>
                <a:gd name="connsiteX43" fmla="*/ 148117 w 239809"/>
                <a:gd name="connsiteY43" fmla="*/ 134011 h 155170"/>
                <a:gd name="connsiteX44" fmla="*/ 91692 w 239809"/>
                <a:gd name="connsiteY44" fmla="*/ 134011 h 155170"/>
                <a:gd name="connsiteX45" fmla="*/ 0 w 239809"/>
                <a:gd name="connsiteY45" fmla="*/ 155171 h 155170"/>
                <a:gd name="connsiteX46" fmla="*/ 239809 w 239809"/>
                <a:gd name="connsiteY46" fmla="*/ 155171 h 155170"/>
                <a:gd name="connsiteX47" fmla="*/ 239809 w 239809"/>
                <a:gd name="connsiteY47" fmla="*/ 0 h 155170"/>
                <a:gd name="connsiteX48" fmla="*/ 0 w 239809"/>
                <a:gd name="connsiteY48" fmla="*/ 0 h 155170"/>
                <a:gd name="connsiteX49" fmla="*/ 0 w 239809"/>
                <a:gd name="connsiteY49" fmla="*/ 155171 h 155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39809" h="155170">
                  <a:moveTo>
                    <a:pt x="21160" y="105798"/>
                  </a:moveTo>
                  <a:lnTo>
                    <a:pt x="77585" y="105798"/>
                  </a:lnTo>
                  <a:lnTo>
                    <a:pt x="77585" y="134011"/>
                  </a:lnTo>
                  <a:lnTo>
                    <a:pt x="21160" y="134011"/>
                  </a:lnTo>
                  <a:lnTo>
                    <a:pt x="21160" y="105798"/>
                  </a:lnTo>
                  <a:close/>
                  <a:moveTo>
                    <a:pt x="21160" y="63479"/>
                  </a:moveTo>
                  <a:lnTo>
                    <a:pt x="77585" y="63479"/>
                  </a:lnTo>
                  <a:lnTo>
                    <a:pt x="77585" y="91692"/>
                  </a:lnTo>
                  <a:lnTo>
                    <a:pt x="21160" y="91692"/>
                  </a:lnTo>
                  <a:lnTo>
                    <a:pt x="21160" y="63479"/>
                  </a:lnTo>
                  <a:close/>
                  <a:moveTo>
                    <a:pt x="21160" y="21160"/>
                  </a:moveTo>
                  <a:lnTo>
                    <a:pt x="77585" y="21160"/>
                  </a:lnTo>
                  <a:lnTo>
                    <a:pt x="77585" y="49372"/>
                  </a:lnTo>
                  <a:lnTo>
                    <a:pt x="21160" y="49372"/>
                  </a:lnTo>
                  <a:lnTo>
                    <a:pt x="21160" y="21160"/>
                  </a:lnTo>
                  <a:close/>
                  <a:moveTo>
                    <a:pt x="148117" y="21160"/>
                  </a:moveTo>
                  <a:lnTo>
                    <a:pt x="148117" y="49372"/>
                  </a:lnTo>
                  <a:lnTo>
                    <a:pt x="91692" y="49372"/>
                  </a:lnTo>
                  <a:lnTo>
                    <a:pt x="91692" y="21160"/>
                  </a:lnTo>
                  <a:lnTo>
                    <a:pt x="148117" y="21160"/>
                  </a:lnTo>
                  <a:close/>
                  <a:moveTo>
                    <a:pt x="218649" y="21160"/>
                  </a:moveTo>
                  <a:lnTo>
                    <a:pt x="218649" y="49372"/>
                  </a:lnTo>
                  <a:lnTo>
                    <a:pt x="162224" y="49372"/>
                  </a:lnTo>
                  <a:lnTo>
                    <a:pt x="162224" y="21160"/>
                  </a:lnTo>
                  <a:lnTo>
                    <a:pt x="218649" y="21160"/>
                  </a:lnTo>
                  <a:close/>
                  <a:moveTo>
                    <a:pt x="218649" y="91692"/>
                  </a:moveTo>
                  <a:lnTo>
                    <a:pt x="162224" y="91692"/>
                  </a:lnTo>
                  <a:lnTo>
                    <a:pt x="162224" y="63479"/>
                  </a:lnTo>
                  <a:lnTo>
                    <a:pt x="218649" y="63479"/>
                  </a:lnTo>
                  <a:lnTo>
                    <a:pt x="218649" y="91692"/>
                  </a:lnTo>
                  <a:close/>
                  <a:moveTo>
                    <a:pt x="218649" y="134011"/>
                  </a:moveTo>
                  <a:lnTo>
                    <a:pt x="162224" y="134011"/>
                  </a:lnTo>
                  <a:lnTo>
                    <a:pt x="162224" y="105798"/>
                  </a:lnTo>
                  <a:lnTo>
                    <a:pt x="218649" y="105798"/>
                  </a:lnTo>
                  <a:lnTo>
                    <a:pt x="218649" y="134011"/>
                  </a:lnTo>
                  <a:close/>
                  <a:moveTo>
                    <a:pt x="91692" y="91692"/>
                  </a:moveTo>
                  <a:lnTo>
                    <a:pt x="91692" y="63479"/>
                  </a:lnTo>
                  <a:lnTo>
                    <a:pt x="148117" y="63479"/>
                  </a:lnTo>
                  <a:lnTo>
                    <a:pt x="148117" y="91692"/>
                  </a:lnTo>
                  <a:lnTo>
                    <a:pt x="91692" y="91692"/>
                  </a:lnTo>
                  <a:close/>
                  <a:moveTo>
                    <a:pt x="91692" y="134011"/>
                  </a:moveTo>
                  <a:lnTo>
                    <a:pt x="91692" y="105798"/>
                  </a:lnTo>
                  <a:lnTo>
                    <a:pt x="148117" y="105798"/>
                  </a:lnTo>
                  <a:lnTo>
                    <a:pt x="148117" y="134011"/>
                  </a:lnTo>
                  <a:lnTo>
                    <a:pt x="91692" y="134011"/>
                  </a:lnTo>
                  <a:close/>
                  <a:moveTo>
                    <a:pt x="0" y="155171"/>
                  </a:moveTo>
                  <a:lnTo>
                    <a:pt x="239809" y="155171"/>
                  </a:lnTo>
                  <a:lnTo>
                    <a:pt x="239809" y="0"/>
                  </a:lnTo>
                  <a:lnTo>
                    <a:pt x="0" y="0"/>
                  </a:lnTo>
                  <a:lnTo>
                    <a:pt x="0" y="155171"/>
                  </a:lnTo>
                  <a:close/>
                </a:path>
              </a:pathLst>
            </a:custGeom>
            <a:solidFill>
              <a:schemeClr val="tx2"/>
            </a:solidFill>
            <a:ln w="3473" cap="flat">
              <a:noFill/>
              <a:prstDash val="solid"/>
              <a:miter/>
            </a:ln>
          </p:spPr>
          <p:txBody>
            <a:bodyPr rtlCol="0" anchor="ctr"/>
            <a:lstStyle/>
            <a:p>
              <a:endParaRPr lang="en-US"/>
            </a:p>
          </p:txBody>
        </p:sp>
        <p:sp>
          <p:nvSpPr>
            <p:cNvPr id="35" name="Forme libre : forme 34">
              <a:extLst>
                <a:ext uri="{FF2B5EF4-FFF2-40B4-BE49-F238E27FC236}">
                  <a16:creationId xmlns:a16="http://schemas.microsoft.com/office/drawing/2014/main" id="{6447892F-353F-4826-B8AE-203C84EA9D80}"/>
                </a:ext>
              </a:extLst>
            </p:cNvPr>
            <p:cNvSpPr/>
            <p:nvPr/>
          </p:nvSpPr>
          <p:spPr>
            <a:xfrm>
              <a:off x="529874" y="2903376"/>
              <a:ext cx="21159" cy="42319"/>
            </a:xfrm>
            <a:custGeom>
              <a:avLst/>
              <a:gdLst>
                <a:gd name="connsiteX0" fmla="*/ 10580 w 21159"/>
                <a:gd name="connsiteY0" fmla="*/ 42319 h 42319"/>
                <a:gd name="connsiteX1" fmla="*/ 21160 w 21159"/>
                <a:gd name="connsiteY1" fmla="*/ 31739 h 42319"/>
                <a:gd name="connsiteX2" fmla="*/ 21160 w 21159"/>
                <a:gd name="connsiteY2" fmla="*/ 10580 h 42319"/>
                <a:gd name="connsiteX3" fmla="*/ 10580 w 21159"/>
                <a:gd name="connsiteY3" fmla="*/ 0 h 42319"/>
                <a:gd name="connsiteX4" fmla="*/ 0 w 21159"/>
                <a:gd name="connsiteY4" fmla="*/ 10580 h 42319"/>
                <a:gd name="connsiteX5" fmla="*/ 0 w 21159"/>
                <a:gd name="connsiteY5" fmla="*/ 31739 h 42319"/>
                <a:gd name="connsiteX6" fmla="*/ 10580 w 21159"/>
                <a:gd name="connsiteY6" fmla="*/ 42319 h 42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159" h="42319">
                  <a:moveTo>
                    <a:pt x="10580" y="42319"/>
                  </a:moveTo>
                  <a:cubicBezTo>
                    <a:pt x="16575" y="42319"/>
                    <a:pt x="21160" y="37735"/>
                    <a:pt x="21160" y="31739"/>
                  </a:cubicBezTo>
                  <a:lnTo>
                    <a:pt x="21160" y="10580"/>
                  </a:lnTo>
                  <a:cubicBezTo>
                    <a:pt x="21160" y="4585"/>
                    <a:pt x="16575" y="0"/>
                    <a:pt x="10580" y="0"/>
                  </a:cubicBezTo>
                  <a:cubicBezTo>
                    <a:pt x="4585" y="0"/>
                    <a:pt x="0" y="4585"/>
                    <a:pt x="0" y="10580"/>
                  </a:cubicBezTo>
                  <a:lnTo>
                    <a:pt x="0" y="31739"/>
                  </a:lnTo>
                  <a:cubicBezTo>
                    <a:pt x="0" y="37735"/>
                    <a:pt x="4585" y="42319"/>
                    <a:pt x="10580" y="42319"/>
                  </a:cubicBezTo>
                  <a:close/>
                </a:path>
              </a:pathLst>
            </a:custGeom>
            <a:solidFill>
              <a:schemeClr val="tx2"/>
            </a:solidFill>
            <a:ln w="3473" cap="flat">
              <a:noFill/>
              <a:prstDash val="solid"/>
              <a:miter/>
            </a:ln>
          </p:spPr>
          <p:txBody>
            <a:bodyPr rtlCol="0" anchor="ctr"/>
            <a:lstStyle/>
            <a:p>
              <a:endParaRPr lang="en-US"/>
            </a:p>
          </p:txBody>
        </p:sp>
        <p:sp>
          <p:nvSpPr>
            <p:cNvPr id="36" name="Forme libre : forme 35">
              <a:extLst>
                <a:ext uri="{FF2B5EF4-FFF2-40B4-BE49-F238E27FC236}">
                  <a16:creationId xmlns:a16="http://schemas.microsoft.com/office/drawing/2014/main" id="{07623DF0-E317-4898-BC47-0BFDF87E6F4E}"/>
                </a:ext>
              </a:extLst>
            </p:cNvPr>
            <p:cNvSpPr/>
            <p:nvPr/>
          </p:nvSpPr>
          <p:spPr>
            <a:xfrm>
              <a:off x="353544" y="2924536"/>
              <a:ext cx="239809" cy="49372"/>
            </a:xfrm>
            <a:custGeom>
              <a:avLst/>
              <a:gdLst>
                <a:gd name="connsiteX0" fmla="*/ 211596 w 239809"/>
                <a:gd name="connsiteY0" fmla="*/ 0 h 49372"/>
                <a:gd name="connsiteX1" fmla="*/ 211596 w 239809"/>
                <a:gd name="connsiteY1" fmla="*/ 10580 h 49372"/>
                <a:gd name="connsiteX2" fmla="*/ 186910 w 239809"/>
                <a:gd name="connsiteY2" fmla="*/ 35266 h 49372"/>
                <a:gd name="connsiteX3" fmla="*/ 162224 w 239809"/>
                <a:gd name="connsiteY3" fmla="*/ 10580 h 49372"/>
                <a:gd name="connsiteX4" fmla="*/ 162224 w 239809"/>
                <a:gd name="connsiteY4" fmla="*/ 0 h 49372"/>
                <a:gd name="connsiteX5" fmla="*/ 77585 w 239809"/>
                <a:gd name="connsiteY5" fmla="*/ 0 h 49372"/>
                <a:gd name="connsiteX6" fmla="*/ 77585 w 239809"/>
                <a:gd name="connsiteY6" fmla="*/ 10580 h 49372"/>
                <a:gd name="connsiteX7" fmla="*/ 52899 w 239809"/>
                <a:gd name="connsiteY7" fmla="*/ 35266 h 49372"/>
                <a:gd name="connsiteX8" fmla="*/ 28213 w 239809"/>
                <a:gd name="connsiteY8" fmla="*/ 10580 h 49372"/>
                <a:gd name="connsiteX9" fmla="*/ 28213 w 239809"/>
                <a:gd name="connsiteY9" fmla="*/ 0 h 49372"/>
                <a:gd name="connsiteX10" fmla="*/ 0 w 239809"/>
                <a:gd name="connsiteY10" fmla="*/ 0 h 49372"/>
                <a:gd name="connsiteX11" fmla="*/ 0 w 239809"/>
                <a:gd name="connsiteY11" fmla="*/ 49372 h 49372"/>
                <a:gd name="connsiteX12" fmla="*/ 239809 w 239809"/>
                <a:gd name="connsiteY12" fmla="*/ 49372 h 49372"/>
                <a:gd name="connsiteX13" fmla="*/ 239809 w 239809"/>
                <a:gd name="connsiteY13" fmla="*/ 0 h 49372"/>
                <a:gd name="connsiteX14" fmla="*/ 211596 w 239809"/>
                <a:gd name="connsiteY14" fmla="*/ 0 h 49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9809" h="49372">
                  <a:moveTo>
                    <a:pt x="211596" y="0"/>
                  </a:moveTo>
                  <a:lnTo>
                    <a:pt x="211596" y="10580"/>
                  </a:lnTo>
                  <a:cubicBezTo>
                    <a:pt x="211596" y="24334"/>
                    <a:pt x="200664" y="35266"/>
                    <a:pt x="186910" y="35266"/>
                  </a:cubicBezTo>
                  <a:cubicBezTo>
                    <a:pt x="173156" y="35266"/>
                    <a:pt x="162224" y="24334"/>
                    <a:pt x="162224" y="10580"/>
                  </a:cubicBezTo>
                  <a:lnTo>
                    <a:pt x="162224" y="0"/>
                  </a:lnTo>
                  <a:lnTo>
                    <a:pt x="77585" y="0"/>
                  </a:lnTo>
                  <a:lnTo>
                    <a:pt x="77585" y="10580"/>
                  </a:lnTo>
                  <a:cubicBezTo>
                    <a:pt x="77585" y="24334"/>
                    <a:pt x="66653" y="35266"/>
                    <a:pt x="52899" y="35266"/>
                  </a:cubicBezTo>
                  <a:cubicBezTo>
                    <a:pt x="39145" y="35266"/>
                    <a:pt x="28213" y="24334"/>
                    <a:pt x="28213" y="10580"/>
                  </a:cubicBezTo>
                  <a:lnTo>
                    <a:pt x="28213" y="0"/>
                  </a:lnTo>
                  <a:lnTo>
                    <a:pt x="0" y="0"/>
                  </a:lnTo>
                  <a:lnTo>
                    <a:pt x="0" y="49372"/>
                  </a:lnTo>
                  <a:lnTo>
                    <a:pt x="239809" y="49372"/>
                  </a:lnTo>
                  <a:lnTo>
                    <a:pt x="239809" y="0"/>
                  </a:lnTo>
                  <a:lnTo>
                    <a:pt x="211596" y="0"/>
                  </a:lnTo>
                  <a:close/>
                </a:path>
              </a:pathLst>
            </a:custGeom>
            <a:solidFill>
              <a:schemeClr val="tx2"/>
            </a:solidFill>
            <a:ln w="3473" cap="flat">
              <a:noFill/>
              <a:prstDash val="solid"/>
              <a:miter/>
            </a:ln>
          </p:spPr>
          <p:txBody>
            <a:bodyPr rtlCol="0" anchor="ctr"/>
            <a:lstStyle/>
            <a:p>
              <a:endParaRPr lang="en-US"/>
            </a:p>
          </p:txBody>
        </p:sp>
      </p:grpSp>
      <p:sp>
        <p:nvSpPr>
          <p:cNvPr id="46" name="Espace réservé du texte 2">
            <a:extLst>
              <a:ext uri="{FF2B5EF4-FFF2-40B4-BE49-F238E27FC236}">
                <a16:creationId xmlns:a16="http://schemas.microsoft.com/office/drawing/2014/main" id="{F7CBADA0-0510-4CD6-9D12-72843161FE5B}"/>
              </a:ext>
            </a:extLst>
          </p:cNvPr>
          <p:cNvSpPr txBox="1">
            <a:spLocks/>
          </p:cNvSpPr>
          <p:nvPr/>
        </p:nvSpPr>
        <p:spPr bwMode="auto">
          <a:xfrm>
            <a:off x="609618" y="3886469"/>
            <a:ext cx="1368000" cy="321087"/>
          </a:xfrm>
          <a:prstGeom prst="rect">
            <a:avLst/>
          </a:prstGeom>
          <a:noFill/>
          <a:ln>
            <a:noFill/>
          </a:ln>
        </p:spPr>
        <p:txBody>
          <a:bodyPr vert="horz" wrap="square" lIns="63120" tIns="63120" rIns="63120" bIns="63120" numCol="1" anchor="t" anchorCtr="0" compatLnSpc="1">
            <a:prstTxWarp prst="textNoShape">
              <a:avLst/>
            </a:prstTxWarp>
            <a:noAutofit/>
          </a:bodyPr>
          <a:lstStyle>
            <a:lvl1pPr marL="229122" indent="-229122" algn="l" defTabSz="893763" rtl="0" eaLnBrk="0" fontAlgn="base" hangingPunct="0">
              <a:spcBef>
                <a:spcPts val="513"/>
              </a:spcBef>
              <a:spcAft>
                <a:spcPct val="0"/>
              </a:spcAft>
              <a:buClr>
                <a:schemeClr val="tx1"/>
              </a:buClr>
              <a:buSzPct val="80000"/>
              <a:buFont typeface="Webdings" pitchFamily="18" charset="2"/>
              <a:buChar char="4"/>
              <a:defRPr sz="1400">
                <a:solidFill>
                  <a:schemeClr val="tx1"/>
                </a:solidFill>
                <a:latin typeface="Arial" pitchFamily="34" charset="0"/>
                <a:ea typeface="+mn-ea"/>
                <a:cs typeface="Arial" pitchFamily="34" charset="0"/>
              </a:defRPr>
            </a:lvl1pPr>
            <a:lvl2pPr marL="460972" indent="-231850" algn="l" defTabSz="893763" rtl="0" eaLnBrk="0" fontAlgn="base" hangingPunct="0">
              <a:spcBef>
                <a:spcPts val="513"/>
              </a:spcBef>
              <a:spcAft>
                <a:spcPct val="0"/>
              </a:spcAft>
              <a:buClr>
                <a:schemeClr val="tx1"/>
              </a:buClr>
              <a:buSzPct val="80000"/>
              <a:buFont typeface="Wingdings" pitchFamily="2" charset="2"/>
              <a:buChar char="§"/>
              <a:defRPr sz="1200">
                <a:solidFill>
                  <a:schemeClr val="tx1"/>
                </a:solidFill>
                <a:latin typeface="Arial" pitchFamily="34" charset="0"/>
                <a:cs typeface="Arial" pitchFamily="34" charset="0"/>
              </a:defRPr>
            </a:lvl2pPr>
            <a:lvl3pPr marL="621902" indent="-152748" algn="l" defTabSz="893763" rtl="0" eaLnBrk="0" fontAlgn="base" hangingPunct="0">
              <a:spcBef>
                <a:spcPts val="513"/>
              </a:spcBef>
              <a:spcAft>
                <a:spcPct val="0"/>
              </a:spcAft>
              <a:buSzPct val="80000"/>
              <a:buFont typeface="Arial" charset="0"/>
              <a:buChar char="-"/>
              <a:defRPr sz="1000">
                <a:solidFill>
                  <a:schemeClr val="tx1"/>
                </a:solidFill>
                <a:latin typeface="Arial" pitchFamily="34" charset="0"/>
                <a:cs typeface="Arial" pitchFamily="34" charset="0"/>
              </a:defRPr>
            </a:lvl3pPr>
            <a:lvl4pPr marL="776015" indent="-165023" algn="l" defTabSz="893763" rtl="0" eaLnBrk="0" fontAlgn="base" hangingPunct="0">
              <a:spcBef>
                <a:spcPts val="513"/>
              </a:spcBef>
              <a:spcAft>
                <a:spcPct val="0"/>
              </a:spcAft>
              <a:buChar char="–"/>
              <a:defRPr sz="900">
                <a:solidFill>
                  <a:schemeClr val="tx1"/>
                </a:solidFill>
                <a:latin typeface="+mn-lt"/>
                <a:cs typeface="Arial" charset="0"/>
              </a:defRPr>
            </a:lvl4pPr>
            <a:lvl5pPr marL="849661" indent="-75011" algn="l" defTabSz="893763" rtl="0" eaLnBrk="0" fontAlgn="base" hangingPunct="0">
              <a:spcBef>
                <a:spcPts val="513"/>
              </a:spcBef>
              <a:spcAft>
                <a:spcPct val="0"/>
              </a:spcAft>
              <a:buSzPct val="80000"/>
              <a:buFont typeface="Arial" charset="0"/>
              <a:buChar char="-"/>
              <a:defRPr sz="900">
                <a:solidFill>
                  <a:schemeClr val="tx1"/>
                </a:solidFill>
                <a:latin typeface="+mn-lt"/>
                <a:cs typeface="Arial" charset="0"/>
              </a:defRPr>
            </a:lvl5pPr>
            <a:lvl6pPr marL="2408356" indent="-223652" algn="l" defTabSz="895974" rtl="0" eaLnBrk="1" fontAlgn="base" hangingPunct="1">
              <a:spcBef>
                <a:spcPct val="20000"/>
              </a:spcBef>
              <a:spcAft>
                <a:spcPct val="0"/>
              </a:spcAft>
              <a:buChar char="»"/>
              <a:defRPr>
                <a:solidFill>
                  <a:schemeClr val="tx1"/>
                </a:solidFill>
                <a:latin typeface="+mn-lt"/>
              </a:defRPr>
            </a:lvl6pPr>
            <a:lvl7pPr marL="2801112" indent="-223652" algn="l" defTabSz="895974" rtl="0" eaLnBrk="1" fontAlgn="base" hangingPunct="1">
              <a:spcBef>
                <a:spcPct val="20000"/>
              </a:spcBef>
              <a:spcAft>
                <a:spcPct val="0"/>
              </a:spcAft>
              <a:buChar char="»"/>
              <a:defRPr>
                <a:solidFill>
                  <a:schemeClr val="tx1"/>
                </a:solidFill>
                <a:latin typeface="+mn-lt"/>
              </a:defRPr>
            </a:lvl7pPr>
            <a:lvl8pPr marL="3193868" indent="-223652" algn="l" defTabSz="895974" rtl="0" eaLnBrk="1" fontAlgn="base" hangingPunct="1">
              <a:spcBef>
                <a:spcPct val="20000"/>
              </a:spcBef>
              <a:spcAft>
                <a:spcPct val="0"/>
              </a:spcAft>
              <a:buChar char="»"/>
              <a:defRPr>
                <a:solidFill>
                  <a:schemeClr val="tx1"/>
                </a:solidFill>
                <a:latin typeface="+mn-lt"/>
              </a:defRPr>
            </a:lvl8pPr>
            <a:lvl9pPr marL="3586623" indent="-223652" algn="l" defTabSz="895974" rtl="0" eaLnBrk="1" fontAlgn="base" hangingPunct="1">
              <a:spcBef>
                <a:spcPct val="20000"/>
              </a:spcBef>
              <a:spcAft>
                <a:spcPct val="0"/>
              </a:spcAft>
              <a:buChar char="»"/>
              <a:defRPr>
                <a:solidFill>
                  <a:schemeClr val="tx1"/>
                </a:solidFill>
                <a:latin typeface="+mn-lt"/>
              </a:defRPr>
            </a:lvl9pPr>
          </a:lstStyle>
          <a:p>
            <a:pPr marL="0" indent="0" defTabSz="893852">
              <a:spcBef>
                <a:spcPts val="0"/>
              </a:spcBef>
              <a:spcAft>
                <a:spcPts val="0"/>
              </a:spcAft>
              <a:buClr>
                <a:srgbClr val="1B4276"/>
              </a:buClr>
              <a:buNone/>
              <a:defRPr/>
            </a:pPr>
            <a:r>
              <a:rPr lang="fr-FR" sz="1600" b="1" kern="0" dirty="0">
                <a:solidFill>
                  <a:schemeClr val="tx2"/>
                </a:solidFill>
                <a:latin typeface="+mn-lt"/>
              </a:rPr>
              <a:t>Financement</a:t>
            </a:r>
            <a:endParaRPr lang="fr-FR" sz="1600" kern="0" dirty="0">
              <a:solidFill>
                <a:schemeClr val="tx2"/>
              </a:solidFill>
              <a:latin typeface="+mn-lt"/>
            </a:endParaRPr>
          </a:p>
        </p:txBody>
      </p:sp>
      <p:sp>
        <p:nvSpPr>
          <p:cNvPr id="47" name="Rectangle 46">
            <a:extLst>
              <a:ext uri="{FF2B5EF4-FFF2-40B4-BE49-F238E27FC236}">
                <a16:creationId xmlns:a16="http://schemas.microsoft.com/office/drawing/2014/main" id="{44302A31-7D85-4DB0-9C73-5F09D2E6B6A1}"/>
              </a:ext>
            </a:extLst>
          </p:cNvPr>
          <p:cNvSpPr/>
          <p:nvPr/>
        </p:nvSpPr>
        <p:spPr>
          <a:xfrm>
            <a:off x="2619100" y="4013403"/>
            <a:ext cx="1875289" cy="226000"/>
          </a:xfrm>
          <a:prstGeom prst="rect">
            <a:avLst/>
          </a:prstGeom>
          <a:noFill/>
          <a:ln>
            <a:noFill/>
          </a:ln>
        </p:spPr>
        <p:txBody>
          <a:bodyPr wrap="square" lIns="0" tIns="0" rIns="0" bIns="0" rtlCol="0" anchor="ctr"/>
          <a:lstStyle/>
          <a:p>
            <a:pPr algn="ctr"/>
            <a:r>
              <a:rPr lang="fr-FR" sz="1600" dirty="0">
                <a:solidFill>
                  <a:schemeClr val="tx2"/>
                </a:solidFill>
              </a:rPr>
              <a:t>Co-financement Etat-Région à 100 % (remboursement)</a:t>
            </a:r>
          </a:p>
        </p:txBody>
      </p:sp>
      <p:pic>
        <p:nvPicPr>
          <p:cNvPr id="48" name="Graphique 47" descr="Argent">
            <a:extLst>
              <a:ext uri="{FF2B5EF4-FFF2-40B4-BE49-F238E27FC236}">
                <a16:creationId xmlns:a16="http://schemas.microsoft.com/office/drawing/2014/main" id="{65C0A7C8-A6CA-4593-8234-B52C90D39C01}"/>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57892" y="3886469"/>
            <a:ext cx="328056" cy="328056"/>
          </a:xfrm>
          <a:prstGeom prst="rect">
            <a:avLst/>
          </a:prstGeom>
        </p:spPr>
      </p:pic>
      <p:sp>
        <p:nvSpPr>
          <p:cNvPr id="49" name="Rectangle 48">
            <a:extLst>
              <a:ext uri="{FF2B5EF4-FFF2-40B4-BE49-F238E27FC236}">
                <a16:creationId xmlns:a16="http://schemas.microsoft.com/office/drawing/2014/main" id="{64CBEA75-831F-498C-89BD-2C43223BBA14}"/>
              </a:ext>
            </a:extLst>
          </p:cNvPr>
          <p:cNvSpPr/>
          <p:nvPr/>
        </p:nvSpPr>
        <p:spPr>
          <a:xfrm>
            <a:off x="7718425" y="4030643"/>
            <a:ext cx="3154537" cy="510860"/>
          </a:xfrm>
          <a:prstGeom prst="rect">
            <a:avLst/>
          </a:prstGeom>
          <a:solidFill>
            <a:schemeClr val="bg1"/>
          </a:solidFill>
          <a:ln>
            <a:noFill/>
          </a:ln>
        </p:spPr>
        <p:txBody>
          <a:bodyPr wrap="square" lIns="0" tIns="0" rIns="0" bIns="0" rtlCol="0" anchor="ctr"/>
          <a:lstStyle/>
          <a:p>
            <a:pPr algn="ctr"/>
            <a:r>
              <a:rPr lang="fr-FR" sz="1600" dirty="0">
                <a:solidFill>
                  <a:schemeClr val="tx2"/>
                </a:solidFill>
              </a:rPr>
              <a:t>Pris en charge</a:t>
            </a:r>
          </a:p>
          <a:p>
            <a:pPr algn="ctr"/>
            <a:r>
              <a:rPr lang="fr-FR" sz="1600" dirty="0">
                <a:solidFill>
                  <a:schemeClr val="tx2"/>
                </a:solidFill>
              </a:rPr>
              <a:t>jusqu’à 50 % (remboursement)</a:t>
            </a:r>
          </a:p>
        </p:txBody>
      </p:sp>
      <p:cxnSp>
        <p:nvCxnSpPr>
          <p:cNvPr id="50" name="Horizontal Line">
            <a:extLst>
              <a:ext uri="{FF2B5EF4-FFF2-40B4-BE49-F238E27FC236}">
                <a16:creationId xmlns:a16="http://schemas.microsoft.com/office/drawing/2014/main" id="{E8F3AE19-7A21-42F2-856F-5C6DBEF1E5A6}"/>
              </a:ext>
            </a:extLst>
          </p:cNvPr>
          <p:cNvCxnSpPr>
            <a:cxnSpLocks/>
          </p:cNvCxnSpPr>
          <p:nvPr/>
        </p:nvCxnSpPr>
        <p:spPr>
          <a:xfrm flipV="1">
            <a:off x="5561376" y="2372800"/>
            <a:ext cx="0" cy="4680000"/>
          </a:xfrm>
          <a:prstGeom prst="line">
            <a:avLst/>
          </a:prstGeom>
          <a:ln w="12700" cmpd="sng">
            <a:solidFill>
              <a:schemeClr val="bg1">
                <a:lumMod val="85000"/>
              </a:schemeClr>
            </a:solidFill>
            <a:prstDash val="dash"/>
          </a:ln>
          <a:effectLst/>
        </p:spPr>
        <p:style>
          <a:lnRef idx="1">
            <a:schemeClr val="accent1"/>
          </a:lnRef>
          <a:fillRef idx="0">
            <a:schemeClr val="accent1"/>
          </a:fillRef>
          <a:effectRef idx="0">
            <a:schemeClr val="accent1"/>
          </a:effectRef>
          <a:fontRef idx="minor">
            <a:schemeClr val="tx1"/>
          </a:fontRef>
        </p:style>
      </p:cxnSp>
      <p:cxnSp>
        <p:nvCxnSpPr>
          <p:cNvPr id="40" name="Horizontal Line">
            <a:extLst>
              <a:ext uri="{FF2B5EF4-FFF2-40B4-BE49-F238E27FC236}">
                <a16:creationId xmlns:a16="http://schemas.microsoft.com/office/drawing/2014/main" id="{F375D99E-1ADD-41C6-962C-59EE097E5759}"/>
              </a:ext>
            </a:extLst>
          </p:cNvPr>
          <p:cNvCxnSpPr>
            <a:cxnSpLocks/>
          </p:cNvCxnSpPr>
          <p:nvPr/>
        </p:nvCxnSpPr>
        <p:spPr>
          <a:xfrm flipV="1">
            <a:off x="9242425" y="2408200"/>
            <a:ext cx="0" cy="1404000"/>
          </a:xfrm>
          <a:prstGeom prst="line">
            <a:avLst/>
          </a:prstGeom>
          <a:ln w="12700" cmpd="sng">
            <a:solidFill>
              <a:schemeClr val="bg1">
                <a:lumMod val="85000"/>
              </a:schemeClr>
            </a:solidFill>
            <a:prstDash val="dash"/>
          </a:ln>
          <a:effectLst/>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4007E70A-46BA-4C15-9A46-D8D168BF5F9E}"/>
              </a:ext>
            </a:extLst>
          </p:cNvPr>
          <p:cNvSpPr/>
          <p:nvPr/>
        </p:nvSpPr>
        <p:spPr>
          <a:xfrm>
            <a:off x="4565816" y="7061213"/>
            <a:ext cx="7784256" cy="461665"/>
          </a:xfrm>
          <a:prstGeom prst="rect">
            <a:avLst/>
          </a:prstGeom>
        </p:spPr>
        <p:txBody>
          <a:bodyPr wrap="square">
            <a:spAutoFit/>
          </a:bodyPr>
          <a:lstStyle/>
          <a:p>
            <a:pPr algn="r"/>
            <a:r>
              <a:rPr lang="fr-FR" sz="1200" i="1" dirty="0">
                <a:solidFill>
                  <a:schemeClr val="tx2"/>
                </a:solidFill>
              </a:rPr>
              <a:t>(*) durée adaptable en fonction de la disponibilité, structure et autonomie de l’entreprise accompagnée</a:t>
            </a:r>
          </a:p>
          <a:p>
            <a:pPr algn="r"/>
            <a:r>
              <a:rPr lang="fr-FR" sz="1200" i="1" dirty="0">
                <a:solidFill>
                  <a:schemeClr val="tx2"/>
                </a:solidFill>
              </a:rPr>
              <a:t>(**) Sur la base d’un remboursement après règlement</a:t>
            </a:r>
          </a:p>
        </p:txBody>
      </p:sp>
      <p:sp>
        <p:nvSpPr>
          <p:cNvPr id="51" name="Espace réservé du texte 2">
            <a:extLst>
              <a:ext uri="{FF2B5EF4-FFF2-40B4-BE49-F238E27FC236}">
                <a16:creationId xmlns:a16="http://schemas.microsoft.com/office/drawing/2014/main" id="{690E9E20-F466-4221-91A9-E4F3A3066BAF}"/>
              </a:ext>
            </a:extLst>
          </p:cNvPr>
          <p:cNvSpPr txBox="1">
            <a:spLocks/>
          </p:cNvSpPr>
          <p:nvPr/>
        </p:nvSpPr>
        <p:spPr bwMode="auto">
          <a:xfrm>
            <a:off x="633241" y="4737346"/>
            <a:ext cx="1368000" cy="321087"/>
          </a:xfrm>
          <a:prstGeom prst="rect">
            <a:avLst/>
          </a:prstGeom>
          <a:noFill/>
          <a:ln>
            <a:noFill/>
          </a:ln>
        </p:spPr>
        <p:txBody>
          <a:bodyPr vert="horz" wrap="square" lIns="63120" tIns="63120" rIns="63120" bIns="63120" numCol="1" anchor="t" anchorCtr="0" compatLnSpc="1">
            <a:prstTxWarp prst="textNoShape">
              <a:avLst/>
            </a:prstTxWarp>
            <a:noAutofit/>
          </a:bodyPr>
          <a:lstStyle>
            <a:lvl1pPr marL="229122" indent="-229122" algn="l" defTabSz="893763" rtl="0" eaLnBrk="0" fontAlgn="base" hangingPunct="0">
              <a:spcBef>
                <a:spcPts val="513"/>
              </a:spcBef>
              <a:spcAft>
                <a:spcPct val="0"/>
              </a:spcAft>
              <a:buClr>
                <a:schemeClr val="tx1"/>
              </a:buClr>
              <a:buSzPct val="80000"/>
              <a:buFont typeface="Webdings" pitchFamily="18" charset="2"/>
              <a:buChar char="4"/>
              <a:defRPr sz="1400">
                <a:solidFill>
                  <a:schemeClr val="tx1"/>
                </a:solidFill>
                <a:latin typeface="Arial" pitchFamily="34" charset="0"/>
                <a:ea typeface="+mn-ea"/>
                <a:cs typeface="Arial" pitchFamily="34" charset="0"/>
              </a:defRPr>
            </a:lvl1pPr>
            <a:lvl2pPr marL="460972" indent="-231850" algn="l" defTabSz="893763" rtl="0" eaLnBrk="0" fontAlgn="base" hangingPunct="0">
              <a:spcBef>
                <a:spcPts val="513"/>
              </a:spcBef>
              <a:spcAft>
                <a:spcPct val="0"/>
              </a:spcAft>
              <a:buClr>
                <a:schemeClr val="tx1"/>
              </a:buClr>
              <a:buSzPct val="80000"/>
              <a:buFont typeface="Wingdings" pitchFamily="2" charset="2"/>
              <a:buChar char="§"/>
              <a:defRPr sz="1200">
                <a:solidFill>
                  <a:schemeClr val="tx1"/>
                </a:solidFill>
                <a:latin typeface="Arial" pitchFamily="34" charset="0"/>
                <a:cs typeface="Arial" pitchFamily="34" charset="0"/>
              </a:defRPr>
            </a:lvl2pPr>
            <a:lvl3pPr marL="621902" indent="-152748" algn="l" defTabSz="893763" rtl="0" eaLnBrk="0" fontAlgn="base" hangingPunct="0">
              <a:spcBef>
                <a:spcPts val="513"/>
              </a:spcBef>
              <a:spcAft>
                <a:spcPct val="0"/>
              </a:spcAft>
              <a:buSzPct val="80000"/>
              <a:buFont typeface="Arial" charset="0"/>
              <a:buChar char="-"/>
              <a:defRPr sz="1000">
                <a:solidFill>
                  <a:schemeClr val="tx1"/>
                </a:solidFill>
                <a:latin typeface="Arial" pitchFamily="34" charset="0"/>
                <a:cs typeface="Arial" pitchFamily="34" charset="0"/>
              </a:defRPr>
            </a:lvl3pPr>
            <a:lvl4pPr marL="776015" indent="-165023" algn="l" defTabSz="893763" rtl="0" eaLnBrk="0" fontAlgn="base" hangingPunct="0">
              <a:spcBef>
                <a:spcPts val="513"/>
              </a:spcBef>
              <a:spcAft>
                <a:spcPct val="0"/>
              </a:spcAft>
              <a:buChar char="–"/>
              <a:defRPr sz="900">
                <a:solidFill>
                  <a:schemeClr val="tx1"/>
                </a:solidFill>
                <a:latin typeface="+mn-lt"/>
                <a:cs typeface="Arial" charset="0"/>
              </a:defRPr>
            </a:lvl4pPr>
            <a:lvl5pPr marL="849661" indent="-75011" algn="l" defTabSz="893763" rtl="0" eaLnBrk="0" fontAlgn="base" hangingPunct="0">
              <a:spcBef>
                <a:spcPts val="513"/>
              </a:spcBef>
              <a:spcAft>
                <a:spcPct val="0"/>
              </a:spcAft>
              <a:buSzPct val="80000"/>
              <a:buFont typeface="Arial" charset="0"/>
              <a:buChar char="-"/>
              <a:defRPr sz="900">
                <a:solidFill>
                  <a:schemeClr val="tx1"/>
                </a:solidFill>
                <a:latin typeface="+mn-lt"/>
                <a:cs typeface="Arial" charset="0"/>
              </a:defRPr>
            </a:lvl5pPr>
            <a:lvl6pPr marL="2408356" indent="-223652" algn="l" defTabSz="895974" rtl="0" eaLnBrk="1" fontAlgn="base" hangingPunct="1">
              <a:spcBef>
                <a:spcPct val="20000"/>
              </a:spcBef>
              <a:spcAft>
                <a:spcPct val="0"/>
              </a:spcAft>
              <a:buChar char="»"/>
              <a:defRPr>
                <a:solidFill>
                  <a:schemeClr val="tx1"/>
                </a:solidFill>
                <a:latin typeface="+mn-lt"/>
              </a:defRPr>
            </a:lvl6pPr>
            <a:lvl7pPr marL="2801112" indent="-223652" algn="l" defTabSz="895974" rtl="0" eaLnBrk="1" fontAlgn="base" hangingPunct="1">
              <a:spcBef>
                <a:spcPct val="20000"/>
              </a:spcBef>
              <a:spcAft>
                <a:spcPct val="0"/>
              </a:spcAft>
              <a:buChar char="»"/>
              <a:defRPr>
                <a:solidFill>
                  <a:schemeClr val="tx1"/>
                </a:solidFill>
                <a:latin typeface="+mn-lt"/>
              </a:defRPr>
            </a:lvl7pPr>
            <a:lvl8pPr marL="3193868" indent="-223652" algn="l" defTabSz="895974" rtl="0" eaLnBrk="1" fontAlgn="base" hangingPunct="1">
              <a:spcBef>
                <a:spcPct val="20000"/>
              </a:spcBef>
              <a:spcAft>
                <a:spcPct val="0"/>
              </a:spcAft>
              <a:buChar char="»"/>
              <a:defRPr>
                <a:solidFill>
                  <a:schemeClr val="tx1"/>
                </a:solidFill>
                <a:latin typeface="+mn-lt"/>
              </a:defRPr>
            </a:lvl8pPr>
            <a:lvl9pPr marL="3586623" indent="-223652" algn="l" defTabSz="895974" rtl="0" eaLnBrk="1" fontAlgn="base" hangingPunct="1">
              <a:spcBef>
                <a:spcPct val="20000"/>
              </a:spcBef>
              <a:spcAft>
                <a:spcPct val="0"/>
              </a:spcAft>
              <a:buChar char="»"/>
              <a:defRPr>
                <a:solidFill>
                  <a:schemeClr val="tx1"/>
                </a:solidFill>
                <a:latin typeface="+mn-lt"/>
              </a:defRPr>
            </a:lvl9pPr>
          </a:lstStyle>
          <a:p>
            <a:pPr marL="0" indent="0" defTabSz="893852">
              <a:spcBef>
                <a:spcPts val="0"/>
              </a:spcBef>
              <a:spcAft>
                <a:spcPts val="0"/>
              </a:spcAft>
              <a:buClr>
                <a:srgbClr val="1B4276"/>
              </a:buClr>
              <a:buNone/>
              <a:defRPr/>
            </a:pPr>
            <a:r>
              <a:rPr lang="fr-FR" sz="1600" b="1" kern="0" dirty="0">
                <a:solidFill>
                  <a:schemeClr val="tx2"/>
                </a:solidFill>
                <a:latin typeface="+mn-lt"/>
              </a:rPr>
              <a:t>Contenu</a:t>
            </a:r>
            <a:endParaRPr lang="fr-FR" sz="1600" kern="0" dirty="0">
              <a:solidFill>
                <a:schemeClr val="tx2"/>
              </a:solidFill>
              <a:latin typeface="+mn-lt"/>
            </a:endParaRPr>
          </a:p>
        </p:txBody>
      </p:sp>
      <p:sp>
        <p:nvSpPr>
          <p:cNvPr id="53" name="Rectangle 52">
            <a:extLst>
              <a:ext uri="{FF2B5EF4-FFF2-40B4-BE49-F238E27FC236}">
                <a16:creationId xmlns:a16="http://schemas.microsoft.com/office/drawing/2014/main" id="{216EACD5-71B3-40A9-ADD5-BA2EA8E0E0E4}"/>
              </a:ext>
            </a:extLst>
          </p:cNvPr>
          <p:cNvSpPr/>
          <p:nvPr/>
        </p:nvSpPr>
        <p:spPr>
          <a:xfrm>
            <a:off x="1865019" y="4630600"/>
            <a:ext cx="3631750" cy="1440000"/>
          </a:xfrm>
          <a:prstGeom prst="rect">
            <a:avLst/>
          </a:prstGeom>
          <a:noFill/>
          <a:ln>
            <a:noFill/>
          </a:ln>
        </p:spPr>
        <p:txBody>
          <a:bodyPr wrap="square" lIns="0" tIns="0" rIns="0" bIns="0" rtlCol="0" anchor="ctr"/>
          <a:lstStyle/>
          <a:p>
            <a:pPr marL="285750" indent="-285750" algn="ctr">
              <a:buFont typeface="Arial" panose="020B0604020202020204" pitchFamily="34" charset="0"/>
              <a:buChar char="•"/>
            </a:pPr>
            <a:r>
              <a:rPr lang="fr-FR" sz="1600" dirty="0">
                <a:solidFill>
                  <a:schemeClr val="tx2"/>
                </a:solidFill>
              </a:rPr>
              <a:t>Diagnostic « 360° »</a:t>
            </a:r>
          </a:p>
          <a:p>
            <a:pPr algn="ctr"/>
            <a:r>
              <a:rPr lang="fr-FR" sz="1600" dirty="0">
                <a:solidFill>
                  <a:schemeClr val="tx2"/>
                </a:solidFill>
              </a:rPr>
              <a:t>de votre entreprise</a:t>
            </a:r>
          </a:p>
          <a:p>
            <a:pPr marL="285750" indent="-285750" algn="ctr">
              <a:buFont typeface="Arial" panose="020B0604020202020204" pitchFamily="34" charset="0"/>
              <a:buChar char="•"/>
            </a:pPr>
            <a:r>
              <a:rPr lang="fr-FR" sz="1600" dirty="0">
                <a:solidFill>
                  <a:schemeClr val="tx2"/>
                </a:solidFill>
              </a:rPr>
              <a:t>Définition des objectifs prioritaires</a:t>
            </a:r>
          </a:p>
          <a:p>
            <a:pPr algn="ctr"/>
            <a:r>
              <a:rPr lang="fr-FR" sz="1600" dirty="0">
                <a:solidFill>
                  <a:schemeClr val="tx2"/>
                </a:solidFill>
              </a:rPr>
              <a:t>de votre transformation</a:t>
            </a:r>
          </a:p>
        </p:txBody>
      </p:sp>
      <p:sp>
        <p:nvSpPr>
          <p:cNvPr id="54" name="Rectangle 53">
            <a:extLst>
              <a:ext uri="{FF2B5EF4-FFF2-40B4-BE49-F238E27FC236}">
                <a16:creationId xmlns:a16="http://schemas.microsoft.com/office/drawing/2014/main" id="{C13B50D2-9D5D-49DA-B90D-51E9920A1B6E}"/>
              </a:ext>
            </a:extLst>
          </p:cNvPr>
          <p:cNvSpPr/>
          <p:nvPr/>
        </p:nvSpPr>
        <p:spPr>
          <a:xfrm>
            <a:off x="5605635" y="4630600"/>
            <a:ext cx="3631751" cy="1440000"/>
          </a:xfrm>
          <a:prstGeom prst="rect">
            <a:avLst/>
          </a:prstGeom>
          <a:noFill/>
          <a:ln>
            <a:noFill/>
          </a:ln>
        </p:spPr>
        <p:txBody>
          <a:bodyPr wrap="square" lIns="0" tIns="0" rIns="0" bIns="0" rtlCol="0" anchor="ctr"/>
          <a:lstStyle/>
          <a:p>
            <a:pPr marL="285750" indent="-285750" algn="ctr">
              <a:buFont typeface="Arial" panose="020B0604020202020204" pitchFamily="34" charset="0"/>
              <a:buChar char="•"/>
            </a:pPr>
            <a:r>
              <a:rPr lang="fr-FR" sz="1600" dirty="0">
                <a:solidFill>
                  <a:schemeClr val="tx2"/>
                </a:solidFill>
              </a:rPr>
              <a:t>Plan d’actions priorisées</a:t>
            </a:r>
          </a:p>
          <a:p>
            <a:pPr marL="285750" indent="-285750" algn="ctr">
              <a:buFont typeface="Arial" panose="020B0604020202020204" pitchFamily="34" charset="0"/>
              <a:buChar char="•"/>
            </a:pPr>
            <a:r>
              <a:rPr lang="fr-FR" sz="1600" dirty="0">
                <a:solidFill>
                  <a:schemeClr val="tx2"/>
                </a:solidFill>
              </a:rPr>
              <a:t>Business plan avec évaluation du   retour sur investissement</a:t>
            </a:r>
          </a:p>
        </p:txBody>
      </p:sp>
      <p:sp>
        <p:nvSpPr>
          <p:cNvPr id="55" name="Rectangle 54">
            <a:extLst>
              <a:ext uri="{FF2B5EF4-FFF2-40B4-BE49-F238E27FC236}">
                <a16:creationId xmlns:a16="http://schemas.microsoft.com/office/drawing/2014/main" id="{AF5A75F4-9DFD-4595-85F2-3D9FB5FAB11B}"/>
              </a:ext>
            </a:extLst>
          </p:cNvPr>
          <p:cNvSpPr/>
          <p:nvPr/>
        </p:nvSpPr>
        <p:spPr>
          <a:xfrm>
            <a:off x="9551489" y="4630600"/>
            <a:ext cx="3362143" cy="1440000"/>
          </a:xfrm>
          <a:prstGeom prst="rect">
            <a:avLst/>
          </a:prstGeom>
          <a:noFill/>
          <a:ln>
            <a:noFill/>
          </a:ln>
        </p:spPr>
        <p:txBody>
          <a:bodyPr wrap="square" lIns="0" tIns="0" rIns="0" bIns="0" rtlCol="0" anchor="ctr"/>
          <a:lstStyle/>
          <a:p>
            <a:pPr marL="285750" indent="-285750" algn="ctr">
              <a:buFont typeface="Arial" panose="020B0604020202020204" pitchFamily="34" charset="0"/>
              <a:buChar char="•"/>
            </a:pPr>
            <a:r>
              <a:rPr lang="fr-FR" sz="1600" dirty="0">
                <a:solidFill>
                  <a:schemeClr val="tx2"/>
                </a:solidFill>
              </a:rPr>
              <a:t>Mise en œuvre d’actions</a:t>
            </a:r>
          </a:p>
          <a:p>
            <a:pPr algn="ctr"/>
            <a:r>
              <a:rPr lang="fr-FR" sz="1600" dirty="0">
                <a:solidFill>
                  <a:schemeClr val="tx2"/>
                </a:solidFill>
              </a:rPr>
              <a:t>opérationnelles</a:t>
            </a:r>
          </a:p>
        </p:txBody>
      </p:sp>
      <p:sp>
        <p:nvSpPr>
          <p:cNvPr id="56" name="Espace réservé du texte 2">
            <a:extLst>
              <a:ext uri="{FF2B5EF4-FFF2-40B4-BE49-F238E27FC236}">
                <a16:creationId xmlns:a16="http://schemas.microsoft.com/office/drawing/2014/main" id="{8608DA5A-8438-4F8B-AA5D-4323A6DB7A41}"/>
              </a:ext>
            </a:extLst>
          </p:cNvPr>
          <p:cNvSpPr txBox="1">
            <a:spLocks/>
          </p:cNvSpPr>
          <p:nvPr/>
        </p:nvSpPr>
        <p:spPr bwMode="auto">
          <a:xfrm>
            <a:off x="596744" y="6143294"/>
            <a:ext cx="1827384" cy="993013"/>
          </a:xfrm>
          <a:prstGeom prst="rect">
            <a:avLst/>
          </a:prstGeom>
          <a:noFill/>
          <a:ln>
            <a:noFill/>
          </a:ln>
        </p:spPr>
        <p:txBody>
          <a:bodyPr vert="horz" wrap="square" lIns="63120" tIns="63120" rIns="63120" bIns="63120" numCol="1" anchor="t" anchorCtr="0" compatLnSpc="1">
            <a:prstTxWarp prst="textNoShape">
              <a:avLst/>
            </a:prstTxWarp>
            <a:noAutofit/>
          </a:bodyPr>
          <a:lstStyle>
            <a:lvl1pPr marL="229122" indent="-229122" algn="l" defTabSz="893763" rtl="0" eaLnBrk="0" fontAlgn="base" hangingPunct="0">
              <a:spcBef>
                <a:spcPts val="513"/>
              </a:spcBef>
              <a:spcAft>
                <a:spcPct val="0"/>
              </a:spcAft>
              <a:buClr>
                <a:schemeClr val="tx1"/>
              </a:buClr>
              <a:buSzPct val="80000"/>
              <a:buFont typeface="Webdings" pitchFamily="18" charset="2"/>
              <a:buChar char="4"/>
              <a:defRPr sz="1400">
                <a:solidFill>
                  <a:schemeClr val="tx1"/>
                </a:solidFill>
                <a:latin typeface="Arial" pitchFamily="34" charset="0"/>
                <a:ea typeface="+mn-ea"/>
                <a:cs typeface="Arial" pitchFamily="34" charset="0"/>
              </a:defRPr>
            </a:lvl1pPr>
            <a:lvl2pPr marL="460972" indent="-231850" algn="l" defTabSz="893763" rtl="0" eaLnBrk="0" fontAlgn="base" hangingPunct="0">
              <a:spcBef>
                <a:spcPts val="513"/>
              </a:spcBef>
              <a:spcAft>
                <a:spcPct val="0"/>
              </a:spcAft>
              <a:buClr>
                <a:schemeClr val="tx1"/>
              </a:buClr>
              <a:buSzPct val="80000"/>
              <a:buFont typeface="Wingdings" pitchFamily="2" charset="2"/>
              <a:buChar char="§"/>
              <a:defRPr sz="1200">
                <a:solidFill>
                  <a:schemeClr val="tx1"/>
                </a:solidFill>
                <a:latin typeface="Arial" pitchFamily="34" charset="0"/>
                <a:cs typeface="Arial" pitchFamily="34" charset="0"/>
              </a:defRPr>
            </a:lvl2pPr>
            <a:lvl3pPr marL="621902" indent="-152748" algn="l" defTabSz="893763" rtl="0" eaLnBrk="0" fontAlgn="base" hangingPunct="0">
              <a:spcBef>
                <a:spcPts val="513"/>
              </a:spcBef>
              <a:spcAft>
                <a:spcPct val="0"/>
              </a:spcAft>
              <a:buSzPct val="80000"/>
              <a:buFont typeface="Arial" charset="0"/>
              <a:buChar char="-"/>
              <a:defRPr sz="1000">
                <a:solidFill>
                  <a:schemeClr val="tx1"/>
                </a:solidFill>
                <a:latin typeface="Arial" pitchFamily="34" charset="0"/>
                <a:cs typeface="Arial" pitchFamily="34" charset="0"/>
              </a:defRPr>
            </a:lvl3pPr>
            <a:lvl4pPr marL="776015" indent="-165023" algn="l" defTabSz="893763" rtl="0" eaLnBrk="0" fontAlgn="base" hangingPunct="0">
              <a:spcBef>
                <a:spcPts val="513"/>
              </a:spcBef>
              <a:spcAft>
                <a:spcPct val="0"/>
              </a:spcAft>
              <a:buChar char="–"/>
              <a:defRPr sz="900">
                <a:solidFill>
                  <a:schemeClr val="tx1"/>
                </a:solidFill>
                <a:latin typeface="+mn-lt"/>
                <a:cs typeface="Arial" charset="0"/>
              </a:defRPr>
            </a:lvl4pPr>
            <a:lvl5pPr marL="849661" indent="-75011" algn="l" defTabSz="893763" rtl="0" eaLnBrk="0" fontAlgn="base" hangingPunct="0">
              <a:spcBef>
                <a:spcPts val="513"/>
              </a:spcBef>
              <a:spcAft>
                <a:spcPct val="0"/>
              </a:spcAft>
              <a:buSzPct val="80000"/>
              <a:buFont typeface="Arial" charset="0"/>
              <a:buChar char="-"/>
              <a:defRPr sz="900">
                <a:solidFill>
                  <a:schemeClr val="tx1"/>
                </a:solidFill>
                <a:latin typeface="+mn-lt"/>
                <a:cs typeface="Arial" charset="0"/>
              </a:defRPr>
            </a:lvl5pPr>
            <a:lvl6pPr marL="2408356" indent="-223652" algn="l" defTabSz="895974" rtl="0" eaLnBrk="1" fontAlgn="base" hangingPunct="1">
              <a:spcBef>
                <a:spcPct val="20000"/>
              </a:spcBef>
              <a:spcAft>
                <a:spcPct val="0"/>
              </a:spcAft>
              <a:buChar char="»"/>
              <a:defRPr>
                <a:solidFill>
                  <a:schemeClr val="tx1"/>
                </a:solidFill>
                <a:latin typeface="+mn-lt"/>
              </a:defRPr>
            </a:lvl6pPr>
            <a:lvl7pPr marL="2801112" indent="-223652" algn="l" defTabSz="895974" rtl="0" eaLnBrk="1" fontAlgn="base" hangingPunct="1">
              <a:spcBef>
                <a:spcPct val="20000"/>
              </a:spcBef>
              <a:spcAft>
                <a:spcPct val="0"/>
              </a:spcAft>
              <a:buChar char="»"/>
              <a:defRPr>
                <a:solidFill>
                  <a:schemeClr val="tx1"/>
                </a:solidFill>
                <a:latin typeface="+mn-lt"/>
              </a:defRPr>
            </a:lvl7pPr>
            <a:lvl8pPr marL="3193868" indent="-223652" algn="l" defTabSz="895974" rtl="0" eaLnBrk="1" fontAlgn="base" hangingPunct="1">
              <a:spcBef>
                <a:spcPct val="20000"/>
              </a:spcBef>
              <a:spcAft>
                <a:spcPct val="0"/>
              </a:spcAft>
              <a:buChar char="»"/>
              <a:defRPr>
                <a:solidFill>
                  <a:schemeClr val="tx1"/>
                </a:solidFill>
                <a:latin typeface="+mn-lt"/>
              </a:defRPr>
            </a:lvl8pPr>
            <a:lvl9pPr marL="3586623" indent="-223652" algn="l" defTabSz="895974" rtl="0" eaLnBrk="1" fontAlgn="base" hangingPunct="1">
              <a:spcBef>
                <a:spcPct val="20000"/>
              </a:spcBef>
              <a:spcAft>
                <a:spcPct val="0"/>
              </a:spcAft>
              <a:buChar char="»"/>
              <a:defRPr>
                <a:solidFill>
                  <a:schemeClr val="tx1"/>
                </a:solidFill>
                <a:latin typeface="+mn-lt"/>
              </a:defRPr>
            </a:lvl9pPr>
          </a:lstStyle>
          <a:p>
            <a:pPr marL="0" indent="0" defTabSz="893852">
              <a:spcBef>
                <a:spcPts val="0"/>
              </a:spcBef>
              <a:spcAft>
                <a:spcPts val="0"/>
              </a:spcAft>
              <a:buClr>
                <a:srgbClr val="1B4276"/>
              </a:buClr>
              <a:buNone/>
              <a:defRPr/>
            </a:pPr>
            <a:r>
              <a:rPr lang="fr-FR" sz="1600" b="1" kern="0" dirty="0">
                <a:solidFill>
                  <a:schemeClr val="bg1"/>
                </a:solidFill>
                <a:latin typeface="+mn-lt"/>
              </a:rPr>
              <a:t>Coût pour l’entreprise accompagnée?</a:t>
            </a:r>
            <a:endParaRPr lang="fr-FR" sz="1600" kern="0" dirty="0">
              <a:solidFill>
                <a:schemeClr val="bg1"/>
              </a:solidFill>
              <a:latin typeface="+mn-lt"/>
            </a:endParaRPr>
          </a:p>
        </p:txBody>
      </p:sp>
      <p:sp>
        <p:nvSpPr>
          <p:cNvPr id="58" name="Rectangle 57">
            <a:extLst>
              <a:ext uri="{FF2B5EF4-FFF2-40B4-BE49-F238E27FC236}">
                <a16:creationId xmlns:a16="http://schemas.microsoft.com/office/drawing/2014/main" id="{FFD10CF6-2CD7-4885-9727-834C238A2A1D}"/>
              </a:ext>
            </a:extLst>
          </p:cNvPr>
          <p:cNvSpPr/>
          <p:nvPr/>
        </p:nvSpPr>
        <p:spPr>
          <a:xfrm>
            <a:off x="2700002" y="6143294"/>
            <a:ext cx="1664544" cy="925790"/>
          </a:xfrm>
          <a:prstGeom prst="rect">
            <a:avLst/>
          </a:prstGeom>
          <a:noFill/>
          <a:ln>
            <a:noFill/>
          </a:ln>
        </p:spPr>
        <p:txBody>
          <a:bodyPr wrap="square" lIns="0" tIns="0" rIns="0" bIns="0" rtlCol="0" anchor="ctr"/>
          <a:lstStyle/>
          <a:p>
            <a:pPr algn="ctr"/>
            <a:r>
              <a:rPr lang="fr-FR" sz="1600" b="1" dirty="0">
                <a:solidFill>
                  <a:schemeClr val="bg1"/>
                </a:solidFill>
              </a:rPr>
              <a:t>0€</a:t>
            </a:r>
            <a:r>
              <a:rPr lang="fr-FR" sz="1600" dirty="0">
                <a:solidFill>
                  <a:schemeClr val="tx2"/>
                </a:solidFill>
              </a:rPr>
              <a:t>(**)</a:t>
            </a:r>
          </a:p>
        </p:txBody>
      </p:sp>
      <p:pic>
        <p:nvPicPr>
          <p:cNvPr id="5" name="Graphique 4" descr="Tableau noir">
            <a:extLst>
              <a:ext uri="{FF2B5EF4-FFF2-40B4-BE49-F238E27FC236}">
                <a16:creationId xmlns:a16="http://schemas.microsoft.com/office/drawing/2014/main" id="{0C6A067B-759B-4A0F-A82D-5BD4317B2372}"/>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20414" y="4737346"/>
            <a:ext cx="396000" cy="396000"/>
          </a:xfrm>
          <a:prstGeom prst="rect">
            <a:avLst/>
          </a:prstGeom>
        </p:spPr>
      </p:pic>
      <p:cxnSp>
        <p:nvCxnSpPr>
          <p:cNvPr id="62" name="Horizontal Line">
            <a:extLst>
              <a:ext uri="{FF2B5EF4-FFF2-40B4-BE49-F238E27FC236}">
                <a16:creationId xmlns:a16="http://schemas.microsoft.com/office/drawing/2014/main" id="{B785F363-07AA-48C7-9DF2-C59114BEB8C7}"/>
              </a:ext>
            </a:extLst>
          </p:cNvPr>
          <p:cNvCxnSpPr>
            <a:cxnSpLocks/>
          </p:cNvCxnSpPr>
          <p:nvPr/>
        </p:nvCxnSpPr>
        <p:spPr>
          <a:xfrm flipV="1">
            <a:off x="6527541" y="6606189"/>
            <a:ext cx="1224000" cy="0"/>
          </a:xfrm>
          <a:prstGeom prst="line">
            <a:avLst/>
          </a:prstGeom>
          <a:ln w="12700" cmpd="sng">
            <a:solidFill>
              <a:schemeClr val="bg1"/>
            </a:solidFill>
            <a:headEnd type="triangle" w="med" len="med"/>
            <a:tailEnd type="none" w="med" len="med"/>
          </a:ln>
          <a:effectLst/>
        </p:spPr>
        <p:style>
          <a:lnRef idx="1">
            <a:schemeClr val="accent1"/>
          </a:lnRef>
          <a:fillRef idx="0">
            <a:schemeClr val="accent1"/>
          </a:fillRef>
          <a:effectRef idx="0">
            <a:schemeClr val="accent1"/>
          </a:effectRef>
          <a:fontRef idx="minor">
            <a:schemeClr val="tx1"/>
          </a:fontRef>
        </p:style>
      </p:cxnSp>
      <p:pic>
        <p:nvPicPr>
          <p:cNvPr id="37" name="Graphique 36" descr="Euro">
            <a:extLst>
              <a:ext uri="{FF2B5EF4-FFF2-40B4-BE49-F238E27FC236}">
                <a16:creationId xmlns:a16="http://schemas.microsoft.com/office/drawing/2014/main" id="{6889B340-033D-4352-9F6A-6D6A9856D390}"/>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35623" y="6214277"/>
            <a:ext cx="287648" cy="287648"/>
          </a:xfrm>
          <a:prstGeom prst="rect">
            <a:avLst/>
          </a:prstGeom>
        </p:spPr>
      </p:pic>
      <p:sp>
        <p:nvSpPr>
          <p:cNvPr id="61" name="Rectangle 60">
            <a:extLst>
              <a:ext uri="{FF2B5EF4-FFF2-40B4-BE49-F238E27FC236}">
                <a16:creationId xmlns:a16="http://schemas.microsoft.com/office/drawing/2014/main" id="{1FCB4D79-9268-4699-85D9-518A75C5A064}"/>
              </a:ext>
            </a:extLst>
          </p:cNvPr>
          <p:cNvSpPr/>
          <p:nvPr/>
        </p:nvSpPr>
        <p:spPr>
          <a:xfrm>
            <a:off x="8404225" y="6150553"/>
            <a:ext cx="1664544" cy="918529"/>
          </a:xfrm>
          <a:prstGeom prst="rect">
            <a:avLst/>
          </a:prstGeom>
          <a:noFill/>
          <a:ln>
            <a:noFill/>
          </a:ln>
        </p:spPr>
        <p:txBody>
          <a:bodyPr wrap="square" lIns="0" tIns="0" rIns="0" bIns="0" rtlCol="0" anchor="ctr"/>
          <a:lstStyle/>
          <a:p>
            <a:pPr algn="ctr"/>
            <a:r>
              <a:rPr lang="fr-FR" sz="1600" b="1" dirty="0">
                <a:solidFill>
                  <a:schemeClr val="bg1"/>
                </a:solidFill>
              </a:rPr>
              <a:t>~ 15k€</a:t>
            </a:r>
          </a:p>
        </p:txBody>
      </p:sp>
      <p:cxnSp>
        <p:nvCxnSpPr>
          <p:cNvPr id="63" name="Horizontal Line">
            <a:extLst>
              <a:ext uri="{FF2B5EF4-FFF2-40B4-BE49-F238E27FC236}">
                <a16:creationId xmlns:a16="http://schemas.microsoft.com/office/drawing/2014/main" id="{97A44A98-8679-4AD4-A590-7255F386BC83}"/>
              </a:ext>
            </a:extLst>
          </p:cNvPr>
          <p:cNvCxnSpPr>
            <a:cxnSpLocks/>
          </p:cNvCxnSpPr>
          <p:nvPr/>
        </p:nvCxnSpPr>
        <p:spPr>
          <a:xfrm flipH="1" flipV="1">
            <a:off x="10872962" y="6606189"/>
            <a:ext cx="1674379" cy="0"/>
          </a:xfrm>
          <a:prstGeom prst="line">
            <a:avLst/>
          </a:prstGeom>
          <a:ln w="12700" cmpd="sng">
            <a:solidFill>
              <a:schemeClr val="bg1"/>
            </a:solidFill>
            <a:headEnd type="triangle"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64" name="Horizontal Line">
            <a:extLst>
              <a:ext uri="{FF2B5EF4-FFF2-40B4-BE49-F238E27FC236}">
                <a16:creationId xmlns:a16="http://schemas.microsoft.com/office/drawing/2014/main" id="{33AFD096-DA40-4F14-84BA-BFC2F7F490FE}"/>
              </a:ext>
            </a:extLst>
          </p:cNvPr>
          <p:cNvCxnSpPr>
            <a:cxnSpLocks/>
          </p:cNvCxnSpPr>
          <p:nvPr/>
        </p:nvCxnSpPr>
        <p:spPr>
          <a:xfrm flipV="1">
            <a:off x="9237386" y="4737346"/>
            <a:ext cx="0" cy="1404000"/>
          </a:xfrm>
          <a:prstGeom prst="line">
            <a:avLst/>
          </a:prstGeom>
          <a:ln w="12700" cmpd="sng">
            <a:solidFill>
              <a:schemeClr val="bg1">
                <a:lumMod val="85000"/>
              </a:schemeClr>
            </a:solidFill>
            <a:prstDash val="dash"/>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79569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A58D52A3-2D0C-4F24-BA8F-C7F0FA5B8FE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96" name="Diapositive think-cell" r:id="rId10" imgW="473" imgH="470" progId="TCLayout.ActiveDocument.1">
                  <p:embed/>
                </p:oleObj>
              </mc:Choice>
              <mc:Fallback>
                <p:oleObj name="Diapositive think-cell" r:id="rId10" imgW="473" imgH="470" progId="TCLayout.ActiveDocument.1">
                  <p:embed/>
                  <p:pic>
                    <p:nvPicPr>
                      <p:cNvPr id="7" name="Objet 6" hidden="1">
                        <a:extLst>
                          <a:ext uri="{FF2B5EF4-FFF2-40B4-BE49-F238E27FC236}">
                            <a16:creationId xmlns:a16="http://schemas.microsoft.com/office/drawing/2014/main" id="{A58D52A3-2D0C-4F24-BA8F-C7F0FA5B8FE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2E98E7E-637C-4F38-89FD-B080A8090A43}"/>
              </a:ext>
            </a:extLst>
          </p:cNvPr>
          <p:cNvSpPr/>
          <p:nvPr>
            <p:custDataLst>
              <p:tags r:id="rId3"/>
            </p:custDataLst>
          </p:nvPr>
        </p:nvSpPr>
        <p:spPr>
          <a:xfrm>
            <a:off x="0" y="0"/>
            <a:ext cx="158750" cy="158750"/>
          </a:xfrm>
          <a:prstGeom prst="rect">
            <a:avLst/>
          </a:prstGeom>
          <a:solidFill>
            <a:schemeClr val="tx2"/>
          </a:solidFill>
        </p:spPr>
        <p:txBody>
          <a:bodyPr wrap="none" lIns="0" tIns="0" rIns="0" bIns="0" numCol="1" spcCol="0" rtlCol="0" anchor="ctr" anchorCtr="0">
            <a:noAutofit/>
          </a:bodyPr>
          <a:lstStyle/>
          <a:p>
            <a:pPr algn="ctr"/>
            <a:endParaRPr lang="fr-FR" sz="2200" b="1" dirty="0" err="1">
              <a:solidFill>
                <a:schemeClr val="bg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2" name="Titre 1">
            <a:extLst>
              <a:ext uri="{FF2B5EF4-FFF2-40B4-BE49-F238E27FC236}">
                <a16:creationId xmlns:a16="http://schemas.microsoft.com/office/drawing/2014/main" id="{96B99EC4-560E-4641-A169-13130ED3C032}"/>
              </a:ext>
            </a:extLst>
          </p:cNvPr>
          <p:cNvSpPr>
            <a:spLocks noGrp="1"/>
          </p:cNvSpPr>
          <p:nvPr>
            <p:ph type="title"/>
          </p:nvPr>
        </p:nvSpPr>
        <p:spPr>
          <a:xfrm>
            <a:off x="609618" y="545662"/>
            <a:ext cx="12218110" cy="338554"/>
          </a:xfrm>
        </p:spPr>
        <p:txBody>
          <a:bodyPr/>
          <a:lstStyle/>
          <a:p>
            <a:r>
              <a:rPr lang="fr-FR" dirty="0"/>
              <a:t>Comment réaliser une demande d’accompagnement?</a:t>
            </a:r>
          </a:p>
        </p:txBody>
      </p:sp>
      <p:grpSp>
        <p:nvGrpSpPr>
          <p:cNvPr id="23" name="Groupe 22">
            <a:extLst>
              <a:ext uri="{FF2B5EF4-FFF2-40B4-BE49-F238E27FC236}">
                <a16:creationId xmlns:a16="http://schemas.microsoft.com/office/drawing/2014/main" id="{79C11387-0652-4C62-8398-98ECAF3B8153}"/>
              </a:ext>
            </a:extLst>
          </p:cNvPr>
          <p:cNvGrpSpPr/>
          <p:nvPr/>
        </p:nvGrpSpPr>
        <p:grpSpPr>
          <a:xfrm>
            <a:off x="493648" y="2717800"/>
            <a:ext cx="12468354" cy="1870724"/>
            <a:chOff x="355471" y="2751182"/>
            <a:chExt cx="12468354" cy="1870724"/>
          </a:xfrm>
        </p:grpSpPr>
        <p:sp>
          <p:nvSpPr>
            <p:cNvPr id="109" name="Rectangle: Rounded Corners 10">
              <a:extLst>
                <a:ext uri="{FF2B5EF4-FFF2-40B4-BE49-F238E27FC236}">
                  <a16:creationId xmlns:a16="http://schemas.microsoft.com/office/drawing/2014/main" id="{36788618-F48E-45E0-8E05-D24605C080F9}"/>
                </a:ext>
              </a:extLst>
            </p:cNvPr>
            <p:cNvSpPr/>
            <p:nvPr/>
          </p:nvSpPr>
          <p:spPr>
            <a:xfrm>
              <a:off x="355471" y="3610600"/>
              <a:ext cx="2329200" cy="936000"/>
            </a:xfrm>
            <a:prstGeom prst="roundRect">
              <a:avLst>
                <a:gd name="adj" fmla="val 14845"/>
              </a:avLst>
            </a:prstGeom>
            <a:solidFill>
              <a:schemeClr val="bg1"/>
            </a:solidFill>
            <a:ln>
              <a:noFill/>
            </a:ln>
          </p:spPr>
          <p:txBody>
            <a:bodyPr wrap="square" lIns="0" tIns="0" rIns="0" bIns="0" rtlCol="0" anchor="ctr"/>
            <a:lstStyle/>
            <a:p>
              <a:pPr marL="0" marR="0" lvl="0" indent="0" algn="ctr" defTabSz="1044789"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a:ln>
                    <a:noFill/>
                  </a:ln>
                  <a:solidFill>
                    <a:srgbClr val="004A59"/>
                  </a:solidFill>
                  <a:effectLst/>
                  <a:uLnTx/>
                  <a:uFillTx/>
                  <a:latin typeface="Calibri"/>
                  <a:ea typeface="+mn-ea"/>
                  <a:cs typeface="+mn-cs"/>
                </a:rPr>
                <a:t>Prise de contact </a:t>
              </a:r>
            </a:p>
            <a:p>
              <a:pPr marL="0" marR="0" lvl="0" indent="0" algn="ctr" defTabSz="1044789"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dirty="0">
                  <a:ln>
                    <a:noFill/>
                  </a:ln>
                  <a:solidFill>
                    <a:srgbClr val="004A59"/>
                  </a:solidFill>
                  <a:effectLst/>
                  <a:uLnTx/>
                  <a:uFillTx/>
                  <a:latin typeface="Calibri"/>
                  <a:ea typeface="+mn-ea"/>
                  <a:cs typeface="+mn-cs"/>
                </a:rPr>
                <a:t>par email ou téléphone</a:t>
              </a:r>
            </a:p>
          </p:txBody>
        </p:sp>
        <p:sp>
          <p:nvSpPr>
            <p:cNvPr id="111" name="Rectangle: Rounded Corners 10">
              <a:extLst>
                <a:ext uri="{FF2B5EF4-FFF2-40B4-BE49-F238E27FC236}">
                  <a16:creationId xmlns:a16="http://schemas.microsoft.com/office/drawing/2014/main" id="{DEE82B01-13ED-459E-A6FB-A411E69BC5D6}"/>
                </a:ext>
              </a:extLst>
            </p:cNvPr>
            <p:cNvSpPr/>
            <p:nvPr/>
          </p:nvSpPr>
          <p:spPr>
            <a:xfrm>
              <a:off x="2975478" y="3685906"/>
              <a:ext cx="2329200" cy="936000"/>
            </a:xfrm>
            <a:prstGeom prst="roundRect">
              <a:avLst>
                <a:gd name="adj" fmla="val 14845"/>
              </a:avLst>
            </a:prstGeom>
            <a:solidFill>
              <a:schemeClr val="bg1"/>
            </a:solidFill>
            <a:ln>
              <a:noFill/>
            </a:ln>
          </p:spPr>
          <p:txBody>
            <a:bodyPr wrap="square" lIns="0" tIns="0" rIns="0" bIns="0" rtlCol="0" anchor="ctr"/>
            <a:lstStyle/>
            <a:p>
              <a:pPr marL="0" marR="0" lvl="0" indent="0" algn="ctr" defTabSz="1044789"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a:ln>
                    <a:noFill/>
                  </a:ln>
                  <a:solidFill>
                    <a:srgbClr val="004A59"/>
                  </a:solidFill>
                  <a:effectLst/>
                  <a:uLnTx/>
                  <a:uFillTx/>
                  <a:latin typeface="Calibri"/>
                  <a:ea typeface="+mn-ea"/>
                  <a:cs typeface="+mn-cs"/>
                </a:rPr>
                <a:t>Cadrage du besoin &amp; évaluation des critères d’éligibilité </a:t>
              </a:r>
            </a:p>
            <a:p>
              <a:pPr marL="0" marR="0" lvl="0" indent="0" algn="ctr" defTabSz="1044789"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dirty="0">
                  <a:ln>
                    <a:noFill/>
                  </a:ln>
                  <a:solidFill>
                    <a:srgbClr val="004A59"/>
                  </a:solidFill>
                  <a:effectLst/>
                  <a:uLnTx/>
                  <a:uFillTx/>
                  <a:latin typeface="Calibri"/>
                  <a:ea typeface="+mn-ea"/>
                  <a:cs typeface="+mn-cs"/>
                </a:rPr>
                <a:t>Réunion téléphonique</a:t>
              </a:r>
              <a:endParaRPr kumimoji="0" lang="fr-FR" sz="1400" b="0" i="0" u="none" strike="noStrike" kern="1200" cap="none" spc="0" normalizeH="0" baseline="0" noProof="0" dirty="0">
                <a:ln>
                  <a:noFill/>
                </a:ln>
                <a:solidFill>
                  <a:srgbClr val="004A59"/>
                </a:solidFill>
                <a:effectLst/>
                <a:uLnTx/>
                <a:uFillTx/>
                <a:latin typeface="Calibri"/>
                <a:ea typeface="+mn-ea"/>
                <a:cs typeface="+mn-cs"/>
              </a:endParaRPr>
            </a:p>
          </p:txBody>
        </p:sp>
        <p:sp>
          <p:nvSpPr>
            <p:cNvPr id="114" name="Rectangle: Rounded Corners 10">
              <a:extLst>
                <a:ext uri="{FF2B5EF4-FFF2-40B4-BE49-F238E27FC236}">
                  <a16:creationId xmlns:a16="http://schemas.microsoft.com/office/drawing/2014/main" id="{A56BB45F-4FAD-418A-9957-79131D308995}"/>
                </a:ext>
              </a:extLst>
            </p:cNvPr>
            <p:cNvSpPr/>
            <p:nvPr/>
          </p:nvSpPr>
          <p:spPr>
            <a:xfrm>
              <a:off x="5436228" y="3610600"/>
              <a:ext cx="2329200" cy="936000"/>
            </a:xfrm>
            <a:prstGeom prst="roundRect">
              <a:avLst>
                <a:gd name="adj" fmla="val 14845"/>
              </a:avLst>
            </a:prstGeom>
            <a:solidFill>
              <a:schemeClr val="bg1"/>
            </a:solidFill>
            <a:ln>
              <a:noFill/>
            </a:ln>
          </p:spPr>
          <p:txBody>
            <a:bodyPr wrap="square" lIns="0" tIns="0" rIns="0" bIns="0" rtlCol="0" anchor="ctr"/>
            <a:lstStyle/>
            <a:p>
              <a:pPr marL="0" marR="0" lvl="0" indent="0" algn="ctr" defTabSz="1044789" rtl="0" eaLnBrk="1" fontAlgn="auto" latinLnBrk="0" hangingPunct="1">
                <a:lnSpc>
                  <a:spcPct val="100000"/>
                </a:lnSpc>
                <a:spcBef>
                  <a:spcPts val="0"/>
                </a:spcBef>
                <a:spcAft>
                  <a:spcPts val="0"/>
                </a:spcAft>
                <a:buClrTx/>
                <a:buSzTx/>
                <a:buFontTx/>
                <a:buNone/>
                <a:tabLst/>
                <a:defRPr/>
              </a:pPr>
              <a:r>
                <a:rPr kumimoji="0" lang="fr-FR" sz="1600" i="0" u="none" strike="noStrike" kern="1200" cap="none" spc="0" normalizeH="0" baseline="0" noProof="0" dirty="0">
                  <a:ln>
                    <a:noFill/>
                  </a:ln>
                  <a:solidFill>
                    <a:srgbClr val="004A59"/>
                  </a:solidFill>
                  <a:effectLst/>
                  <a:uLnTx/>
                  <a:uFillTx/>
                  <a:latin typeface="Calibri"/>
                  <a:ea typeface="+mn-ea"/>
                  <a:cs typeface="+mn-cs"/>
                </a:rPr>
                <a:t>Proposition</a:t>
              </a:r>
              <a:r>
                <a:rPr kumimoji="0" lang="fr-FR" sz="1600" b="1" i="0" u="none" strike="noStrike" kern="1200" cap="none" spc="0" normalizeH="0" baseline="0" noProof="0" dirty="0">
                  <a:ln>
                    <a:noFill/>
                  </a:ln>
                  <a:solidFill>
                    <a:srgbClr val="004A59"/>
                  </a:solidFill>
                  <a:effectLst/>
                  <a:uLnTx/>
                  <a:uFillTx/>
                  <a:latin typeface="Calibri"/>
                  <a:ea typeface="+mn-ea"/>
                  <a:cs typeface="+mn-cs"/>
                </a:rPr>
                <a:t> technique </a:t>
              </a:r>
              <a:r>
                <a:rPr kumimoji="0" lang="fr-FR" sz="1600" i="0" u="none" strike="noStrike" kern="1200" cap="none" spc="0" normalizeH="0" baseline="0" noProof="0" dirty="0">
                  <a:ln>
                    <a:noFill/>
                  </a:ln>
                  <a:solidFill>
                    <a:srgbClr val="004A59"/>
                  </a:solidFill>
                  <a:effectLst/>
                  <a:uLnTx/>
                  <a:uFillTx/>
                  <a:latin typeface="Calibri"/>
                  <a:ea typeface="+mn-ea"/>
                  <a:cs typeface="+mn-cs"/>
                </a:rPr>
                <a:t>et</a:t>
              </a:r>
              <a:r>
                <a:rPr kumimoji="0" lang="fr-FR" sz="1600" b="1" i="0" u="none" strike="noStrike" kern="1200" cap="none" spc="0" normalizeH="0" baseline="0" noProof="0" dirty="0">
                  <a:ln>
                    <a:noFill/>
                  </a:ln>
                  <a:solidFill>
                    <a:srgbClr val="004A59"/>
                  </a:solidFill>
                  <a:effectLst/>
                  <a:uLnTx/>
                  <a:uFillTx/>
                  <a:latin typeface="Calibri"/>
                  <a:ea typeface="+mn-ea"/>
                  <a:cs typeface="+mn-cs"/>
                </a:rPr>
                <a:t> financière + calendrier </a:t>
              </a:r>
              <a:endParaRPr kumimoji="0" lang="fr-FR" sz="1600" b="0" i="0" u="none" strike="noStrike" kern="1200" cap="none" spc="0" normalizeH="0" baseline="0" noProof="0" dirty="0">
                <a:ln>
                  <a:noFill/>
                </a:ln>
                <a:solidFill>
                  <a:srgbClr val="004A59"/>
                </a:solidFill>
                <a:effectLst/>
                <a:uLnTx/>
                <a:uFillTx/>
                <a:latin typeface="Calibri"/>
                <a:ea typeface="+mn-ea"/>
                <a:cs typeface="+mn-cs"/>
              </a:endParaRPr>
            </a:p>
          </p:txBody>
        </p:sp>
        <p:grpSp>
          <p:nvGrpSpPr>
            <p:cNvPr id="22" name="Groupe 21">
              <a:extLst>
                <a:ext uri="{FF2B5EF4-FFF2-40B4-BE49-F238E27FC236}">
                  <a16:creationId xmlns:a16="http://schemas.microsoft.com/office/drawing/2014/main" id="{D541B812-9B8E-4C4F-B9A4-BA01F0A6538C}"/>
                </a:ext>
              </a:extLst>
            </p:cNvPr>
            <p:cNvGrpSpPr/>
            <p:nvPr/>
          </p:nvGrpSpPr>
          <p:grpSpPr>
            <a:xfrm>
              <a:off x="2975480" y="2756209"/>
              <a:ext cx="2330154" cy="755438"/>
              <a:chOff x="2766608" y="2751182"/>
              <a:chExt cx="2330154" cy="755438"/>
            </a:xfrm>
          </p:grpSpPr>
          <p:sp>
            <p:nvSpPr>
              <p:cNvPr id="132" name="Eingekerbter Richtungspfeil 18">
                <a:extLst>
                  <a:ext uri="{FF2B5EF4-FFF2-40B4-BE49-F238E27FC236}">
                    <a16:creationId xmlns:a16="http://schemas.microsoft.com/office/drawing/2014/main" id="{B94C9280-9149-4958-AC6E-5BC52636DC87}"/>
                  </a:ext>
                </a:extLst>
              </p:cNvPr>
              <p:cNvSpPr/>
              <p:nvPr>
                <p:custDataLst>
                  <p:tags r:id="rId8"/>
                </p:custDataLst>
              </p:nvPr>
            </p:nvSpPr>
            <p:spPr bwMode="auto">
              <a:xfrm>
                <a:off x="2766608" y="2751182"/>
                <a:ext cx="2330154" cy="755438"/>
              </a:xfrm>
              <a:prstGeom prst="chevron">
                <a:avLst>
                  <a:gd name="adj" fmla="val 19447"/>
                </a:avLst>
              </a:prstGeom>
              <a:solidFill>
                <a:schemeClr val="bg1">
                  <a:lumMod val="95000"/>
                </a:schemeClr>
              </a:solidFill>
              <a:ln w="9525">
                <a:solidFill>
                  <a:schemeClr val="bg1">
                    <a:lumMod val="85000"/>
                  </a:schemeClr>
                </a:solidFill>
                <a:prstDash val="solid"/>
                <a:miter lim="800000"/>
                <a:headEnd/>
                <a:tailEnd/>
              </a:ln>
              <a:effectLst/>
            </p:spPr>
            <p:txBody>
              <a:bodyPr anchor="ctr"/>
              <a:lstStyle/>
              <a:p>
                <a:pPr algn="ctr">
                  <a:spcBef>
                    <a:spcPct val="0"/>
                  </a:spcBef>
                  <a:spcAft>
                    <a:spcPct val="0"/>
                  </a:spcAft>
                  <a:buClrTx/>
                </a:pPr>
                <a:endParaRPr lang="en-US" sz="1400" b="1" dirty="0"/>
              </a:p>
            </p:txBody>
          </p:sp>
          <p:grpSp>
            <p:nvGrpSpPr>
              <p:cNvPr id="17" name="Groupe 16">
                <a:extLst>
                  <a:ext uri="{FF2B5EF4-FFF2-40B4-BE49-F238E27FC236}">
                    <a16:creationId xmlns:a16="http://schemas.microsoft.com/office/drawing/2014/main" id="{7987AF40-ED1E-42AE-B6A6-13A05D39EEAC}"/>
                  </a:ext>
                </a:extLst>
              </p:cNvPr>
              <p:cNvGrpSpPr/>
              <p:nvPr/>
            </p:nvGrpSpPr>
            <p:grpSpPr>
              <a:xfrm>
                <a:off x="2989818" y="2946512"/>
                <a:ext cx="1883735" cy="533400"/>
                <a:chOff x="3032125" y="2946512"/>
                <a:chExt cx="1883735" cy="533400"/>
              </a:xfrm>
            </p:grpSpPr>
            <p:pic>
              <p:nvPicPr>
                <p:cNvPr id="113" name="Image 112" descr="Une image contenant objet&#10;&#10;Description générée automatiquement">
                  <a:extLst>
                    <a:ext uri="{FF2B5EF4-FFF2-40B4-BE49-F238E27FC236}">
                      <a16:creationId xmlns:a16="http://schemas.microsoft.com/office/drawing/2014/main" id="{DE408298-C699-4E99-8075-56BA260FC02E}"/>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b="36685"/>
                <a:stretch/>
              </p:blipFill>
              <p:spPr>
                <a:xfrm>
                  <a:off x="4060825" y="3056550"/>
                  <a:ext cx="855035" cy="224538"/>
                </a:xfrm>
                <a:prstGeom prst="rect">
                  <a:avLst/>
                </a:prstGeom>
              </p:spPr>
            </p:pic>
            <p:pic>
              <p:nvPicPr>
                <p:cNvPr id="15" name="Graphique 14" descr="Conversation">
                  <a:extLst>
                    <a:ext uri="{FF2B5EF4-FFF2-40B4-BE49-F238E27FC236}">
                      <a16:creationId xmlns:a16="http://schemas.microsoft.com/office/drawing/2014/main" id="{F23BFD59-52AB-4AC4-AEBA-BA389909D8E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451225" y="2946512"/>
                  <a:ext cx="533400" cy="533400"/>
                </a:xfrm>
                <a:prstGeom prst="rect">
                  <a:avLst/>
                </a:prstGeom>
              </p:spPr>
            </p:pic>
            <p:pic>
              <p:nvPicPr>
                <p:cNvPr id="119" name="Graphique 118" descr="Utilisateur">
                  <a:extLst>
                    <a:ext uri="{FF2B5EF4-FFF2-40B4-BE49-F238E27FC236}">
                      <a16:creationId xmlns:a16="http://schemas.microsoft.com/office/drawing/2014/main" id="{9E901C08-061F-4449-A2E2-BA9D24F89E38}"/>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032125" y="2961044"/>
                  <a:ext cx="396000" cy="396000"/>
                </a:xfrm>
                <a:prstGeom prst="rect">
                  <a:avLst/>
                </a:prstGeom>
              </p:spPr>
            </p:pic>
          </p:grpSp>
        </p:grpSp>
        <p:sp>
          <p:nvSpPr>
            <p:cNvPr id="121" name="Rectangle: Rounded Corners 10">
              <a:extLst>
                <a:ext uri="{FF2B5EF4-FFF2-40B4-BE49-F238E27FC236}">
                  <a16:creationId xmlns:a16="http://schemas.microsoft.com/office/drawing/2014/main" id="{0DE39F1C-30E8-4869-A631-800B59DF1655}"/>
                </a:ext>
              </a:extLst>
            </p:cNvPr>
            <p:cNvSpPr/>
            <p:nvPr/>
          </p:nvSpPr>
          <p:spPr>
            <a:xfrm>
              <a:off x="7980025" y="3610600"/>
              <a:ext cx="2329200" cy="936000"/>
            </a:xfrm>
            <a:prstGeom prst="roundRect">
              <a:avLst>
                <a:gd name="adj" fmla="val 14845"/>
              </a:avLst>
            </a:prstGeom>
            <a:solidFill>
              <a:schemeClr val="bg1"/>
            </a:solidFill>
            <a:ln>
              <a:noFill/>
            </a:ln>
          </p:spPr>
          <p:txBody>
            <a:bodyPr wrap="square" lIns="0" tIns="0" rIns="0" bIns="0" rtlCol="0" anchor="ctr"/>
            <a:lstStyle/>
            <a:p>
              <a:pPr marL="0" marR="0" lvl="0" indent="0" algn="ctr" defTabSz="1044789"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a:ln>
                    <a:noFill/>
                  </a:ln>
                  <a:solidFill>
                    <a:srgbClr val="004A59"/>
                  </a:solidFill>
                  <a:effectLst/>
                  <a:uLnTx/>
                  <a:uFillTx/>
                  <a:latin typeface="Calibri"/>
                  <a:ea typeface="+mn-ea"/>
                  <a:cs typeface="+mn-cs"/>
                </a:rPr>
                <a:t>Demande de prise en charge </a:t>
              </a:r>
              <a:r>
                <a:rPr kumimoji="0" lang="fr-FR" sz="1600" i="0" u="none" strike="noStrike" kern="1200" cap="none" spc="0" normalizeH="0" baseline="0" noProof="0" dirty="0">
                  <a:ln>
                    <a:noFill/>
                  </a:ln>
                  <a:solidFill>
                    <a:srgbClr val="004A59"/>
                  </a:solidFill>
                  <a:effectLst/>
                  <a:uLnTx/>
                  <a:uFillTx/>
                  <a:latin typeface="Calibri"/>
                  <a:ea typeface="+mn-ea"/>
                  <a:cs typeface="+mn-cs"/>
                </a:rPr>
                <a:t>auprès de la Région et </a:t>
              </a:r>
              <a:r>
                <a:rPr kumimoji="0" lang="fr-FR" sz="1600" b="1" i="0" u="sng" strike="noStrike" kern="1200" cap="none" spc="0" normalizeH="0" baseline="0" noProof="0" dirty="0">
                  <a:ln>
                    <a:noFill/>
                  </a:ln>
                  <a:solidFill>
                    <a:schemeClr val="accent3"/>
                  </a:solidFill>
                  <a:effectLst/>
                  <a:uLnTx/>
                  <a:uFillTx/>
                  <a:latin typeface="Calibri"/>
                  <a:ea typeface="+mn-ea"/>
                  <a:cs typeface="+mn-cs"/>
                </a:rPr>
                <a:t>acceptation</a:t>
              </a:r>
              <a:r>
                <a:rPr kumimoji="0" lang="fr-FR" sz="1600" i="0" u="sng" strike="noStrike" kern="1200" cap="none" spc="0" normalizeH="0" baseline="0" noProof="0" dirty="0">
                  <a:ln>
                    <a:noFill/>
                  </a:ln>
                  <a:solidFill>
                    <a:schemeClr val="accent3"/>
                  </a:solidFill>
                  <a:effectLst/>
                  <a:uLnTx/>
                  <a:uFillTx/>
                  <a:latin typeface="Calibri"/>
                  <a:ea typeface="+mn-ea"/>
                  <a:cs typeface="+mn-cs"/>
                </a:rPr>
                <a:t> </a:t>
              </a:r>
            </a:p>
          </p:txBody>
        </p:sp>
        <p:sp>
          <p:nvSpPr>
            <p:cNvPr id="125" name="Rectangle: Rounded Corners 10">
              <a:extLst>
                <a:ext uri="{FF2B5EF4-FFF2-40B4-BE49-F238E27FC236}">
                  <a16:creationId xmlns:a16="http://schemas.microsoft.com/office/drawing/2014/main" id="{92C1F712-0472-456C-B380-8EEC4E02785A}"/>
                </a:ext>
              </a:extLst>
            </p:cNvPr>
            <p:cNvSpPr/>
            <p:nvPr/>
          </p:nvSpPr>
          <p:spPr>
            <a:xfrm>
              <a:off x="10342225" y="3610600"/>
              <a:ext cx="2329200" cy="936000"/>
            </a:xfrm>
            <a:prstGeom prst="roundRect">
              <a:avLst>
                <a:gd name="adj" fmla="val 14845"/>
              </a:avLst>
            </a:prstGeom>
            <a:solidFill>
              <a:schemeClr val="bg1"/>
            </a:solidFill>
            <a:ln>
              <a:noFill/>
            </a:ln>
          </p:spPr>
          <p:txBody>
            <a:bodyPr wrap="square" lIns="0" tIns="0" rIns="0" bIns="0" rtlCol="0" anchor="ctr"/>
            <a:lstStyle/>
            <a:p>
              <a:pPr marL="0" marR="0" lvl="0" indent="0" algn="ctr" defTabSz="1044789"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a:ln>
                    <a:noFill/>
                  </a:ln>
                  <a:solidFill>
                    <a:srgbClr val="004A59"/>
                  </a:solidFill>
                  <a:effectLst/>
                  <a:uLnTx/>
                  <a:uFillTx/>
                  <a:latin typeface="Calibri"/>
                  <a:ea typeface="+mn-ea"/>
                  <a:cs typeface="+mn-cs"/>
                </a:rPr>
                <a:t>Lancement  accompagnement</a:t>
              </a:r>
              <a:endParaRPr kumimoji="0" lang="fr-FR" sz="1600" b="0" i="0" u="none" strike="noStrike" kern="1200" cap="none" spc="0" normalizeH="0" baseline="0" noProof="0" dirty="0">
                <a:ln>
                  <a:noFill/>
                </a:ln>
                <a:solidFill>
                  <a:srgbClr val="004A59"/>
                </a:solidFill>
                <a:effectLst/>
                <a:uLnTx/>
                <a:uFillTx/>
                <a:latin typeface="Calibri"/>
                <a:ea typeface="+mn-ea"/>
                <a:cs typeface="+mn-cs"/>
              </a:endParaRPr>
            </a:p>
          </p:txBody>
        </p:sp>
        <p:grpSp>
          <p:nvGrpSpPr>
            <p:cNvPr id="19" name="Groupe 18">
              <a:extLst>
                <a:ext uri="{FF2B5EF4-FFF2-40B4-BE49-F238E27FC236}">
                  <a16:creationId xmlns:a16="http://schemas.microsoft.com/office/drawing/2014/main" id="{9C18E4FA-6A2B-461C-A84B-7B5A870E1A3A}"/>
                </a:ext>
              </a:extLst>
            </p:cNvPr>
            <p:cNvGrpSpPr/>
            <p:nvPr/>
          </p:nvGrpSpPr>
          <p:grpSpPr>
            <a:xfrm>
              <a:off x="10493671" y="2751182"/>
              <a:ext cx="2330154" cy="755438"/>
              <a:chOff x="9858205" y="2751182"/>
              <a:chExt cx="2330154" cy="755438"/>
            </a:xfrm>
          </p:grpSpPr>
          <p:sp>
            <p:nvSpPr>
              <p:cNvPr id="137" name="Eingekerbter Richtungspfeil 18">
                <a:extLst>
                  <a:ext uri="{FF2B5EF4-FFF2-40B4-BE49-F238E27FC236}">
                    <a16:creationId xmlns:a16="http://schemas.microsoft.com/office/drawing/2014/main" id="{C0BD057A-0CB7-490B-BBDB-37B970E888E5}"/>
                  </a:ext>
                </a:extLst>
              </p:cNvPr>
              <p:cNvSpPr/>
              <p:nvPr>
                <p:custDataLst>
                  <p:tags r:id="rId7"/>
                </p:custDataLst>
              </p:nvPr>
            </p:nvSpPr>
            <p:spPr bwMode="auto">
              <a:xfrm>
                <a:off x="9858205" y="2751182"/>
                <a:ext cx="2330154" cy="755438"/>
              </a:xfrm>
              <a:prstGeom prst="chevron">
                <a:avLst>
                  <a:gd name="adj" fmla="val 19447"/>
                </a:avLst>
              </a:prstGeom>
              <a:solidFill>
                <a:schemeClr val="bg1">
                  <a:lumMod val="95000"/>
                </a:schemeClr>
              </a:solidFill>
              <a:ln w="9525">
                <a:solidFill>
                  <a:schemeClr val="bg1">
                    <a:lumMod val="85000"/>
                  </a:schemeClr>
                </a:solidFill>
                <a:prstDash val="solid"/>
                <a:miter lim="800000"/>
                <a:headEnd/>
                <a:tailEnd/>
              </a:ln>
              <a:effectLst/>
            </p:spPr>
            <p:txBody>
              <a:bodyPr anchor="ctr"/>
              <a:lstStyle/>
              <a:p>
                <a:pPr algn="ctr">
                  <a:spcBef>
                    <a:spcPct val="0"/>
                  </a:spcBef>
                  <a:spcAft>
                    <a:spcPct val="0"/>
                  </a:spcAft>
                  <a:buClrTx/>
                </a:pPr>
                <a:endParaRPr lang="en-US" sz="1400" b="1" dirty="0"/>
              </a:p>
            </p:txBody>
          </p:sp>
          <p:pic>
            <p:nvPicPr>
              <p:cNvPr id="126" name="Graphic 134" descr="Handshake">
                <a:extLst>
                  <a:ext uri="{FF2B5EF4-FFF2-40B4-BE49-F238E27FC236}">
                    <a16:creationId xmlns:a16="http://schemas.microsoft.com/office/drawing/2014/main" id="{D98E69C8-CE3D-417E-8F42-9A2096C32D37}"/>
                  </a:ext>
                </a:extLst>
              </p:cNvPr>
              <p:cNvPicPr>
                <a:picLocks noChangeAspect="1"/>
              </p:cNvPicPr>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10543682" y="2930901"/>
                <a:ext cx="495266" cy="495266"/>
              </a:xfrm>
              <a:prstGeom prst="rect">
                <a:avLst/>
              </a:prstGeom>
            </p:spPr>
          </p:pic>
          <p:pic>
            <p:nvPicPr>
              <p:cNvPr id="127" name="Image 126" descr="Une image contenant objet&#10;&#10;Description générée automatiquement">
                <a:extLst>
                  <a:ext uri="{FF2B5EF4-FFF2-40B4-BE49-F238E27FC236}">
                    <a16:creationId xmlns:a16="http://schemas.microsoft.com/office/drawing/2014/main" id="{B2198E5B-E2CB-4D89-835E-FCCBC5B4C64A}"/>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b="36685"/>
              <a:stretch/>
            </p:blipFill>
            <p:spPr>
              <a:xfrm>
                <a:off x="11108669" y="3042186"/>
                <a:ext cx="855035" cy="224538"/>
              </a:xfrm>
              <a:prstGeom prst="rect">
                <a:avLst/>
              </a:prstGeom>
            </p:spPr>
          </p:pic>
          <p:pic>
            <p:nvPicPr>
              <p:cNvPr id="128" name="Graphique 127" descr="Utilisateur">
                <a:extLst>
                  <a:ext uri="{FF2B5EF4-FFF2-40B4-BE49-F238E27FC236}">
                    <a16:creationId xmlns:a16="http://schemas.microsoft.com/office/drawing/2014/main" id="{387BA7EF-F28B-4CF9-B853-A8CE34AF158B}"/>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0117754" y="2930901"/>
                <a:ext cx="396000" cy="396000"/>
              </a:xfrm>
              <a:prstGeom prst="rect">
                <a:avLst/>
              </a:prstGeom>
            </p:spPr>
          </p:pic>
        </p:grpSp>
        <p:grpSp>
          <p:nvGrpSpPr>
            <p:cNvPr id="18" name="Groupe 17">
              <a:extLst>
                <a:ext uri="{FF2B5EF4-FFF2-40B4-BE49-F238E27FC236}">
                  <a16:creationId xmlns:a16="http://schemas.microsoft.com/office/drawing/2014/main" id="{CAE455AE-02AF-4FE5-B7D6-0D50A0316BFB}"/>
                </a:ext>
              </a:extLst>
            </p:cNvPr>
            <p:cNvGrpSpPr/>
            <p:nvPr/>
          </p:nvGrpSpPr>
          <p:grpSpPr>
            <a:xfrm>
              <a:off x="355471" y="2761236"/>
              <a:ext cx="2329200" cy="748132"/>
              <a:chOff x="355471" y="2758488"/>
              <a:chExt cx="2329200" cy="748132"/>
            </a:xfrm>
          </p:grpSpPr>
          <p:sp>
            <p:nvSpPr>
              <p:cNvPr id="108" name="Richtungspfeil 13">
                <a:extLst>
                  <a:ext uri="{FF2B5EF4-FFF2-40B4-BE49-F238E27FC236}">
                    <a16:creationId xmlns:a16="http://schemas.microsoft.com/office/drawing/2014/main" id="{D2E6D4D7-9CAD-4ABA-9F7E-9DDF62B4B759}"/>
                  </a:ext>
                </a:extLst>
              </p:cNvPr>
              <p:cNvSpPr/>
              <p:nvPr>
                <p:custDataLst>
                  <p:tags r:id="rId6"/>
                </p:custDataLst>
              </p:nvPr>
            </p:nvSpPr>
            <p:spPr bwMode="auto">
              <a:xfrm>
                <a:off x="355471" y="2758488"/>
                <a:ext cx="2329200" cy="748132"/>
              </a:xfrm>
              <a:prstGeom prst="homePlate">
                <a:avLst>
                  <a:gd name="adj" fmla="val 19546"/>
                </a:avLst>
              </a:prstGeom>
              <a:solidFill>
                <a:schemeClr val="bg1">
                  <a:lumMod val="95000"/>
                </a:schemeClr>
              </a:solidFill>
              <a:ln w="9525">
                <a:solidFill>
                  <a:schemeClr val="bg1">
                    <a:lumMod val="85000"/>
                  </a:schemeClr>
                </a:solidFill>
                <a:prstDash val="solid"/>
                <a:miter lim="800000"/>
                <a:headEnd/>
                <a:tailEnd/>
              </a:ln>
              <a:effectLst/>
            </p:spPr>
            <p:txBody>
              <a:bodyPr lIns="99313" tIns="51643" rIns="99313" bIns="51643" anchor="ctr"/>
              <a:lstStyle/>
              <a:p>
                <a:pPr algn="ctr">
                  <a:spcBef>
                    <a:spcPct val="0"/>
                  </a:spcBef>
                  <a:spcAft>
                    <a:spcPct val="0"/>
                  </a:spcAft>
                  <a:buClrTx/>
                </a:pPr>
                <a:endParaRPr lang="en-US" sz="1400" b="1" dirty="0"/>
              </a:p>
            </p:txBody>
          </p:sp>
          <p:pic>
            <p:nvPicPr>
              <p:cNvPr id="118" name="Graphique 117" descr="Utilisateur">
                <a:extLst>
                  <a:ext uri="{FF2B5EF4-FFF2-40B4-BE49-F238E27FC236}">
                    <a16:creationId xmlns:a16="http://schemas.microsoft.com/office/drawing/2014/main" id="{202AD426-DB72-418F-A2D1-B99FF67D7C34}"/>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01415" y="2961044"/>
                <a:ext cx="396000" cy="396000"/>
              </a:xfrm>
              <a:prstGeom prst="rect">
                <a:avLst/>
              </a:prstGeom>
            </p:spPr>
          </p:pic>
          <p:cxnSp>
            <p:nvCxnSpPr>
              <p:cNvPr id="129" name="Connecteur droit avec flèche 128">
                <a:extLst>
                  <a:ext uri="{FF2B5EF4-FFF2-40B4-BE49-F238E27FC236}">
                    <a16:creationId xmlns:a16="http://schemas.microsoft.com/office/drawing/2014/main" id="{BDE28B27-9571-4656-9AF1-CB101AFAFF5D}"/>
                  </a:ext>
                </a:extLst>
              </p:cNvPr>
              <p:cNvCxnSpPr/>
              <p:nvPr/>
            </p:nvCxnSpPr>
            <p:spPr>
              <a:xfrm>
                <a:off x="1141825" y="3202226"/>
                <a:ext cx="288000" cy="0"/>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pic>
            <p:nvPicPr>
              <p:cNvPr id="131" name="Image 130" descr="Une image contenant objet&#10;&#10;Description générée automatiquement">
                <a:extLst>
                  <a:ext uri="{FF2B5EF4-FFF2-40B4-BE49-F238E27FC236}">
                    <a16:creationId xmlns:a16="http://schemas.microsoft.com/office/drawing/2014/main" id="{2AD6EC59-ABB1-422B-A37F-DFA5AD49B0A1}"/>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b="36685"/>
              <a:stretch/>
            </p:blipFill>
            <p:spPr>
              <a:xfrm>
                <a:off x="1541698" y="3056550"/>
                <a:ext cx="855035" cy="224538"/>
              </a:xfrm>
              <a:prstGeom prst="rect">
                <a:avLst/>
              </a:prstGeom>
            </p:spPr>
          </p:pic>
        </p:grpSp>
        <p:grpSp>
          <p:nvGrpSpPr>
            <p:cNvPr id="21" name="Groupe 20">
              <a:extLst>
                <a:ext uri="{FF2B5EF4-FFF2-40B4-BE49-F238E27FC236}">
                  <a16:creationId xmlns:a16="http://schemas.microsoft.com/office/drawing/2014/main" id="{592C31B8-672D-49B5-AF8B-DF5879C0FBFA}"/>
                </a:ext>
              </a:extLst>
            </p:cNvPr>
            <p:cNvGrpSpPr/>
            <p:nvPr/>
          </p:nvGrpSpPr>
          <p:grpSpPr>
            <a:xfrm>
              <a:off x="5481544" y="2763982"/>
              <a:ext cx="2330154" cy="755438"/>
              <a:chOff x="5096762" y="2763982"/>
              <a:chExt cx="2330154" cy="755438"/>
            </a:xfrm>
          </p:grpSpPr>
          <p:sp>
            <p:nvSpPr>
              <p:cNvPr id="133" name="Eingekerbter Richtungspfeil 18">
                <a:extLst>
                  <a:ext uri="{FF2B5EF4-FFF2-40B4-BE49-F238E27FC236}">
                    <a16:creationId xmlns:a16="http://schemas.microsoft.com/office/drawing/2014/main" id="{B1557FB8-2405-4569-A6A6-0D3BAE4F2AF5}"/>
                  </a:ext>
                </a:extLst>
              </p:cNvPr>
              <p:cNvSpPr/>
              <p:nvPr>
                <p:custDataLst>
                  <p:tags r:id="rId5"/>
                </p:custDataLst>
              </p:nvPr>
            </p:nvSpPr>
            <p:spPr bwMode="auto">
              <a:xfrm>
                <a:off x="5096762" y="2763982"/>
                <a:ext cx="2330154" cy="755438"/>
              </a:xfrm>
              <a:prstGeom prst="chevron">
                <a:avLst>
                  <a:gd name="adj" fmla="val 19447"/>
                </a:avLst>
              </a:prstGeom>
              <a:solidFill>
                <a:schemeClr val="bg1">
                  <a:lumMod val="95000"/>
                </a:schemeClr>
              </a:solidFill>
              <a:ln w="9525">
                <a:solidFill>
                  <a:schemeClr val="bg1">
                    <a:lumMod val="85000"/>
                  </a:schemeClr>
                </a:solidFill>
                <a:prstDash val="solid"/>
                <a:miter lim="800000"/>
                <a:headEnd/>
                <a:tailEnd/>
              </a:ln>
              <a:effectLst/>
            </p:spPr>
            <p:txBody>
              <a:bodyPr anchor="ctr"/>
              <a:lstStyle/>
              <a:p>
                <a:pPr algn="ctr">
                  <a:spcBef>
                    <a:spcPct val="0"/>
                  </a:spcBef>
                  <a:spcAft>
                    <a:spcPct val="0"/>
                  </a:spcAft>
                  <a:buClrTx/>
                </a:pPr>
                <a:endParaRPr lang="en-US" sz="1400" b="1" dirty="0"/>
              </a:p>
            </p:txBody>
          </p:sp>
          <p:pic>
            <p:nvPicPr>
              <p:cNvPr id="115" name="Image 114" descr="Une image contenant objet&#10;&#10;Description générée automatiquement">
                <a:extLst>
                  <a:ext uri="{FF2B5EF4-FFF2-40B4-BE49-F238E27FC236}">
                    <a16:creationId xmlns:a16="http://schemas.microsoft.com/office/drawing/2014/main" id="{0BA65449-B973-4557-B055-2AB2ED5AFA08}"/>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b="36685"/>
              <a:stretch/>
            </p:blipFill>
            <p:spPr>
              <a:xfrm>
                <a:off x="5391333" y="3056662"/>
                <a:ext cx="855035" cy="224538"/>
              </a:xfrm>
              <a:prstGeom prst="rect">
                <a:avLst/>
              </a:prstGeom>
            </p:spPr>
          </p:pic>
          <p:pic>
            <p:nvPicPr>
              <p:cNvPr id="116" name="Graphique 115" descr="Utilisateur">
                <a:extLst>
                  <a:ext uri="{FF2B5EF4-FFF2-40B4-BE49-F238E27FC236}">
                    <a16:creationId xmlns:a16="http://schemas.microsoft.com/office/drawing/2014/main" id="{E9B2B2BC-427B-441C-A2F4-4D62D08AAAC9}"/>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702294" y="2961490"/>
                <a:ext cx="396000" cy="396000"/>
              </a:xfrm>
              <a:prstGeom prst="rect">
                <a:avLst/>
              </a:prstGeom>
            </p:spPr>
          </p:pic>
          <p:pic>
            <p:nvPicPr>
              <p:cNvPr id="120" name="Graphic 132" descr="List">
                <a:extLst>
                  <a:ext uri="{FF2B5EF4-FFF2-40B4-BE49-F238E27FC236}">
                    <a16:creationId xmlns:a16="http://schemas.microsoft.com/office/drawing/2014/main" id="{E5C9CCC3-0454-4B98-86B4-9BB8E47D908A}"/>
                  </a:ext>
                </a:extLst>
              </p:cNvPr>
              <p:cNvPicPr>
                <a:picLocks noChangeAspect="1"/>
              </p:cNvPicPr>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6307271" y="2897471"/>
                <a:ext cx="370493" cy="370493"/>
              </a:xfrm>
              <a:prstGeom prst="rect">
                <a:avLst/>
              </a:prstGeom>
            </p:spPr>
          </p:pic>
          <p:cxnSp>
            <p:nvCxnSpPr>
              <p:cNvPr id="134" name="Connecteur droit avec flèche 133">
                <a:extLst>
                  <a:ext uri="{FF2B5EF4-FFF2-40B4-BE49-F238E27FC236}">
                    <a16:creationId xmlns:a16="http://schemas.microsoft.com/office/drawing/2014/main" id="{35F3E3A5-5115-4A7F-9B37-D21495E1CB5C}"/>
                  </a:ext>
                </a:extLst>
              </p:cNvPr>
              <p:cNvCxnSpPr/>
              <p:nvPr/>
            </p:nvCxnSpPr>
            <p:spPr>
              <a:xfrm>
                <a:off x="6348517" y="3354174"/>
                <a:ext cx="288000" cy="0"/>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0" name="Groupe 19">
              <a:extLst>
                <a:ext uri="{FF2B5EF4-FFF2-40B4-BE49-F238E27FC236}">
                  <a16:creationId xmlns:a16="http://schemas.microsoft.com/office/drawing/2014/main" id="{D0A17DFD-86FD-4E30-B816-DDF802878045}"/>
                </a:ext>
              </a:extLst>
            </p:cNvPr>
            <p:cNvGrpSpPr/>
            <p:nvPr/>
          </p:nvGrpSpPr>
          <p:grpSpPr>
            <a:xfrm>
              <a:off x="7987608" y="2758956"/>
              <a:ext cx="2330154" cy="755438"/>
              <a:chOff x="7498123" y="2763982"/>
              <a:chExt cx="2330154" cy="755438"/>
            </a:xfrm>
          </p:grpSpPr>
          <p:sp>
            <p:nvSpPr>
              <p:cNvPr id="135" name="Eingekerbter Richtungspfeil 18">
                <a:extLst>
                  <a:ext uri="{FF2B5EF4-FFF2-40B4-BE49-F238E27FC236}">
                    <a16:creationId xmlns:a16="http://schemas.microsoft.com/office/drawing/2014/main" id="{A38B4BCB-F447-480A-9E28-A731E13D24B2}"/>
                  </a:ext>
                </a:extLst>
              </p:cNvPr>
              <p:cNvSpPr/>
              <p:nvPr>
                <p:custDataLst>
                  <p:tags r:id="rId4"/>
                </p:custDataLst>
              </p:nvPr>
            </p:nvSpPr>
            <p:spPr bwMode="auto">
              <a:xfrm>
                <a:off x="7498123" y="2763982"/>
                <a:ext cx="2330154" cy="755438"/>
              </a:xfrm>
              <a:prstGeom prst="chevron">
                <a:avLst>
                  <a:gd name="adj" fmla="val 19447"/>
                </a:avLst>
              </a:prstGeom>
              <a:solidFill>
                <a:schemeClr val="bg1">
                  <a:lumMod val="95000"/>
                </a:schemeClr>
              </a:solidFill>
              <a:ln w="9525">
                <a:solidFill>
                  <a:schemeClr val="bg1">
                    <a:lumMod val="85000"/>
                  </a:schemeClr>
                </a:solidFill>
                <a:prstDash val="solid"/>
                <a:miter lim="800000"/>
                <a:headEnd/>
                <a:tailEnd/>
              </a:ln>
              <a:effectLst/>
            </p:spPr>
            <p:txBody>
              <a:bodyPr anchor="ctr"/>
              <a:lstStyle/>
              <a:p>
                <a:pPr algn="ctr">
                  <a:spcBef>
                    <a:spcPct val="0"/>
                  </a:spcBef>
                  <a:spcAft>
                    <a:spcPct val="0"/>
                  </a:spcAft>
                  <a:buClrTx/>
                </a:pPr>
                <a:endParaRPr lang="en-US" sz="1400" b="1" dirty="0"/>
              </a:p>
            </p:txBody>
          </p:sp>
          <p:pic>
            <p:nvPicPr>
              <p:cNvPr id="122" name="Picture 54">
                <a:extLst>
                  <a:ext uri="{FF2B5EF4-FFF2-40B4-BE49-F238E27FC236}">
                    <a16:creationId xmlns:a16="http://schemas.microsoft.com/office/drawing/2014/main" id="{BE8BA413-B646-473C-A6B8-05C918E36373}"/>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8762256" y="3006350"/>
                <a:ext cx="770159" cy="366920"/>
              </a:xfrm>
              <a:prstGeom prst="rect">
                <a:avLst/>
              </a:prstGeom>
            </p:spPr>
          </p:pic>
          <p:pic>
            <p:nvPicPr>
              <p:cNvPr id="123" name="Graphique 122" descr="Utilisateur">
                <a:extLst>
                  <a:ext uri="{FF2B5EF4-FFF2-40B4-BE49-F238E27FC236}">
                    <a16:creationId xmlns:a16="http://schemas.microsoft.com/office/drawing/2014/main" id="{7B2D6C0E-FDFD-4A30-9519-8720A210742B}"/>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736485" y="2956455"/>
                <a:ext cx="396000" cy="396000"/>
              </a:xfrm>
              <a:prstGeom prst="rect">
                <a:avLst/>
              </a:prstGeom>
            </p:spPr>
          </p:pic>
          <p:cxnSp>
            <p:nvCxnSpPr>
              <p:cNvPr id="136" name="Connecteur droit avec flèche 135">
                <a:extLst>
                  <a:ext uri="{FF2B5EF4-FFF2-40B4-BE49-F238E27FC236}">
                    <a16:creationId xmlns:a16="http://schemas.microsoft.com/office/drawing/2014/main" id="{6ABBB206-CFF8-4FBF-BECC-AE23968F6E8A}"/>
                  </a:ext>
                </a:extLst>
              </p:cNvPr>
              <p:cNvCxnSpPr/>
              <p:nvPr/>
            </p:nvCxnSpPr>
            <p:spPr>
              <a:xfrm>
                <a:off x="8270494" y="3239986"/>
                <a:ext cx="288000" cy="0"/>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grpSp>
      <p:grpSp>
        <p:nvGrpSpPr>
          <p:cNvPr id="28" name="Groupe 27">
            <a:extLst>
              <a:ext uri="{FF2B5EF4-FFF2-40B4-BE49-F238E27FC236}">
                <a16:creationId xmlns:a16="http://schemas.microsoft.com/office/drawing/2014/main" id="{F4E62FF1-293D-4FA1-8045-945F3494CDEC}"/>
              </a:ext>
            </a:extLst>
          </p:cNvPr>
          <p:cNvGrpSpPr/>
          <p:nvPr/>
        </p:nvGrpSpPr>
        <p:grpSpPr>
          <a:xfrm>
            <a:off x="535056" y="1654552"/>
            <a:ext cx="5322951" cy="488309"/>
            <a:chOff x="470253" y="1884266"/>
            <a:chExt cx="5322951" cy="488309"/>
          </a:xfrm>
        </p:grpSpPr>
        <p:pic>
          <p:nvPicPr>
            <p:cNvPr id="138" name="Graphique 137" descr="Utilisateur">
              <a:extLst>
                <a:ext uri="{FF2B5EF4-FFF2-40B4-BE49-F238E27FC236}">
                  <a16:creationId xmlns:a16="http://schemas.microsoft.com/office/drawing/2014/main" id="{7275DFEF-7A1B-4FF2-AFC6-D8EE886A9F17}"/>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70253" y="1884266"/>
              <a:ext cx="396000" cy="396000"/>
            </a:xfrm>
            <a:prstGeom prst="rect">
              <a:avLst/>
            </a:prstGeom>
          </p:spPr>
        </p:pic>
        <p:sp>
          <p:nvSpPr>
            <p:cNvPr id="139" name="Rectangle 138">
              <a:extLst>
                <a:ext uri="{FF2B5EF4-FFF2-40B4-BE49-F238E27FC236}">
                  <a16:creationId xmlns:a16="http://schemas.microsoft.com/office/drawing/2014/main" id="{87310F42-3628-4818-9A37-D0BCA97CA7C6}"/>
                </a:ext>
              </a:extLst>
            </p:cNvPr>
            <p:cNvSpPr/>
            <p:nvPr/>
          </p:nvSpPr>
          <p:spPr>
            <a:xfrm>
              <a:off x="867487" y="1886685"/>
              <a:ext cx="4925717" cy="485890"/>
            </a:xfrm>
            <a:prstGeom prst="rect">
              <a:avLst/>
            </a:prstGeom>
            <a:noFill/>
            <a:ln>
              <a:noFill/>
            </a:ln>
          </p:spPr>
          <p:txBody>
            <a:bodyPr wrap="square" lIns="0" tIns="0" rIns="0" bIns="0" rtlCol="0" anchor="ctr"/>
            <a:lstStyle/>
            <a:p>
              <a:pPr marL="0" marR="0" lvl="0" indent="0" defTabSz="1044789"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chemeClr val="tx2"/>
                  </a:solidFill>
                  <a:effectLst/>
                  <a:uLnTx/>
                  <a:uFillTx/>
                  <a:latin typeface="Calibri"/>
                  <a:ea typeface="+mn-ea"/>
                  <a:cs typeface="+mn-cs"/>
                </a:rPr>
                <a:t>Entreprise souhaitant être accompagnée</a:t>
              </a:r>
            </a:p>
          </p:txBody>
        </p:sp>
      </p:grpSp>
      <p:grpSp>
        <p:nvGrpSpPr>
          <p:cNvPr id="29" name="Groupe 28">
            <a:extLst>
              <a:ext uri="{FF2B5EF4-FFF2-40B4-BE49-F238E27FC236}">
                <a16:creationId xmlns:a16="http://schemas.microsoft.com/office/drawing/2014/main" id="{E77B9995-18E5-4651-8E9E-5097B9875E08}"/>
              </a:ext>
            </a:extLst>
          </p:cNvPr>
          <p:cNvGrpSpPr/>
          <p:nvPr/>
        </p:nvGrpSpPr>
        <p:grpSpPr>
          <a:xfrm>
            <a:off x="558487" y="2336993"/>
            <a:ext cx="2130740" cy="341607"/>
            <a:chOff x="558487" y="2364475"/>
            <a:chExt cx="2130740" cy="341607"/>
          </a:xfrm>
        </p:grpSpPr>
        <p:cxnSp>
          <p:nvCxnSpPr>
            <p:cNvPr id="145" name="Straight Arrow Connector 100">
              <a:extLst>
                <a:ext uri="{FF2B5EF4-FFF2-40B4-BE49-F238E27FC236}">
                  <a16:creationId xmlns:a16="http://schemas.microsoft.com/office/drawing/2014/main" id="{292AB66D-946B-430F-AB99-C853C71C7A87}"/>
                </a:ext>
              </a:extLst>
            </p:cNvPr>
            <p:cNvCxnSpPr>
              <a:cxnSpLocks/>
            </p:cNvCxnSpPr>
            <p:nvPr/>
          </p:nvCxnSpPr>
          <p:spPr>
            <a:xfrm rot="10800000" flipH="1" flipV="1">
              <a:off x="558487" y="2565401"/>
              <a:ext cx="2130740" cy="2"/>
            </a:xfrm>
            <a:prstGeom prst="straightConnector1">
              <a:avLst/>
            </a:prstGeom>
            <a:ln>
              <a:solidFill>
                <a:schemeClr val="accent4">
                  <a:lumMod val="40000"/>
                  <a:lumOff val="6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7" name="Rectangle 146">
              <a:extLst>
                <a:ext uri="{FF2B5EF4-FFF2-40B4-BE49-F238E27FC236}">
                  <a16:creationId xmlns:a16="http://schemas.microsoft.com/office/drawing/2014/main" id="{AD5859B3-6959-4030-8A26-7E97BB1AF3A7}"/>
                </a:ext>
              </a:extLst>
            </p:cNvPr>
            <p:cNvSpPr/>
            <p:nvPr/>
          </p:nvSpPr>
          <p:spPr>
            <a:xfrm>
              <a:off x="1443387" y="2364475"/>
              <a:ext cx="360939" cy="341607"/>
            </a:xfrm>
            <a:prstGeom prst="rect">
              <a:avLst/>
            </a:prstGeom>
            <a:solidFill>
              <a:schemeClr val="bg1"/>
            </a:solidFill>
            <a:ln>
              <a:noFill/>
            </a:ln>
          </p:spPr>
          <p:txBody>
            <a:bodyPr wrap="square" lIns="0" tIns="0" rIns="0" bIns="0" rtlCol="0" anchor="ctr"/>
            <a:lstStyle/>
            <a:p>
              <a:pPr marL="0" marR="0" lvl="0" indent="0" algn="ctr" defTabSz="1044789"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dirty="0">
                  <a:ln>
                    <a:noFill/>
                  </a:ln>
                  <a:solidFill>
                    <a:srgbClr val="004A59"/>
                  </a:solidFill>
                  <a:effectLst/>
                  <a:uLnTx/>
                  <a:uFillTx/>
                  <a:latin typeface="Calibri"/>
                  <a:ea typeface="+mn-ea"/>
                  <a:cs typeface="+mn-cs"/>
                </a:rPr>
                <a:t>J</a:t>
              </a:r>
            </a:p>
          </p:txBody>
        </p:sp>
      </p:grpSp>
      <p:grpSp>
        <p:nvGrpSpPr>
          <p:cNvPr id="148" name="Groupe 147">
            <a:extLst>
              <a:ext uri="{FF2B5EF4-FFF2-40B4-BE49-F238E27FC236}">
                <a16:creationId xmlns:a16="http://schemas.microsoft.com/office/drawing/2014/main" id="{6555E2CC-FAD3-4F26-9233-74DD6047F098}"/>
              </a:ext>
            </a:extLst>
          </p:cNvPr>
          <p:cNvGrpSpPr/>
          <p:nvPr/>
        </p:nvGrpSpPr>
        <p:grpSpPr>
          <a:xfrm>
            <a:off x="3126355" y="2336993"/>
            <a:ext cx="2130740" cy="341607"/>
            <a:chOff x="558487" y="2364475"/>
            <a:chExt cx="2130740" cy="341607"/>
          </a:xfrm>
        </p:grpSpPr>
        <p:cxnSp>
          <p:nvCxnSpPr>
            <p:cNvPr id="149" name="Straight Arrow Connector 100">
              <a:extLst>
                <a:ext uri="{FF2B5EF4-FFF2-40B4-BE49-F238E27FC236}">
                  <a16:creationId xmlns:a16="http://schemas.microsoft.com/office/drawing/2014/main" id="{29E4D34D-F0B2-4C98-B9D3-96B341E1A775}"/>
                </a:ext>
              </a:extLst>
            </p:cNvPr>
            <p:cNvCxnSpPr>
              <a:cxnSpLocks/>
            </p:cNvCxnSpPr>
            <p:nvPr/>
          </p:nvCxnSpPr>
          <p:spPr>
            <a:xfrm rot="10800000" flipH="1" flipV="1">
              <a:off x="558487" y="2565401"/>
              <a:ext cx="2130740" cy="2"/>
            </a:xfrm>
            <a:prstGeom prst="straightConnector1">
              <a:avLst/>
            </a:prstGeom>
            <a:ln>
              <a:solidFill>
                <a:schemeClr val="accent4">
                  <a:lumMod val="40000"/>
                  <a:lumOff val="6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50" name="Rectangle 149">
              <a:extLst>
                <a:ext uri="{FF2B5EF4-FFF2-40B4-BE49-F238E27FC236}">
                  <a16:creationId xmlns:a16="http://schemas.microsoft.com/office/drawing/2014/main" id="{59FB473B-1FDF-412F-98D2-CFE503D6F2CA}"/>
                </a:ext>
              </a:extLst>
            </p:cNvPr>
            <p:cNvSpPr/>
            <p:nvPr/>
          </p:nvSpPr>
          <p:spPr>
            <a:xfrm>
              <a:off x="1443387" y="2364475"/>
              <a:ext cx="360939" cy="341607"/>
            </a:xfrm>
            <a:prstGeom prst="rect">
              <a:avLst/>
            </a:prstGeom>
            <a:solidFill>
              <a:schemeClr val="bg1"/>
            </a:solidFill>
            <a:ln>
              <a:noFill/>
            </a:ln>
          </p:spPr>
          <p:txBody>
            <a:bodyPr wrap="square" lIns="0" tIns="0" rIns="0" bIns="0" rtlCol="0" anchor="ctr"/>
            <a:lstStyle/>
            <a:p>
              <a:pPr marL="0" marR="0" lvl="0" indent="0" algn="ctr" defTabSz="1044789"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dirty="0">
                  <a:ln>
                    <a:noFill/>
                  </a:ln>
                  <a:solidFill>
                    <a:srgbClr val="004A59"/>
                  </a:solidFill>
                  <a:effectLst/>
                  <a:uLnTx/>
                  <a:uFillTx/>
                  <a:latin typeface="Calibri"/>
                  <a:ea typeface="+mn-ea"/>
                  <a:cs typeface="+mn-cs"/>
                </a:rPr>
                <a:t>J+1</a:t>
              </a:r>
            </a:p>
          </p:txBody>
        </p:sp>
      </p:grpSp>
      <p:grpSp>
        <p:nvGrpSpPr>
          <p:cNvPr id="151" name="Groupe 150">
            <a:extLst>
              <a:ext uri="{FF2B5EF4-FFF2-40B4-BE49-F238E27FC236}">
                <a16:creationId xmlns:a16="http://schemas.microsoft.com/office/drawing/2014/main" id="{FBCFB5CB-AA24-4504-844F-07CDAC2557C0}"/>
              </a:ext>
            </a:extLst>
          </p:cNvPr>
          <p:cNvGrpSpPr/>
          <p:nvPr/>
        </p:nvGrpSpPr>
        <p:grpSpPr>
          <a:xfrm>
            <a:off x="5616546" y="2336993"/>
            <a:ext cx="2130740" cy="341607"/>
            <a:chOff x="558487" y="2364475"/>
            <a:chExt cx="2130740" cy="341607"/>
          </a:xfrm>
        </p:grpSpPr>
        <p:cxnSp>
          <p:nvCxnSpPr>
            <p:cNvPr id="152" name="Straight Arrow Connector 100">
              <a:extLst>
                <a:ext uri="{FF2B5EF4-FFF2-40B4-BE49-F238E27FC236}">
                  <a16:creationId xmlns:a16="http://schemas.microsoft.com/office/drawing/2014/main" id="{8E3DDE83-F132-4519-9407-7D99250B47C8}"/>
                </a:ext>
              </a:extLst>
            </p:cNvPr>
            <p:cNvCxnSpPr>
              <a:cxnSpLocks/>
            </p:cNvCxnSpPr>
            <p:nvPr/>
          </p:nvCxnSpPr>
          <p:spPr>
            <a:xfrm rot="10800000" flipH="1" flipV="1">
              <a:off x="558487" y="2565401"/>
              <a:ext cx="2130740" cy="2"/>
            </a:xfrm>
            <a:prstGeom prst="straightConnector1">
              <a:avLst/>
            </a:prstGeom>
            <a:ln>
              <a:solidFill>
                <a:schemeClr val="accent4">
                  <a:lumMod val="40000"/>
                  <a:lumOff val="6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53" name="Rectangle 152">
              <a:extLst>
                <a:ext uri="{FF2B5EF4-FFF2-40B4-BE49-F238E27FC236}">
                  <a16:creationId xmlns:a16="http://schemas.microsoft.com/office/drawing/2014/main" id="{44CC4CE7-5B83-49F4-A442-9AB37E12CE46}"/>
                </a:ext>
              </a:extLst>
            </p:cNvPr>
            <p:cNvSpPr/>
            <p:nvPr/>
          </p:nvSpPr>
          <p:spPr>
            <a:xfrm>
              <a:off x="1443387" y="2364475"/>
              <a:ext cx="360939" cy="341607"/>
            </a:xfrm>
            <a:prstGeom prst="rect">
              <a:avLst/>
            </a:prstGeom>
            <a:solidFill>
              <a:schemeClr val="bg1"/>
            </a:solidFill>
            <a:ln>
              <a:noFill/>
            </a:ln>
          </p:spPr>
          <p:txBody>
            <a:bodyPr wrap="square" lIns="0" tIns="0" rIns="0" bIns="0" rtlCol="0" anchor="ctr"/>
            <a:lstStyle/>
            <a:p>
              <a:pPr marL="0" marR="0" lvl="0" indent="0" algn="ctr" defTabSz="1044789"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dirty="0">
                  <a:ln>
                    <a:noFill/>
                  </a:ln>
                  <a:solidFill>
                    <a:srgbClr val="004A59"/>
                  </a:solidFill>
                  <a:effectLst/>
                  <a:uLnTx/>
                  <a:uFillTx/>
                  <a:latin typeface="Calibri"/>
                  <a:ea typeface="+mn-ea"/>
                  <a:cs typeface="+mn-cs"/>
                </a:rPr>
                <a:t>J+5</a:t>
              </a:r>
            </a:p>
          </p:txBody>
        </p:sp>
      </p:grpSp>
      <p:grpSp>
        <p:nvGrpSpPr>
          <p:cNvPr id="154" name="Groupe 153">
            <a:extLst>
              <a:ext uri="{FF2B5EF4-FFF2-40B4-BE49-F238E27FC236}">
                <a16:creationId xmlns:a16="http://schemas.microsoft.com/office/drawing/2014/main" id="{39478D87-90D4-4236-92D0-A7CC2F4BC497}"/>
              </a:ext>
            </a:extLst>
          </p:cNvPr>
          <p:cNvGrpSpPr/>
          <p:nvPr/>
        </p:nvGrpSpPr>
        <p:grpSpPr>
          <a:xfrm>
            <a:off x="8125785" y="2336993"/>
            <a:ext cx="4701943" cy="341607"/>
            <a:chOff x="558487" y="2364475"/>
            <a:chExt cx="4701943" cy="341607"/>
          </a:xfrm>
        </p:grpSpPr>
        <p:cxnSp>
          <p:nvCxnSpPr>
            <p:cNvPr id="155" name="Straight Arrow Connector 100">
              <a:extLst>
                <a:ext uri="{FF2B5EF4-FFF2-40B4-BE49-F238E27FC236}">
                  <a16:creationId xmlns:a16="http://schemas.microsoft.com/office/drawing/2014/main" id="{1ADD2B10-5BB3-43C3-BC27-F937C4126E6B}"/>
                </a:ext>
              </a:extLst>
            </p:cNvPr>
            <p:cNvCxnSpPr>
              <a:cxnSpLocks/>
            </p:cNvCxnSpPr>
            <p:nvPr/>
          </p:nvCxnSpPr>
          <p:spPr>
            <a:xfrm flipV="1">
              <a:off x="558487" y="2565400"/>
              <a:ext cx="4701943" cy="1"/>
            </a:xfrm>
            <a:prstGeom prst="straightConnector1">
              <a:avLst/>
            </a:prstGeom>
            <a:ln>
              <a:solidFill>
                <a:schemeClr val="accent4">
                  <a:lumMod val="40000"/>
                  <a:lumOff val="6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56" name="Rectangle 155">
              <a:extLst>
                <a:ext uri="{FF2B5EF4-FFF2-40B4-BE49-F238E27FC236}">
                  <a16:creationId xmlns:a16="http://schemas.microsoft.com/office/drawing/2014/main" id="{2E68E206-0E5B-4B7D-B612-C0C7D1ABE53B}"/>
                </a:ext>
              </a:extLst>
            </p:cNvPr>
            <p:cNvSpPr/>
            <p:nvPr/>
          </p:nvSpPr>
          <p:spPr>
            <a:xfrm>
              <a:off x="2680327" y="2364475"/>
              <a:ext cx="468000" cy="341607"/>
            </a:xfrm>
            <a:prstGeom prst="rect">
              <a:avLst/>
            </a:prstGeom>
            <a:solidFill>
              <a:schemeClr val="bg1"/>
            </a:solidFill>
            <a:ln>
              <a:noFill/>
            </a:ln>
          </p:spPr>
          <p:txBody>
            <a:bodyPr wrap="square" lIns="0" tIns="0" rIns="0" bIns="0" rtlCol="0" anchor="ctr"/>
            <a:lstStyle/>
            <a:p>
              <a:pPr marL="0" marR="0" lvl="0" indent="0" algn="ctr" defTabSz="1044789"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dirty="0">
                  <a:ln>
                    <a:noFill/>
                  </a:ln>
                  <a:solidFill>
                    <a:srgbClr val="004A59"/>
                  </a:solidFill>
                  <a:effectLst/>
                  <a:uLnTx/>
                  <a:uFillTx/>
                  <a:latin typeface="Calibri"/>
                  <a:ea typeface="+mn-ea"/>
                  <a:cs typeface="+mn-cs"/>
                </a:rPr>
                <a:t>J+30</a:t>
              </a:r>
            </a:p>
          </p:txBody>
        </p:sp>
      </p:grpSp>
      <p:grpSp>
        <p:nvGrpSpPr>
          <p:cNvPr id="59" name="Groupe 58">
            <a:extLst>
              <a:ext uri="{FF2B5EF4-FFF2-40B4-BE49-F238E27FC236}">
                <a16:creationId xmlns:a16="http://schemas.microsoft.com/office/drawing/2014/main" id="{18853DE7-4250-440B-9D7A-6EC44E0CB8A3}"/>
              </a:ext>
            </a:extLst>
          </p:cNvPr>
          <p:cNvGrpSpPr/>
          <p:nvPr/>
        </p:nvGrpSpPr>
        <p:grpSpPr>
          <a:xfrm>
            <a:off x="2725086" y="5036629"/>
            <a:ext cx="7434991" cy="1986909"/>
            <a:chOff x="4245834" y="4854686"/>
            <a:chExt cx="7434991" cy="1986909"/>
          </a:xfrm>
        </p:grpSpPr>
        <p:sp>
          <p:nvSpPr>
            <p:cNvPr id="60" name="Rectangle 59">
              <a:extLst>
                <a:ext uri="{FF2B5EF4-FFF2-40B4-BE49-F238E27FC236}">
                  <a16:creationId xmlns:a16="http://schemas.microsoft.com/office/drawing/2014/main" id="{35BF8CFC-5FDD-4D50-95D9-23B2DC48F496}"/>
                </a:ext>
              </a:extLst>
            </p:cNvPr>
            <p:cNvSpPr/>
            <p:nvPr/>
          </p:nvSpPr>
          <p:spPr>
            <a:xfrm>
              <a:off x="4289367" y="4977349"/>
              <a:ext cx="7391458" cy="1708580"/>
            </a:xfrm>
            <a:prstGeom prst="rect">
              <a:avLst/>
            </a:prstGeom>
            <a:solidFill>
              <a:schemeClr val="accent1"/>
            </a:solidFill>
          </p:spPr>
          <p:txBody>
            <a:bodyPr wrap="square" lIns="0" tIns="0" rIns="0" bIns="0" rtlCol="0" anchor="ctr"/>
            <a:lstStyle/>
            <a:p>
              <a:endParaRPr lang="en-US" sz="1600" b="0" dirty="0" err="1">
                <a:solidFill>
                  <a:schemeClr val="bg1"/>
                </a:solidFill>
              </a:endParaRPr>
            </a:p>
          </p:txBody>
        </p:sp>
        <p:sp>
          <p:nvSpPr>
            <p:cNvPr id="61" name="Rectangle 60">
              <a:extLst>
                <a:ext uri="{FF2B5EF4-FFF2-40B4-BE49-F238E27FC236}">
                  <a16:creationId xmlns:a16="http://schemas.microsoft.com/office/drawing/2014/main" id="{36E3874B-4D6B-4FB1-A8D7-506C40A12132}"/>
                </a:ext>
              </a:extLst>
            </p:cNvPr>
            <p:cNvSpPr/>
            <p:nvPr/>
          </p:nvSpPr>
          <p:spPr>
            <a:xfrm>
              <a:off x="4566509" y="4854686"/>
              <a:ext cx="5101073" cy="1986909"/>
            </a:xfrm>
            <a:prstGeom prst="rect">
              <a:avLst/>
            </a:prstGeom>
            <a:noFill/>
            <a:ln>
              <a:noFill/>
            </a:ln>
          </p:spPr>
          <p:txBody>
            <a:bodyPr wrap="square" lIns="0" tIns="0" rIns="0" bIns="0" rtlCol="0" anchor="ctr"/>
            <a:lstStyle/>
            <a:p>
              <a:pPr marL="0" marR="0" lvl="0" indent="0" defTabSz="1044789"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dirty="0">
                  <a:ln>
                    <a:noFill/>
                  </a:ln>
                  <a:solidFill>
                    <a:schemeClr val="bg1"/>
                  </a:solidFill>
                  <a:effectLst/>
                  <a:uLnTx/>
                  <a:uFillTx/>
                  <a:latin typeface="Calibri"/>
                  <a:ea typeface="+mn-ea"/>
                  <a:cs typeface="+mn-cs"/>
                </a:rPr>
                <a:t>Vos contacts chez CYLAD : </a:t>
              </a:r>
            </a:p>
            <a:p>
              <a:pPr marL="285750" marR="0" lvl="0" indent="-285750" defTabSz="104478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800" b="1" dirty="0">
                  <a:solidFill>
                    <a:schemeClr val="bg1"/>
                  </a:solidFill>
                  <a:latin typeface="Calibri"/>
                </a:rPr>
                <a:t>Par email </a:t>
              </a:r>
              <a:r>
                <a:rPr lang="fr-FR" sz="1800" dirty="0">
                  <a:solidFill>
                    <a:schemeClr val="bg1"/>
                  </a:solidFill>
                  <a:latin typeface="Calibri"/>
                </a:rPr>
                <a:t>: industriedufutur@cylad.com</a:t>
              </a:r>
            </a:p>
            <a:p>
              <a:pPr marL="285750" lvl="0" indent="-285750">
                <a:buFont typeface="Arial" panose="020B0604020202020204" pitchFamily="34" charset="0"/>
                <a:buChar char="•"/>
                <a:defRPr/>
              </a:pPr>
              <a:r>
                <a:rPr lang="fr-FR" sz="1800" b="1" dirty="0">
                  <a:solidFill>
                    <a:schemeClr val="bg1"/>
                  </a:solidFill>
                </a:rPr>
                <a:t>Par téléphone </a:t>
              </a:r>
              <a:r>
                <a:rPr lang="fr-FR" sz="1800" dirty="0">
                  <a:solidFill>
                    <a:schemeClr val="bg1"/>
                  </a:solidFill>
                </a:rPr>
                <a:t>: </a:t>
              </a:r>
            </a:p>
            <a:p>
              <a:pPr marL="808144" lvl="1" indent="-285750">
                <a:buFont typeface="Arial" panose="020B0604020202020204" pitchFamily="34" charset="0"/>
                <a:buChar char="•"/>
                <a:defRPr/>
              </a:pPr>
              <a:r>
                <a:rPr lang="fr-FR" sz="1800" dirty="0">
                  <a:solidFill>
                    <a:schemeClr val="bg1"/>
                  </a:solidFill>
                </a:rPr>
                <a:t>Laetitia Bouzenard: +33 6 85 57 59 78</a:t>
              </a:r>
            </a:p>
            <a:p>
              <a:pPr marL="808144" lvl="1" indent="-285750">
                <a:buFont typeface="Arial" panose="020B0604020202020204" pitchFamily="34" charset="0"/>
                <a:buChar char="•"/>
                <a:defRPr/>
              </a:pPr>
              <a:r>
                <a:rPr lang="fr-FR" sz="1800" dirty="0">
                  <a:solidFill>
                    <a:schemeClr val="bg1"/>
                  </a:solidFill>
                </a:rPr>
                <a:t>Nicolas Comte:  +33 7 62 76 66 95 </a:t>
              </a:r>
            </a:p>
            <a:p>
              <a:pPr marL="285750" marR="0" lvl="0" indent="-285750" defTabSz="104478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600" b="0" i="0" u="none" strike="noStrike" kern="1200" cap="none" spc="0" normalizeH="0" baseline="0" noProof="0" dirty="0">
                <a:ln>
                  <a:noFill/>
                </a:ln>
                <a:solidFill>
                  <a:schemeClr val="tx2"/>
                </a:solidFill>
                <a:effectLst/>
                <a:uLnTx/>
                <a:uFillTx/>
                <a:latin typeface="Calibri"/>
                <a:ea typeface="+mn-ea"/>
                <a:cs typeface="+mn-cs"/>
              </a:endParaRPr>
            </a:p>
          </p:txBody>
        </p:sp>
        <p:sp>
          <p:nvSpPr>
            <p:cNvPr id="62" name="object 4">
              <a:extLst>
                <a:ext uri="{FF2B5EF4-FFF2-40B4-BE49-F238E27FC236}">
                  <a16:creationId xmlns:a16="http://schemas.microsoft.com/office/drawing/2014/main" id="{E4DDDAA2-E85E-4B29-8EF1-78E50216EBCB}"/>
                </a:ext>
              </a:extLst>
            </p:cNvPr>
            <p:cNvSpPr/>
            <p:nvPr/>
          </p:nvSpPr>
          <p:spPr>
            <a:xfrm>
              <a:off x="4245834" y="4871599"/>
              <a:ext cx="285750" cy="709930"/>
            </a:xfrm>
            <a:custGeom>
              <a:avLst/>
              <a:gdLst/>
              <a:ahLst/>
              <a:cxnLst/>
              <a:rect l="l" t="t" r="r" b="b"/>
              <a:pathLst>
                <a:path w="285750" h="709929">
                  <a:moveTo>
                    <a:pt x="285216" y="0"/>
                  </a:moveTo>
                  <a:lnTo>
                    <a:pt x="0" y="0"/>
                  </a:lnTo>
                  <a:lnTo>
                    <a:pt x="0" y="709536"/>
                  </a:lnTo>
                  <a:lnTo>
                    <a:pt x="285216" y="0"/>
                  </a:lnTo>
                  <a:close/>
                </a:path>
              </a:pathLst>
            </a:custGeom>
            <a:solidFill>
              <a:srgbClr val="004B58"/>
            </a:solidFill>
          </p:spPr>
          <p:txBody>
            <a:bodyPr wrap="square" lIns="0" tIns="0" rIns="0" bIns="0" rtlCol="0"/>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fr-FR" sz="1500" b="0" i="0" u="none" strike="noStrike" kern="0" cap="none" spc="0" normalizeH="0" baseline="0" noProof="0">
                <a:ln>
                  <a:noFill/>
                </a:ln>
                <a:solidFill>
                  <a:srgbClr val="000000"/>
                </a:solidFill>
                <a:effectLst/>
                <a:uLnTx/>
                <a:uFillTx/>
                <a:latin typeface="Calibri"/>
                <a:ea typeface="+mn-ea"/>
                <a:cs typeface="+mn-cs"/>
              </a:endParaRPr>
            </a:p>
          </p:txBody>
        </p:sp>
        <p:pic>
          <p:nvPicPr>
            <p:cNvPr id="63" name="Picture 9" descr="https://media-exp2.licdn.com/dms/image/C5103AQHoIA9n5L-A5A/profile-displayphoto-shrink_200_200/0?e=1584576000&amp;v=beta&amp;t=MWFlnns9B90K2AYakNHQ7aijrASYjSd94IPcaXzbWeI">
              <a:extLst>
                <a:ext uri="{FF2B5EF4-FFF2-40B4-BE49-F238E27FC236}">
                  <a16:creationId xmlns:a16="http://schemas.microsoft.com/office/drawing/2014/main" id="{F1FB9695-667D-4DA0-A48E-CD548B8296CB}"/>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0639850" y="5338644"/>
              <a:ext cx="936000" cy="936000"/>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7" descr="https://media-exp2.licdn.com/dms/image/C4E03AQHvC-4TA1iElg/profile-displayphoto-shrink_200_200/0?e=1584576000&amp;v=beta&amp;t=daE_uDox7HFHip_C98Irx6Wy6ITxvuJKzDdNKcc_KOc">
              <a:extLst>
                <a:ext uri="{FF2B5EF4-FFF2-40B4-BE49-F238E27FC236}">
                  <a16:creationId xmlns:a16="http://schemas.microsoft.com/office/drawing/2014/main" id="{08C4189F-189D-43DE-BD16-1C4A125AD786}"/>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9559984" y="5338644"/>
              <a:ext cx="936000" cy="9360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7612271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09f7352d-aba9-4f9a-91d6-0173541c863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jvz7ebcz8LppjMGXOBuing"/>
</p:tagLst>
</file>

<file path=ppt/tags/tag102.xml><?xml version="1.0" encoding="utf-8"?>
<p:tagLst xmlns:a="http://schemas.openxmlformats.org/drawingml/2006/main" xmlns:r="http://schemas.openxmlformats.org/officeDocument/2006/relationships" xmlns:p="http://schemas.openxmlformats.org/presentationml/2006/main">
  <p:tag name="EE4P_MAPWIZARD_ID" val="AU"/>
  <p:tag name="EE4P_MAPWIZARD_HEADINGS" val="Admin 0\Continent\UN Region\UN Sub Region"/>
  <p:tag name="EE4P_MAPWIZARD" val="Australia\Oceania\Oceania\Australia and New Zealand"/>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_v033E9_Srmw9ueSAOXco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1gzjAxciTmG5rOAEN3oDK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BI3YbZBfT0.yitSC3Azqr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vsdzkgCTU6k8ztRXIEfg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dLUhS2_LS1mr4Wk4P7VCb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qmtddmuhO3ZNK4wyph3Do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UhAKE9ixRx.bQQgUKJNyB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nfIf2JznTAypmke9K.Z99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nfIf2JznTAypmke9K.Z99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EDa5ELhISmmtvFoze3Mn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BPphnDL.RyOccanBLKJxU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mbtYfCXZS6Kl2q0dGwGVD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c1TQDDY1Qy6KybD7cJlu1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4qXmYwTpTSK1__xa29NQa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PphnDL.RyOccanBLKJxU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pvsdzkgCTU6k8ztRXIEfg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UhAKE9ixRx.bQQgUKJNyB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nfIf2JznTAypmke9K.Z99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nfIf2JznTAypmke9K.Z99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EDa5ELhISmmtvFoze3Mno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BPphnDL.RyOccanBLKJxU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mbtYfCXZS6Kl2q0dGwGVD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c1TQDDY1Qy6KybD7cJlu1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4qXmYwTpTSK1__xa29NQa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pvsdzkgCTU6k8ztRXIEfg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mbtYfCXZS6Kl2q0dGwGVD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UhAKE9ixRx.bQQgUKJNyB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nfIf2JznTAypmke9K.Z99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nfIf2JznTAypmke9K.Z99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EDa5ELhISmmtvFoze3Mno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1sFaEdNNJ.ls7JHBrL3xT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vNfQM9caJykV.3AhOcedM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1sFaEdNNJ.ls7JHBrL3xT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qmtddmuhO3ZNK4wyph3Do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8dDI7pOX3zPtOR73MTkiE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1TQDDY1Qy6KybD7cJlu1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SOJOyTjFbKjrTda8zsPrc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jm_bVc6vRAOfJjpk8.G._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8iY2sBeFzcSGqfOAHX4p7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1sFaEdNNJ.ls7JHBrL3xT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qmtddmuhO3ZNK4wyph3Do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qmtddmuhO3ZNK4wyph3DoQ"/>
</p:tagLst>
</file>

<file path=ppt/tags/tag79.xml><?xml version="1.0" encoding="utf-8"?>
<p:tagLst xmlns:a="http://schemas.openxmlformats.org/drawingml/2006/main" xmlns:r="http://schemas.openxmlformats.org/officeDocument/2006/relationships" xmlns:p="http://schemas.openxmlformats.org/presentationml/2006/main">
  <p:tag name="EE4P_TEMPLATESTYLE" val="3"/>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TEMPLATESTYLE" val="3"/>
</p:tagLst>
</file>

<file path=ppt/tags/tag81.xml><?xml version="1.0" encoding="utf-8"?>
<p:tagLst xmlns:a="http://schemas.openxmlformats.org/drawingml/2006/main" xmlns:r="http://schemas.openxmlformats.org/officeDocument/2006/relationships" xmlns:p="http://schemas.openxmlformats.org/presentationml/2006/main">
  <p:tag name="EE4P_TEMPLATESTYLE" val="3"/>
</p:tagLst>
</file>

<file path=ppt/tags/tag82.xml><?xml version="1.0" encoding="utf-8"?>
<p:tagLst xmlns:a="http://schemas.openxmlformats.org/drawingml/2006/main" xmlns:r="http://schemas.openxmlformats.org/officeDocument/2006/relationships" xmlns:p="http://schemas.openxmlformats.org/presentationml/2006/main">
  <p:tag name="EE4P_TEMPLATESTYLE" val="3"/>
</p:tagLst>
</file>

<file path=ppt/tags/tag83.xml><?xml version="1.0" encoding="utf-8"?>
<p:tagLst xmlns:a="http://schemas.openxmlformats.org/drawingml/2006/main" xmlns:r="http://schemas.openxmlformats.org/officeDocument/2006/relationships" xmlns:p="http://schemas.openxmlformats.org/presentationml/2006/main">
  <p:tag name="EE4P_TEMPLATESTYLE" val="3"/>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qmtddmuhO3ZNK4wyph3Do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8dDI7pOX3zPtOR73MTkiE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r67.aONw2NQJ0pZAt7N6w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iucKgj53Ms_6AUPZpRHeW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4qXmYwTpTSK1__xa29NQa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mKl7icWf.gT12oNQ_xYr2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vNfQM9caJykV.3AhOcedM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qmtddmuhO3ZNK4wyph3Do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8dDI7pOX3zPtOR73MTkiE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46pmsxk0R0q.4KRv8l6x1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UN7RfL29dMHnXR.fsPLq7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j3H1bcEyxVAvdkJJXTYkbA"/>
</p:tagLst>
</file>

<file path=ppt/theme/theme1.xml><?xml version="1.0" encoding="utf-8"?>
<a:theme xmlns:a="http://schemas.openxmlformats.org/drawingml/2006/main" name="1_Content">
  <a:themeElements>
    <a:clrScheme name="CYLAD_STANDARD_PRESENTATION">
      <a:dk1>
        <a:srgbClr val="000000"/>
      </a:dk1>
      <a:lt1>
        <a:srgbClr val="FFFFFF"/>
      </a:lt1>
      <a:dk2>
        <a:srgbClr val="004A59"/>
      </a:dk2>
      <a:lt2>
        <a:srgbClr val="F0ECE8"/>
      </a:lt2>
      <a:accent1>
        <a:srgbClr val="58BCAD"/>
      </a:accent1>
      <a:accent2>
        <a:srgbClr val="009A86"/>
      </a:accent2>
      <a:accent3>
        <a:srgbClr val="00CDB2"/>
      </a:accent3>
      <a:accent4>
        <a:srgbClr val="5989A8"/>
      </a:accent4>
      <a:accent5>
        <a:srgbClr val="C0504D"/>
      </a:accent5>
      <a:accent6>
        <a:srgbClr val="800D2A"/>
      </a:accent6>
      <a:hlink>
        <a:srgbClr val="C0504D"/>
      </a:hlink>
      <a:folHlink>
        <a:srgbClr val="800D2A"/>
      </a:folHlink>
    </a:clrScheme>
    <a:fontScheme name="Custom 33">
      <a:majorFont>
        <a:latin typeface="Calibri Light"/>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spPr>
      <a:bodyPr wrap="square" lIns="0" tIns="0" rIns="0" bIns="0" rtlCol="0" anchor="ctr"/>
      <a:lstStyle>
        <a:defPPr algn="ctr">
          <a:defRPr sz="1600" b="0" dirty="0" err="1" smtClean="0">
            <a:solidFill>
              <a:schemeClr val="bg1"/>
            </a:solidFill>
          </a:defRPr>
        </a:defPPr>
      </a:lstStyle>
    </a:spDef>
  </a:objectDefaults>
  <a:extraClrSchemeLst/>
</a:theme>
</file>

<file path=ppt/theme/theme2.xml><?xml version="1.0" encoding="utf-8"?>
<a:theme xmlns:a="http://schemas.openxmlformats.org/drawingml/2006/main" name="2_Content">
  <a:themeElements>
    <a:clrScheme name="CYLAD_STANDARD_PRESENTATION">
      <a:dk1>
        <a:srgbClr val="000000"/>
      </a:dk1>
      <a:lt1>
        <a:srgbClr val="FFFFFF"/>
      </a:lt1>
      <a:dk2>
        <a:srgbClr val="004A59"/>
      </a:dk2>
      <a:lt2>
        <a:srgbClr val="F0ECE8"/>
      </a:lt2>
      <a:accent1>
        <a:srgbClr val="58BCAD"/>
      </a:accent1>
      <a:accent2>
        <a:srgbClr val="009A86"/>
      </a:accent2>
      <a:accent3>
        <a:srgbClr val="00CDB2"/>
      </a:accent3>
      <a:accent4>
        <a:srgbClr val="5989A8"/>
      </a:accent4>
      <a:accent5>
        <a:srgbClr val="C0504D"/>
      </a:accent5>
      <a:accent6>
        <a:srgbClr val="800D2A"/>
      </a:accent6>
      <a:hlink>
        <a:srgbClr val="C0504D"/>
      </a:hlink>
      <a:folHlink>
        <a:srgbClr val="800D2A"/>
      </a:folHlink>
    </a:clrScheme>
    <a:fontScheme name="Custom 33">
      <a:majorFont>
        <a:latin typeface="Calibri Light"/>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spPr>
      <a:bodyPr wrap="square" lIns="0" tIns="0" rIns="0" bIns="0" rtlCol="0" anchor="ctr"/>
      <a:lstStyle>
        <a:defPPr algn="ctr">
          <a:defRPr sz="1600" b="0" dirty="0" err="1" smtClean="0">
            <a:solidFill>
              <a:schemeClr val="bg1"/>
            </a:solidFill>
          </a:defRPr>
        </a:defPPr>
      </a:lstStyle>
    </a:spDef>
  </a:objectDefaults>
  <a:extraClrSchemeLst/>
</a:theme>
</file>

<file path=ppt/theme/theme3.xml><?xml version="1.0" encoding="utf-8"?>
<a:theme xmlns:a="http://schemas.openxmlformats.org/drawingml/2006/main" name="3_Content">
  <a:themeElements>
    <a:clrScheme name="CYLAD_STANDARD_PRESENTATION">
      <a:dk1>
        <a:srgbClr val="000000"/>
      </a:dk1>
      <a:lt1>
        <a:srgbClr val="FFFFFF"/>
      </a:lt1>
      <a:dk2>
        <a:srgbClr val="004A59"/>
      </a:dk2>
      <a:lt2>
        <a:srgbClr val="F0ECE8"/>
      </a:lt2>
      <a:accent1>
        <a:srgbClr val="58BCAD"/>
      </a:accent1>
      <a:accent2>
        <a:srgbClr val="009A86"/>
      </a:accent2>
      <a:accent3>
        <a:srgbClr val="00CDB2"/>
      </a:accent3>
      <a:accent4>
        <a:srgbClr val="5989A8"/>
      </a:accent4>
      <a:accent5>
        <a:srgbClr val="C0504D"/>
      </a:accent5>
      <a:accent6>
        <a:srgbClr val="800D2A"/>
      </a:accent6>
      <a:hlink>
        <a:srgbClr val="C0504D"/>
      </a:hlink>
      <a:folHlink>
        <a:srgbClr val="800D2A"/>
      </a:folHlink>
    </a:clrScheme>
    <a:fontScheme name="Custom 33">
      <a:majorFont>
        <a:latin typeface="Calibri Light"/>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spPr>
      <a:bodyPr wrap="square" lIns="0" tIns="0" rIns="0" bIns="0" rtlCol="0" anchor="ctr"/>
      <a:lstStyle>
        <a:defPPr algn="ctr">
          <a:defRPr sz="1600" b="0" dirty="0" err="1" smtClean="0">
            <a:solidFill>
              <a:schemeClr val="bg1"/>
            </a:solidFill>
          </a:defRPr>
        </a:defPPr>
      </a:lstStyle>
    </a:spDef>
  </a:objectDefaults>
  <a:extraClrSchemeLst/>
</a:theme>
</file>

<file path=ppt/theme/theme4.xml><?xml version="1.0" encoding="utf-8"?>
<a:theme xmlns:a="http://schemas.openxmlformats.org/drawingml/2006/main" name="Office Theme">
  <a:themeElements>
    <a:clrScheme name="CYLAD_Colors">
      <a:dk1>
        <a:srgbClr val="004B5A"/>
      </a:dk1>
      <a:lt1>
        <a:srgbClr val="FFFFFF"/>
      </a:lt1>
      <a:dk2>
        <a:srgbClr val="004B5A"/>
      </a:dk2>
      <a:lt2>
        <a:srgbClr val="FFFFFF"/>
      </a:lt2>
      <a:accent1>
        <a:srgbClr val="004B5A"/>
      </a:accent1>
      <a:accent2>
        <a:srgbClr val="50C0AF"/>
      </a:accent2>
      <a:accent3>
        <a:srgbClr val="C0504D"/>
      </a:accent3>
      <a:accent4>
        <a:srgbClr val="EEECE1"/>
      </a:accent4>
      <a:accent5>
        <a:srgbClr val="EEECE1"/>
      </a:accent5>
      <a:accent6>
        <a:srgbClr val="EEECE1"/>
      </a:accent6>
      <a:hlink>
        <a:srgbClr val="50C0AF"/>
      </a:hlink>
      <a:folHlink>
        <a:srgbClr val="C0504D"/>
      </a:folHlink>
    </a:clrScheme>
    <a:fontScheme name="CYLAD_2019">
      <a:majorFont>
        <a:latin typeface="Calibri Light"/>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YLAD_2019">
      <a:majorFont>
        <a:latin typeface="Calibri Light"/>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ACDF9F92628DA498F0D8BD55CBF7DF0" ma:contentTypeVersion="8" ma:contentTypeDescription="Crée un document." ma:contentTypeScope="" ma:versionID="e0b10500fd9aaa0e41ae48a97f4602b6">
  <xsd:schema xmlns:xsd="http://www.w3.org/2001/XMLSchema" xmlns:xs="http://www.w3.org/2001/XMLSchema" xmlns:p="http://schemas.microsoft.com/office/2006/metadata/properties" xmlns:ns2="4508ba1c-80ef-4dd0-9953-47cf1d7367a7" xmlns:ns3="2be606e2-c033-4aef-ab01-729d3d2cc022" targetNamespace="http://schemas.microsoft.com/office/2006/metadata/properties" ma:root="true" ma:fieldsID="116bd5b50eb30d403dda171df937ea20" ns2:_="" ns3:_="">
    <xsd:import namespace="4508ba1c-80ef-4dd0-9953-47cf1d7367a7"/>
    <xsd:import namespace="2be606e2-c033-4aef-ab01-729d3d2cc02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508ba1c-80ef-4dd0-9953-47cf1d7367a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be606e2-c033-4aef-ab01-729d3d2cc022" elementFormDefault="qualified">
    <xsd:import namespace="http://schemas.microsoft.com/office/2006/documentManagement/types"/>
    <xsd:import namespace="http://schemas.microsoft.com/office/infopath/2007/PartnerControls"/>
    <xsd:element name="SharedWithUsers" ma:index="14"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6743CA2-D26D-455A-8AF7-43CA6E24BA1D}">
  <ds:schemaRefs>
    <ds:schemaRef ds:uri="http://schemas.microsoft.com/sharepoint/v3/contenttype/forms"/>
  </ds:schemaRefs>
</ds:datastoreItem>
</file>

<file path=customXml/itemProps2.xml><?xml version="1.0" encoding="utf-8"?>
<ds:datastoreItem xmlns:ds="http://schemas.openxmlformats.org/officeDocument/2006/customXml" ds:itemID="{670866FA-7637-4C7C-91A2-78F0E8FF2652}">
  <ds:schemaRefs>
    <ds:schemaRef ds:uri="http://schemas.microsoft.com/office/2006/documentManagement/types"/>
    <ds:schemaRef ds:uri="http://schemas.openxmlformats.org/package/2006/metadata/core-properties"/>
    <ds:schemaRef ds:uri="http://purl.org/dc/dcmitype/"/>
    <ds:schemaRef ds:uri="4508ba1c-80ef-4dd0-9953-47cf1d7367a7"/>
    <ds:schemaRef ds:uri="http://schemas.microsoft.com/office/infopath/2007/PartnerControls"/>
    <ds:schemaRef ds:uri="http://purl.org/dc/terms/"/>
    <ds:schemaRef ds:uri="http://schemas.microsoft.com/office/2006/metadata/properties"/>
    <ds:schemaRef ds:uri="2be606e2-c033-4aef-ab01-729d3d2cc022"/>
    <ds:schemaRef ds:uri="http://www.w3.org/XML/1998/namespace"/>
    <ds:schemaRef ds:uri="http://purl.org/dc/elements/1.1/"/>
  </ds:schemaRefs>
</ds:datastoreItem>
</file>

<file path=customXml/itemProps3.xml><?xml version="1.0" encoding="utf-8"?>
<ds:datastoreItem xmlns:ds="http://schemas.openxmlformats.org/officeDocument/2006/customXml" ds:itemID="{BC7CDD80-55D3-44F6-8FB0-F8624C3EDB9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508ba1c-80ef-4dd0-9953-47cf1d7367a7"/>
    <ds:schemaRef ds:uri="2be606e2-c033-4aef-ab01-729d3d2cc0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CYLAD</Template>
  <TotalTime>2901</TotalTime>
  <Words>2039</Words>
  <Application>Microsoft Office PowerPoint</Application>
  <PresentationFormat>Personnalisé</PresentationFormat>
  <Paragraphs>325</Paragraphs>
  <Slides>22</Slides>
  <Notes>2</Notes>
  <HiddenSlides>0</HiddenSlides>
  <MMClips>0</MMClips>
  <ScaleCrop>false</ScaleCrop>
  <HeadingPairs>
    <vt:vector size="8" baseType="variant">
      <vt:variant>
        <vt:lpstr>Polices utilisées</vt:lpstr>
      </vt:variant>
      <vt:variant>
        <vt:i4>5</vt:i4>
      </vt:variant>
      <vt:variant>
        <vt:lpstr>Thème</vt:lpstr>
      </vt:variant>
      <vt:variant>
        <vt:i4>3</vt:i4>
      </vt:variant>
      <vt:variant>
        <vt:lpstr>Serveurs OLE incorporés</vt:lpstr>
      </vt:variant>
      <vt:variant>
        <vt:i4>2</vt:i4>
      </vt:variant>
      <vt:variant>
        <vt:lpstr>Titres des diapositives</vt:lpstr>
      </vt:variant>
      <vt:variant>
        <vt:i4>22</vt:i4>
      </vt:variant>
    </vt:vector>
  </HeadingPairs>
  <TitlesOfParts>
    <vt:vector size="32" baseType="lpstr">
      <vt:lpstr>Arial</vt:lpstr>
      <vt:lpstr>Calibri</vt:lpstr>
      <vt:lpstr>Calibri Light</vt:lpstr>
      <vt:lpstr>Webdings</vt:lpstr>
      <vt:lpstr>Wingdings</vt:lpstr>
      <vt:lpstr>1_Content</vt:lpstr>
      <vt:lpstr>2_Content</vt:lpstr>
      <vt:lpstr>3_Content</vt:lpstr>
      <vt:lpstr>Diapositive think-cell</vt:lpstr>
      <vt:lpstr>Adobe Acrobat Document</vt:lpstr>
      <vt:lpstr>Présentation PowerPoint</vt:lpstr>
      <vt:lpstr>Contexte  Le grand plan national « 10 000 PME vers l’industrie du futur ». </vt:lpstr>
      <vt:lpstr>Un accompagnement couvrant 7 dimensions pour adresser à 360° vos enjeux de transformation, de compétitivité et de croissance </vt:lpstr>
      <vt:lpstr>Vos contacts : Une équipe CYLAD ayant l’expérience de ce type de projet et l’expertise industrielle</vt:lpstr>
      <vt:lpstr>Pourquoi CYLAD Consulting? </vt:lpstr>
      <vt:lpstr>Présentation PowerPoint</vt:lpstr>
      <vt:lpstr>Les critères d'éligibilité pour l’accompagnement</vt:lpstr>
      <vt:lpstr>Présentation du dispositif</vt:lpstr>
      <vt:lpstr>Comment réaliser une demande d’accompagnement?</vt:lpstr>
      <vt:lpstr>Pour plus d’information sur le dispositif, rendez-vous sur : </vt:lpstr>
      <vt:lpstr>Présentation PowerPoint</vt:lpstr>
      <vt:lpstr>Nos convictions</vt:lpstr>
      <vt:lpstr>Les objectifs à atteindre selon notre approche lors des 3 phases</vt:lpstr>
      <vt:lpstr>Présentation PowerPoint</vt:lpstr>
      <vt:lpstr>Cabinet de conseil en Management et Stratégie, CYLAD accompagne ses clients dans leur transformation, leur développement et l’amélioration de leur performance</vt:lpstr>
      <vt:lpstr>Nos expertises &amp; savoir-faire de la stratégie à l’excellence opérationnelle au service de vos enjeux d’Industrie du futur </vt:lpstr>
      <vt:lpstr>Une spécialisation dans l’industrie</vt:lpstr>
      <vt:lpstr>Présentation PowerPoint</vt:lpstr>
      <vt:lpstr>Nos valeurs</vt:lpstr>
      <vt:lpstr>Quelques unes de nos références sur des projets similaires</vt:lpstr>
      <vt:lpstr>Présentation PowerPoint</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dmin</dc:creator>
  <cp:lastModifiedBy>Oriana Lafaille</cp:lastModifiedBy>
  <cp:revision>534</cp:revision>
  <cp:lastPrinted>2019-06-25T08:04:48Z</cp:lastPrinted>
  <dcterms:created xsi:type="dcterms:W3CDTF">2019-02-05T18:47:29Z</dcterms:created>
  <dcterms:modified xsi:type="dcterms:W3CDTF">2020-03-11T11:13: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CDF9F92628DA498F0D8BD55CBF7DF0</vt:lpwstr>
  </property>
</Properties>
</file>